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changesInfos/changesInfo1.xml" ContentType="application/vnd.ms-powerpoint.changesinfo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Layouts/slideLayout6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style1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jpeg" ContentType="image/jpeg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72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charts/colors1.xml" ContentType="application/vnd.ms-office.chartcolorstyle+xml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59.xml" ContentType="application/vnd.openxmlformats-officedocument.presentationml.slideLayout+xml"/>
  <Override PartName="/ppt/slideLayouts/slideLayout68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Default Extension="svg" ContentType="image/svg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9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706" r:id="rId2"/>
    <p:sldMasterId id="2147483716" r:id="rId3"/>
    <p:sldMasterId id="2147483749" r:id="rId4"/>
  </p:sldMasterIdLst>
  <p:notesMasterIdLst>
    <p:notesMasterId r:id="rId28"/>
  </p:notesMasterIdLst>
  <p:sldIdLst>
    <p:sldId id="547" r:id="rId5"/>
    <p:sldId id="330" r:id="rId6"/>
    <p:sldId id="329" r:id="rId7"/>
    <p:sldId id="439" r:id="rId8"/>
    <p:sldId id="478" r:id="rId9"/>
    <p:sldId id="549" r:id="rId10"/>
    <p:sldId id="551" r:id="rId11"/>
    <p:sldId id="506" r:id="rId12"/>
    <p:sldId id="508" r:id="rId13"/>
    <p:sldId id="516" r:id="rId14"/>
    <p:sldId id="515" r:id="rId15"/>
    <p:sldId id="553" r:id="rId16"/>
    <p:sldId id="527" r:id="rId17"/>
    <p:sldId id="557" r:id="rId18"/>
    <p:sldId id="481" r:id="rId19"/>
    <p:sldId id="554" r:id="rId20"/>
    <p:sldId id="521" r:id="rId21"/>
    <p:sldId id="522" r:id="rId22"/>
    <p:sldId id="523" r:id="rId23"/>
    <p:sldId id="558" r:id="rId24"/>
    <p:sldId id="519" r:id="rId25"/>
    <p:sldId id="559" r:id="rId26"/>
    <p:sldId id="335" r:id="rId27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2368"/>
    <a:srgbClr val="000D26"/>
    <a:srgbClr val="7030A0"/>
    <a:srgbClr val="BD1E6D"/>
    <a:srgbClr val="73BC44"/>
    <a:srgbClr val="C3B996"/>
    <a:srgbClr val="B8E0EA"/>
    <a:srgbClr val="B2DA9A"/>
    <a:srgbClr val="DFDAC7"/>
    <a:srgbClr val="EEECE1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7794" autoAdjust="0"/>
    <p:restoredTop sz="94660"/>
  </p:normalViewPr>
  <p:slideViewPr>
    <p:cSldViewPr snapToGrid="0">
      <p:cViewPr varScale="1">
        <p:scale>
          <a:sx n="69" d="100"/>
          <a:sy n="69" d="100"/>
        </p:scale>
        <p:origin x="-456" y="-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hit Chaturvedi" userId="36c9d990-c821-407e-ae08-3b4a68d700c9" providerId="ADAL" clId="{BE7ED9E9-DD6B-A04B-9E65-CFF99140433B}"/>
    <pc:docChg chg="delSld">
      <pc:chgData name="Mohit Chaturvedi" userId="36c9d990-c821-407e-ae08-3b4a68d700c9" providerId="ADAL" clId="{BE7ED9E9-DD6B-A04B-9E65-CFF99140433B}" dt="2022-02-25T04:35:41.624" v="0" actId="2696"/>
      <pc:docMkLst>
        <pc:docMk/>
      </pc:docMkLst>
      <pc:sldChg chg="del">
        <pc:chgData name="Mohit Chaturvedi" userId="36c9d990-c821-407e-ae08-3b4a68d700c9" providerId="ADAL" clId="{BE7ED9E9-DD6B-A04B-9E65-CFF99140433B}" dt="2022-02-25T04:35:41.624" v="0" actId="2696"/>
        <pc:sldMkLst>
          <pc:docMk/>
          <pc:sldMk cId="1891591707" sldId="441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tx1"/>
                </a:solidFill>
                <a:latin typeface="Adani Regular" panose="02000503000000020004" pitchFamily="2" charset="0"/>
              </a:rPr>
              <a:t>Volume Growth at APSEZ Ports on East Coast  </a:t>
            </a:r>
          </a:p>
          <a:p>
            <a:pPr>
              <a:defRPr lang="en-GB"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tx1"/>
                </a:solidFill>
                <a:latin typeface="Adani Regular" panose="02000503000000020004" pitchFamily="2" charset="0"/>
              </a:rPr>
              <a:t>(million TEUs) </a:t>
            </a:r>
          </a:p>
        </c:rich>
      </c:tx>
      <c:layout>
        <c:manualLayout>
          <c:xMode val="edge"/>
          <c:yMode val="edge"/>
          <c:x val="0.10601098039850755"/>
          <c:y val="1.8263158361980926E-2"/>
        </c:manualLayout>
      </c:layout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APSEZ on East Coast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GB"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FY15</c:v>
                </c:pt>
                <c:pt idx="1">
                  <c:v>FY16</c:v>
                </c:pt>
                <c:pt idx="2">
                  <c:v>FY17</c:v>
                </c:pt>
                <c:pt idx="3">
                  <c:v>FY18</c:v>
                </c:pt>
                <c:pt idx="4">
                  <c:v>FY19</c:v>
                </c:pt>
                <c:pt idx="5">
                  <c:v>FY20</c:v>
                </c:pt>
                <c:pt idx="6">
                  <c:v>FY21</c:v>
                </c:pt>
              </c:strCache>
            </c:strRef>
          </c:cat>
          <c:val>
            <c:numRef>
              <c:f>Sheet1!$B$2:$B$8</c:f>
              <c:numCache>
                <c:formatCode>#,##0.00;\-#,##0.00</c:formatCode>
                <c:ptCount val="7"/>
                <c:pt idx="0">
                  <c:v>5.000000000000001E-2</c:v>
                </c:pt>
                <c:pt idx="1">
                  <c:v>0.12000000000000001</c:v>
                </c:pt>
                <c:pt idx="2">
                  <c:v>0.35000000000000003</c:v>
                </c:pt>
                <c:pt idx="3">
                  <c:v>0.49000000000000005</c:v>
                </c:pt>
                <c:pt idx="4">
                  <c:v>0.65000000000000013</c:v>
                </c:pt>
                <c:pt idx="5">
                  <c:v>0.82000000000000006</c:v>
                </c:pt>
                <c:pt idx="6">
                  <c:v>1.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77F-49C0-A4A6-23AE832C2751}"/>
            </c:ext>
          </c:extLst>
        </c:ser>
        <c:dLbls/>
        <c:gapWidth val="219"/>
        <c:overlap val="-27"/>
        <c:axId val="178543616"/>
        <c:axId val="178574464"/>
      </c:barChart>
      <c:catAx>
        <c:axId val="17854361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574464"/>
        <c:crosses val="autoZero"/>
        <c:auto val="1"/>
        <c:lblAlgn val="ctr"/>
        <c:lblOffset val="100"/>
      </c:catAx>
      <c:valAx>
        <c:axId val="178574464"/>
        <c:scaling>
          <c:orientation val="minMax"/>
        </c:scaling>
        <c:delete val="1"/>
        <c:axPos val="l"/>
        <c:numFmt formatCode="#,##0.00" sourceLinked="0"/>
        <c:majorTickMark val="none"/>
        <c:tickLblPos val="nextTo"/>
        <c:crossAx val="178543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9B56B8-2F5C-418E-83E9-1F5B406454B9}" type="datetimeFigureOut">
              <a:rPr lang="en-US" smtClean="0"/>
              <a:pPr/>
              <a:t>2/2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101945-7C05-41A7-971E-43C5BF3C89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938614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B597-C979-4204-A93D-FF84D4624F26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80406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B597-C979-4204-A93D-FF84D4624F26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572984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B597-C979-4204-A93D-FF84D4624F26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3761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B597-C979-4204-A93D-FF84D4624F26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1783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B597-C979-4204-A93D-FF84D4624F26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07301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65B597-C979-4204-A93D-FF84D4624F2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03837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65B597-C979-4204-A93D-FF84D4624F26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71043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65B597-C979-4204-A93D-FF84D4624F2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18396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65B597-C979-4204-A93D-FF84D4624F2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65805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0085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1775"/>
            <a:ext cx="10296000" cy="672000"/>
          </a:xfrm>
        </p:spPr>
        <p:txBody>
          <a:bodyPr anchor="b">
            <a:normAutofit/>
          </a:bodyPr>
          <a:lstStyle>
            <a:lvl1pPr>
              <a:defRPr sz="3200">
                <a:latin typeface="Adani Regular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575264" y="908664"/>
            <a:ext cx="10296000" cy="62864"/>
            <a:chOff x="521460" y="771510"/>
            <a:chExt cx="7386262" cy="47148"/>
          </a:xfrm>
        </p:grpSpPr>
        <p:pic>
          <p:nvPicPr>
            <p:cNvPr id="9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Connector 9"/>
            <p:cNvCxnSpPr/>
            <p:nvPr/>
          </p:nvCxnSpPr>
          <p:spPr>
            <a:xfrm>
              <a:off x="521460" y="818658"/>
              <a:ext cx="738626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AABB304A-FED9-4B2E-A58C-5C7D77B96694}"/>
              </a:ext>
            </a:extLst>
          </p:cNvPr>
          <p:cNvCxnSpPr/>
          <p:nvPr userDrawn="1"/>
        </p:nvCxnSpPr>
        <p:spPr>
          <a:xfrm>
            <a:off x="11707665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140D147F-2C58-48A3-8CE2-172CBEC22B30}"/>
              </a:ext>
            </a:extLst>
          </p:cNvPr>
          <p:cNvSpPr txBox="1"/>
          <p:nvPr userDrawn="1"/>
        </p:nvSpPr>
        <p:spPr>
          <a:xfrm>
            <a:off x="9485195" y="6592817"/>
            <a:ext cx="217322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40">
              <a:defRPr/>
            </a:pPr>
            <a:r>
              <a:rPr lang="en-IN" sz="800" dirty="0">
                <a:solidFill>
                  <a:prstClr val="white">
                    <a:lumMod val="50000"/>
                  </a:prstClr>
                </a:solidFill>
              </a:rPr>
              <a:t>AGEL </a:t>
            </a:r>
            <a:r>
              <a:rPr lang="en-US" sz="800" dirty="0">
                <a:solidFill>
                  <a:prstClr val="white">
                    <a:lumMod val="50000"/>
                  </a:prstClr>
                </a:solidFill>
              </a:rPr>
              <a:t>Q3 &amp; 9M FY 20 Results Presentation</a:t>
            </a:r>
          </a:p>
          <a:p>
            <a:pPr algn="r" defTabSz="1219140">
              <a:defRPr/>
            </a:pPr>
            <a:r>
              <a:rPr lang="en-IN" sz="800" dirty="0">
                <a:solidFill>
                  <a:prstClr val="white">
                    <a:lumMod val="50000"/>
                  </a:prstClr>
                </a:solidFill>
              </a:rPr>
              <a:t>February 2020</a:t>
            </a:r>
          </a:p>
        </p:txBody>
      </p:sp>
      <p:pic>
        <p:nvPicPr>
          <p:cNvPr id="1026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1065355" y="207117"/>
            <a:ext cx="900000" cy="61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96029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5333" b="0" cap="none"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945504" y="6060585"/>
            <a:ext cx="967731" cy="660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166660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955183"/>
            <a:ext cx="5384800" cy="3394075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55183"/>
            <a:ext cx="5384800" cy="3394075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575264" y="1361373"/>
            <a:ext cx="11041472" cy="62864"/>
            <a:chOff x="521460" y="771510"/>
            <a:chExt cx="7921056" cy="47148"/>
          </a:xfrm>
        </p:grpSpPr>
        <p:pic>
          <p:nvPicPr>
            <p:cNvPr id="9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Connector 9"/>
            <p:cNvCxnSpPr/>
            <p:nvPr/>
          </p:nvCxnSpPr>
          <p:spPr>
            <a:xfrm>
              <a:off x="521460" y="818658"/>
              <a:ext cx="7921056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852874" y="6194733"/>
            <a:ext cx="831255" cy="56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196405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5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5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575264" y="1508744"/>
            <a:ext cx="11041472" cy="62864"/>
            <a:chOff x="521460" y="771510"/>
            <a:chExt cx="7921056" cy="47148"/>
          </a:xfrm>
        </p:grpSpPr>
        <p:pic>
          <p:nvPicPr>
            <p:cNvPr id="14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5" name="Straight Connector 14"/>
            <p:cNvCxnSpPr/>
            <p:nvPr/>
          </p:nvCxnSpPr>
          <p:spPr>
            <a:xfrm>
              <a:off x="521460" y="818658"/>
              <a:ext cx="7921056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852874" y="6194733"/>
            <a:ext cx="831255" cy="56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1156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75264" y="1508744"/>
            <a:ext cx="11041472" cy="62864"/>
            <a:chOff x="521460" y="771510"/>
            <a:chExt cx="7921056" cy="47148"/>
          </a:xfrm>
        </p:grpSpPr>
        <p:pic>
          <p:nvPicPr>
            <p:cNvPr id="7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8" name="Straight Connector 7"/>
            <p:cNvCxnSpPr/>
            <p:nvPr/>
          </p:nvCxnSpPr>
          <p:spPr>
            <a:xfrm>
              <a:off x="521460" y="818658"/>
              <a:ext cx="7921056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852874" y="6194733"/>
            <a:ext cx="831255" cy="56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578267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852874" y="6194733"/>
            <a:ext cx="831255" cy="56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18750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1"/>
            <a:ext cx="4011084" cy="1162051"/>
          </a:xfrm>
        </p:spPr>
        <p:txBody>
          <a:bodyPr anchor="b"/>
          <a:lstStyle>
            <a:lvl1pPr algn="l">
              <a:defRPr sz="2667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852874" y="6194733"/>
            <a:ext cx="831255" cy="56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216820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2667" b="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70" indent="0">
              <a:buNone/>
              <a:defRPr sz="3733"/>
            </a:lvl2pPr>
            <a:lvl3pPr marL="1219140" indent="0">
              <a:buNone/>
              <a:defRPr sz="3200"/>
            </a:lvl3pPr>
            <a:lvl4pPr marL="1828709" indent="0">
              <a:buNone/>
              <a:defRPr sz="2667"/>
            </a:lvl4pPr>
            <a:lvl5pPr marL="2438278" indent="0">
              <a:buNone/>
              <a:defRPr sz="2667"/>
            </a:lvl5pPr>
            <a:lvl6pPr marL="3047848" indent="0">
              <a:buNone/>
              <a:defRPr sz="2667"/>
            </a:lvl6pPr>
            <a:lvl7pPr marL="3657418" indent="0">
              <a:buNone/>
              <a:defRPr sz="2667"/>
            </a:lvl7pPr>
            <a:lvl8pPr marL="4266987" indent="0">
              <a:buNone/>
              <a:defRPr sz="2667"/>
            </a:lvl8pPr>
            <a:lvl9pPr marL="4876557" indent="0">
              <a:buNone/>
              <a:defRPr sz="2667"/>
            </a:lvl9pPr>
          </a:lstStyle>
          <a:p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0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852874" y="6194733"/>
            <a:ext cx="831255" cy="56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31649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852874" y="6194733"/>
            <a:ext cx="831255" cy="56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032452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06377"/>
            <a:ext cx="2743200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06377"/>
            <a:ext cx="802640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852874" y="6194733"/>
            <a:ext cx="831255" cy="56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41039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Image - Titl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343051" y="1148222"/>
            <a:ext cx="6840912" cy="1470671"/>
          </a:xfrm>
        </p:spPr>
        <p:txBody>
          <a:bodyPr>
            <a:normAutofit/>
          </a:bodyPr>
          <a:lstStyle>
            <a:lvl1pPr marL="0" indent="0">
              <a:buNone/>
              <a:defRPr baseline="0">
                <a:latin typeface="Adani Medium" pitchFamily="2" charset="0"/>
              </a:defRPr>
            </a:lvl1pPr>
          </a:lstStyle>
          <a:p>
            <a:pPr algn="l"/>
            <a:r>
              <a:rPr lang="en-IN" dirty="0">
                <a:solidFill>
                  <a:srgbClr val="000000"/>
                </a:solidFill>
              </a:rPr>
              <a:t>Investor Relations</a:t>
            </a:r>
          </a:p>
          <a:p>
            <a:pPr algn="l"/>
            <a:r>
              <a:rPr lang="en-IN" dirty="0">
                <a:solidFill>
                  <a:srgbClr val="000000"/>
                </a:solidFill>
              </a:rPr>
              <a:t>Presentation </a:t>
            </a:r>
          </a:p>
        </p:txBody>
      </p:sp>
      <p:pic>
        <p:nvPicPr>
          <p:cNvPr id="6" name="Picture 2" descr="D:\Corp Comm Department Work 2015\Brand Adani 2012\adani_gradient_master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495920" y="3549018"/>
            <a:ext cx="6696080" cy="60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B53D659F-60B8-4FB9-ABDF-8DCF7EFEA8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593" y="3412743"/>
            <a:ext cx="12192001" cy="34442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94717FA-6CFA-44B6-B92E-014E960234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61744" y="628975"/>
            <a:ext cx="2828107" cy="2509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000395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081" y="182234"/>
            <a:ext cx="10296000" cy="672000"/>
          </a:xfrm>
        </p:spPr>
        <p:txBody>
          <a:bodyPr anchor="b">
            <a:normAutofit/>
          </a:bodyPr>
          <a:lstStyle>
            <a:lvl1pPr>
              <a:defRPr sz="3200">
                <a:latin typeface="Adani Regular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08824"/>
            <a:ext cx="10972800" cy="5013280"/>
          </a:xfrm>
        </p:spPr>
        <p:txBody>
          <a:bodyPr>
            <a:normAutofit/>
          </a:bodyPr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609600" y="793275"/>
            <a:ext cx="10800000" cy="62864"/>
            <a:chOff x="521460" y="771510"/>
            <a:chExt cx="7386262" cy="47148"/>
          </a:xfrm>
        </p:grpSpPr>
        <p:pic>
          <p:nvPicPr>
            <p:cNvPr id="9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Connector 9"/>
            <p:cNvCxnSpPr/>
            <p:nvPr/>
          </p:nvCxnSpPr>
          <p:spPr>
            <a:xfrm>
              <a:off x="521460" y="818658"/>
              <a:ext cx="738626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AABB304A-FED9-4B2E-A58C-5C7D77B96694}"/>
              </a:ext>
            </a:extLst>
          </p:cNvPr>
          <p:cNvCxnSpPr/>
          <p:nvPr userDrawn="1"/>
        </p:nvCxnSpPr>
        <p:spPr>
          <a:xfrm>
            <a:off x="11707665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92E0908D-DDDD-489F-BEE8-89FBE2A59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11263748" y="-11400"/>
            <a:ext cx="916675" cy="82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</p:spTree>
    <p:extLst>
      <p:ext uri="{BB962C8B-B14F-4D97-AF65-F5344CB8AC3E}">
        <p14:creationId xmlns:p14="http://schemas.microsoft.com/office/powerpoint/2010/main" xmlns="" val="3428396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 descr="A group of people sitting at a table&#10;&#10;Description generated with high confidence">
            <a:extLst>
              <a:ext uri="{FF2B5EF4-FFF2-40B4-BE49-F238E27FC236}">
                <a16:creationId xmlns:a16="http://schemas.microsoft.com/office/drawing/2014/main" xmlns="" id="{1139518B-9460-4BD4-8054-2DB17B3372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537"/>
            <a:ext cx="12192477" cy="6857463"/>
          </a:xfrm>
          <a:prstGeom prst="rect">
            <a:avLst/>
          </a:prstGeom>
        </p:spPr>
      </p:pic>
      <p:sp>
        <p:nvSpPr>
          <p:cNvPr id="6" name="Subtitle 3"/>
          <p:cNvSpPr>
            <a:spLocks noGrp="1"/>
          </p:cNvSpPr>
          <p:nvPr>
            <p:ph type="subTitle" idx="1"/>
          </p:nvPr>
        </p:nvSpPr>
        <p:spPr>
          <a:xfrm>
            <a:off x="5003448" y="308584"/>
            <a:ext cx="6973336" cy="1440192"/>
          </a:xfrm>
        </p:spPr>
        <p:txBody>
          <a:bodyPr>
            <a:normAutofit/>
          </a:bodyPr>
          <a:lstStyle>
            <a:lvl1pPr marL="0" indent="0">
              <a:buNone/>
              <a:defRPr baseline="0">
                <a:latin typeface="Adani Regular" panose="02000503000000020004" pitchFamily="2" charset="0"/>
              </a:defRPr>
            </a:lvl1pPr>
          </a:lstStyle>
          <a:p>
            <a:pPr algn="l"/>
            <a:endParaRPr lang="en-IN" dirty="0">
              <a:solidFill>
                <a:srgbClr val="000000"/>
              </a:solidFill>
            </a:endParaRPr>
          </a:p>
        </p:txBody>
      </p:sp>
      <p:pic>
        <p:nvPicPr>
          <p:cNvPr id="7" name="Picture 2" descr="D:\Corp Comm Department Work 2015\Brand Adani 2012\adani_gradient_master.jp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156317" y="1748779"/>
            <a:ext cx="6696080" cy="60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Logo&#10;&#10;Description automatically generated with medium confidence">
            <a:extLst>
              <a:ext uri="{FF2B5EF4-FFF2-40B4-BE49-F238E27FC236}">
                <a16:creationId xmlns:a16="http://schemas.microsoft.com/office/drawing/2014/main" xmlns="" id="{85740FF9-53C8-4EBB-A4F1-B04F1B43D39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17182" y="709467"/>
            <a:ext cx="2774274" cy="2098045"/>
          </a:xfrm>
          <a:prstGeom prst="rect">
            <a:avLst/>
          </a:prstGeom>
        </p:spPr>
      </p:pic>
      <p:sp>
        <p:nvSpPr>
          <p:cNvPr id="18" name="Subtitle 3">
            <a:extLst>
              <a:ext uri="{FF2B5EF4-FFF2-40B4-BE49-F238E27FC236}">
                <a16:creationId xmlns:a16="http://schemas.microsoft.com/office/drawing/2014/main" xmlns="" id="{9250EB2C-538C-4922-98DE-36A9ED2E39BC}"/>
              </a:ext>
            </a:extLst>
          </p:cNvPr>
          <p:cNvSpPr txBox="1">
            <a:spLocks/>
          </p:cNvSpPr>
          <p:nvPr userDrawn="1"/>
        </p:nvSpPr>
        <p:spPr>
          <a:xfrm>
            <a:off x="5003448" y="2021899"/>
            <a:ext cx="6973336" cy="1440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1219140" rtl="0" eaLnBrk="1" latinLnBrk="0" hangingPunct="1">
              <a:spcBef>
                <a:spcPct val="20000"/>
              </a:spcBef>
              <a:buFont typeface="Arial" pitchFamily="34" charset="0"/>
              <a:buNone/>
              <a:defRPr sz="4267" kern="1200" baseline="0">
                <a:solidFill>
                  <a:schemeClr val="tx1"/>
                </a:solidFill>
                <a:latin typeface="Adani Medium" pitchFamily="2" charset="0"/>
                <a:ea typeface="+mn-ea"/>
                <a:cs typeface="+mn-cs"/>
              </a:defRPr>
            </a:lvl1pPr>
            <a:lvl2pPr marL="990550" indent="-380981" algn="l" defTabSz="121914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733" kern="1200">
                <a:solidFill>
                  <a:schemeClr val="tx1"/>
                </a:solidFill>
                <a:latin typeface="Adani Regular" pitchFamily="2" charset="0"/>
                <a:ea typeface="+mn-ea"/>
                <a:cs typeface="+mn-cs"/>
              </a:defRPr>
            </a:lvl2pPr>
            <a:lvl3pPr marL="1523925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dani Regular" pitchFamily="2" charset="0"/>
                <a:ea typeface="+mn-ea"/>
                <a:cs typeface="+mn-cs"/>
              </a:defRPr>
            </a:lvl3pPr>
            <a:lvl4pPr marL="2133493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667" kern="1200">
                <a:solidFill>
                  <a:schemeClr val="tx1"/>
                </a:solidFill>
                <a:latin typeface="Adani Regular" pitchFamily="2" charset="0"/>
                <a:ea typeface="+mn-ea"/>
                <a:cs typeface="+mn-cs"/>
              </a:defRPr>
            </a:lvl4pPr>
            <a:lvl5pPr marL="274306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chemeClr val="tx1"/>
                </a:solidFill>
                <a:latin typeface="Adani Regular" pitchFamily="2" charset="0"/>
                <a:ea typeface="+mn-ea"/>
                <a:cs typeface="+mn-cs"/>
              </a:defRPr>
            </a:lvl5pPr>
            <a:lvl6pPr marL="335263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23" name="Content Placeholder 21">
            <a:extLst>
              <a:ext uri="{FF2B5EF4-FFF2-40B4-BE49-F238E27FC236}">
                <a16:creationId xmlns:a16="http://schemas.microsoft.com/office/drawing/2014/main" xmlns="" id="{ECFDB040-D77E-4809-91A4-CD5A6409A9D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017689" y="1990340"/>
            <a:ext cx="6973336" cy="846138"/>
          </a:xfrm>
        </p:spPr>
        <p:txBody>
          <a:bodyPr>
            <a:norm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41270870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 Image - Titl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5343051" y="1148222"/>
            <a:ext cx="6840912" cy="1470671"/>
          </a:xfrm>
        </p:spPr>
        <p:txBody>
          <a:bodyPr>
            <a:normAutofit/>
          </a:bodyPr>
          <a:lstStyle>
            <a:lvl1pPr marL="0" indent="0">
              <a:buNone/>
              <a:defRPr baseline="0">
                <a:latin typeface="Adani Medium" pitchFamily="2" charset="0"/>
              </a:defRPr>
            </a:lvl1pPr>
          </a:lstStyle>
          <a:p>
            <a:pPr algn="l"/>
            <a:r>
              <a:rPr lang="en-IN" dirty="0">
                <a:solidFill>
                  <a:srgbClr val="000000"/>
                </a:solidFill>
              </a:rPr>
              <a:t>Investor Relations</a:t>
            </a:r>
          </a:p>
          <a:p>
            <a:pPr algn="l"/>
            <a:r>
              <a:rPr lang="en-IN" dirty="0">
                <a:solidFill>
                  <a:srgbClr val="000000"/>
                </a:solidFill>
              </a:rPr>
              <a:t>Presentation </a:t>
            </a:r>
          </a:p>
        </p:txBody>
      </p:sp>
      <p:pic>
        <p:nvPicPr>
          <p:cNvPr id="6" name="Picture 2" descr="D:\Corp Comm Department Work 2015\Brand Adani 2012\adani_gradient_master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495920" y="3549018"/>
            <a:ext cx="6696080" cy="60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B53D659F-60B8-4FB9-ABDF-8DCF7EFEA8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4593" y="3412743"/>
            <a:ext cx="12192001" cy="3444240"/>
          </a:xfrm>
          <a:prstGeom prst="rect">
            <a:avLst/>
          </a:prstGeom>
        </p:spPr>
      </p:pic>
      <p:pic>
        <p:nvPicPr>
          <p:cNvPr id="9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958246" y="864378"/>
            <a:ext cx="2167091" cy="1479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321050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C617A3B-1871-4CFF-AB8E-0BDE7F11C4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1019"/>
            <a:ext cx="12192000" cy="685596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59086"/>
            <a:ext cx="10363200" cy="1341591"/>
          </a:xfrm>
        </p:spPr>
        <p:txBody>
          <a:bodyPr anchor="ctr">
            <a:normAutofit/>
          </a:bodyPr>
          <a:lstStyle>
            <a:lvl1pPr algn="l">
              <a:defRPr sz="3733" b="0" cap="none" baseline="0">
                <a:solidFill>
                  <a:schemeClr val="bg1"/>
                </a:solidFill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656D043-EF82-4215-BB9A-19693439C80A}"/>
              </a:ext>
            </a:extLst>
          </p:cNvPr>
          <p:cNvSpPr/>
          <p:nvPr userDrawn="1"/>
        </p:nvSpPr>
        <p:spPr>
          <a:xfrm>
            <a:off x="4055728" y="308585"/>
            <a:ext cx="4080544" cy="3355304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3200" dirty="0">
              <a:solidFill>
                <a:prstClr val="white"/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5A10A43D-CCC4-40BC-8296-0F3294119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72FFB891-CF05-4E00-A6D3-28B3330201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658351" y="6576977"/>
            <a:ext cx="6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Adani Regular" panose="02000503000000020004" pitchFamily="2" charset="0"/>
              </a:defRPr>
            </a:lvl1pPr>
          </a:lstStyle>
          <a:p>
            <a:endParaRPr lang="en-IN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E8C4C174-A85B-4B50-860D-771828DCAC70}"/>
              </a:ext>
            </a:extLst>
          </p:cNvPr>
          <p:cNvCxnSpPr/>
          <p:nvPr userDrawn="1"/>
        </p:nvCxnSpPr>
        <p:spPr>
          <a:xfrm>
            <a:off x="11707664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547607" y="1178517"/>
            <a:ext cx="1871463" cy="1278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99064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8EF93A8-7F2D-4451-9A9D-39989544BD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1019"/>
            <a:ext cx="12192000" cy="68559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38602"/>
            <a:ext cx="10363200" cy="1362075"/>
          </a:xfrm>
        </p:spPr>
        <p:txBody>
          <a:bodyPr anchor="t">
            <a:normAutofit/>
          </a:bodyPr>
          <a:lstStyle>
            <a:lvl1pPr algn="l">
              <a:defRPr sz="3733" b="0" cap="none" baseline="0">
                <a:solidFill>
                  <a:schemeClr val="bg1"/>
                </a:solidFill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57C6DA0-C681-4242-AD6B-27316EED94EE}"/>
              </a:ext>
            </a:extLst>
          </p:cNvPr>
          <p:cNvSpPr/>
          <p:nvPr userDrawn="1"/>
        </p:nvSpPr>
        <p:spPr>
          <a:xfrm>
            <a:off x="4055728" y="308585"/>
            <a:ext cx="4080544" cy="3355304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3200" dirty="0">
              <a:solidFill>
                <a:prstClr val="white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403D3C80-8EA9-4957-A2B4-218734ECD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xmlns="" id="{45DF442F-C6AC-4256-897B-45BA065F0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658351" y="6576977"/>
            <a:ext cx="6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Adani Regular" panose="02000503000000020004" pitchFamily="2" charset="0"/>
              </a:defRPr>
            </a:lvl1pPr>
          </a:lstStyle>
          <a:p>
            <a:endParaRPr lang="en-IN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AE10684-67EB-4B3C-AD3C-66BB0C27DCEA}"/>
              </a:ext>
            </a:extLst>
          </p:cNvPr>
          <p:cNvCxnSpPr/>
          <p:nvPr userDrawn="1"/>
        </p:nvCxnSpPr>
        <p:spPr>
          <a:xfrm>
            <a:off x="11707664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258102" y="1317838"/>
            <a:ext cx="2067143" cy="1411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499377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0BDC30C0-F1CF-4DEB-9E47-A0928BA1CC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1019"/>
            <a:ext cx="12192000" cy="68559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38602"/>
            <a:ext cx="10363200" cy="1362075"/>
          </a:xfrm>
        </p:spPr>
        <p:txBody>
          <a:bodyPr anchor="t">
            <a:normAutofit/>
          </a:bodyPr>
          <a:lstStyle>
            <a:lvl1pPr algn="l">
              <a:defRPr sz="3733" b="0" cap="none" baseline="0">
                <a:solidFill>
                  <a:schemeClr val="bg1"/>
                </a:solidFill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4D440C5-5B00-4ECA-B528-EF4D187535E0}"/>
              </a:ext>
            </a:extLst>
          </p:cNvPr>
          <p:cNvSpPr/>
          <p:nvPr userDrawn="1"/>
        </p:nvSpPr>
        <p:spPr>
          <a:xfrm>
            <a:off x="4055728" y="308585"/>
            <a:ext cx="4080544" cy="3355304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3200" dirty="0">
              <a:solidFill>
                <a:prstClr val="white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4B1F6E34-4EB0-4450-AE66-26412A356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xmlns="" id="{4DCBDA35-A6DE-4F64-BCC2-1D9997494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658351" y="6576977"/>
            <a:ext cx="6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Adani Regular" panose="02000503000000020004" pitchFamily="2" charset="0"/>
              </a:defRPr>
            </a:lvl1pPr>
          </a:lstStyle>
          <a:p>
            <a:endParaRPr lang="en-IN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843CECF-4DD6-44FE-AFB5-B8559E5BE918}"/>
              </a:ext>
            </a:extLst>
          </p:cNvPr>
          <p:cNvCxnSpPr/>
          <p:nvPr userDrawn="1"/>
        </p:nvCxnSpPr>
        <p:spPr>
          <a:xfrm>
            <a:off x="11707664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258102" y="1317838"/>
            <a:ext cx="2067143" cy="1411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524015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1D4B4AB-B102-4B52-9298-4FDE1139D9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1019"/>
            <a:ext cx="12192000" cy="68559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38602"/>
            <a:ext cx="10363200" cy="1362075"/>
          </a:xfrm>
        </p:spPr>
        <p:txBody>
          <a:bodyPr anchor="t">
            <a:normAutofit/>
          </a:bodyPr>
          <a:lstStyle>
            <a:lvl1pPr algn="l">
              <a:defRPr sz="3733" b="0" cap="none" baseline="0">
                <a:solidFill>
                  <a:schemeClr val="bg1"/>
                </a:solidFill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7446AA89-70C2-4CE4-A7FB-E2B4B3913F75}"/>
              </a:ext>
            </a:extLst>
          </p:cNvPr>
          <p:cNvSpPr/>
          <p:nvPr userDrawn="1"/>
        </p:nvSpPr>
        <p:spPr>
          <a:xfrm>
            <a:off x="4055728" y="308585"/>
            <a:ext cx="4080544" cy="3355304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3200" dirty="0">
              <a:solidFill>
                <a:prstClr val="white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E41FA2B8-9B1E-4195-BEDA-B69F6883B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xmlns="" id="{FC33AF80-915C-4734-BCB1-E0C94F442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658351" y="6576977"/>
            <a:ext cx="6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Adani Regular" panose="02000503000000020004" pitchFamily="2" charset="0"/>
              </a:defRPr>
            </a:lvl1pPr>
          </a:lstStyle>
          <a:p>
            <a:endParaRPr lang="en-IN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8E1B017C-5D5A-4974-9F15-6FD4BBE9CAA4}"/>
              </a:ext>
            </a:extLst>
          </p:cNvPr>
          <p:cNvCxnSpPr/>
          <p:nvPr userDrawn="1"/>
        </p:nvCxnSpPr>
        <p:spPr>
          <a:xfrm>
            <a:off x="11707664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258102" y="1317838"/>
            <a:ext cx="2067143" cy="1411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161366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882B46E-A4EC-4A78-BEF5-04B547B906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1019"/>
            <a:ext cx="12192000" cy="68559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38602"/>
            <a:ext cx="10363200" cy="1362075"/>
          </a:xfrm>
        </p:spPr>
        <p:txBody>
          <a:bodyPr anchor="t">
            <a:normAutofit/>
          </a:bodyPr>
          <a:lstStyle>
            <a:lvl1pPr algn="l">
              <a:defRPr sz="3733" b="0" cap="none" baseline="0">
                <a:solidFill>
                  <a:schemeClr val="bg1"/>
                </a:solidFill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4D5E706-4FA3-4FB3-9380-1288EC5071AA}"/>
              </a:ext>
            </a:extLst>
          </p:cNvPr>
          <p:cNvSpPr/>
          <p:nvPr userDrawn="1"/>
        </p:nvSpPr>
        <p:spPr>
          <a:xfrm>
            <a:off x="4055728" y="308585"/>
            <a:ext cx="4080544" cy="3355304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3200" dirty="0">
              <a:solidFill>
                <a:prstClr val="white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0B740F8-765A-402B-AA79-BD526D220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oter Placeholder 7">
            <a:extLst>
              <a:ext uri="{FF2B5EF4-FFF2-40B4-BE49-F238E27FC236}">
                <a16:creationId xmlns:a16="http://schemas.microsoft.com/office/drawing/2014/main" xmlns="" id="{6BAAD4A8-F54F-4EFF-91FA-8768FCAC5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658351" y="6576977"/>
            <a:ext cx="6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Adani Regular" panose="02000503000000020004" pitchFamily="2" charset="0"/>
              </a:defRPr>
            </a:lvl1pPr>
          </a:lstStyle>
          <a:p>
            <a:endParaRPr lang="en-IN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29820271-ACD7-4B57-98A2-E05BDBC4A689}"/>
              </a:ext>
            </a:extLst>
          </p:cNvPr>
          <p:cNvCxnSpPr/>
          <p:nvPr userDrawn="1"/>
        </p:nvCxnSpPr>
        <p:spPr>
          <a:xfrm>
            <a:off x="11707664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258102" y="1317838"/>
            <a:ext cx="2067143" cy="1411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958053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idx="1"/>
          </p:nvPr>
        </p:nvSpPr>
        <p:spPr>
          <a:xfrm>
            <a:off x="575264" y="1988810"/>
            <a:ext cx="10363200" cy="1500187"/>
          </a:xfrm>
        </p:spPr>
        <p:txBody>
          <a:bodyPr>
            <a:normAutofit/>
          </a:bodyPr>
          <a:lstStyle>
            <a:lvl1pPr marL="0" indent="0" algn="l">
              <a:buNone/>
              <a:defRPr sz="4267">
                <a:latin typeface="Adani Medium" pitchFamily="2" charset="0"/>
              </a:defRPr>
            </a:lvl1pPr>
          </a:lstStyle>
          <a:p>
            <a:endParaRPr lang="en-IN" dirty="0">
              <a:solidFill>
                <a:srgbClr val="000000"/>
              </a:solidFill>
            </a:endParaRPr>
          </a:p>
          <a:p>
            <a:r>
              <a:rPr lang="en-IN" dirty="0">
                <a:solidFill>
                  <a:srgbClr val="000000"/>
                </a:solidFill>
              </a:rPr>
              <a:t>Adani Regular, 20 font, Black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695280" y="3608074"/>
            <a:ext cx="10561408" cy="60959"/>
            <a:chOff x="582897" y="3201834"/>
            <a:chExt cx="7921056" cy="45719"/>
          </a:xfrm>
        </p:grpSpPr>
        <p:pic>
          <p:nvPicPr>
            <p:cNvPr id="11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2897" y="3201834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2" name="Straight Connector 11"/>
            <p:cNvCxnSpPr/>
            <p:nvPr/>
          </p:nvCxnSpPr>
          <p:spPr>
            <a:xfrm>
              <a:off x="582897" y="3246601"/>
              <a:ext cx="7921056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25794716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1775"/>
            <a:ext cx="10296000" cy="672000"/>
          </a:xfrm>
        </p:spPr>
        <p:txBody>
          <a:bodyPr anchor="b">
            <a:normAutofit/>
          </a:bodyPr>
          <a:lstStyle>
            <a:lvl1pPr>
              <a:defRPr sz="3200">
                <a:latin typeface="Adani Regular" panose="02000503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575264" y="908664"/>
            <a:ext cx="10296000" cy="62864"/>
            <a:chOff x="521460" y="771510"/>
            <a:chExt cx="7386262" cy="47148"/>
          </a:xfrm>
        </p:grpSpPr>
        <p:pic>
          <p:nvPicPr>
            <p:cNvPr id="9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Connector 9"/>
            <p:cNvCxnSpPr/>
            <p:nvPr/>
          </p:nvCxnSpPr>
          <p:spPr>
            <a:xfrm>
              <a:off x="521460" y="818658"/>
              <a:ext cx="738626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AABB304A-FED9-4B2E-A58C-5C7D77B96694}"/>
              </a:ext>
            </a:extLst>
          </p:cNvPr>
          <p:cNvCxnSpPr/>
          <p:nvPr userDrawn="1"/>
        </p:nvCxnSpPr>
        <p:spPr>
          <a:xfrm>
            <a:off x="11707665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140D147F-2C58-48A3-8CE2-172CBEC22B30}"/>
              </a:ext>
            </a:extLst>
          </p:cNvPr>
          <p:cNvSpPr txBox="1"/>
          <p:nvPr userDrawn="1"/>
        </p:nvSpPr>
        <p:spPr>
          <a:xfrm>
            <a:off x="9457901" y="6584669"/>
            <a:ext cx="220051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40">
              <a:defRPr/>
            </a:pPr>
            <a:r>
              <a:rPr lang="en-IN" sz="800" dirty="0">
                <a:solidFill>
                  <a:prstClr val="white">
                    <a:lumMod val="50000"/>
                  </a:prstClr>
                </a:solidFill>
              </a:rPr>
              <a:t>AGEL </a:t>
            </a:r>
            <a:r>
              <a:rPr lang="en-US" sz="800" dirty="0">
                <a:solidFill>
                  <a:prstClr val="white">
                    <a:lumMod val="50000"/>
                  </a:prstClr>
                </a:solidFill>
              </a:rPr>
              <a:t>Q3 &amp; 9M FY 20 Results Presentation</a:t>
            </a:r>
          </a:p>
          <a:p>
            <a:pPr algn="r" defTabSz="1219140">
              <a:defRPr/>
            </a:pPr>
            <a:r>
              <a:rPr lang="en-IN" sz="800" dirty="0">
                <a:solidFill>
                  <a:prstClr val="white">
                    <a:lumMod val="50000"/>
                  </a:prstClr>
                </a:solidFill>
              </a:rPr>
              <a:t>February 2020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993829" y="14721"/>
            <a:ext cx="1198171" cy="95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32428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53D659F-60B8-4FB9-ABDF-8DCF7EFEA8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4593" y="3412743"/>
            <a:ext cx="12192001" cy="344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499668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838901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rket Outlook_sec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38A323CD-B861-4E3B-AA47-DAE4040AA2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256310" y="6397736"/>
            <a:ext cx="604347" cy="260474"/>
          </a:xfrm>
          <a:prstGeom prst="rect">
            <a:avLst/>
          </a:prstGeom>
        </p:spPr>
      </p:pic>
      <p:sp>
        <p:nvSpPr>
          <p:cNvPr id="23" name="Slide Number Placeholder 29">
            <a:extLst>
              <a:ext uri="{FF2B5EF4-FFF2-40B4-BE49-F238E27FC236}">
                <a16:creationId xmlns:a16="http://schemas.microsoft.com/office/drawing/2014/main" xmlns="" id="{9E661F31-0719-4BB9-B387-475D52545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7116" y="6259237"/>
            <a:ext cx="454023" cy="138499"/>
          </a:xfr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fld id="{61C44C12-3376-45F1-9168-2FE090073B3E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Adani Bold"/>
              </a:rPr>
              <a:pPr>
                <a:lnSpc>
                  <a:spcPct val="90000"/>
                </a:lnSpc>
                <a:spcBef>
                  <a:spcPct val="0"/>
                </a:spcBef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Adani Bold"/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xmlns="" id="{88917411-E950-4AF0-8E24-9A554B0755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8484" y="369994"/>
            <a:ext cx="11082655" cy="360099"/>
          </a:xfrm>
        </p:spPr>
        <p:txBody>
          <a:bodyPr wrap="square" lIns="0" tIns="0" rIns="0" bIns="0">
            <a:spAutoFit/>
          </a:bodyPr>
          <a:lstStyle>
            <a:lvl1pPr marL="0" indent="0" algn="l" defTabSz="90555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kern="120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2" name="Picture 2" descr="D:\Corp Comm Department Work 2015\Brand Adani 2012\adani_gradient_master.jpg">
            <a:extLst>
              <a:ext uri="{FF2B5EF4-FFF2-40B4-BE49-F238E27FC236}">
                <a16:creationId xmlns:a16="http://schemas.microsoft.com/office/drawing/2014/main" xmlns="" id="{D2A1BC35-7416-4F1C-B245-A19569EB2F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43220" y="817461"/>
            <a:ext cx="11293197" cy="49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87371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pos="347">
          <p15:clr>
            <a:srgbClr val="FBAE40"/>
          </p15:clr>
        </p15:guide>
        <p15:guide id="5" orient="horz" pos="3974">
          <p15:clr>
            <a:srgbClr val="FBAE40"/>
          </p15:clr>
        </p15:guide>
        <p15:guide id="6" pos="7333">
          <p15:clr>
            <a:srgbClr val="FBAE40"/>
          </p15:clr>
        </p15:guide>
        <p15:guide id="7" orient="horz" pos="709">
          <p15:clr>
            <a:srgbClr val="FBAE40"/>
          </p15:clr>
        </p15:guide>
        <p15:guide id="8" orient="horz" pos="372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adani_logo_rgb_maste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48838" y="6239184"/>
            <a:ext cx="13335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450115" y="342900"/>
            <a:ext cx="11277600" cy="5715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a:blipFill>
        </p:spPr>
        <p:txBody>
          <a:bodyPr rtlCol="0" anchor="b">
            <a:normAutofit/>
          </a:bodyPr>
          <a:lstStyle>
            <a:lvl1pPr>
              <a:buFontTx/>
              <a:buNone/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81591" y="384003"/>
            <a:ext cx="11061687" cy="90504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4000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81582" y="1289340"/>
            <a:ext cx="11046133" cy="24622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609085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468" y="140741"/>
            <a:ext cx="11283949" cy="861775"/>
          </a:xfrm>
        </p:spPr>
        <p:txBody>
          <a:bodyPr>
            <a:normAutofit/>
          </a:bodyPr>
          <a:lstStyle>
            <a:lvl1pPr>
              <a:defRPr sz="2667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5216869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 bwMode="gray">
          <a:xfrm>
            <a:off x="11258608" y="6402389"/>
            <a:ext cx="486833" cy="366712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>
              <a:defRPr/>
            </a:pPr>
            <a:fld id="{C86FD1D7-28AC-451C-8E0E-10F87208A76F}" type="slidenum">
              <a:rPr lang="en-GB" sz="1133" b="1" smtClean="0">
                <a:solidFill>
                  <a:prstClr val="black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en-GB" sz="1133" b="1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609600" y="793275"/>
            <a:ext cx="10800000" cy="62864"/>
            <a:chOff x="521460" y="771510"/>
            <a:chExt cx="7386262" cy="47148"/>
          </a:xfrm>
        </p:grpSpPr>
        <p:pic>
          <p:nvPicPr>
            <p:cNvPr id="6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" name="Straight Connector 6"/>
            <p:cNvCxnSpPr/>
            <p:nvPr/>
          </p:nvCxnSpPr>
          <p:spPr>
            <a:xfrm>
              <a:off x="521460" y="818658"/>
              <a:ext cx="738626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2E0908D-DDDD-489F-BEE8-89FBE2A59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11263748" y="-11400"/>
            <a:ext cx="916675" cy="82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idx="4294967295"/>
          </p:nvPr>
        </p:nvSpPr>
        <p:spPr>
          <a:xfrm>
            <a:off x="239349" y="288561"/>
            <a:ext cx="11283951" cy="399827"/>
          </a:xfrm>
          <a:noFill/>
        </p:spPr>
        <p:txBody>
          <a:bodyPr vert="horz" wrap="square" lIns="91157" tIns="45580" rIns="91157" bIns="45580" rtlCol="0" anchor="b">
            <a:spAutoFit/>
          </a:bodyPr>
          <a:lstStyle/>
          <a:p>
            <a:pPr marL="109195" defTabSz="911400" eaLnBrk="1" hangingPunct="1"/>
            <a:r>
              <a:rPr lang="en-IN" sz="2000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Kattupalli Port Location and Hinterland </a:t>
            </a:r>
          </a:p>
        </p:txBody>
      </p:sp>
    </p:spTree>
    <p:extLst>
      <p:ext uri="{BB962C8B-B14F-4D97-AF65-F5344CB8AC3E}">
        <p14:creationId xmlns:p14="http://schemas.microsoft.com/office/powerpoint/2010/main" xmlns="" val="20742217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380319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468" y="153361"/>
            <a:ext cx="11283949" cy="861775"/>
          </a:xfrm>
        </p:spPr>
        <p:txBody>
          <a:bodyPr>
            <a:normAutofit/>
          </a:bodyPr>
          <a:lstStyle>
            <a:lvl1pPr>
              <a:defRPr sz="2667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6520039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209696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xmlns="" id="{CA59B0C1-90F0-49B0-A985-160281427C3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  <a:alpha val="45000"/>
            </a:schemeClr>
          </a:solidFill>
        </p:spPr>
        <p:txBody>
          <a:bodyPr lIns="91413" tIns="45707" rIns="91413" bIns="45707"/>
          <a:lstStyle>
            <a:lvl1pPr marL="0" indent="0"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xmlns="" val="314019451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621679102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C617A3B-1871-4CFF-AB8E-0BDE7F11C4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1019"/>
            <a:ext cx="12192000" cy="685596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59086"/>
            <a:ext cx="10363200" cy="1341591"/>
          </a:xfrm>
        </p:spPr>
        <p:txBody>
          <a:bodyPr anchor="ctr">
            <a:normAutofit/>
          </a:bodyPr>
          <a:lstStyle>
            <a:lvl1pPr algn="l">
              <a:defRPr sz="3733" b="0" cap="none" baseline="0">
                <a:solidFill>
                  <a:schemeClr val="bg1"/>
                </a:solidFill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656D043-EF82-4215-BB9A-19693439C80A}"/>
              </a:ext>
            </a:extLst>
          </p:cNvPr>
          <p:cNvSpPr/>
          <p:nvPr userDrawn="1"/>
        </p:nvSpPr>
        <p:spPr>
          <a:xfrm>
            <a:off x="4055728" y="308585"/>
            <a:ext cx="4080544" cy="3355304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3200" dirty="0">
              <a:solidFill>
                <a:prstClr val="white"/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5A10A43D-CCC4-40BC-8296-0F3294119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72FFB891-CF05-4E00-A6D3-28B3330201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658351" y="6576977"/>
            <a:ext cx="6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Adani Regular" panose="02000503000000020004" pitchFamily="2" charset="0"/>
              </a:defRPr>
            </a:lvl1pPr>
          </a:lstStyle>
          <a:p>
            <a:endParaRPr lang="en-IN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E8C4C174-A85B-4B50-860D-771828DCAC70}"/>
              </a:ext>
            </a:extLst>
          </p:cNvPr>
          <p:cNvCxnSpPr/>
          <p:nvPr userDrawn="1"/>
        </p:nvCxnSpPr>
        <p:spPr>
          <a:xfrm>
            <a:off x="11707664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805809" y="1243454"/>
            <a:ext cx="1607379" cy="109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671312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061EE2C5-4AD3-4FC2-B071-74CA222E238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897577" y="2789524"/>
            <a:ext cx="8396857" cy="2620155"/>
          </a:xfrm>
          <a:custGeom>
            <a:avLst/>
            <a:gdLst>
              <a:gd name="connsiteX0" fmla="*/ 3417594 w 8396857"/>
              <a:gd name="connsiteY0" fmla="*/ 448554 h 2620154"/>
              <a:gd name="connsiteX1" fmla="*/ 3229829 w 8396857"/>
              <a:gd name="connsiteY1" fmla="*/ 474949 h 2620154"/>
              <a:gd name="connsiteX2" fmla="*/ 2915208 w 8396857"/>
              <a:gd name="connsiteY2" fmla="*/ 691645 h 2620154"/>
              <a:gd name="connsiteX3" fmla="*/ 2783270 w 8396857"/>
              <a:gd name="connsiteY3" fmla="*/ 1128135 h 2620154"/>
              <a:gd name="connsiteX4" fmla="*/ 2783270 w 8396857"/>
              <a:gd name="connsiteY4" fmla="*/ 1492021 h 2620154"/>
              <a:gd name="connsiteX5" fmla="*/ 2915208 w 8396857"/>
              <a:gd name="connsiteY5" fmla="*/ 1931270 h 2620154"/>
              <a:gd name="connsiteX6" fmla="*/ 3229829 w 8396857"/>
              <a:gd name="connsiteY6" fmla="*/ 2150900 h 2620154"/>
              <a:gd name="connsiteX7" fmla="*/ 3605349 w 8396857"/>
              <a:gd name="connsiteY7" fmla="*/ 2150900 h 2620154"/>
              <a:gd name="connsiteX8" fmla="*/ 3919981 w 8396857"/>
              <a:gd name="connsiteY8" fmla="*/ 1931270 h 2620154"/>
              <a:gd name="connsiteX9" fmla="*/ 4051918 w 8396857"/>
              <a:gd name="connsiteY9" fmla="*/ 1492021 h 2620154"/>
              <a:gd name="connsiteX10" fmla="*/ 4051918 w 8396857"/>
              <a:gd name="connsiteY10" fmla="*/ 1128135 h 2620154"/>
              <a:gd name="connsiteX11" fmla="*/ 3919981 w 8396857"/>
              <a:gd name="connsiteY11" fmla="*/ 694753 h 2620154"/>
              <a:gd name="connsiteX12" fmla="*/ 3605349 w 8396857"/>
              <a:gd name="connsiteY12" fmla="*/ 476514 h 2620154"/>
              <a:gd name="connsiteX13" fmla="*/ 3417594 w 8396857"/>
              <a:gd name="connsiteY13" fmla="*/ 448554 h 2620154"/>
              <a:gd name="connsiteX14" fmla="*/ 7345068 w 8396857"/>
              <a:gd name="connsiteY14" fmla="*/ 428956 h 2620154"/>
              <a:gd name="connsiteX15" fmla="*/ 6946342 w 8396857"/>
              <a:gd name="connsiteY15" fmla="*/ 530348 h 2620154"/>
              <a:gd name="connsiteX16" fmla="*/ 6771990 w 8396857"/>
              <a:gd name="connsiteY16" fmla="*/ 839909 h 2620154"/>
              <a:gd name="connsiteX17" fmla="*/ 6937786 w 8396857"/>
              <a:gd name="connsiteY17" fmla="*/ 1156667 h 2620154"/>
              <a:gd name="connsiteX18" fmla="*/ 7341460 w 8396857"/>
              <a:gd name="connsiteY18" fmla="*/ 1265265 h 2620154"/>
              <a:gd name="connsiteX19" fmla="*/ 7753690 w 8396857"/>
              <a:gd name="connsiteY19" fmla="*/ 1158027 h 2620154"/>
              <a:gd name="connsiteX20" fmla="*/ 7925344 w 8396857"/>
              <a:gd name="connsiteY20" fmla="*/ 839909 h 2620154"/>
              <a:gd name="connsiteX21" fmla="*/ 7750092 w 8396857"/>
              <a:gd name="connsiteY21" fmla="*/ 530348 h 2620154"/>
              <a:gd name="connsiteX22" fmla="*/ 7345068 w 8396857"/>
              <a:gd name="connsiteY22" fmla="*/ 428956 h 2620154"/>
              <a:gd name="connsiteX23" fmla="*/ 4753397 w 8396857"/>
              <a:gd name="connsiteY23" fmla="*/ 47507 h 2620154"/>
              <a:gd name="connsiteX24" fmla="*/ 5617625 w 8396857"/>
              <a:gd name="connsiteY24" fmla="*/ 47507 h 2620154"/>
              <a:gd name="connsiteX25" fmla="*/ 5617625 w 8396857"/>
              <a:gd name="connsiteY25" fmla="*/ 2169578 h 2620154"/>
              <a:gd name="connsiteX26" fmla="*/ 5967097 w 8396857"/>
              <a:gd name="connsiteY26" fmla="*/ 2169578 h 2620154"/>
              <a:gd name="connsiteX27" fmla="*/ 5967097 w 8396857"/>
              <a:gd name="connsiteY27" fmla="*/ 2572638 h 2620154"/>
              <a:gd name="connsiteX28" fmla="*/ 4767801 w 8396857"/>
              <a:gd name="connsiteY28" fmla="*/ 2572638 h 2620154"/>
              <a:gd name="connsiteX29" fmla="*/ 4767811 w 8396857"/>
              <a:gd name="connsiteY29" fmla="*/ 2169578 h 2620154"/>
              <a:gd name="connsiteX30" fmla="*/ 5146102 w 8396857"/>
              <a:gd name="connsiteY30" fmla="*/ 2169578 h 2620154"/>
              <a:gd name="connsiteX31" fmla="*/ 5146102 w 8396857"/>
              <a:gd name="connsiteY31" fmla="*/ 479396 h 2620154"/>
              <a:gd name="connsiteX32" fmla="*/ 4753397 w 8396857"/>
              <a:gd name="connsiteY32" fmla="*/ 479396 h 2620154"/>
              <a:gd name="connsiteX33" fmla="*/ 983336 w 8396857"/>
              <a:gd name="connsiteY33" fmla="*/ 18689 h 2620154"/>
              <a:gd name="connsiteX34" fmla="*/ 1480294 w 8396857"/>
              <a:gd name="connsiteY34" fmla="*/ 94022 h 2620154"/>
              <a:gd name="connsiteX35" fmla="*/ 1874593 w 8396857"/>
              <a:gd name="connsiteY35" fmla="*/ 347848 h 2620154"/>
              <a:gd name="connsiteX36" fmla="*/ 2035145 w 8396857"/>
              <a:gd name="connsiteY36" fmla="*/ 821906 h 2620154"/>
              <a:gd name="connsiteX37" fmla="*/ 1890480 w 8396857"/>
              <a:gd name="connsiteY37" fmla="*/ 1304839 h 2620154"/>
              <a:gd name="connsiteX38" fmla="*/ 1520879 w 8396857"/>
              <a:gd name="connsiteY38" fmla="*/ 1529989 h 2620154"/>
              <a:gd name="connsiteX39" fmla="*/ 1022981 w 8396857"/>
              <a:gd name="connsiteY39" fmla="*/ 1585469 h 2620154"/>
              <a:gd name="connsiteX40" fmla="*/ 788037 w 8396857"/>
              <a:gd name="connsiteY40" fmla="*/ 1609636 h 2620154"/>
              <a:gd name="connsiteX41" fmla="*/ 570707 w 8396857"/>
              <a:gd name="connsiteY41" fmla="*/ 1706733 h 2620154"/>
              <a:gd name="connsiteX42" fmla="*/ 475133 w 8396857"/>
              <a:gd name="connsiteY42" fmla="*/ 1913595 h 2620154"/>
              <a:gd name="connsiteX43" fmla="*/ 475133 w 8396857"/>
              <a:gd name="connsiteY43" fmla="*/ 2129943 h 2620154"/>
              <a:gd name="connsiteX44" fmla="*/ 2042352 w 8396857"/>
              <a:gd name="connsiteY44" fmla="*/ 2129943 h 2620154"/>
              <a:gd name="connsiteX45" fmla="*/ 2042352 w 8396857"/>
              <a:gd name="connsiteY45" fmla="*/ 2572638 h 2620154"/>
              <a:gd name="connsiteX46" fmla="*/ 0 w 8396857"/>
              <a:gd name="connsiteY46" fmla="*/ 2572638 h 2620154"/>
              <a:gd name="connsiteX47" fmla="*/ 0 w 8396857"/>
              <a:gd name="connsiteY47" fmla="*/ 2242815 h 2620154"/>
              <a:gd name="connsiteX48" fmla="*/ 0 w 8396857"/>
              <a:gd name="connsiteY48" fmla="*/ 1909986 h 2620154"/>
              <a:gd name="connsiteX49" fmla="*/ 154684 w 8396857"/>
              <a:gd name="connsiteY49" fmla="*/ 1457017 h 2620154"/>
              <a:gd name="connsiteX50" fmla="*/ 536695 w 8396857"/>
              <a:gd name="connsiteY50" fmla="*/ 1223454 h 2620154"/>
              <a:gd name="connsiteX51" fmla="*/ 1022981 w 8396857"/>
              <a:gd name="connsiteY51" fmla="*/ 1157178 h 2620154"/>
              <a:gd name="connsiteX52" fmla="*/ 1248049 w 8396857"/>
              <a:gd name="connsiteY52" fmla="*/ 1137949 h 2620154"/>
              <a:gd name="connsiteX53" fmla="*/ 1465910 w 8396857"/>
              <a:gd name="connsiteY53" fmla="*/ 1046627 h 2620154"/>
              <a:gd name="connsiteX54" fmla="*/ 1563632 w 8396857"/>
              <a:gd name="connsiteY54" fmla="*/ 832722 h 2620154"/>
              <a:gd name="connsiteX55" fmla="*/ 1398725 w 8396857"/>
              <a:gd name="connsiteY55" fmla="*/ 528099 h 2620154"/>
              <a:gd name="connsiteX56" fmla="*/ 990543 w 8396857"/>
              <a:gd name="connsiteY56" fmla="*/ 428956 h 2620154"/>
              <a:gd name="connsiteX57" fmla="*/ 644527 w 8396857"/>
              <a:gd name="connsiteY57" fmla="*/ 520411 h 2620154"/>
              <a:gd name="connsiteX58" fmla="*/ 482329 w 8396857"/>
              <a:gd name="connsiteY58" fmla="*/ 782037 h 2620154"/>
              <a:gd name="connsiteX59" fmla="*/ 10806 w 8396857"/>
              <a:gd name="connsiteY59" fmla="*/ 782037 h 2620154"/>
              <a:gd name="connsiteX60" fmla="*/ 161216 w 8396857"/>
              <a:gd name="connsiteY60" fmla="*/ 347285 h 2620154"/>
              <a:gd name="connsiteX61" fmla="*/ 525348 w 8396857"/>
              <a:gd name="connsiteY61" fmla="*/ 98172 h 2620154"/>
              <a:gd name="connsiteX62" fmla="*/ 983336 w 8396857"/>
              <a:gd name="connsiteY62" fmla="*/ 18689 h 2620154"/>
              <a:gd name="connsiteX63" fmla="*/ 7345068 w 8396857"/>
              <a:gd name="connsiteY63" fmla="*/ 4275 h 2620154"/>
              <a:gd name="connsiteX64" fmla="*/ 7846822 w 8396857"/>
              <a:gd name="connsiteY64" fmla="*/ 97079 h 2620154"/>
              <a:gd name="connsiteX65" fmla="*/ 8238708 w 8396857"/>
              <a:gd name="connsiteY65" fmla="*/ 377167 h 2620154"/>
              <a:gd name="connsiteX66" fmla="*/ 8396857 w 8396857"/>
              <a:gd name="connsiteY66" fmla="*/ 847116 h 2620154"/>
              <a:gd name="connsiteX67" fmla="*/ 8396857 w 8396857"/>
              <a:gd name="connsiteY67" fmla="*/ 1787485 h 2620154"/>
              <a:gd name="connsiteX68" fmla="*/ 8243247 w 8396857"/>
              <a:gd name="connsiteY68" fmla="*/ 2251065 h 2620154"/>
              <a:gd name="connsiteX69" fmla="*/ 7859110 w 8396857"/>
              <a:gd name="connsiteY69" fmla="*/ 2523312 h 2620154"/>
              <a:gd name="connsiteX70" fmla="*/ 7359483 w 8396857"/>
              <a:gd name="connsiteY70" fmla="*/ 2612272 h 2620154"/>
              <a:gd name="connsiteX71" fmla="*/ 6844236 w 8396857"/>
              <a:gd name="connsiteY71" fmla="*/ 2536653 h 2620154"/>
              <a:gd name="connsiteX72" fmla="*/ 6461284 w 8396857"/>
              <a:gd name="connsiteY72" fmla="*/ 2295412 h 2620154"/>
              <a:gd name="connsiteX73" fmla="*/ 6311263 w 8396857"/>
              <a:gd name="connsiteY73" fmla="*/ 1866937 h 2620154"/>
              <a:gd name="connsiteX74" fmla="*/ 6786404 w 8396857"/>
              <a:gd name="connsiteY74" fmla="*/ 1866937 h 2620154"/>
              <a:gd name="connsiteX75" fmla="*/ 6873044 w 8396857"/>
              <a:gd name="connsiteY75" fmla="*/ 2052975 h 2620154"/>
              <a:gd name="connsiteX76" fmla="*/ 7085426 w 8396857"/>
              <a:gd name="connsiteY76" fmla="*/ 2164650 h 2620154"/>
              <a:gd name="connsiteX77" fmla="*/ 7352276 w 8396857"/>
              <a:gd name="connsiteY77" fmla="*/ 2201995 h 2620154"/>
              <a:gd name="connsiteX78" fmla="*/ 7627396 w 8396857"/>
              <a:gd name="connsiteY78" fmla="*/ 2154182 h 2620154"/>
              <a:gd name="connsiteX79" fmla="*/ 7840044 w 8396857"/>
              <a:gd name="connsiteY79" fmla="*/ 2009415 h 2620154"/>
              <a:gd name="connsiteX80" fmla="*/ 7925344 w 8396857"/>
              <a:gd name="connsiteY80" fmla="*/ 1776505 h 2620154"/>
              <a:gd name="connsiteX81" fmla="*/ 7925344 w 8396857"/>
              <a:gd name="connsiteY81" fmla="*/ 1412824 h 2620154"/>
              <a:gd name="connsiteX82" fmla="*/ 7665844 w 8396857"/>
              <a:gd name="connsiteY82" fmla="*/ 1610760 h 2620154"/>
              <a:gd name="connsiteX83" fmla="*/ 7341460 w 8396857"/>
              <a:gd name="connsiteY83" fmla="*/ 1679142 h 2620154"/>
              <a:gd name="connsiteX84" fmla="*/ 6845708 w 8396857"/>
              <a:gd name="connsiteY84" fmla="*/ 1600875 h 2620154"/>
              <a:gd name="connsiteX85" fmla="*/ 6457420 w 8396857"/>
              <a:gd name="connsiteY85" fmla="*/ 1336100 h 2620154"/>
              <a:gd name="connsiteX86" fmla="*/ 6300467 w 8396857"/>
              <a:gd name="connsiteY86" fmla="*/ 839909 h 2620154"/>
              <a:gd name="connsiteX87" fmla="*/ 6458350 w 8396857"/>
              <a:gd name="connsiteY87" fmla="*/ 375030 h 2620154"/>
              <a:gd name="connsiteX88" fmla="*/ 6848376 w 8396857"/>
              <a:gd name="connsiteY88" fmla="*/ 96813 h 2620154"/>
              <a:gd name="connsiteX89" fmla="*/ 7345068 w 8396857"/>
              <a:gd name="connsiteY89" fmla="*/ 4275 h 2620154"/>
              <a:gd name="connsiteX90" fmla="*/ 3417594 w 8396857"/>
              <a:gd name="connsiteY90" fmla="*/ 1 h 2620154"/>
              <a:gd name="connsiteX91" fmla="*/ 3744923 w 8396857"/>
              <a:gd name="connsiteY91" fmla="*/ 45381 h 2620154"/>
              <a:gd name="connsiteX92" fmla="*/ 4293415 w 8396857"/>
              <a:gd name="connsiteY92" fmla="*/ 406640 h 2620154"/>
              <a:gd name="connsiteX93" fmla="*/ 4523432 w 8396857"/>
              <a:gd name="connsiteY93" fmla="*/ 1128135 h 2620154"/>
              <a:gd name="connsiteX94" fmla="*/ 4523432 w 8396857"/>
              <a:gd name="connsiteY94" fmla="*/ 1492021 h 2620154"/>
              <a:gd name="connsiteX95" fmla="*/ 4293415 w 8396857"/>
              <a:gd name="connsiteY95" fmla="*/ 2213506 h 2620154"/>
              <a:gd name="connsiteX96" fmla="*/ 3744923 w 8396857"/>
              <a:gd name="connsiteY96" fmla="*/ 2574764 h 2620154"/>
              <a:gd name="connsiteX97" fmla="*/ 3090266 w 8396857"/>
              <a:gd name="connsiteY97" fmla="*/ 2575286 h 2620154"/>
              <a:gd name="connsiteX98" fmla="*/ 2541763 w 8396857"/>
              <a:gd name="connsiteY98" fmla="*/ 2214538 h 2620154"/>
              <a:gd name="connsiteX99" fmla="*/ 2311757 w 8396857"/>
              <a:gd name="connsiteY99" fmla="*/ 1492021 h 2620154"/>
              <a:gd name="connsiteX100" fmla="*/ 2311757 w 8396857"/>
              <a:gd name="connsiteY100" fmla="*/ 1128135 h 2620154"/>
              <a:gd name="connsiteX101" fmla="*/ 2541763 w 8396857"/>
              <a:gd name="connsiteY101" fmla="*/ 405607 h 2620154"/>
              <a:gd name="connsiteX102" fmla="*/ 3090266 w 8396857"/>
              <a:gd name="connsiteY102" fmla="*/ 44860 h 2620154"/>
              <a:gd name="connsiteX103" fmla="*/ 3417594 w 8396857"/>
              <a:gd name="connsiteY103" fmla="*/ 1 h 2620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8396857" h="2620154">
                <a:moveTo>
                  <a:pt x="3417594" y="448554"/>
                </a:moveTo>
                <a:cubicBezTo>
                  <a:pt x="3355010" y="448288"/>
                  <a:pt x="3292425" y="457090"/>
                  <a:pt x="3229829" y="474949"/>
                </a:cubicBezTo>
                <a:cubicBezTo>
                  <a:pt x="3104660" y="510679"/>
                  <a:pt x="2999782" y="582914"/>
                  <a:pt x="2915208" y="691645"/>
                </a:cubicBezTo>
                <a:cubicBezTo>
                  <a:pt x="2830633" y="800377"/>
                  <a:pt x="2786654" y="945870"/>
                  <a:pt x="2783270" y="1128135"/>
                </a:cubicBezTo>
                <a:lnTo>
                  <a:pt x="2783270" y="1492021"/>
                </a:lnTo>
                <a:cubicBezTo>
                  <a:pt x="2786654" y="1675042"/>
                  <a:pt x="2830633" y="1821455"/>
                  <a:pt x="2915208" y="1931270"/>
                </a:cubicBezTo>
                <a:cubicBezTo>
                  <a:pt x="2999782" y="2041085"/>
                  <a:pt x="3104660" y="2114292"/>
                  <a:pt x="3229829" y="2150900"/>
                </a:cubicBezTo>
                <a:cubicBezTo>
                  <a:pt x="3355010" y="2187509"/>
                  <a:pt x="3480179" y="2187509"/>
                  <a:pt x="3605349" y="2150900"/>
                </a:cubicBezTo>
                <a:cubicBezTo>
                  <a:pt x="3730529" y="2114292"/>
                  <a:pt x="3835396" y="2041085"/>
                  <a:pt x="3919981" y="1931270"/>
                </a:cubicBezTo>
                <a:cubicBezTo>
                  <a:pt x="4004555" y="1821455"/>
                  <a:pt x="4048535" y="1675042"/>
                  <a:pt x="4051918" y="1492021"/>
                </a:cubicBezTo>
                <a:lnTo>
                  <a:pt x="4051918" y="1128135"/>
                </a:lnTo>
                <a:cubicBezTo>
                  <a:pt x="4048535" y="947945"/>
                  <a:pt x="4004555" y="803485"/>
                  <a:pt x="3919981" y="694753"/>
                </a:cubicBezTo>
                <a:cubicBezTo>
                  <a:pt x="3835396" y="586022"/>
                  <a:pt x="3730529" y="513275"/>
                  <a:pt x="3605349" y="476514"/>
                </a:cubicBezTo>
                <a:cubicBezTo>
                  <a:pt x="3542764" y="458133"/>
                  <a:pt x="3480179" y="448809"/>
                  <a:pt x="3417594" y="448554"/>
                </a:cubicBezTo>
                <a:close/>
                <a:moveTo>
                  <a:pt x="7345068" y="428956"/>
                </a:moveTo>
                <a:cubicBezTo>
                  <a:pt x="7190304" y="428732"/>
                  <a:pt x="7057394" y="462529"/>
                  <a:pt x="6946342" y="530348"/>
                </a:cubicBezTo>
                <a:cubicBezTo>
                  <a:pt x="6835291" y="598157"/>
                  <a:pt x="6777174" y="701347"/>
                  <a:pt x="6771990" y="839909"/>
                </a:cubicBezTo>
                <a:cubicBezTo>
                  <a:pt x="6775896" y="979064"/>
                  <a:pt x="6831160" y="1084646"/>
                  <a:pt x="6937786" y="1156667"/>
                </a:cubicBezTo>
                <a:cubicBezTo>
                  <a:pt x="7044412" y="1228688"/>
                  <a:pt x="7178966" y="1264887"/>
                  <a:pt x="7341460" y="1265265"/>
                </a:cubicBezTo>
                <a:cubicBezTo>
                  <a:pt x="7504782" y="1265112"/>
                  <a:pt x="7642188" y="1229362"/>
                  <a:pt x="7753690" y="1158027"/>
                </a:cubicBezTo>
                <a:cubicBezTo>
                  <a:pt x="7865192" y="1086681"/>
                  <a:pt x="7922410" y="980638"/>
                  <a:pt x="7925344" y="839909"/>
                </a:cubicBezTo>
                <a:cubicBezTo>
                  <a:pt x="7918964" y="701347"/>
                  <a:pt x="7860550" y="598157"/>
                  <a:pt x="7750092" y="530348"/>
                </a:cubicBezTo>
                <a:cubicBezTo>
                  <a:pt x="7639632" y="462529"/>
                  <a:pt x="7504628" y="428732"/>
                  <a:pt x="7345068" y="428956"/>
                </a:cubicBezTo>
                <a:close/>
                <a:moveTo>
                  <a:pt x="4753397" y="47507"/>
                </a:moveTo>
                <a:lnTo>
                  <a:pt x="5617625" y="47507"/>
                </a:lnTo>
                <a:lnTo>
                  <a:pt x="5617625" y="2169578"/>
                </a:lnTo>
                <a:lnTo>
                  <a:pt x="5967097" y="2169578"/>
                </a:lnTo>
                <a:lnTo>
                  <a:pt x="5967097" y="2572638"/>
                </a:lnTo>
                <a:lnTo>
                  <a:pt x="4767801" y="2572638"/>
                </a:lnTo>
                <a:lnTo>
                  <a:pt x="4767811" y="2169578"/>
                </a:lnTo>
                <a:lnTo>
                  <a:pt x="5146102" y="2169578"/>
                </a:lnTo>
                <a:lnTo>
                  <a:pt x="5146102" y="479396"/>
                </a:lnTo>
                <a:lnTo>
                  <a:pt x="4753397" y="479396"/>
                </a:lnTo>
                <a:close/>
                <a:moveTo>
                  <a:pt x="983336" y="18689"/>
                </a:moveTo>
                <a:cubicBezTo>
                  <a:pt x="1155173" y="17523"/>
                  <a:pt x="1320826" y="42641"/>
                  <a:pt x="1480294" y="94022"/>
                </a:cubicBezTo>
                <a:cubicBezTo>
                  <a:pt x="1639762" y="145402"/>
                  <a:pt x="1771188" y="230018"/>
                  <a:pt x="1874593" y="347848"/>
                </a:cubicBezTo>
                <a:cubicBezTo>
                  <a:pt x="1977988" y="465687"/>
                  <a:pt x="2031505" y="623704"/>
                  <a:pt x="2035145" y="821906"/>
                </a:cubicBezTo>
                <a:cubicBezTo>
                  <a:pt x="2032466" y="1033194"/>
                  <a:pt x="1984245" y="1194165"/>
                  <a:pt x="1890480" y="1304839"/>
                </a:cubicBezTo>
                <a:cubicBezTo>
                  <a:pt x="1796715" y="1415512"/>
                  <a:pt x="1673508" y="1490559"/>
                  <a:pt x="1520879" y="1529989"/>
                </a:cubicBezTo>
                <a:cubicBezTo>
                  <a:pt x="1368240" y="1569419"/>
                  <a:pt x="1202271" y="1587912"/>
                  <a:pt x="1022981" y="1585469"/>
                </a:cubicBezTo>
                <a:cubicBezTo>
                  <a:pt x="950408" y="1584436"/>
                  <a:pt x="872090" y="1592502"/>
                  <a:pt x="788037" y="1609636"/>
                </a:cubicBezTo>
                <a:cubicBezTo>
                  <a:pt x="703984" y="1626780"/>
                  <a:pt x="631533" y="1659135"/>
                  <a:pt x="570707" y="1706733"/>
                </a:cubicBezTo>
                <a:cubicBezTo>
                  <a:pt x="509891" y="1754321"/>
                  <a:pt x="478026" y="1823275"/>
                  <a:pt x="475133" y="1913595"/>
                </a:cubicBezTo>
                <a:lnTo>
                  <a:pt x="475133" y="2129943"/>
                </a:lnTo>
                <a:lnTo>
                  <a:pt x="2042352" y="2129943"/>
                </a:lnTo>
                <a:lnTo>
                  <a:pt x="2042352" y="2572638"/>
                </a:lnTo>
                <a:lnTo>
                  <a:pt x="0" y="2572638"/>
                </a:lnTo>
                <a:cubicBezTo>
                  <a:pt x="0" y="2462946"/>
                  <a:pt x="0" y="2353008"/>
                  <a:pt x="0" y="2242815"/>
                </a:cubicBezTo>
                <a:cubicBezTo>
                  <a:pt x="0" y="2132622"/>
                  <a:pt x="0" y="2021682"/>
                  <a:pt x="0" y="1909986"/>
                </a:cubicBezTo>
                <a:cubicBezTo>
                  <a:pt x="3425" y="1718081"/>
                  <a:pt x="54979" y="1567098"/>
                  <a:pt x="154684" y="1457017"/>
                </a:cubicBezTo>
                <a:cubicBezTo>
                  <a:pt x="254388" y="1346937"/>
                  <a:pt x="381725" y="1269079"/>
                  <a:pt x="536695" y="1223454"/>
                </a:cubicBezTo>
                <a:cubicBezTo>
                  <a:pt x="691665" y="1177818"/>
                  <a:pt x="853760" y="1155737"/>
                  <a:pt x="1022981" y="1157178"/>
                </a:cubicBezTo>
                <a:cubicBezTo>
                  <a:pt x="1089787" y="1158579"/>
                  <a:pt x="1164814" y="1152169"/>
                  <a:pt x="1248049" y="1137949"/>
                </a:cubicBezTo>
                <a:cubicBezTo>
                  <a:pt x="1331284" y="1123729"/>
                  <a:pt x="1403898" y="1093285"/>
                  <a:pt x="1465910" y="1046627"/>
                </a:cubicBezTo>
                <a:cubicBezTo>
                  <a:pt x="1527923" y="999959"/>
                  <a:pt x="1560493" y="928654"/>
                  <a:pt x="1563632" y="832722"/>
                </a:cubicBezTo>
                <a:cubicBezTo>
                  <a:pt x="1560023" y="696031"/>
                  <a:pt x="1505064" y="594486"/>
                  <a:pt x="1398725" y="528099"/>
                </a:cubicBezTo>
                <a:cubicBezTo>
                  <a:pt x="1292406" y="461701"/>
                  <a:pt x="1156339" y="428660"/>
                  <a:pt x="990543" y="428956"/>
                </a:cubicBezTo>
                <a:cubicBezTo>
                  <a:pt x="860783" y="429488"/>
                  <a:pt x="745448" y="459973"/>
                  <a:pt x="644527" y="520411"/>
                </a:cubicBezTo>
                <a:cubicBezTo>
                  <a:pt x="543606" y="580849"/>
                  <a:pt x="489547" y="668051"/>
                  <a:pt x="482329" y="782037"/>
                </a:cubicBezTo>
                <a:lnTo>
                  <a:pt x="10806" y="782037"/>
                </a:lnTo>
                <a:cubicBezTo>
                  <a:pt x="15335" y="604842"/>
                  <a:pt x="65468" y="459932"/>
                  <a:pt x="161216" y="347285"/>
                </a:cubicBezTo>
                <a:cubicBezTo>
                  <a:pt x="256964" y="234639"/>
                  <a:pt x="378341" y="151608"/>
                  <a:pt x="525348" y="98172"/>
                </a:cubicBezTo>
                <a:cubicBezTo>
                  <a:pt x="672354" y="44737"/>
                  <a:pt x="825013" y="18239"/>
                  <a:pt x="983336" y="18689"/>
                </a:cubicBezTo>
                <a:close/>
                <a:moveTo>
                  <a:pt x="7345068" y="4275"/>
                </a:moveTo>
                <a:cubicBezTo>
                  <a:pt x="7520310" y="4203"/>
                  <a:pt x="7687558" y="35138"/>
                  <a:pt x="7846822" y="97079"/>
                </a:cubicBezTo>
                <a:cubicBezTo>
                  <a:pt x="8006084" y="159009"/>
                  <a:pt x="8136714" y="252375"/>
                  <a:pt x="8238708" y="377167"/>
                </a:cubicBezTo>
                <a:cubicBezTo>
                  <a:pt x="8340702" y="501969"/>
                  <a:pt x="8393422" y="658615"/>
                  <a:pt x="8396857" y="847116"/>
                </a:cubicBezTo>
                <a:lnTo>
                  <a:pt x="8396857" y="1787485"/>
                </a:lnTo>
                <a:cubicBezTo>
                  <a:pt x="8393667" y="1974575"/>
                  <a:pt x="8342460" y="2129105"/>
                  <a:pt x="8243247" y="2251065"/>
                </a:cubicBezTo>
                <a:cubicBezTo>
                  <a:pt x="8144033" y="2373035"/>
                  <a:pt x="8015980" y="2463784"/>
                  <a:pt x="7859110" y="2523312"/>
                </a:cubicBezTo>
                <a:cubicBezTo>
                  <a:pt x="7702218" y="2582840"/>
                  <a:pt x="7535686" y="2612497"/>
                  <a:pt x="7359483" y="2612272"/>
                </a:cubicBezTo>
                <a:cubicBezTo>
                  <a:pt x="7174069" y="2612865"/>
                  <a:pt x="7002324" y="2587666"/>
                  <a:pt x="6844236" y="2536653"/>
                </a:cubicBezTo>
                <a:cubicBezTo>
                  <a:pt x="6686148" y="2485651"/>
                  <a:pt x="6558494" y="2405237"/>
                  <a:pt x="6461284" y="2295412"/>
                </a:cubicBezTo>
                <a:cubicBezTo>
                  <a:pt x="6364064" y="2185597"/>
                  <a:pt x="6314064" y="2042772"/>
                  <a:pt x="6311263" y="1866937"/>
                </a:cubicBezTo>
                <a:lnTo>
                  <a:pt x="6786404" y="1866937"/>
                </a:lnTo>
                <a:cubicBezTo>
                  <a:pt x="6788388" y="1941350"/>
                  <a:pt x="6817268" y="2003363"/>
                  <a:pt x="6873044" y="2052975"/>
                </a:cubicBezTo>
                <a:cubicBezTo>
                  <a:pt x="6928820" y="2102597"/>
                  <a:pt x="6999614" y="2139819"/>
                  <a:pt x="7085426" y="2164650"/>
                </a:cubicBezTo>
                <a:cubicBezTo>
                  <a:pt x="7171238" y="2189482"/>
                  <a:pt x="7260188" y="2201933"/>
                  <a:pt x="7352276" y="2201995"/>
                </a:cubicBezTo>
                <a:cubicBezTo>
                  <a:pt x="7448985" y="2202955"/>
                  <a:pt x="7540695" y="2187018"/>
                  <a:pt x="7627396" y="2154182"/>
                </a:cubicBezTo>
                <a:cubicBezTo>
                  <a:pt x="7714096" y="2121356"/>
                  <a:pt x="7784982" y="2073093"/>
                  <a:pt x="7840044" y="2009415"/>
                </a:cubicBezTo>
                <a:cubicBezTo>
                  <a:pt x="7895104" y="1945736"/>
                  <a:pt x="7923534" y="1868093"/>
                  <a:pt x="7925344" y="1776505"/>
                </a:cubicBezTo>
                <a:lnTo>
                  <a:pt x="7925344" y="1412824"/>
                </a:lnTo>
                <a:cubicBezTo>
                  <a:pt x="7864528" y="1499494"/>
                  <a:pt x="7778021" y="1565473"/>
                  <a:pt x="7665844" y="1610760"/>
                </a:cubicBezTo>
                <a:cubicBezTo>
                  <a:pt x="7553658" y="1656048"/>
                  <a:pt x="7445530" y="1678835"/>
                  <a:pt x="7341460" y="1679142"/>
                </a:cubicBezTo>
                <a:cubicBezTo>
                  <a:pt x="7168620" y="1680389"/>
                  <a:pt x="7003366" y="1654300"/>
                  <a:pt x="6845708" y="1600875"/>
                </a:cubicBezTo>
                <a:cubicBezTo>
                  <a:pt x="6688050" y="1547439"/>
                  <a:pt x="6558617" y="1459185"/>
                  <a:pt x="6457420" y="1336100"/>
                </a:cubicBezTo>
                <a:cubicBezTo>
                  <a:pt x="6356223" y="1213026"/>
                  <a:pt x="6303912" y="1047619"/>
                  <a:pt x="6300467" y="839909"/>
                </a:cubicBezTo>
                <a:cubicBezTo>
                  <a:pt x="6303953" y="653759"/>
                  <a:pt x="6356581" y="498810"/>
                  <a:pt x="6458350" y="375030"/>
                </a:cubicBezTo>
                <a:cubicBezTo>
                  <a:pt x="6560130" y="251261"/>
                  <a:pt x="6690135" y="158518"/>
                  <a:pt x="6848376" y="96813"/>
                </a:cubicBezTo>
                <a:cubicBezTo>
                  <a:pt x="7006618" y="35097"/>
                  <a:pt x="7172178" y="4254"/>
                  <a:pt x="7345068" y="4275"/>
                </a:cubicBezTo>
                <a:close/>
                <a:moveTo>
                  <a:pt x="3417594" y="1"/>
                </a:moveTo>
                <a:cubicBezTo>
                  <a:pt x="3526704" y="83"/>
                  <a:pt x="3635814" y="15213"/>
                  <a:pt x="3744923" y="45381"/>
                </a:cubicBezTo>
                <a:cubicBezTo>
                  <a:pt x="3963142" y="105727"/>
                  <a:pt x="4145970" y="226143"/>
                  <a:pt x="4293415" y="406640"/>
                </a:cubicBezTo>
                <a:cubicBezTo>
                  <a:pt x="4440861" y="587146"/>
                  <a:pt x="4517533" y="827641"/>
                  <a:pt x="4523432" y="1128135"/>
                </a:cubicBezTo>
                <a:lnTo>
                  <a:pt x="4523432" y="1492021"/>
                </a:lnTo>
                <a:cubicBezTo>
                  <a:pt x="4517533" y="1792504"/>
                  <a:pt x="4440861" y="2032999"/>
                  <a:pt x="4293415" y="2213506"/>
                </a:cubicBezTo>
                <a:cubicBezTo>
                  <a:pt x="4145970" y="2394002"/>
                  <a:pt x="3963142" y="2514428"/>
                  <a:pt x="3744923" y="2574764"/>
                </a:cubicBezTo>
                <a:cubicBezTo>
                  <a:pt x="3526704" y="2635110"/>
                  <a:pt x="3308485" y="2635284"/>
                  <a:pt x="3090266" y="2575286"/>
                </a:cubicBezTo>
                <a:cubicBezTo>
                  <a:pt x="2872047" y="2515287"/>
                  <a:pt x="2689209" y="2395045"/>
                  <a:pt x="2541763" y="2214538"/>
                </a:cubicBezTo>
                <a:cubicBezTo>
                  <a:pt x="2394318" y="2034042"/>
                  <a:pt x="2317646" y="1793199"/>
                  <a:pt x="2311757" y="1492021"/>
                </a:cubicBezTo>
                <a:lnTo>
                  <a:pt x="2311757" y="1128135"/>
                </a:lnTo>
                <a:cubicBezTo>
                  <a:pt x="2317646" y="826946"/>
                  <a:pt x="2394318" y="586104"/>
                  <a:pt x="2541763" y="405607"/>
                </a:cubicBezTo>
                <a:cubicBezTo>
                  <a:pt x="2689209" y="225111"/>
                  <a:pt x="2872047" y="104858"/>
                  <a:pt x="3090266" y="44860"/>
                </a:cubicBezTo>
                <a:cubicBezTo>
                  <a:pt x="3199375" y="14866"/>
                  <a:pt x="3308485" y="-91"/>
                  <a:pt x="3417594" y="1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1682447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9E28A4EF-85C1-4B4B-BEE0-C003486478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815285" y="3589666"/>
            <a:ext cx="2099849" cy="2612308"/>
          </a:xfrm>
          <a:custGeom>
            <a:avLst/>
            <a:gdLst>
              <a:gd name="connsiteX0" fmla="*/ 1046319 w 2099849"/>
              <a:gd name="connsiteY0" fmla="*/ 425385 h 2612308"/>
              <a:gd name="connsiteX1" fmla="*/ 646935 w 2099849"/>
              <a:gd name="connsiteY1" fmla="*/ 526936 h 2612308"/>
              <a:gd name="connsiteX2" fmla="*/ 472294 w 2099849"/>
              <a:gd name="connsiteY2" fmla="*/ 837008 h 2612308"/>
              <a:gd name="connsiteX3" fmla="*/ 638363 w 2099849"/>
              <a:gd name="connsiteY3" fmla="*/ 1154298 h 2612308"/>
              <a:gd name="connsiteX4" fmla="*/ 1042703 w 2099849"/>
              <a:gd name="connsiteY4" fmla="*/ 1263067 h 2612308"/>
              <a:gd name="connsiteX5" fmla="*/ 1455617 w 2099849"/>
              <a:gd name="connsiteY5" fmla="*/ 1155653 h 2612308"/>
              <a:gd name="connsiteX6" fmla="*/ 1627549 w 2099849"/>
              <a:gd name="connsiteY6" fmla="*/ 837008 h 2612308"/>
              <a:gd name="connsiteX7" fmla="*/ 1452008 w 2099849"/>
              <a:gd name="connsiteY7" fmla="*/ 526936 h 2612308"/>
              <a:gd name="connsiteX8" fmla="*/ 1046319 w 2099849"/>
              <a:gd name="connsiteY8" fmla="*/ 425385 h 2612308"/>
              <a:gd name="connsiteX9" fmla="*/ 1046319 w 2099849"/>
              <a:gd name="connsiteY9" fmla="*/ 1 h 2612308"/>
              <a:gd name="connsiteX10" fmla="*/ 1548903 w 2099849"/>
              <a:gd name="connsiteY10" fmla="*/ 92953 h 2612308"/>
              <a:gd name="connsiteX11" fmla="*/ 1941435 w 2099849"/>
              <a:gd name="connsiteY11" fmla="*/ 373512 h 2612308"/>
              <a:gd name="connsiteX12" fmla="*/ 2099849 w 2099849"/>
              <a:gd name="connsiteY12" fmla="*/ 844226 h 2612308"/>
              <a:gd name="connsiteX13" fmla="*/ 2099849 w 2099849"/>
              <a:gd name="connsiteY13" fmla="*/ 1786149 h 2612308"/>
              <a:gd name="connsiteX14" fmla="*/ 1945982 w 2099849"/>
              <a:gd name="connsiteY14" fmla="*/ 2250500 h 2612308"/>
              <a:gd name="connsiteX15" fmla="*/ 1561201 w 2099849"/>
              <a:gd name="connsiteY15" fmla="*/ 2523192 h 2612308"/>
              <a:gd name="connsiteX16" fmla="*/ 1060755 w 2099849"/>
              <a:gd name="connsiteY16" fmla="*/ 2612298 h 2612308"/>
              <a:gd name="connsiteX17" fmla="*/ 544659 w 2099849"/>
              <a:gd name="connsiteY17" fmla="*/ 2536555 h 2612308"/>
              <a:gd name="connsiteX18" fmla="*/ 161079 w 2099849"/>
              <a:gd name="connsiteY18" fmla="*/ 2294918 h 2612308"/>
              <a:gd name="connsiteX19" fmla="*/ 10814 w 2099849"/>
              <a:gd name="connsiteY19" fmla="*/ 1865732 h 2612308"/>
              <a:gd name="connsiteX20" fmla="*/ 486736 w 2099849"/>
              <a:gd name="connsiteY20" fmla="*/ 1865732 h 2612308"/>
              <a:gd name="connsiteX21" fmla="*/ 573511 w 2099849"/>
              <a:gd name="connsiteY21" fmla="*/ 2052079 h 2612308"/>
              <a:gd name="connsiteX22" fmla="*/ 786251 w 2099849"/>
              <a:gd name="connsiteY22" fmla="*/ 2163937 h 2612308"/>
              <a:gd name="connsiteX23" fmla="*/ 1053537 w 2099849"/>
              <a:gd name="connsiteY23" fmla="*/ 2201349 h 2612308"/>
              <a:gd name="connsiteX24" fmla="*/ 1329112 w 2099849"/>
              <a:gd name="connsiteY24" fmla="*/ 2153457 h 2612308"/>
              <a:gd name="connsiteX25" fmla="*/ 1542109 w 2099849"/>
              <a:gd name="connsiteY25" fmla="*/ 2008445 h 2612308"/>
              <a:gd name="connsiteX26" fmla="*/ 1627549 w 2099849"/>
              <a:gd name="connsiteY26" fmla="*/ 1775149 h 2612308"/>
              <a:gd name="connsiteX27" fmla="*/ 1627549 w 2099849"/>
              <a:gd name="connsiteY27" fmla="*/ 1410866 h 2612308"/>
              <a:gd name="connsiteX28" fmla="*/ 1367622 w 2099849"/>
              <a:gd name="connsiteY28" fmla="*/ 1609132 h 2612308"/>
              <a:gd name="connsiteX29" fmla="*/ 1042703 w 2099849"/>
              <a:gd name="connsiteY29" fmla="*/ 1677625 h 2612308"/>
              <a:gd name="connsiteX30" fmla="*/ 546136 w 2099849"/>
              <a:gd name="connsiteY30" fmla="*/ 1599230 h 2612308"/>
              <a:gd name="connsiteX31" fmla="*/ 157207 w 2099849"/>
              <a:gd name="connsiteY31" fmla="*/ 1334025 h 2612308"/>
              <a:gd name="connsiteX32" fmla="*/ 0 w 2099849"/>
              <a:gd name="connsiteY32" fmla="*/ 837008 h 2612308"/>
              <a:gd name="connsiteX33" fmla="*/ 158144 w 2099849"/>
              <a:gd name="connsiteY33" fmla="*/ 371373 h 2612308"/>
              <a:gd name="connsiteX34" fmla="*/ 548807 w 2099849"/>
              <a:gd name="connsiteY34" fmla="*/ 92683 h 2612308"/>
              <a:gd name="connsiteX35" fmla="*/ 1046319 w 2099849"/>
              <a:gd name="connsiteY35" fmla="*/ 1 h 2612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2099849" h="2612308">
                <a:moveTo>
                  <a:pt x="1046319" y="425385"/>
                </a:moveTo>
                <a:cubicBezTo>
                  <a:pt x="891302" y="425160"/>
                  <a:pt x="758176" y="459008"/>
                  <a:pt x="646935" y="526936"/>
                </a:cubicBezTo>
                <a:cubicBezTo>
                  <a:pt x="535701" y="594863"/>
                  <a:pt x="477483" y="698219"/>
                  <a:pt x="472294" y="837008"/>
                </a:cubicBezTo>
                <a:cubicBezTo>
                  <a:pt x="476205" y="976395"/>
                  <a:pt x="531559" y="1082158"/>
                  <a:pt x="638363" y="1154298"/>
                </a:cubicBezTo>
                <a:cubicBezTo>
                  <a:pt x="745166" y="1226438"/>
                  <a:pt x="879949" y="1262694"/>
                  <a:pt x="1042703" y="1263067"/>
                </a:cubicBezTo>
                <a:cubicBezTo>
                  <a:pt x="1206293" y="1262919"/>
                  <a:pt x="1343927" y="1227112"/>
                  <a:pt x="1455617" y="1155653"/>
                </a:cubicBezTo>
                <a:cubicBezTo>
                  <a:pt x="1567301" y="1084187"/>
                  <a:pt x="1624614" y="977975"/>
                  <a:pt x="1627549" y="837008"/>
                </a:cubicBezTo>
                <a:cubicBezTo>
                  <a:pt x="1621159" y="698219"/>
                  <a:pt x="1562646" y="594863"/>
                  <a:pt x="1452008" y="526936"/>
                </a:cubicBezTo>
                <a:cubicBezTo>
                  <a:pt x="1341371" y="459008"/>
                  <a:pt x="1206145" y="425160"/>
                  <a:pt x="1046319" y="425385"/>
                </a:cubicBezTo>
                <a:close/>
                <a:moveTo>
                  <a:pt x="1046319" y="1"/>
                </a:moveTo>
                <a:cubicBezTo>
                  <a:pt x="1221846" y="-70"/>
                  <a:pt x="1389379" y="30914"/>
                  <a:pt x="1548903" y="92953"/>
                </a:cubicBezTo>
                <a:cubicBezTo>
                  <a:pt x="1708428" y="154992"/>
                  <a:pt x="1839274" y="248509"/>
                  <a:pt x="1941435" y="373512"/>
                </a:cubicBezTo>
                <a:cubicBezTo>
                  <a:pt x="2043596" y="498508"/>
                  <a:pt x="2096401" y="655419"/>
                  <a:pt x="2099849" y="844226"/>
                </a:cubicBezTo>
                <a:lnTo>
                  <a:pt x="2099849" y="1786149"/>
                </a:lnTo>
                <a:cubicBezTo>
                  <a:pt x="2096645" y="1973544"/>
                  <a:pt x="2045355" y="2128329"/>
                  <a:pt x="1945982" y="2250500"/>
                </a:cubicBezTo>
                <a:cubicBezTo>
                  <a:pt x="1846601" y="2372664"/>
                  <a:pt x="1718343" y="2463561"/>
                  <a:pt x="1561201" y="2523192"/>
                </a:cubicBezTo>
                <a:cubicBezTo>
                  <a:pt x="1404065" y="2582816"/>
                  <a:pt x="1237245" y="2612522"/>
                  <a:pt x="1060755" y="2612298"/>
                </a:cubicBezTo>
                <a:cubicBezTo>
                  <a:pt x="875043" y="2612895"/>
                  <a:pt x="703009" y="2587652"/>
                  <a:pt x="544659" y="2536555"/>
                </a:cubicBezTo>
                <a:cubicBezTo>
                  <a:pt x="386316" y="2485465"/>
                  <a:pt x="258449" y="2404919"/>
                  <a:pt x="161079" y="2294918"/>
                </a:cubicBezTo>
                <a:cubicBezTo>
                  <a:pt x="63702" y="2184916"/>
                  <a:pt x="13614" y="2041856"/>
                  <a:pt x="10814" y="1865732"/>
                </a:cubicBezTo>
                <a:lnTo>
                  <a:pt x="486736" y="1865732"/>
                </a:lnTo>
                <a:cubicBezTo>
                  <a:pt x="488720" y="1940267"/>
                  <a:pt x="517643" y="2002383"/>
                  <a:pt x="573511" y="2052079"/>
                </a:cubicBezTo>
                <a:cubicBezTo>
                  <a:pt x="629385" y="2101782"/>
                  <a:pt x="700292" y="2139066"/>
                  <a:pt x="786251" y="2163937"/>
                </a:cubicBezTo>
                <a:cubicBezTo>
                  <a:pt x="872204" y="2188814"/>
                  <a:pt x="961297" y="2201285"/>
                  <a:pt x="1053537" y="2201349"/>
                </a:cubicBezTo>
                <a:cubicBezTo>
                  <a:pt x="1150413" y="2202306"/>
                  <a:pt x="1242267" y="2186342"/>
                  <a:pt x="1329112" y="2153457"/>
                </a:cubicBezTo>
                <a:cubicBezTo>
                  <a:pt x="1415957" y="2120572"/>
                  <a:pt x="1486955" y="2072230"/>
                  <a:pt x="1542109" y="2008445"/>
                </a:cubicBezTo>
                <a:cubicBezTo>
                  <a:pt x="1597264" y="1944659"/>
                  <a:pt x="1625744" y="1866894"/>
                  <a:pt x="1627549" y="1775149"/>
                </a:cubicBezTo>
                <a:lnTo>
                  <a:pt x="1627549" y="1410866"/>
                </a:lnTo>
                <a:cubicBezTo>
                  <a:pt x="1566633" y="1497686"/>
                  <a:pt x="1479987" y="1563770"/>
                  <a:pt x="1367622" y="1609132"/>
                </a:cubicBezTo>
                <a:cubicBezTo>
                  <a:pt x="1255258" y="1654494"/>
                  <a:pt x="1146951" y="1677323"/>
                  <a:pt x="1042703" y="1677625"/>
                </a:cubicBezTo>
                <a:cubicBezTo>
                  <a:pt x="869578" y="1678877"/>
                  <a:pt x="704055" y="1652741"/>
                  <a:pt x="546136" y="1599230"/>
                </a:cubicBezTo>
                <a:cubicBezTo>
                  <a:pt x="388216" y="1545713"/>
                  <a:pt x="258571" y="1457313"/>
                  <a:pt x="157207" y="1334025"/>
                </a:cubicBezTo>
                <a:cubicBezTo>
                  <a:pt x="55848" y="1210737"/>
                  <a:pt x="3442" y="1045067"/>
                  <a:pt x="0" y="837008"/>
                </a:cubicBezTo>
                <a:cubicBezTo>
                  <a:pt x="3487" y="650558"/>
                  <a:pt x="56202" y="495348"/>
                  <a:pt x="158144" y="371373"/>
                </a:cubicBezTo>
                <a:cubicBezTo>
                  <a:pt x="260087" y="247398"/>
                  <a:pt x="390310" y="154504"/>
                  <a:pt x="548807" y="92683"/>
                </a:cubicBezTo>
                <a:cubicBezTo>
                  <a:pt x="707311" y="30869"/>
                  <a:pt x="873148" y="-25"/>
                  <a:pt x="1046319" y="1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xmlns="" id="{23CC18DE-57AD-438C-9DFC-25525E63EA9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661770" y="3591997"/>
            <a:ext cx="2203089" cy="2609975"/>
          </a:xfrm>
          <a:custGeom>
            <a:avLst/>
            <a:gdLst>
              <a:gd name="connsiteX0" fmla="*/ 1101545 w 2203089"/>
              <a:gd name="connsiteY0" fmla="*/ 446809 h 2609974"/>
              <a:gd name="connsiteX1" fmla="*/ 914515 w 2203089"/>
              <a:gd name="connsiteY1" fmla="*/ 473113 h 2609974"/>
              <a:gd name="connsiteX2" fmla="*/ 601114 w 2203089"/>
              <a:gd name="connsiteY2" fmla="*/ 688957 h 2609974"/>
              <a:gd name="connsiteX3" fmla="*/ 469688 w 2203089"/>
              <a:gd name="connsiteY3" fmla="*/ 1123752 h 2609974"/>
              <a:gd name="connsiteX4" fmla="*/ 469688 w 2203089"/>
              <a:gd name="connsiteY4" fmla="*/ 1486223 h 2609974"/>
              <a:gd name="connsiteX5" fmla="*/ 601114 w 2203089"/>
              <a:gd name="connsiteY5" fmla="*/ 1923773 h 2609974"/>
              <a:gd name="connsiteX6" fmla="*/ 914515 w 2203089"/>
              <a:gd name="connsiteY6" fmla="*/ 2142546 h 2609974"/>
              <a:gd name="connsiteX7" fmla="*/ 1288574 w 2203089"/>
              <a:gd name="connsiteY7" fmla="*/ 2142546 h 2609974"/>
              <a:gd name="connsiteX8" fmla="*/ 1601975 w 2203089"/>
              <a:gd name="connsiteY8" fmla="*/ 1923773 h 2609974"/>
              <a:gd name="connsiteX9" fmla="*/ 1733401 w 2203089"/>
              <a:gd name="connsiteY9" fmla="*/ 1486223 h 2609974"/>
              <a:gd name="connsiteX10" fmla="*/ 1733401 w 2203089"/>
              <a:gd name="connsiteY10" fmla="*/ 1123752 h 2609974"/>
              <a:gd name="connsiteX11" fmla="*/ 1601975 w 2203089"/>
              <a:gd name="connsiteY11" fmla="*/ 692060 h 2609974"/>
              <a:gd name="connsiteX12" fmla="*/ 1288574 w 2203089"/>
              <a:gd name="connsiteY12" fmla="*/ 474661 h 2609974"/>
              <a:gd name="connsiteX13" fmla="*/ 1101545 w 2203089"/>
              <a:gd name="connsiteY13" fmla="*/ 446809 h 2609974"/>
              <a:gd name="connsiteX14" fmla="*/ 1101545 w 2203089"/>
              <a:gd name="connsiteY14" fmla="*/ 1 h 2609974"/>
              <a:gd name="connsiteX15" fmla="*/ 1427603 w 2203089"/>
              <a:gd name="connsiteY15" fmla="*/ 45209 h 2609974"/>
              <a:gd name="connsiteX16" fmla="*/ 1973969 w 2203089"/>
              <a:gd name="connsiteY16" fmla="*/ 405068 h 2609974"/>
              <a:gd name="connsiteX17" fmla="*/ 2203089 w 2203089"/>
              <a:gd name="connsiteY17" fmla="*/ 1123752 h 2609974"/>
              <a:gd name="connsiteX18" fmla="*/ 2203089 w 2203089"/>
              <a:gd name="connsiteY18" fmla="*/ 1486223 h 2609974"/>
              <a:gd name="connsiteX19" fmla="*/ 1973969 w 2203089"/>
              <a:gd name="connsiteY19" fmla="*/ 2204906 h 2609974"/>
              <a:gd name="connsiteX20" fmla="*/ 1427603 w 2203089"/>
              <a:gd name="connsiteY20" fmla="*/ 2564766 h 2609974"/>
              <a:gd name="connsiteX21" fmla="*/ 775489 w 2203089"/>
              <a:gd name="connsiteY21" fmla="*/ 2565281 h 2609974"/>
              <a:gd name="connsiteX22" fmla="*/ 229120 w 2203089"/>
              <a:gd name="connsiteY22" fmla="*/ 2205939 h 2609974"/>
              <a:gd name="connsiteX23" fmla="*/ 0 w 2203089"/>
              <a:gd name="connsiteY23" fmla="*/ 1486223 h 2609974"/>
              <a:gd name="connsiteX24" fmla="*/ 0 w 2203089"/>
              <a:gd name="connsiteY24" fmla="*/ 1123752 h 2609974"/>
              <a:gd name="connsiteX25" fmla="*/ 229120 w 2203089"/>
              <a:gd name="connsiteY25" fmla="*/ 404035 h 2609974"/>
              <a:gd name="connsiteX26" fmla="*/ 775489 w 2203089"/>
              <a:gd name="connsiteY26" fmla="*/ 44694 h 2609974"/>
              <a:gd name="connsiteX27" fmla="*/ 1101545 w 2203089"/>
              <a:gd name="connsiteY27" fmla="*/ 1 h 2609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203089" h="2609974">
                <a:moveTo>
                  <a:pt x="1101545" y="446809"/>
                </a:moveTo>
                <a:cubicBezTo>
                  <a:pt x="1039202" y="446550"/>
                  <a:pt x="976857" y="455318"/>
                  <a:pt x="914515" y="473113"/>
                </a:cubicBezTo>
                <a:cubicBezTo>
                  <a:pt x="789827" y="508698"/>
                  <a:pt x="685362" y="580648"/>
                  <a:pt x="601114" y="688957"/>
                </a:cubicBezTo>
                <a:cubicBezTo>
                  <a:pt x="516865" y="797269"/>
                  <a:pt x="473056" y="942200"/>
                  <a:pt x="469688" y="1123752"/>
                </a:cubicBezTo>
                <a:lnTo>
                  <a:pt x="469688" y="1486223"/>
                </a:lnTo>
                <a:cubicBezTo>
                  <a:pt x="473056" y="1668534"/>
                  <a:pt x="516865" y="1814386"/>
                  <a:pt x="601114" y="1923773"/>
                </a:cubicBezTo>
                <a:cubicBezTo>
                  <a:pt x="685362" y="2033159"/>
                  <a:pt x="789827" y="2106084"/>
                  <a:pt x="914515" y="2142546"/>
                </a:cubicBezTo>
                <a:cubicBezTo>
                  <a:pt x="1039202" y="2179008"/>
                  <a:pt x="1163887" y="2179008"/>
                  <a:pt x="1288574" y="2142546"/>
                </a:cubicBezTo>
                <a:cubicBezTo>
                  <a:pt x="1413262" y="2106084"/>
                  <a:pt x="1517730" y="2033159"/>
                  <a:pt x="1601975" y="1923773"/>
                </a:cubicBezTo>
                <a:cubicBezTo>
                  <a:pt x="1686224" y="1814386"/>
                  <a:pt x="1730033" y="1668534"/>
                  <a:pt x="1733401" y="1486223"/>
                </a:cubicBezTo>
                <a:lnTo>
                  <a:pt x="1733401" y="1123752"/>
                </a:lnTo>
                <a:cubicBezTo>
                  <a:pt x="1730033" y="944266"/>
                  <a:pt x="1686224" y="800369"/>
                  <a:pt x="1601975" y="692060"/>
                </a:cubicBezTo>
                <a:cubicBezTo>
                  <a:pt x="1517730" y="583747"/>
                  <a:pt x="1413262" y="511282"/>
                  <a:pt x="1288574" y="474661"/>
                </a:cubicBezTo>
                <a:cubicBezTo>
                  <a:pt x="1226232" y="456352"/>
                  <a:pt x="1163887" y="447068"/>
                  <a:pt x="1101545" y="446809"/>
                </a:cubicBezTo>
                <a:close/>
                <a:moveTo>
                  <a:pt x="1101545" y="1"/>
                </a:moveTo>
                <a:cubicBezTo>
                  <a:pt x="1210231" y="86"/>
                  <a:pt x="1318917" y="15158"/>
                  <a:pt x="1427603" y="45209"/>
                </a:cubicBezTo>
                <a:cubicBezTo>
                  <a:pt x="1644972" y="105314"/>
                  <a:pt x="1827095" y="225268"/>
                  <a:pt x="1973969" y="405068"/>
                </a:cubicBezTo>
                <a:cubicBezTo>
                  <a:pt x="2120842" y="584869"/>
                  <a:pt x="2197214" y="824430"/>
                  <a:pt x="2203089" y="1123752"/>
                </a:cubicBezTo>
                <a:lnTo>
                  <a:pt x="2203089" y="1486223"/>
                </a:lnTo>
                <a:cubicBezTo>
                  <a:pt x="2197214" y="1785545"/>
                  <a:pt x="2120842" y="2025106"/>
                  <a:pt x="1973969" y="2204906"/>
                </a:cubicBezTo>
                <a:cubicBezTo>
                  <a:pt x="1827095" y="2384706"/>
                  <a:pt x="1644972" y="2504661"/>
                  <a:pt x="1427603" y="2564766"/>
                </a:cubicBezTo>
                <a:cubicBezTo>
                  <a:pt x="1210231" y="2624871"/>
                  <a:pt x="992858" y="2625045"/>
                  <a:pt x="775489" y="2565281"/>
                </a:cubicBezTo>
                <a:cubicBezTo>
                  <a:pt x="558117" y="2505520"/>
                  <a:pt x="375994" y="2385740"/>
                  <a:pt x="229120" y="2205939"/>
                </a:cubicBezTo>
                <a:cubicBezTo>
                  <a:pt x="82250" y="2026139"/>
                  <a:pt x="5876" y="1786233"/>
                  <a:pt x="0" y="1486223"/>
                </a:cubicBezTo>
                <a:lnTo>
                  <a:pt x="0" y="1123752"/>
                </a:lnTo>
                <a:cubicBezTo>
                  <a:pt x="5876" y="823741"/>
                  <a:pt x="82250" y="583833"/>
                  <a:pt x="229120" y="404035"/>
                </a:cubicBezTo>
                <a:cubicBezTo>
                  <a:pt x="375994" y="224235"/>
                  <a:pt x="558117" y="104454"/>
                  <a:pt x="775489" y="44694"/>
                </a:cubicBezTo>
                <a:cubicBezTo>
                  <a:pt x="884173" y="14813"/>
                  <a:pt x="992858" y="-84"/>
                  <a:pt x="1101545" y="1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Image Placeholder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="" id="{B3FBE219-41C3-44AB-87E3-C355EF3B1EB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3511" y="714076"/>
            <a:ext cx="2034415" cy="2544069"/>
          </a:xfrm>
          <a:custGeom>
            <a:avLst/>
            <a:gdLst>
              <a:gd name="connsiteX0" fmla="*/ 979506 w 2034415"/>
              <a:gd name="connsiteY0" fmla="*/ 39 h 2544069"/>
              <a:gd name="connsiteX1" fmla="*/ 1474539 w 2034415"/>
              <a:gd name="connsiteY1" fmla="*/ 75083 h 2544069"/>
              <a:gd name="connsiteX2" fmla="*/ 1867302 w 2034415"/>
              <a:gd name="connsiteY2" fmla="*/ 327926 h 2544069"/>
              <a:gd name="connsiteX3" fmla="*/ 2027239 w 2034415"/>
              <a:gd name="connsiteY3" fmla="*/ 800139 h 2544069"/>
              <a:gd name="connsiteX4" fmla="*/ 1883127 w 2034415"/>
              <a:gd name="connsiteY4" fmla="*/ 1281196 h 2544069"/>
              <a:gd name="connsiteX5" fmla="*/ 1514963 w 2034415"/>
              <a:gd name="connsiteY5" fmla="*/ 1505474 h 2544069"/>
              <a:gd name="connsiteX6" fmla="*/ 1019001 w 2034415"/>
              <a:gd name="connsiteY6" fmla="*/ 1560731 h 2544069"/>
              <a:gd name="connsiteX7" fmla="*/ 784970 w 2034415"/>
              <a:gd name="connsiteY7" fmla="*/ 1584809 h 2544069"/>
              <a:gd name="connsiteX8" fmla="*/ 568493 w 2034415"/>
              <a:gd name="connsiteY8" fmla="*/ 1681524 h 2544069"/>
              <a:gd name="connsiteX9" fmla="*/ 473285 w 2034415"/>
              <a:gd name="connsiteY9" fmla="*/ 1887584 h 2544069"/>
              <a:gd name="connsiteX10" fmla="*/ 473285 w 2034415"/>
              <a:gd name="connsiteY10" fmla="*/ 2103093 h 2544069"/>
              <a:gd name="connsiteX11" fmla="*/ 2034415 w 2034415"/>
              <a:gd name="connsiteY11" fmla="*/ 2103093 h 2544069"/>
              <a:gd name="connsiteX12" fmla="*/ 2034415 w 2034415"/>
              <a:gd name="connsiteY12" fmla="*/ 2544069 h 2544069"/>
              <a:gd name="connsiteX13" fmla="*/ 0 w 2034415"/>
              <a:gd name="connsiteY13" fmla="*/ 2544069 h 2544069"/>
              <a:gd name="connsiteX14" fmla="*/ 0 w 2034415"/>
              <a:gd name="connsiteY14" fmla="*/ 2215529 h 2544069"/>
              <a:gd name="connsiteX15" fmla="*/ 0 w 2034415"/>
              <a:gd name="connsiteY15" fmla="*/ 1883993 h 2544069"/>
              <a:gd name="connsiteX16" fmla="*/ 154083 w 2034415"/>
              <a:gd name="connsiteY16" fmla="*/ 1432779 h 2544069"/>
              <a:gd name="connsiteX17" fmla="*/ 534609 w 2034415"/>
              <a:gd name="connsiteY17" fmla="*/ 1200123 h 2544069"/>
              <a:gd name="connsiteX18" fmla="*/ 1019001 w 2034415"/>
              <a:gd name="connsiteY18" fmla="*/ 1134110 h 2544069"/>
              <a:gd name="connsiteX19" fmla="*/ 1243196 w 2034415"/>
              <a:gd name="connsiteY19" fmla="*/ 1114956 h 2544069"/>
              <a:gd name="connsiteX20" fmla="*/ 1460212 w 2034415"/>
              <a:gd name="connsiteY20" fmla="*/ 1023982 h 2544069"/>
              <a:gd name="connsiteX21" fmla="*/ 1557551 w 2034415"/>
              <a:gd name="connsiteY21" fmla="*/ 810913 h 2544069"/>
              <a:gd name="connsiteX22" fmla="*/ 1393293 w 2034415"/>
              <a:gd name="connsiteY22" fmla="*/ 507470 h 2544069"/>
              <a:gd name="connsiteX23" fmla="*/ 986689 w 2034415"/>
              <a:gd name="connsiteY23" fmla="*/ 408719 h 2544069"/>
              <a:gd name="connsiteX24" fmla="*/ 642018 w 2034415"/>
              <a:gd name="connsiteY24" fmla="*/ 499811 h 2544069"/>
              <a:gd name="connsiteX25" fmla="*/ 480456 w 2034415"/>
              <a:gd name="connsiteY25" fmla="*/ 760422 h 2544069"/>
              <a:gd name="connsiteX26" fmla="*/ 10759 w 2034415"/>
              <a:gd name="connsiteY26" fmla="*/ 760422 h 2544069"/>
              <a:gd name="connsiteX27" fmla="*/ 160588 w 2034415"/>
              <a:gd name="connsiteY27" fmla="*/ 327364 h 2544069"/>
              <a:gd name="connsiteX28" fmla="*/ 523303 w 2034415"/>
              <a:gd name="connsiteY28" fmla="*/ 79213 h 2544069"/>
              <a:gd name="connsiteX29" fmla="*/ 979506 w 2034415"/>
              <a:gd name="connsiteY29" fmla="*/ 39 h 2544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034415" h="2544069">
                <a:moveTo>
                  <a:pt x="979506" y="39"/>
                </a:moveTo>
                <a:cubicBezTo>
                  <a:pt x="1150682" y="-1115"/>
                  <a:pt x="1315691" y="23900"/>
                  <a:pt x="1474539" y="75083"/>
                </a:cubicBezTo>
                <a:cubicBezTo>
                  <a:pt x="1633384" y="126266"/>
                  <a:pt x="1764306" y="210547"/>
                  <a:pt x="1867302" y="327926"/>
                </a:cubicBezTo>
                <a:cubicBezTo>
                  <a:pt x="1970301" y="445301"/>
                  <a:pt x="2023613" y="602707"/>
                  <a:pt x="2027239" y="800139"/>
                </a:cubicBezTo>
                <a:cubicBezTo>
                  <a:pt x="2024563" y="1010603"/>
                  <a:pt x="1976527" y="1170955"/>
                  <a:pt x="1883127" y="1281196"/>
                </a:cubicBezTo>
                <a:cubicBezTo>
                  <a:pt x="1789727" y="1391439"/>
                  <a:pt x="1667005" y="1466197"/>
                  <a:pt x="1514963" y="1505474"/>
                </a:cubicBezTo>
                <a:cubicBezTo>
                  <a:pt x="1362921" y="1544750"/>
                  <a:pt x="1197600" y="1563168"/>
                  <a:pt x="1019001" y="1560731"/>
                </a:cubicBezTo>
                <a:cubicBezTo>
                  <a:pt x="946706" y="1559712"/>
                  <a:pt x="868698" y="1567736"/>
                  <a:pt x="784970" y="1584809"/>
                </a:cubicBezTo>
                <a:cubicBezTo>
                  <a:pt x="701240" y="1601882"/>
                  <a:pt x="629084" y="1634120"/>
                  <a:pt x="568493" y="1681524"/>
                </a:cubicBezTo>
                <a:cubicBezTo>
                  <a:pt x="507902" y="1728924"/>
                  <a:pt x="476167" y="1797613"/>
                  <a:pt x="473285" y="1887584"/>
                </a:cubicBezTo>
                <a:lnTo>
                  <a:pt x="473285" y="2103093"/>
                </a:lnTo>
                <a:lnTo>
                  <a:pt x="2034415" y="2103093"/>
                </a:lnTo>
                <a:lnTo>
                  <a:pt x="2034415" y="2544069"/>
                </a:lnTo>
                <a:lnTo>
                  <a:pt x="0" y="2544069"/>
                </a:lnTo>
                <a:cubicBezTo>
                  <a:pt x="0" y="2434806"/>
                  <a:pt x="0" y="2325290"/>
                  <a:pt x="0" y="2215529"/>
                </a:cubicBezTo>
                <a:cubicBezTo>
                  <a:pt x="0" y="2105766"/>
                  <a:pt x="0" y="1995254"/>
                  <a:pt x="0" y="1883993"/>
                </a:cubicBezTo>
                <a:cubicBezTo>
                  <a:pt x="3406" y="1692836"/>
                  <a:pt x="54766" y="1542430"/>
                  <a:pt x="154083" y="1432779"/>
                </a:cubicBezTo>
                <a:cubicBezTo>
                  <a:pt x="253399" y="1323127"/>
                  <a:pt x="380241" y="1245575"/>
                  <a:pt x="534609" y="1200123"/>
                </a:cubicBezTo>
                <a:cubicBezTo>
                  <a:pt x="688980" y="1154671"/>
                  <a:pt x="850442" y="1132668"/>
                  <a:pt x="1019001" y="1134110"/>
                </a:cubicBezTo>
                <a:cubicBezTo>
                  <a:pt x="1085555" y="1135506"/>
                  <a:pt x="1160287" y="1129121"/>
                  <a:pt x="1243196" y="1114956"/>
                </a:cubicBezTo>
                <a:cubicBezTo>
                  <a:pt x="1326105" y="1100792"/>
                  <a:pt x="1398447" y="1070467"/>
                  <a:pt x="1460212" y="1023982"/>
                </a:cubicBezTo>
                <a:cubicBezTo>
                  <a:pt x="1521981" y="977499"/>
                  <a:pt x="1554428" y="906477"/>
                  <a:pt x="1557551" y="810913"/>
                </a:cubicBezTo>
                <a:cubicBezTo>
                  <a:pt x="1553960" y="674751"/>
                  <a:pt x="1499209" y="573604"/>
                  <a:pt x="1393293" y="507470"/>
                </a:cubicBezTo>
                <a:cubicBezTo>
                  <a:pt x="1287377" y="441336"/>
                  <a:pt x="1151842" y="408418"/>
                  <a:pt x="986689" y="408719"/>
                </a:cubicBezTo>
                <a:cubicBezTo>
                  <a:pt x="857439" y="409245"/>
                  <a:pt x="742547" y="439611"/>
                  <a:pt x="642018" y="499811"/>
                </a:cubicBezTo>
                <a:cubicBezTo>
                  <a:pt x="541491" y="560013"/>
                  <a:pt x="487635" y="646884"/>
                  <a:pt x="480456" y="760422"/>
                </a:cubicBezTo>
                <a:lnTo>
                  <a:pt x="10759" y="760422"/>
                </a:lnTo>
                <a:cubicBezTo>
                  <a:pt x="15269" y="583921"/>
                  <a:pt x="65212" y="439567"/>
                  <a:pt x="160588" y="327364"/>
                </a:cubicBezTo>
                <a:cubicBezTo>
                  <a:pt x="255960" y="215157"/>
                  <a:pt x="376865" y="132439"/>
                  <a:pt x="523303" y="79213"/>
                </a:cubicBezTo>
                <a:cubicBezTo>
                  <a:pt x="669741" y="25990"/>
                  <a:pt x="821809" y="-402"/>
                  <a:pt x="979506" y="39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Image Placeholder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xmlns="" id="{ADAB8CC9-1444-47E4-8C96-A80AC84DFE7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728976" y="756654"/>
            <a:ext cx="1208987" cy="2515319"/>
          </a:xfrm>
          <a:custGeom>
            <a:avLst/>
            <a:gdLst>
              <a:gd name="connsiteX0" fmla="*/ 0 w 1208986"/>
              <a:gd name="connsiteY0" fmla="*/ 0 h 2515318"/>
              <a:gd name="connsiteX1" fmla="*/ 860871 w 1208986"/>
              <a:gd name="connsiteY1" fmla="*/ 0 h 2515318"/>
              <a:gd name="connsiteX2" fmla="*/ 860871 w 1208986"/>
              <a:gd name="connsiteY2" fmla="*/ 2113819 h 2515318"/>
              <a:gd name="connsiteX3" fmla="*/ 1208986 w 1208986"/>
              <a:gd name="connsiteY3" fmla="*/ 2113819 h 2515318"/>
              <a:gd name="connsiteX4" fmla="*/ 1208986 w 1208986"/>
              <a:gd name="connsiteY4" fmla="*/ 2515318 h 2515318"/>
              <a:gd name="connsiteX5" fmla="*/ 14348 w 1208986"/>
              <a:gd name="connsiteY5" fmla="*/ 2515318 h 2515318"/>
              <a:gd name="connsiteX6" fmla="*/ 14357 w 1208986"/>
              <a:gd name="connsiteY6" fmla="*/ 2113819 h 2515318"/>
              <a:gd name="connsiteX7" fmla="*/ 391183 w 1208986"/>
              <a:gd name="connsiteY7" fmla="*/ 2113819 h 2515318"/>
              <a:gd name="connsiteX8" fmla="*/ 391183 w 1208986"/>
              <a:gd name="connsiteY8" fmla="*/ 430212 h 2515318"/>
              <a:gd name="connsiteX9" fmla="*/ 0 w 1208986"/>
              <a:gd name="connsiteY9" fmla="*/ 430212 h 2515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08986" h="2515318">
                <a:moveTo>
                  <a:pt x="0" y="0"/>
                </a:moveTo>
                <a:lnTo>
                  <a:pt x="860871" y="0"/>
                </a:lnTo>
                <a:lnTo>
                  <a:pt x="860871" y="2113819"/>
                </a:lnTo>
                <a:lnTo>
                  <a:pt x="1208986" y="2113819"/>
                </a:lnTo>
                <a:lnTo>
                  <a:pt x="1208986" y="2515318"/>
                </a:lnTo>
                <a:lnTo>
                  <a:pt x="14348" y="2515318"/>
                </a:lnTo>
                <a:lnTo>
                  <a:pt x="14357" y="2113819"/>
                </a:lnTo>
                <a:lnTo>
                  <a:pt x="391183" y="2113819"/>
                </a:lnTo>
                <a:lnTo>
                  <a:pt x="391183" y="430212"/>
                </a:lnTo>
                <a:lnTo>
                  <a:pt x="0" y="430212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xmlns="" val="1639214861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168B772A-695E-471F-9C83-BF66BE49C1C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4319" y="647700"/>
            <a:ext cx="4222492" cy="5102227"/>
          </a:xfrm>
          <a:custGeom>
            <a:avLst/>
            <a:gdLst>
              <a:gd name="connsiteX0" fmla="*/ 3215046 w 4222492"/>
              <a:gd name="connsiteY0" fmla="*/ 3010965 h 5102226"/>
              <a:gd name="connsiteX1" fmla="*/ 2833132 w 4222492"/>
              <a:gd name="connsiteY1" fmla="*/ 3108074 h 5102226"/>
              <a:gd name="connsiteX2" fmla="*/ 2666130 w 4222492"/>
              <a:gd name="connsiteY2" fmla="*/ 3404582 h 5102226"/>
              <a:gd name="connsiteX3" fmla="*/ 2824934 w 4222492"/>
              <a:gd name="connsiteY3" fmla="*/ 3707994 h 5102226"/>
              <a:gd name="connsiteX4" fmla="*/ 3211589 w 4222492"/>
              <a:gd name="connsiteY4" fmla="*/ 3812005 h 5102226"/>
              <a:gd name="connsiteX5" fmla="*/ 3606440 w 4222492"/>
              <a:gd name="connsiteY5" fmla="*/ 3709289 h 5102226"/>
              <a:gd name="connsiteX6" fmla="*/ 3770851 w 4222492"/>
              <a:gd name="connsiteY6" fmla="*/ 3404582 h 5102226"/>
              <a:gd name="connsiteX7" fmla="*/ 3602989 w 4222492"/>
              <a:gd name="connsiteY7" fmla="*/ 3108074 h 5102226"/>
              <a:gd name="connsiteX8" fmla="*/ 3215046 w 4222492"/>
              <a:gd name="connsiteY8" fmla="*/ 3010965 h 5102226"/>
              <a:gd name="connsiteX9" fmla="*/ 396851 w 4222492"/>
              <a:gd name="connsiteY9" fmla="*/ 2683569 h 5102226"/>
              <a:gd name="connsiteX10" fmla="*/ 1224640 w 4222492"/>
              <a:gd name="connsiteY10" fmla="*/ 2683569 h 5102226"/>
              <a:gd name="connsiteX11" fmla="*/ 1224640 w 4222492"/>
              <a:gd name="connsiteY11" fmla="*/ 4716153 h 5102226"/>
              <a:gd name="connsiteX12" fmla="*/ 1559381 w 4222492"/>
              <a:gd name="connsiteY12" fmla="*/ 4716153 h 5102226"/>
              <a:gd name="connsiteX13" fmla="*/ 1559381 w 4222492"/>
              <a:gd name="connsiteY13" fmla="*/ 5102224 h 5102226"/>
              <a:gd name="connsiteX14" fmla="*/ 410649 w 4222492"/>
              <a:gd name="connsiteY14" fmla="*/ 5102224 h 5102226"/>
              <a:gd name="connsiteX15" fmla="*/ 410656 w 4222492"/>
              <a:gd name="connsiteY15" fmla="*/ 4716153 h 5102226"/>
              <a:gd name="connsiteX16" fmla="*/ 772999 w 4222492"/>
              <a:gd name="connsiteY16" fmla="*/ 4716153 h 5102226"/>
              <a:gd name="connsiteX17" fmla="*/ 772999 w 4222492"/>
              <a:gd name="connsiteY17" fmla="*/ 3097242 h 5102226"/>
              <a:gd name="connsiteX18" fmla="*/ 396851 w 4222492"/>
              <a:gd name="connsiteY18" fmla="*/ 3097242 h 5102226"/>
              <a:gd name="connsiteX19" fmla="*/ 3215046 w 4222492"/>
              <a:gd name="connsiteY19" fmla="*/ 2604188 h 5102226"/>
              <a:gd name="connsiteX20" fmla="*/ 3695646 w 4222492"/>
              <a:gd name="connsiteY20" fmla="*/ 2693074 h 5102226"/>
              <a:gd name="connsiteX21" fmla="*/ 4071007 w 4222492"/>
              <a:gd name="connsiteY21" fmla="*/ 2961360 h 5102226"/>
              <a:gd name="connsiteX22" fmla="*/ 4222492 w 4222492"/>
              <a:gd name="connsiteY22" fmla="*/ 3411485 h 5102226"/>
              <a:gd name="connsiteX23" fmla="*/ 4222492 w 4222492"/>
              <a:gd name="connsiteY23" fmla="*/ 4312206 h 5102226"/>
              <a:gd name="connsiteX24" fmla="*/ 4075355 w 4222492"/>
              <a:gd name="connsiteY24" fmla="*/ 4756245 h 5102226"/>
              <a:gd name="connsiteX25" fmla="*/ 3707405 w 4222492"/>
              <a:gd name="connsiteY25" fmla="*/ 5017010 h 5102226"/>
              <a:gd name="connsiteX26" fmla="*/ 3228850 w 4222492"/>
              <a:gd name="connsiteY26" fmla="*/ 5102217 h 5102226"/>
              <a:gd name="connsiteX27" fmla="*/ 2735329 w 4222492"/>
              <a:gd name="connsiteY27" fmla="*/ 5029788 h 5102226"/>
              <a:gd name="connsiteX28" fmla="*/ 2368527 w 4222492"/>
              <a:gd name="connsiteY28" fmla="*/ 4798721 h 5102226"/>
              <a:gd name="connsiteX29" fmla="*/ 2224836 w 4222492"/>
              <a:gd name="connsiteY29" fmla="*/ 4388308 h 5102226"/>
              <a:gd name="connsiteX30" fmla="*/ 2679940 w 4222492"/>
              <a:gd name="connsiteY30" fmla="*/ 4388308 h 5102226"/>
              <a:gd name="connsiteX31" fmla="*/ 2762919 w 4222492"/>
              <a:gd name="connsiteY31" fmla="*/ 4566504 h 5102226"/>
              <a:gd name="connsiteX32" fmla="*/ 2966354 w 4222492"/>
              <a:gd name="connsiteY32" fmla="*/ 4673469 h 5102226"/>
              <a:gd name="connsiteX33" fmla="*/ 3221948 w 4222492"/>
              <a:gd name="connsiteY33" fmla="*/ 4709244 h 5102226"/>
              <a:gd name="connsiteX34" fmla="*/ 3485469 w 4222492"/>
              <a:gd name="connsiteY34" fmla="*/ 4663447 h 5102226"/>
              <a:gd name="connsiteX35" fmla="*/ 3689149 w 4222492"/>
              <a:gd name="connsiteY35" fmla="*/ 4524778 h 5102226"/>
              <a:gd name="connsiteX36" fmla="*/ 3770851 w 4222492"/>
              <a:gd name="connsiteY36" fmla="*/ 4301687 h 5102226"/>
              <a:gd name="connsiteX37" fmla="*/ 3770851 w 4222492"/>
              <a:gd name="connsiteY37" fmla="*/ 3953338 h 5102226"/>
              <a:gd name="connsiteX38" fmla="*/ 3522295 w 4222492"/>
              <a:gd name="connsiteY38" fmla="*/ 4142932 h 5102226"/>
              <a:gd name="connsiteX39" fmla="*/ 3211589 w 4222492"/>
              <a:gd name="connsiteY39" fmla="*/ 4208429 h 5102226"/>
              <a:gd name="connsiteX40" fmla="*/ 2736741 w 4222492"/>
              <a:gd name="connsiteY40" fmla="*/ 4133463 h 5102226"/>
              <a:gd name="connsiteX41" fmla="*/ 2364825 w 4222492"/>
              <a:gd name="connsiteY41" fmla="*/ 3879860 h 5102226"/>
              <a:gd name="connsiteX42" fmla="*/ 2214495 w 4222492"/>
              <a:gd name="connsiteY42" fmla="*/ 3404582 h 5102226"/>
              <a:gd name="connsiteX43" fmla="*/ 2365722 w 4222492"/>
              <a:gd name="connsiteY43" fmla="*/ 2959316 h 5102226"/>
              <a:gd name="connsiteX44" fmla="*/ 2739296 w 4222492"/>
              <a:gd name="connsiteY44" fmla="*/ 2692816 h 5102226"/>
              <a:gd name="connsiteX45" fmla="*/ 3215046 w 4222492"/>
              <a:gd name="connsiteY45" fmla="*/ 2604188 h 5102226"/>
              <a:gd name="connsiteX46" fmla="*/ 3163280 w 4222492"/>
              <a:gd name="connsiteY46" fmla="*/ 429645 h 5102226"/>
              <a:gd name="connsiteX47" fmla="*/ 2983437 w 4222492"/>
              <a:gd name="connsiteY47" fmla="*/ 454933 h 5102226"/>
              <a:gd name="connsiteX48" fmla="*/ 2682083 w 4222492"/>
              <a:gd name="connsiteY48" fmla="*/ 662488 h 5102226"/>
              <a:gd name="connsiteX49" fmla="*/ 2555708 w 4222492"/>
              <a:gd name="connsiteY49" fmla="*/ 1080570 h 5102226"/>
              <a:gd name="connsiteX50" fmla="*/ 2555708 w 4222492"/>
              <a:gd name="connsiteY50" fmla="*/ 1429115 h 5102226"/>
              <a:gd name="connsiteX51" fmla="*/ 2682083 w 4222492"/>
              <a:gd name="connsiteY51" fmla="*/ 1849849 h 5102226"/>
              <a:gd name="connsiteX52" fmla="*/ 2983437 w 4222492"/>
              <a:gd name="connsiteY52" fmla="*/ 2060217 h 5102226"/>
              <a:gd name="connsiteX53" fmla="*/ 3343121 w 4222492"/>
              <a:gd name="connsiteY53" fmla="*/ 2060217 h 5102226"/>
              <a:gd name="connsiteX54" fmla="*/ 3644482 w 4222492"/>
              <a:gd name="connsiteY54" fmla="*/ 1849849 h 5102226"/>
              <a:gd name="connsiteX55" fmla="*/ 3770857 w 4222492"/>
              <a:gd name="connsiteY55" fmla="*/ 1429115 h 5102226"/>
              <a:gd name="connsiteX56" fmla="*/ 3770857 w 4222492"/>
              <a:gd name="connsiteY56" fmla="*/ 1080570 h 5102226"/>
              <a:gd name="connsiteX57" fmla="*/ 3644482 w 4222492"/>
              <a:gd name="connsiteY57" fmla="*/ 665466 h 5102226"/>
              <a:gd name="connsiteX58" fmla="*/ 3343121 w 4222492"/>
              <a:gd name="connsiteY58" fmla="*/ 456425 h 5102226"/>
              <a:gd name="connsiteX59" fmla="*/ 3163280 w 4222492"/>
              <a:gd name="connsiteY59" fmla="*/ 429645 h 5102226"/>
              <a:gd name="connsiteX60" fmla="*/ 941865 w 4222492"/>
              <a:gd name="connsiteY60" fmla="*/ 37 h 5102226"/>
              <a:gd name="connsiteX61" fmla="*/ 1417872 w 4222492"/>
              <a:gd name="connsiteY61" fmla="*/ 72196 h 5102226"/>
              <a:gd name="connsiteX62" fmla="*/ 1795542 w 4222492"/>
              <a:gd name="connsiteY62" fmla="*/ 315318 h 5102226"/>
              <a:gd name="connsiteX63" fmla="*/ 1949330 w 4222492"/>
              <a:gd name="connsiteY63" fmla="*/ 769391 h 5102226"/>
              <a:gd name="connsiteX64" fmla="*/ 1810759 w 4222492"/>
              <a:gd name="connsiteY64" fmla="*/ 1231957 h 5102226"/>
              <a:gd name="connsiteX65" fmla="*/ 1456743 w 4222492"/>
              <a:gd name="connsiteY65" fmla="*/ 1447617 h 5102226"/>
              <a:gd name="connsiteX66" fmla="*/ 979838 w 4222492"/>
              <a:gd name="connsiteY66" fmla="*/ 1500752 h 5102226"/>
              <a:gd name="connsiteX67" fmla="*/ 754801 w 4222492"/>
              <a:gd name="connsiteY67" fmla="*/ 1523903 h 5102226"/>
              <a:gd name="connsiteX68" fmla="*/ 546644 w 4222492"/>
              <a:gd name="connsiteY68" fmla="*/ 1616903 h 5102226"/>
              <a:gd name="connsiteX69" fmla="*/ 455098 w 4222492"/>
              <a:gd name="connsiteY69" fmla="*/ 1815044 h 5102226"/>
              <a:gd name="connsiteX70" fmla="*/ 455098 w 4222492"/>
              <a:gd name="connsiteY70" fmla="*/ 2022268 h 5102226"/>
              <a:gd name="connsiteX71" fmla="*/ 1956232 w 4222492"/>
              <a:gd name="connsiteY71" fmla="*/ 2022268 h 5102226"/>
              <a:gd name="connsiteX72" fmla="*/ 1956232 w 4222492"/>
              <a:gd name="connsiteY72" fmla="*/ 2446301 h 5102226"/>
              <a:gd name="connsiteX73" fmla="*/ 0 w 4222492"/>
              <a:gd name="connsiteY73" fmla="*/ 2446301 h 5102226"/>
              <a:gd name="connsiteX74" fmla="*/ 0 w 4222492"/>
              <a:gd name="connsiteY74" fmla="*/ 2130387 h 5102226"/>
              <a:gd name="connsiteX75" fmla="*/ 0 w 4222492"/>
              <a:gd name="connsiteY75" fmla="*/ 1811594 h 5102226"/>
              <a:gd name="connsiteX76" fmla="*/ 148163 w 4222492"/>
              <a:gd name="connsiteY76" fmla="*/ 1377718 h 5102226"/>
              <a:gd name="connsiteX77" fmla="*/ 514061 w 4222492"/>
              <a:gd name="connsiteY77" fmla="*/ 1154000 h 5102226"/>
              <a:gd name="connsiteX78" fmla="*/ 979838 w 4222492"/>
              <a:gd name="connsiteY78" fmla="*/ 1090524 h 5102226"/>
              <a:gd name="connsiteX79" fmla="*/ 1195419 w 4222492"/>
              <a:gd name="connsiteY79" fmla="*/ 1072108 h 5102226"/>
              <a:gd name="connsiteX80" fmla="*/ 1404098 w 4222492"/>
              <a:gd name="connsiteY80" fmla="*/ 984628 h 5102226"/>
              <a:gd name="connsiteX81" fmla="*/ 1497694 w 4222492"/>
              <a:gd name="connsiteY81" fmla="*/ 779750 h 5102226"/>
              <a:gd name="connsiteX82" fmla="*/ 1339750 w 4222492"/>
              <a:gd name="connsiteY82" fmla="*/ 487963 h 5102226"/>
              <a:gd name="connsiteX83" fmla="*/ 948767 w 4222492"/>
              <a:gd name="connsiteY83" fmla="*/ 393010 h 5102226"/>
              <a:gd name="connsiteX84" fmla="*/ 617348 w 4222492"/>
              <a:gd name="connsiteY84" fmla="*/ 480601 h 5102226"/>
              <a:gd name="connsiteX85" fmla="*/ 461988 w 4222492"/>
              <a:gd name="connsiteY85" fmla="*/ 731196 h 5102226"/>
              <a:gd name="connsiteX86" fmla="*/ 10341 w 4222492"/>
              <a:gd name="connsiteY86" fmla="*/ 731196 h 5102226"/>
              <a:gd name="connsiteX87" fmla="*/ 154414 w 4222492"/>
              <a:gd name="connsiteY87" fmla="*/ 314777 h 5102226"/>
              <a:gd name="connsiteX88" fmla="*/ 503192 w 4222492"/>
              <a:gd name="connsiteY88" fmla="*/ 76169 h 5102226"/>
              <a:gd name="connsiteX89" fmla="*/ 941865 w 4222492"/>
              <a:gd name="connsiteY89" fmla="*/ 37 h 5102226"/>
              <a:gd name="connsiteX90" fmla="*/ 3163280 w 4222492"/>
              <a:gd name="connsiteY90" fmla="*/ 6 h 5102226"/>
              <a:gd name="connsiteX91" fmla="*/ 3476810 w 4222492"/>
              <a:gd name="connsiteY91" fmla="*/ 43477 h 5102226"/>
              <a:gd name="connsiteX92" fmla="*/ 4002177 w 4222492"/>
              <a:gd name="connsiteY92" fmla="*/ 389503 h 5102226"/>
              <a:gd name="connsiteX93" fmla="*/ 4222492 w 4222492"/>
              <a:gd name="connsiteY93" fmla="*/ 1080570 h 5102226"/>
              <a:gd name="connsiteX94" fmla="*/ 4222492 w 4222492"/>
              <a:gd name="connsiteY94" fmla="*/ 1429115 h 5102226"/>
              <a:gd name="connsiteX95" fmla="*/ 4002177 w 4222492"/>
              <a:gd name="connsiteY95" fmla="*/ 2120175 h 5102226"/>
              <a:gd name="connsiteX96" fmla="*/ 3476810 w 4222492"/>
              <a:gd name="connsiteY96" fmla="*/ 2466208 h 5102226"/>
              <a:gd name="connsiteX97" fmla="*/ 2849755 w 4222492"/>
              <a:gd name="connsiteY97" fmla="*/ 2466706 h 5102226"/>
              <a:gd name="connsiteX98" fmla="*/ 2324382 w 4222492"/>
              <a:gd name="connsiteY98" fmla="*/ 2121170 h 5102226"/>
              <a:gd name="connsiteX99" fmla="*/ 2104067 w 4222492"/>
              <a:gd name="connsiteY99" fmla="*/ 1429115 h 5102226"/>
              <a:gd name="connsiteX100" fmla="*/ 2104067 w 4222492"/>
              <a:gd name="connsiteY100" fmla="*/ 1080570 h 5102226"/>
              <a:gd name="connsiteX101" fmla="*/ 2324382 w 4222492"/>
              <a:gd name="connsiteY101" fmla="*/ 388509 h 5102226"/>
              <a:gd name="connsiteX102" fmla="*/ 2849755 w 4222492"/>
              <a:gd name="connsiteY102" fmla="*/ 42979 h 5102226"/>
              <a:gd name="connsiteX103" fmla="*/ 3163280 w 4222492"/>
              <a:gd name="connsiteY103" fmla="*/ 6 h 5102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4222492" h="5102226">
                <a:moveTo>
                  <a:pt x="3215046" y="3010965"/>
                </a:moveTo>
                <a:cubicBezTo>
                  <a:pt x="3066810" y="3010750"/>
                  <a:pt x="2939507" y="3043118"/>
                  <a:pt x="2833132" y="3108074"/>
                </a:cubicBezTo>
                <a:cubicBezTo>
                  <a:pt x="2726763" y="3173030"/>
                  <a:pt x="2671091" y="3271864"/>
                  <a:pt x="2666130" y="3404582"/>
                </a:cubicBezTo>
                <a:cubicBezTo>
                  <a:pt x="2669870" y="3537873"/>
                  <a:pt x="2722802" y="3639010"/>
                  <a:pt x="2824934" y="3707994"/>
                </a:cubicBezTo>
                <a:cubicBezTo>
                  <a:pt x="2927066" y="3776979"/>
                  <a:pt x="3055953" y="3811648"/>
                  <a:pt x="3211589" y="3812005"/>
                </a:cubicBezTo>
                <a:cubicBezTo>
                  <a:pt x="3368022" y="3811863"/>
                  <a:pt x="3499635" y="3777623"/>
                  <a:pt x="3606440" y="3709289"/>
                </a:cubicBezTo>
                <a:cubicBezTo>
                  <a:pt x="3713239" y="3640950"/>
                  <a:pt x="3768045" y="3539383"/>
                  <a:pt x="3770851" y="3404582"/>
                </a:cubicBezTo>
                <a:cubicBezTo>
                  <a:pt x="3764741" y="3271864"/>
                  <a:pt x="3708787" y="3173030"/>
                  <a:pt x="3602989" y="3108074"/>
                </a:cubicBezTo>
                <a:cubicBezTo>
                  <a:pt x="3497191" y="3043118"/>
                  <a:pt x="3367881" y="3010750"/>
                  <a:pt x="3215046" y="3010965"/>
                </a:cubicBezTo>
                <a:close/>
                <a:moveTo>
                  <a:pt x="396851" y="2683569"/>
                </a:moveTo>
                <a:lnTo>
                  <a:pt x="1224640" y="2683569"/>
                </a:lnTo>
                <a:lnTo>
                  <a:pt x="1224640" y="4716153"/>
                </a:lnTo>
                <a:lnTo>
                  <a:pt x="1559381" y="4716153"/>
                </a:lnTo>
                <a:lnTo>
                  <a:pt x="1559381" y="5102224"/>
                </a:lnTo>
                <a:lnTo>
                  <a:pt x="410649" y="5102224"/>
                </a:lnTo>
                <a:lnTo>
                  <a:pt x="410656" y="4716153"/>
                </a:lnTo>
                <a:lnTo>
                  <a:pt x="772999" y="4716153"/>
                </a:lnTo>
                <a:lnTo>
                  <a:pt x="772999" y="3097242"/>
                </a:lnTo>
                <a:lnTo>
                  <a:pt x="396851" y="3097242"/>
                </a:lnTo>
                <a:close/>
                <a:moveTo>
                  <a:pt x="3215046" y="2604188"/>
                </a:moveTo>
                <a:cubicBezTo>
                  <a:pt x="3382895" y="2604120"/>
                  <a:pt x="3543099" y="2633749"/>
                  <a:pt x="3695646" y="2693074"/>
                </a:cubicBezTo>
                <a:cubicBezTo>
                  <a:pt x="3848193" y="2752399"/>
                  <a:pt x="3973316" y="2841827"/>
                  <a:pt x="4071007" y="2961360"/>
                </a:cubicBezTo>
                <a:cubicBezTo>
                  <a:pt x="4168700" y="3080889"/>
                  <a:pt x="4219195" y="3230937"/>
                  <a:pt x="4222492" y="3411485"/>
                </a:cubicBezTo>
                <a:lnTo>
                  <a:pt x="4222492" y="4312206"/>
                </a:lnTo>
                <a:cubicBezTo>
                  <a:pt x="4219428" y="4491404"/>
                  <a:pt x="4170382" y="4639419"/>
                  <a:pt x="4075355" y="4756245"/>
                </a:cubicBezTo>
                <a:cubicBezTo>
                  <a:pt x="3980322" y="4873066"/>
                  <a:pt x="3857674" y="4959987"/>
                  <a:pt x="3707405" y="5017010"/>
                </a:cubicBezTo>
                <a:cubicBezTo>
                  <a:pt x="3557143" y="5074026"/>
                  <a:pt x="3397621" y="5102433"/>
                  <a:pt x="3228850" y="5102217"/>
                </a:cubicBezTo>
                <a:cubicBezTo>
                  <a:pt x="3051261" y="5102789"/>
                  <a:pt x="2886753" y="5078649"/>
                  <a:pt x="2735329" y="5029788"/>
                </a:cubicBezTo>
                <a:cubicBezTo>
                  <a:pt x="2583912" y="4980933"/>
                  <a:pt x="2461639" y="4903910"/>
                  <a:pt x="2368527" y="4798721"/>
                </a:cubicBezTo>
                <a:cubicBezTo>
                  <a:pt x="2275410" y="4693530"/>
                  <a:pt x="2227513" y="4556728"/>
                  <a:pt x="2224836" y="4388308"/>
                </a:cubicBezTo>
                <a:lnTo>
                  <a:pt x="2679940" y="4388308"/>
                </a:lnTo>
                <a:cubicBezTo>
                  <a:pt x="2681838" y="4459583"/>
                  <a:pt x="2709496" y="4518981"/>
                  <a:pt x="2762919" y="4566504"/>
                </a:cubicBezTo>
                <a:cubicBezTo>
                  <a:pt x="2816350" y="4614033"/>
                  <a:pt x="2884155" y="4649686"/>
                  <a:pt x="2966354" y="4673469"/>
                </a:cubicBezTo>
                <a:cubicBezTo>
                  <a:pt x="3048547" y="4697258"/>
                  <a:pt x="3133743" y="4709183"/>
                  <a:pt x="3221948" y="4709244"/>
                </a:cubicBezTo>
                <a:cubicBezTo>
                  <a:pt x="3314586" y="4710159"/>
                  <a:pt x="3402422" y="4694893"/>
                  <a:pt x="3485469" y="4663447"/>
                </a:cubicBezTo>
                <a:cubicBezTo>
                  <a:pt x="3568515" y="4632001"/>
                  <a:pt x="3636407" y="4585774"/>
                  <a:pt x="3689149" y="4524778"/>
                </a:cubicBezTo>
                <a:cubicBezTo>
                  <a:pt x="3741891" y="4463783"/>
                  <a:pt x="3769125" y="4389419"/>
                  <a:pt x="3770851" y="4301687"/>
                </a:cubicBezTo>
                <a:lnTo>
                  <a:pt x="3770851" y="3953338"/>
                </a:lnTo>
                <a:cubicBezTo>
                  <a:pt x="3712601" y="4036361"/>
                  <a:pt x="3629745" y="4099554"/>
                  <a:pt x="3522295" y="4142932"/>
                </a:cubicBezTo>
                <a:cubicBezTo>
                  <a:pt x="3414845" y="4186310"/>
                  <a:pt x="3311276" y="4208141"/>
                  <a:pt x="3211589" y="4208429"/>
                </a:cubicBezTo>
                <a:cubicBezTo>
                  <a:pt x="3046036" y="4209626"/>
                  <a:pt x="2887753" y="4184634"/>
                  <a:pt x="2736741" y="4133463"/>
                </a:cubicBezTo>
                <a:cubicBezTo>
                  <a:pt x="2585730" y="4082287"/>
                  <a:pt x="2461755" y="3997754"/>
                  <a:pt x="2364825" y="3879860"/>
                </a:cubicBezTo>
                <a:cubicBezTo>
                  <a:pt x="2267900" y="3761965"/>
                  <a:pt x="2217786" y="3603541"/>
                  <a:pt x="2214495" y="3404582"/>
                </a:cubicBezTo>
                <a:cubicBezTo>
                  <a:pt x="2217829" y="3226288"/>
                  <a:pt x="2268238" y="3077868"/>
                  <a:pt x="2365722" y="2959316"/>
                </a:cubicBezTo>
                <a:cubicBezTo>
                  <a:pt x="2463205" y="2840764"/>
                  <a:pt x="2587732" y="2751932"/>
                  <a:pt x="2739296" y="2692816"/>
                </a:cubicBezTo>
                <a:cubicBezTo>
                  <a:pt x="2890866" y="2633706"/>
                  <a:pt x="3049450" y="2604163"/>
                  <a:pt x="3215046" y="2604188"/>
                </a:cubicBezTo>
                <a:close/>
                <a:moveTo>
                  <a:pt x="3163280" y="429645"/>
                </a:moveTo>
                <a:cubicBezTo>
                  <a:pt x="3103334" y="429393"/>
                  <a:pt x="3043389" y="437825"/>
                  <a:pt x="2983437" y="454933"/>
                </a:cubicBezTo>
                <a:cubicBezTo>
                  <a:pt x="2863540" y="489155"/>
                  <a:pt x="2763091" y="558336"/>
                  <a:pt x="2682083" y="662488"/>
                </a:cubicBezTo>
                <a:cubicBezTo>
                  <a:pt x="2601069" y="766634"/>
                  <a:pt x="2558945" y="905996"/>
                  <a:pt x="2555708" y="1080570"/>
                </a:cubicBezTo>
                <a:lnTo>
                  <a:pt x="2555708" y="1429115"/>
                </a:lnTo>
                <a:cubicBezTo>
                  <a:pt x="2558945" y="1604419"/>
                  <a:pt x="2601069" y="1744666"/>
                  <a:pt x="2682083" y="1849849"/>
                </a:cubicBezTo>
                <a:cubicBezTo>
                  <a:pt x="2763091" y="1955033"/>
                  <a:pt x="2863540" y="2025154"/>
                  <a:pt x="2983437" y="2060217"/>
                </a:cubicBezTo>
                <a:cubicBezTo>
                  <a:pt x="3103334" y="2095274"/>
                  <a:pt x="3223231" y="2095274"/>
                  <a:pt x="3343121" y="2060217"/>
                </a:cubicBezTo>
                <a:cubicBezTo>
                  <a:pt x="3463019" y="2025154"/>
                  <a:pt x="3563468" y="1955033"/>
                  <a:pt x="3644482" y="1849849"/>
                </a:cubicBezTo>
                <a:cubicBezTo>
                  <a:pt x="3725490" y="1744666"/>
                  <a:pt x="3767615" y="1604419"/>
                  <a:pt x="3770857" y="1429115"/>
                </a:cubicBezTo>
                <a:lnTo>
                  <a:pt x="3770857" y="1080570"/>
                </a:lnTo>
                <a:cubicBezTo>
                  <a:pt x="3767615" y="907986"/>
                  <a:pt x="3725490" y="769619"/>
                  <a:pt x="3644482" y="665466"/>
                </a:cubicBezTo>
                <a:cubicBezTo>
                  <a:pt x="3563468" y="561320"/>
                  <a:pt x="3463019" y="491636"/>
                  <a:pt x="3343121" y="456425"/>
                </a:cubicBezTo>
                <a:cubicBezTo>
                  <a:pt x="3283176" y="438820"/>
                  <a:pt x="3223231" y="429891"/>
                  <a:pt x="3163280" y="429645"/>
                </a:cubicBezTo>
                <a:close/>
                <a:moveTo>
                  <a:pt x="941865" y="37"/>
                </a:moveTo>
                <a:cubicBezTo>
                  <a:pt x="1106460" y="-1074"/>
                  <a:pt x="1265129" y="22979"/>
                  <a:pt x="1417872" y="72196"/>
                </a:cubicBezTo>
                <a:cubicBezTo>
                  <a:pt x="1570615" y="121408"/>
                  <a:pt x="1696505" y="202453"/>
                  <a:pt x="1795542" y="315318"/>
                </a:cubicBezTo>
                <a:cubicBezTo>
                  <a:pt x="1894579" y="428190"/>
                  <a:pt x="1945848" y="579546"/>
                  <a:pt x="1949330" y="769391"/>
                </a:cubicBezTo>
                <a:cubicBezTo>
                  <a:pt x="1946763" y="971763"/>
                  <a:pt x="1900572" y="1125956"/>
                  <a:pt x="1810759" y="1231957"/>
                </a:cubicBezTo>
                <a:cubicBezTo>
                  <a:pt x="1720946" y="1337963"/>
                  <a:pt x="1602939" y="1409852"/>
                  <a:pt x="1456743" y="1447617"/>
                </a:cubicBezTo>
                <a:cubicBezTo>
                  <a:pt x="1310545" y="1485382"/>
                  <a:pt x="1151575" y="1503098"/>
                  <a:pt x="979838" y="1500752"/>
                </a:cubicBezTo>
                <a:cubicBezTo>
                  <a:pt x="910326" y="1499770"/>
                  <a:pt x="835311" y="1507489"/>
                  <a:pt x="754801" y="1523903"/>
                </a:cubicBezTo>
                <a:cubicBezTo>
                  <a:pt x="674291" y="1540323"/>
                  <a:pt x="604906" y="1571321"/>
                  <a:pt x="546644" y="1616903"/>
                </a:cubicBezTo>
                <a:cubicBezTo>
                  <a:pt x="488381" y="1662479"/>
                  <a:pt x="457868" y="1728529"/>
                  <a:pt x="455098" y="1815044"/>
                </a:cubicBezTo>
                <a:lnTo>
                  <a:pt x="455098" y="2022268"/>
                </a:lnTo>
                <a:lnTo>
                  <a:pt x="1956232" y="2022268"/>
                </a:lnTo>
                <a:lnTo>
                  <a:pt x="1956232" y="2446301"/>
                </a:lnTo>
                <a:lnTo>
                  <a:pt x="0" y="2446301"/>
                </a:lnTo>
                <a:cubicBezTo>
                  <a:pt x="0" y="2341234"/>
                  <a:pt x="0" y="2235933"/>
                  <a:pt x="0" y="2130387"/>
                </a:cubicBezTo>
                <a:cubicBezTo>
                  <a:pt x="0" y="2024841"/>
                  <a:pt x="0" y="1918577"/>
                  <a:pt x="0" y="1811594"/>
                </a:cubicBezTo>
                <a:cubicBezTo>
                  <a:pt x="3273" y="1627778"/>
                  <a:pt x="52663" y="1483153"/>
                  <a:pt x="148163" y="1377718"/>
                </a:cubicBezTo>
                <a:cubicBezTo>
                  <a:pt x="243662" y="1272276"/>
                  <a:pt x="365629" y="1197704"/>
                  <a:pt x="514061" y="1154000"/>
                </a:cubicBezTo>
                <a:cubicBezTo>
                  <a:pt x="662500" y="1110297"/>
                  <a:pt x="817761" y="1089137"/>
                  <a:pt x="979838" y="1090524"/>
                </a:cubicBezTo>
                <a:cubicBezTo>
                  <a:pt x="1043837" y="1091869"/>
                  <a:pt x="1115695" y="1085728"/>
                  <a:pt x="1195419" y="1072108"/>
                </a:cubicBezTo>
                <a:cubicBezTo>
                  <a:pt x="1275144" y="1058488"/>
                  <a:pt x="1344706" y="1029326"/>
                  <a:pt x="1404098" y="984628"/>
                </a:cubicBezTo>
                <a:cubicBezTo>
                  <a:pt x="1463491" y="939930"/>
                  <a:pt x="1494692" y="871640"/>
                  <a:pt x="1497694" y="779750"/>
                </a:cubicBezTo>
                <a:cubicBezTo>
                  <a:pt x="1494244" y="648819"/>
                  <a:pt x="1441594" y="551556"/>
                  <a:pt x="1339750" y="487963"/>
                </a:cubicBezTo>
                <a:cubicBezTo>
                  <a:pt x="1237901" y="424370"/>
                  <a:pt x="1107577" y="392721"/>
                  <a:pt x="948767" y="393010"/>
                </a:cubicBezTo>
                <a:cubicBezTo>
                  <a:pt x="824485" y="393514"/>
                  <a:pt x="714008" y="422712"/>
                  <a:pt x="617348" y="480601"/>
                </a:cubicBezTo>
                <a:cubicBezTo>
                  <a:pt x="520681" y="538489"/>
                  <a:pt x="468897" y="622020"/>
                  <a:pt x="461988" y="731196"/>
                </a:cubicBezTo>
                <a:lnTo>
                  <a:pt x="10341" y="731196"/>
                </a:lnTo>
                <a:cubicBezTo>
                  <a:pt x="14682" y="561480"/>
                  <a:pt x="62702" y="422676"/>
                  <a:pt x="154414" y="314777"/>
                </a:cubicBezTo>
                <a:cubicBezTo>
                  <a:pt x="246125" y="206886"/>
                  <a:pt x="362380" y="127346"/>
                  <a:pt x="503192" y="76169"/>
                </a:cubicBezTo>
                <a:cubicBezTo>
                  <a:pt x="643998" y="24987"/>
                  <a:pt x="790227" y="-386"/>
                  <a:pt x="941865" y="37"/>
                </a:cubicBezTo>
                <a:close/>
                <a:moveTo>
                  <a:pt x="3163280" y="6"/>
                </a:moveTo>
                <a:cubicBezTo>
                  <a:pt x="3267788" y="86"/>
                  <a:pt x="3372296" y="14578"/>
                  <a:pt x="3476810" y="43477"/>
                </a:cubicBezTo>
                <a:cubicBezTo>
                  <a:pt x="3685827" y="101272"/>
                  <a:pt x="3860947" y="216612"/>
                  <a:pt x="4002177" y="389503"/>
                </a:cubicBezTo>
                <a:cubicBezTo>
                  <a:pt x="4143407" y="562394"/>
                  <a:pt x="4216849" y="792750"/>
                  <a:pt x="4222492" y="1080570"/>
                </a:cubicBezTo>
                <a:lnTo>
                  <a:pt x="4222492" y="1429115"/>
                </a:lnTo>
                <a:cubicBezTo>
                  <a:pt x="4216849" y="1716934"/>
                  <a:pt x="4143407" y="1947284"/>
                  <a:pt x="4002177" y="2120175"/>
                </a:cubicBezTo>
                <a:cubicBezTo>
                  <a:pt x="3860947" y="2293066"/>
                  <a:pt x="3685827" y="2408412"/>
                  <a:pt x="3476810" y="2466208"/>
                </a:cubicBezTo>
                <a:cubicBezTo>
                  <a:pt x="3267788" y="2524004"/>
                  <a:pt x="3058771" y="2524171"/>
                  <a:pt x="2849755" y="2466706"/>
                </a:cubicBezTo>
                <a:cubicBezTo>
                  <a:pt x="2640738" y="2409241"/>
                  <a:pt x="2465612" y="2294061"/>
                  <a:pt x="2324382" y="2121170"/>
                </a:cubicBezTo>
                <a:cubicBezTo>
                  <a:pt x="2183152" y="1948278"/>
                  <a:pt x="2109716" y="1717592"/>
                  <a:pt x="2104067" y="1429115"/>
                </a:cubicBezTo>
                <a:lnTo>
                  <a:pt x="2104067" y="1080570"/>
                </a:lnTo>
                <a:cubicBezTo>
                  <a:pt x="2109716" y="792086"/>
                  <a:pt x="2183152" y="561400"/>
                  <a:pt x="2324382" y="388509"/>
                </a:cubicBezTo>
                <a:cubicBezTo>
                  <a:pt x="2465612" y="215619"/>
                  <a:pt x="2640738" y="100443"/>
                  <a:pt x="2849755" y="42979"/>
                </a:cubicBezTo>
                <a:cubicBezTo>
                  <a:pt x="2954263" y="14247"/>
                  <a:pt x="3058771" y="-79"/>
                  <a:pt x="3163280" y="6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38461074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4BF63F0D-B295-487C-AB27-949A2F0B320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76209" y="673272"/>
            <a:ext cx="2839593" cy="886067"/>
          </a:xfrm>
          <a:custGeom>
            <a:avLst/>
            <a:gdLst>
              <a:gd name="connsiteX0" fmla="*/ 1155739 w 2839593"/>
              <a:gd name="connsiteY0" fmla="*/ 151690 h 886067"/>
              <a:gd name="connsiteX1" fmla="*/ 1092242 w 2839593"/>
              <a:gd name="connsiteY1" fmla="*/ 160616 h 886067"/>
              <a:gd name="connsiteX2" fmla="*/ 985846 w 2839593"/>
              <a:gd name="connsiteY2" fmla="*/ 233897 h 886067"/>
              <a:gd name="connsiteX3" fmla="*/ 941228 w 2839593"/>
              <a:gd name="connsiteY3" fmla="*/ 381506 h 886067"/>
              <a:gd name="connsiteX4" fmla="*/ 941228 w 2839593"/>
              <a:gd name="connsiteY4" fmla="*/ 504563 h 886067"/>
              <a:gd name="connsiteX5" fmla="*/ 985846 w 2839593"/>
              <a:gd name="connsiteY5" fmla="*/ 653105 h 886067"/>
              <a:gd name="connsiteX6" fmla="*/ 1092242 w 2839593"/>
              <a:gd name="connsiteY6" fmla="*/ 727378 h 886067"/>
              <a:gd name="connsiteX7" fmla="*/ 1219233 w 2839593"/>
              <a:gd name="connsiteY7" fmla="*/ 727378 h 886067"/>
              <a:gd name="connsiteX8" fmla="*/ 1325633 w 2839593"/>
              <a:gd name="connsiteY8" fmla="*/ 653105 h 886067"/>
              <a:gd name="connsiteX9" fmla="*/ 1370251 w 2839593"/>
              <a:gd name="connsiteY9" fmla="*/ 504563 h 886067"/>
              <a:gd name="connsiteX10" fmla="*/ 1370251 w 2839593"/>
              <a:gd name="connsiteY10" fmla="*/ 381506 h 886067"/>
              <a:gd name="connsiteX11" fmla="*/ 1325633 w 2839593"/>
              <a:gd name="connsiteY11" fmla="*/ 234948 h 886067"/>
              <a:gd name="connsiteX12" fmla="*/ 1219233 w 2839593"/>
              <a:gd name="connsiteY12" fmla="*/ 161145 h 886067"/>
              <a:gd name="connsiteX13" fmla="*/ 1155739 w 2839593"/>
              <a:gd name="connsiteY13" fmla="*/ 151690 h 886067"/>
              <a:gd name="connsiteX14" fmla="*/ 2483906 w 2839593"/>
              <a:gd name="connsiteY14" fmla="*/ 145063 h 886067"/>
              <a:gd name="connsiteX15" fmla="*/ 2349068 w 2839593"/>
              <a:gd name="connsiteY15" fmla="*/ 179350 h 886067"/>
              <a:gd name="connsiteX16" fmla="*/ 2290107 w 2839593"/>
              <a:gd name="connsiteY16" fmla="*/ 284036 h 886067"/>
              <a:gd name="connsiteX17" fmla="*/ 2346174 w 2839593"/>
              <a:gd name="connsiteY17" fmla="*/ 391155 h 886067"/>
              <a:gd name="connsiteX18" fmla="*/ 2482686 w 2839593"/>
              <a:gd name="connsiteY18" fmla="*/ 427880 h 886067"/>
              <a:gd name="connsiteX19" fmla="*/ 2622091 w 2839593"/>
              <a:gd name="connsiteY19" fmla="*/ 391615 h 886067"/>
              <a:gd name="connsiteX20" fmla="*/ 2680140 w 2839593"/>
              <a:gd name="connsiteY20" fmla="*/ 284036 h 886067"/>
              <a:gd name="connsiteX21" fmla="*/ 2620874 w 2839593"/>
              <a:gd name="connsiteY21" fmla="*/ 179350 h 886067"/>
              <a:gd name="connsiteX22" fmla="*/ 2483906 w 2839593"/>
              <a:gd name="connsiteY22" fmla="*/ 145063 h 886067"/>
              <a:gd name="connsiteX23" fmla="*/ 1607472 w 2839593"/>
              <a:gd name="connsiteY23" fmla="*/ 16067 h 886067"/>
              <a:gd name="connsiteX24" fmla="*/ 1899731 w 2839593"/>
              <a:gd name="connsiteY24" fmla="*/ 16067 h 886067"/>
              <a:gd name="connsiteX25" fmla="*/ 1899731 w 2839593"/>
              <a:gd name="connsiteY25" fmla="*/ 733694 h 886067"/>
              <a:gd name="connsiteX26" fmla="*/ 2017913 w 2839593"/>
              <a:gd name="connsiteY26" fmla="*/ 733694 h 886067"/>
              <a:gd name="connsiteX27" fmla="*/ 2017913 w 2839593"/>
              <a:gd name="connsiteY27" fmla="*/ 869998 h 886067"/>
              <a:gd name="connsiteX28" fmla="*/ 1612343 w 2839593"/>
              <a:gd name="connsiteY28" fmla="*/ 869998 h 886067"/>
              <a:gd name="connsiteX29" fmla="*/ 1612347 w 2839593"/>
              <a:gd name="connsiteY29" fmla="*/ 733694 h 886067"/>
              <a:gd name="connsiteX30" fmla="*/ 1740274 w 2839593"/>
              <a:gd name="connsiteY30" fmla="*/ 733694 h 886067"/>
              <a:gd name="connsiteX31" fmla="*/ 1740274 w 2839593"/>
              <a:gd name="connsiteY31" fmla="*/ 162120 h 886067"/>
              <a:gd name="connsiteX32" fmla="*/ 1607472 w 2839593"/>
              <a:gd name="connsiteY32" fmla="*/ 162120 h 886067"/>
              <a:gd name="connsiteX33" fmla="*/ 332538 w 2839593"/>
              <a:gd name="connsiteY33" fmla="*/ 6321 h 886067"/>
              <a:gd name="connsiteX34" fmla="*/ 500596 w 2839593"/>
              <a:gd name="connsiteY34" fmla="*/ 31797 h 886067"/>
              <a:gd name="connsiteX35" fmla="*/ 633938 w 2839593"/>
              <a:gd name="connsiteY35" fmla="*/ 117634 h 886067"/>
              <a:gd name="connsiteX36" fmla="*/ 688232 w 2839593"/>
              <a:gd name="connsiteY36" fmla="*/ 277948 h 886067"/>
              <a:gd name="connsiteX37" fmla="*/ 639310 w 2839593"/>
              <a:gd name="connsiteY37" fmla="*/ 441263 h 886067"/>
              <a:gd name="connsiteX38" fmla="*/ 514321 w 2839593"/>
              <a:gd name="connsiteY38" fmla="*/ 517402 h 886067"/>
              <a:gd name="connsiteX39" fmla="*/ 345945 w 2839593"/>
              <a:gd name="connsiteY39" fmla="*/ 536164 h 886067"/>
              <a:gd name="connsiteX40" fmla="*/ 266493 w 2839593"/>
              <a:gd name="connsiteY40" fmla="*/ 544337 h 886067"/>
              <a:gd name="connsiteX41" fmla="*/ 192998 w 2839593"/>
              <a:gd name="connsiteY41" fmla="*/ 577173 h 886067"/>
              <a:gd name="connsiteX42" fmla="*/ 160677 w 2839593"/>
              <a:gd name="connsiteY42" fmla="*/ 647128 h 886067"/>
              <a:gd name="connsiteX43" fmla="*/ 160677 w 2839593"/>
              <a:gd name="connsiteY43" fmla="*/ 720291 h 886067"/>
              <a:gd name="connsiteX44" fmla="*/ 690669 w 2839593"/>
              <a:gd name="connsiteY44" fmla="*/ 720291 h 886067"/>
              <a:gd name="connsiteX45" fmla="*/ 690669 w 2839593"/>
              <a:gd name="connsiteY45" fmla="*/ 869998 h 886067"/>
              <a:gd name="connsiteX46" fmla="*/ 0 w 2839593"/>
              <a:gd name="connsiteY46" fmla="*/ 869998 h 886067"/>
              <a:gd name="connsiteX47" fmla="*/ 0 w 2839593"/>
              <a:gd name="connsiteY47" fmla="*/ 758461 h 886067"/>
              <a:gd name="connsiteX48" fmla="*/ 0 w 2839593"/>
              <a:gd name="connsiteY48" fmla="*/ 645907 h 886067"/>
              <a:gd name="connsiteX49" fmla="*/ 52310 w 2839593"/>
              <a:gd name="connsiteY49" fmla="*/ 492725 h 886067"/>
              <a:gd name="connsiteX50" fmla="*/ 181496 w 2839593"/>
              <a:gd name="connsiteY50" fmla="*/ 413740 h 886067"/>
              <a:gd name="connsiteX51" fmla="*/ 345945 w 2839593"/>
              <a:gd name="connsiteY51" fmla="*/ 391328 h 886067"/>
              <a:gd name="connsiteX52" fmla="*/ 422057 w 2839593"/>
              <a:gd name="connsiteY52" fmla="*/ 384825 h 886067"/>
              <a:gd name="connsiteX53" fmla="*/ 495732 w 2839593"/>
              <a:gd name="connsiteY53" fmla="*/ 353942 h 886067"/>
              <a:gd name="connsiteX54" fmla="*/ 528779 w 2839593"/>
              <a:gd name="connsiteY54" fmla="*/ 281605 h 886067"/>
              <a:gd name="connsiteX55" fmla="*/ 473012 w 2839593"/>
              <a:gd name="connsiteY55" fmla="*/ 178590 h 886067"/>
              <a:gd name="connsiteX56" fmla="*/ 334975 w 2839593"/>
              <a:gd name="connsiteY56" fmla="*/ 145063 h 886067"/>
              <a:gd name="connsiteX57" fmla="*/ 217962 w 2839593"/>
              <a:gd name="connsiteY57" fmla="*/ 175990 h 886067"/>
              <a:gd name="connsiteX58" fmla="*/ 163111 w 2839593"/>
              <a:gd name="connsiteY58" fmla="*/ 264465 h 886067"/>
              <a:gd name="connsiteX59" fmla="*/ 3654 w 2839593"/>
              <a:gd name="connsiteY59" fmla="*/ 264465 h 886067"/>
              <a:gd name="connsiteX60" fmla="*/ 54519 w 2839593"/>
              <a:gd name="connsiteY60" fmla="*/ 117444 h 886067"/>
              <a:gd name="connsiteX61" fmla="*/ 177659 w 2839593"/>
              <a:gd name="connsiteY61" fmla="*/ 33200 h 886067"/>
              <a:gd name="connsiteX62" fmla="*/ 332538 w 2839593"/>
              <a:gd name="connsiteY62" fmla="*/ 6321 h 886067"/>
              <a:gd name="connsiteX63" fmla="*/ 2483906 w 2839593"/>
              <a:gd name="connsiteY63" fmla="*/ 1447 h 886067"/>
              <a:gd name="connsiteX64" fmla="*/ 2653586 w 2839593"/>
              <a:gd name="connsiteY64" fmla="*/ 32830 h 886067"/>
              <a:gd name="connsiteX65" fmla="*/ 2786111 w 2839593"/>
              <a:gd name="connsiteY65" fmla="*/ 127549 h 886067"/>
              <a:gd name="connsiteX66" fmla="*/ 2839593 w 2839593"/>
              <a:gd name="connsiteY66" fmla="*/ 286473 h 886067"/>
              <a:gd name="connsiteX67" fmla="*/ 2839593 w 2839593"/>
              <a:gd name="connsiteY67" fmla="*/ 604481 h 886067"/>
              <a:gd name="connsiteX68" fmla="*/ 2787646 w 2839593"/>
              <a:gd name="connsiteY68" fmla="*/ 761251 h 886067"/>
              <a:gd name="connsiteX69" fmla="*/ 2657741 w 2839593"/>
              <a:gd name="connsiteY69" fmla="*/ 853318 h 886067"/>
              <a:gd name="connsiteX70" fmla="*/ 2488781 w 2839593"/>
              <a:gd name="connsiteY70" fmla="*/ 883402 h 886067"/>
              <a:gd name="connsiteX71" fmla="*/ 2314538 w 2839593"/>
              <a:gd name="connsiteY71" fmla="*/ 857829 h 886067"/>
              <a:gd name="connsiteX72" fmla="*/ 2185034 w 2839593"/>
              <a:gd name="connsiteY72" fmla="*/ 776248 h 886067"/>
              <a:gd name="connsiteX73" fmla="*/ 2134301 w 2839593"/>
              <a:gd name="connsiteY73" fmla="*/ 631349 h 886067"/>
              <a:gd name="connsiteX74" fmla="*/ 2294981 w 2839593"/>
              <a:gd name="connsiteY74" fmla="*/ 631349 h 886067"/>
              <a:gd name="connsiteX75" fmla="*/ 2324280 w 2839593"/>
              <a:gd name="connsiteY75" fmla="*/ 694262 h 886067"/>
              <a:gd name="connsiteX76" fmla="*/ 2396102 w 2839593"/>
              <a:gd name="connsiteY76" fmla="*/ 732028 h 886067"/>
              <a:gd name="connsiteX77" fmla="*/ 2486344 w 2839593"/>
              <a:gd name="connsiteY77" fmla="*/ 744657 h 886067"/>
              <a:gd name="connsiteX78" fmla="*/ 2579382 w 2839593"/>
              <a:gd name="connsiteY78" fmla="*/ 728488 h 886067"/>
              <a:gd name="connsiteX79" fmla="*/ 2651294 w 2839593"/>
              <a:gd name="connsiteY79" fmla="*/ 679531 h 886067"/>
              <a:gd name="connsiteX80" fmla="*/ 2680140 w 2839593"/>
              <a:gd name="connsiteY80" fmla="*/ 600768 h 886067"/>
              <a:gd name="connsiteX81" fmla="*/ 2680140 w 2839593"/>
              <a:gd name="connsiteY81" fmla="*/ 477780 h 886067"/>
              <a:gd name="connsiteX82" fmla="*/ 2592384 w 2839593"/>
              <a:gd name="connsiteY82" fmla="*/ 544717 h 886067"/>
              <a:gd name="connsiteX83" fmla="*/ 2482686 w 2839593"/>
              <a:gd name="connsiteY83" fmla="*/ 567842 h 886067"/>
              <a:gd name="connsiteX84" fmla="*/ 2315036 w 2839593"/>
              <a:gd name="connsiteY84" fmla="*/ 541374 h 886067"/>
              <a:gd name="connsiteX85" fmla="*/ 2183727 w 2839593"/>
              <a:gd name="connsiteY85" fmla="*/ 451834 h 886067"/>
              <a:gd name="connsiteX86" fmla="*/ 2130650 w 2839593"/>
              <a:gd name="connsiteY86" fmla="*/ 284036 h 886067"/>
              <a:gd name="connsiteX87" fmla="*/ 2184042 w 2839593"/>
              <a:gd name="connsiteY87" fmla="*/ 126826 h 886067"/>
              <a:gd name="connsiteX88" fmla="*/ 2315938 w 2839593"/>
              <a:gd name="connsiteY88" fmla="*/ 32740 h 886067"/>
              <a:gd name="connsiteX89" fmla="*/ 2483906 w 2839593"/>
              <a:gd name="connsiteY89" fmla="*/ 1447 h 886067"/>
              <a:gd name="connsiteX90" fmla="*/ 1155739 w 2839593"/>
              <a:gd name="connsiteY90" fmla="*/ 1 h 886067"/>
              <a:gd name="connsiteX91" fmla="*/ 1266433 w 2839593"/>
              <a:gd name="connsiteY91" fmla="*/ 15348 h 886067"/>
              <a:gd name="connsiteX92" fmla="*/ 1451919 w 2839593"/>
              <a:gd name="connsiteY92" fmla="*/ 137516 h 886067"/>
              <a:gd name="connsiteX93" fmla="*/ 1529704 w 2839593"/>
              <a:gd name="connsiteY93" fmla="*/ 381506 h 886067"/>
              <a:gd name="connsiteX94" fmla="*/ 1529704 w 2839593"/>
              <a:gd name="connsiteY94" fmla="*/ 504563 h 886067"/>
              <a:gd name="connsiteX95" fmla="*/ 1451919 w 2839593"/>
              <a:gd name="connsiteY95" fmla="*/ 748549 h 886067"/>
              <a:gd name="connsiteX96" fmla="*/ 1266433 w 2839593"/>
              <a:gd name="connsiteY96" fmla="*/ 870717 h 886067"/>
              <a:gd name="connsiteX97" fmla="*/ 1045046 w 2839593"/>
              <a:gd name="connsiteY97" fmla="*/ 870894 h 886067"/>
              <a:gd name="connsiteX98" fmla="*/ 859557 w 2839593"/>
              <a:gd name="connsiteY98" fmla="*/ 748899 h 886067"/>
              <a:gd name="connsiteX99" fmla="*/ 781775 w 2839593"/>
              <a:gd name="connsiteY99" fmla="*/ 504563 h 886067"/>
              <a:gd name="connsiteX100" fmla="*/ 781775 w 2839593"/>
              <a:gd name="connsiteY100" fmla="*/ 381506 h 886067"/>
              <a:gd name="connsiteX101" fmla="*/ 859557 w 2839593"/>
              <a:gd name="connsiteY101" fmla="*/ 137167 h 886067"/>
              <a:gd name="connsiteX102" fmla="*/ 1045046 w 2839593"/>
              <a:gd name="connsiteY102" fmla="*/ 15171 h 886067"/>
              <a:gd name="connsiteX103" fmla="*/ 1155739 w 2839593"/>
              <a:gd name="connsiteY103" fmla="*/ 1 h 886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2839593" h="886067">
                <a:moveTo>
                  <a:pt x="1155739" y="151690"/>
                </a:moveTo>
                <a:cubicBezTo>
                  <a:pt x="1134575" y="151600"/>
                  <a:pt x="1113410" y="154577"/>
                  <a:pt x="1092242" y="160616"/>
                </a:cubicBezTo>
                <a:cubicBezTo>
                  <a:pt x="1049913" y="172699"/>
                  <a:pt x="1014447" y="197127"/>
                  <a:pt x="985846" y="233897"/>
                </a:cubicBezTo>
                <a:cubicBezTo>
                  <a:pt x="957245" y="270667"/>
                  <a:pt x="942372" y="319869"/>
                  <a:pt x="941228" y="381506"/>
                </a:cubicBezTo>
                <a:lnTo>
                  <a:pt x="941228" y="504563"/>
                </a:lnTo>
                <a:cubicBezTo>
                  <a:pt x="942372" y="566456"/>
                  <a:pt x="957245" y="615969"/>
                  <a:pt x="985846" y="653105"/>
                </a:cubicBezTo>
                <a:cubicBezTo>
                  <a:pt x="1014447" y="690241"/>
                  <a:pt x="1049913" y="714998"/>
                  <a:pt x="1092242" y="727378"/>
                </a:cubicBezTo>
                <a:cubicBezTo>
                  <a:pt x="1134575" y="739758"/>
                  <a:pt x="1176904" y="739758"/>
                  <a:pt x="1219233" y="727378"/>
                </a:cubicBezTo>
                <a:cubicBezTo>
                  <a:pt x="1261566" y="714998"/>
                  <a:pt x="1297029" y="690241"/>
                  <a:pt x="1325633" y="653105"/>
                </a:cubicBezTo>
                <a:cubicBezTo>
                  <a:pt x="1354234" y="615969"/>
                  <a:pt x="1369107" y="566456"/>
                  <a:pt x="1370251" y="504563"/>
                </a:cubicBezTo>
                <a:lnTo>
                  <a:pt x="1370251" y="381506"/>
                </a:lnTo>
                <a:cubicBezTo>
                  <a:pt x="1369107" y="320571"/>
                  <a:pt x="1354234" y="271718"/>
                  <a:pt x="1325633" y="234948"/>
                </a:cubicBezTo>
                <a:cubicBezTo>
                  <a:pt x="1297029" y="198178"/>
                  <a:pt x="1261566" y="173577"/>
                  <a:pt x="1219233" y="161145"/>
                </a:cubicBezTo>
                <a:cubicBezTo>
                  <a:pt x="1198068" y="154929"/>
                  <a:pt x="1176904" y="151776"/>
                  <a:pt x="1155739" y="151690"/>
                </a:cubicBezTo>
                <a:close/>
                <a:moveTo>
                  <a:pt x="2483906" y="145063"/>
                </a:moveTo>
                <a:cubicBezTo>
                  <a:pt x="2431569" y="144987"/>
                  <a:pt x="2386623" y="156416"/>
                  <a:pt x="2349068" y="179350"/>
                </a:cubicBezTo>
                <a:cubicBezTo>
                  <a:pt x="2311513" y="202282"/>
                  <a:pt x="2291859" y="237178"/>
                  <a:pt x="2290107" y="284036"/>
                </a:cubicBezTo>
                <a:cubicBezTo>
                  <a:pt x="2291427" y="331094"/>
                  <a:pt x="2310116" y="366799"/>
                  <a:pt x="2346174" y="391155"/>
                </a:cubicBezTo>
                <a:cubicBezTo>
                  <a:pt x="2382232" y="415510"/>
                  <a:pt x="2427735" y="427752"/>
                  <a:pt x="2482686" y="427880"/>
                </a:cubicBezTo>
                <a:cubicBezTo>
                  <a:pt x="2537917" y="427828"/>
                  <a:pt x="2584384" y="415739"/>
                  <a:pt x="2622091" y="391615"/>
                </a:cubicBezTo>
                <a:cubicBezTo>
                  <a:pt x="2659798" y="367487"/>
                  <a:pt x="2679148" y="331627"/>
                  <a:pt x="2680140" y="284036"/>
                </a:cubicBezTo>
                <a:cubicBezTo>
                  <a:pt x="2677983" y="237178"/>
                  <a:pt x="2658229" y="202282"/>
                  <a:pt x="2620874" y="179350"/>
                </a:cubicBezTo>
                <a:cubicBezTo>
                  <a:pt x="2583520" y="156416"/>
                  <a:pt x="2537865" y="144987"/>
                  <a:pt x="2483906" y="145063"/>
                </a:cubicBezTo>
                <a:close/>
                <a:moveTo>
                  <a:pt x="1607472" y="16067"/>
                </a:moveTo>
                <a:lnTo>
                  <a:pt x="1899731" y="16067"/>
                </a:lnTo>
                <a:lnTo>
                  <a:pt x="1899731" y="733694"/>
                </a:lnTo>
                <a:lnTo>
                  <a:pt x="2017913" y="733694"/>
                </a:lnTo>
                <a:lnTo>
                  <a:pt x="2017913" y="869998"/>
                </a:lnTo>
                <a:lnTo>
                  <a:pt x="1612343" y="869998"/>
                </a:lnTo>
                <a:lnTo>
                  <a:pt x="1612347" y="733694"/>
                </a:lnTo>
                <a:lnTo>
                  <a:pt x="1740274" y="733694"/>
                </a:lnTo>
                <a:lnTo>
                  <a:pt x="1740274" y="162120"/>
                </a:lnTo>
                <a:lnTo>
                  <a:pt x="1607472" y="162120"/>
                </a:lnTo>
                <a:close/>
                <a:moveTo>
                  <a:pt x="332538" y="6321"/>
                </a:moveTo>
                <a:cubicBezTo>
                  <a:pt x="390649" y="5927"/>
                  <a:pt x="446668" y="14421"/>
                  <a:pt x="500596" y="31797"/>
                </a:cubicBezTo>
                <a:cubicBezTo>
                  <a:pt x="554524" y="49172"/>
                  <a:pt x="598969" y="77787"/>
                  <a:pt x="633938" y="117634"/>
                </a:cubicBezTo>
                <a:cubicBezTo>
                  <a:pt x="668903" y="157484"/>
                  <a:pt x="687001" y="210921"/>
                  <a:pt x="688232" y="277948"/>
                </a:cubicBezTo>
                <a:cubicBezTo>
                  <a:pt x="687326" y="349400"/>
                  <a:pt x="671019" y="403836"/>
                  <a:pt x="639310" y="441263"/>
                </a:cubicBezTo>
                <a:cubicBezTo>
                  <a:pt x="607601" y="478689"/>
                  <a:pt x="565936" y="504068"/>
                  <a:pt x="514321" y="517402"/>
                </a:cubicBezTo>
                <a:cubicBezTo>
                  <a:pt x="462702" y="530736"/>
                  <a:pt x="406576" y="536990"/>
                  <a:pt x="345945" y="536164"/>
                </a:cubicBezTo>
                <a:cubicBezTo>
                  <a:pt x="321403" y="535815"/>
                  <a:pt x="294918" y="538543"/>
                  <a:pt x="266493" y="544337"/>
                </a:cubicBezTo>
                <a:cubicBezTo>
                  <a:pt x="238069" y="550134"/>
                  <a:pt x="213568" y="561076"/>
                  <a:pt x="192998" y="577173"/>
                </a:cubicBezTo>
                <a:cubicBezTo>
                  <a:pt x="172432" y="593266"/>
                  <a:pt x="161656" y="616584"/>
                  <a:pt x="160677" y="647128"/>
                </a:cubicBezTo>
                <a:lnTo>
                  <a:pt x="160677" y="720291"/>
                </a:lnTo>
                <a:lnTo>
                  <a:pt x="690669" y="720291"/>
                </a:lnTo>
                <a:lnTo>
                  <a:pt x="690669" y="869998"/>
                </a:lnTo>
                <a:lnTo>
                  <a:pt x="0" y="869998"/>
                </a:lnTo>
                <a:cubicBezTo>
                  <a:pt x="0" y="832903"/>
                  <a:pt x="0" y="795725"/>
                  <a:pt x="0" y="758461"/>
                </a:cubicBezTo>
                <a:cubicBezTo>
                  <a:pt x="0" y="721197"/>
                  <a:pt x="0" y="683680"/>
                  <a:pt x="0" y="645907"/>
                </a:cubicBezTo>
                <a:cubicBezTo>
                  <a:pt x="1158" y="581010"/>
                  <a:pt x="18593" y="529952"/>
                  <a:pt x="52310" y="492725"/>
                </a:cubicBezTo>
                <a:cubicBezTo>
                  <a:pt x="86027" y="455499"/>
                  <a:pt x="129089" y="429169"/>
                  <a:pt x="181496" y="413740"/>
                </a:cubicBezTo>
                <a:cubicBezTo>
                  <a:pt x="233903" y="398308"/>
                  <a:pt x="288719" y="390840"/>
                  <a:pt x="345945" y="391328"/>
                </a:cubicBezTo>
                <a:cubicBezTo>
                  <a:pt x="368537" y="391801"/>
                  <a:pt x="393909" y="389634"/>
                  <a:pt x="422057" y="384825"/>
                </a:cubicBezTo>
                <a:cubicBezTo>
                  <a:pt x="450205" y="380016"/>
                  <a:pt x="474761" y="369721"/>
                  <a:pt x="495732" y="353942"/>
                </a:cubicBezTo>
                <a:cubicBezTo>
                  <a:pt x="516703" y="338161"/>
                  <a:pt x="527717" y="314047"/>
                  <a:pt x="528779" y="281605"/>
                </a:cubicBezTo>
                <a:cubicBezTo>
                  <a:pt x="527558" y="235380"/>
                  <a:pt x="508973" y="201040"/>
                  <a:pt x="473012" y="178590"/>
                </a:cubicBezTo>
                <a:cubicBezTo>
                  <a:pt x="437057" y="156136"/>
                  <a:pt x="391043" y="144962"/>
                  <a:pt x="334975" y="145063"/>
                </a:cubicBezTo>
                <a:cubicBezTo>
                  <a:pt x="291094" y="145242"/>
                  <a:pt x="252091" y="155552"/>
                  <a:pt x="217962" y="175990"/>
                </a:cubicBezTo>
                <a:cubicBezTo>
                  <a:pt x="183833" y="196429"/>
                  <a:pt x="165552" y="225918"/>
                  <a:pt x="163111" y="264465"/>
                </a:cubicBezTo>
                <a:lnTo>
                  <a:pt x="3654" y="264465"/>
                </a:lnTo>
                <a:cubicBezTo>
                  <a:pt x="5186" y="204543"/>
                  <a:pt x="22140" y="155538"/>
                  <a:pt x="54519" y="117444"/>
                </a:cubicBezTo>
                <a:cubicBezTo>
                  <a:pt x="86899" y="79350"/>
                  <a:pt x="127945" y="51271"/>
                  <a:pt x="177659" y="33200"/>
                </a:cubicBezTo>
                <a:cubicBezTo>
                  <a:pt x="227372" y="15130"/>
                  <a:pt x="278998" y="6169"/>
                  <a:pt x="332538" y="6321"/>
                </a:cubicBezTo>
                <a:close/>
                <a:moveTo>
                  <a:pt x="2483906" y="1447"/>
                </a:moveTo>
                <a:cubicBezTo>
                  <a:pt x="2543168" y="1422"/>
                  <a:pt x="2599727" y="11884"/>
                  <a:pt x="2653586" y="32830"/>
                </a:cubicBezTo>
                <a:cubicBezTo>
                  <a:pt x="2707444" y="53774"/>
                  <a:pt x="2751620" y="85348"/>
                  <a:pt x="2786111" y="127549"/>
                </a:cubicBezTo>
                <a:cubicBezTo>
                  <a:pt x="2820603" y="169753"/>
                  <a:pt x="2838432" y="222727"/>
                  <a:pt x="2839593" y="286473"/>
                </a:cubicBezTo>
                <a:lnTo>
                  <a:pt x="2839593" y="604481"/>
                </a:lnTo>
                <a:cubicBezTo>
                  <a:pt x="2838515" y="667749"/>
                  <a:pt x="2821198" y="720007"/>
                  <a:pt x="2787646" y="761251"/>
                </a:cubicBezTo>
                <a:cubicBezTo>
                  <a:pt x="2754095" y="802498"/>
                  <a:pt x="2710791" y="833187"/>
                  <a:pt x="2657741" y="853318"/>
                </a:cubicBezTo>
                <a:cubicBezTo>
                  <a:pt x="2604685" y="873449"/>
                  <a:pt x="2548368" y="883478"/>
                  <a:pt x="2488781" y="883402"/>
                </a:cubicBezTo>
                <a:cubicBezTo>
                  <a:pt x="2426079" y="883602"/>
                  <a:pt x="2367999" y="875080"/>
                  <a:pt x="2314538" y="857829"/>
                </a:cubicBezTo>
                <a:cubicBezTo>
                  <a:pt x="2261077" y="840582"/>
                  <a:pt x="2217908" y="813388"/>
                  <a:pt x="2185034" y="776248"/>
                </a:cubicBezTo>
                <a:cubicBezTo>
                  <a:pt x="2152157" y="739111"/>
                  <a:pt x="2135248" y="690812"/>
                  <a:pt x="2134301" y="631349"/>
                </a:cubicBezTo>
                <a:lnTo>
                  <a:pt x="2294981" y="631349"/>
                </a:lnTo>
                <a:cubicBezTo>
                  <a:pt x="2295652" y="656514"/>
                  <a:pt x="2305418" y="677485"/>
                  <a:pt x="2324280" y="694262"/>
                </a:cubicBezTo>
                <a:cubicBezTo>
                  <a:pt x="2343142" y="711043"/>
                  <a:pt x="2367083" y="723630"/>
                  <a:pt x="2396102" y="732028"/>
                </a:cubicBezTo>
                <a:cubicBezTo>
                  <a:pt x="2425121" y="740425"/>
                  <a:pt x="2455202" y="744636"/>
                  <a:pt x="2486344" y="744657"/>
                </a:cubicBezTo>
                <a:cubicBezTo>
                  <a:pt x="2519048" y="744982"/>
                  <a:pt x="2550062" y="739592"/>
                  <a:pt x="2579382" y="728488"/>
                </a:cubicBezTo>
                <a:cubicBezTo>
                  <a:pt x="2608702" y="717387"/>
                  <a:pt x="2632674" y="701066"/>
                  <a:pt x="2651294" y="679531"/>
                </a:cubicBezTo>
                <a:cubicBezTo>
                  <a:pt x="2669914" y="657997"/>
                  <a:pt x="2679528" y="631740"/>
                  <a:pt x="2680140" y="600768"/>
                </a:cubicBezTo>
                <a:lnTo>
                  <a:pt x="2680140" y="477780"/>
                </a:lnTo>
                <a:cubicBezTo>
                  <a:pt x="2659573" y="507090"/>
                  <a:pt x="2630319" y="529402"/>
                  <a:pt x="2592384" y="544717"/>
                </a:cubicBezTo>
                <a:cubicBezTo>
                  <a:pt x="2554446" y="560032"/>
                  <a:pt x="2517880" y="567738"/>
                  <a:pt x="2482686" y="567842"/>
                </a:cubicBezTo>
                <a:cubicBezTo>
                  <a:pt x="2424236" y="568264"/>
                  <a:pt x="2368352" y="559441"/>
                  <a:pt x="2315036" y="541374"/>
                </a:cubicBezTo>
                <a:cubicBezTo>
                  <a:pt x="2261720" y="523304"/>
                  <a:pt x="2217949" y="493458"/>
                  <a:pt x="2183727" y="451834"/>
                </a:cubicBezTo>
                <a:cubicBezTo>
                  <a:pt x="2149505" y="410214"/>
                  <a:pt x="2131815" y="354278"/>
                  <a:pt x="2130650" y="284036"/>
                </a:cubicBezTo>
                <a:cubicBezTo>
                  <a:pt x="2131829" y="221085"/>
                  <a:pt x="2149626" y="168685"/>
                  <a:pt x="2184042" y="126826"/>
                </a:cubicBezTo>
                <a:cubicBezTo>
                  <a:pt x="2218461" y="84971"/>
                  <a:pt x="2262425" y="53608"/>
                  <a:pt x="2315938" y="32740"/>
                </a:cubicBezTo>
                <a:cubicBezTo>
                  <a:pt x="2369451" y="11870"/>
                  <a:pt x="2425439" y="1440"/>
                  <a:pt x="2483906" y="1447"/>
                </a:cubicBezTo>
                <a:close/>
                <a:moveTo>
                  <a:pt x="1155739" y="1"/>
                </a:moveTo>
                <a:cubicBezTo>
                  <a:pt x="1192637" y="29"/>
                  <a:pt x="1229535" y="5146"/>
                  <a:pt x="1266433" y="15348"/>
                </a:cubicBezTo>
                <a:cubicBezTo>
                  <a:pt x="1340229" y="35755"/>
                  <a:pt x="1402056" y="76477"/>
                  <a:pt x="1451919" y="137516"/>
                </a:cubicBezTo>
                <a:cubicBezTo>
                  <a:pt x="1501781" y="198558"/>
                  <a:pt x="1527709" y="279887"/>
                  <a:pt x="1529704" y="381506"/>
                </a:cubicBezTo>
                <a:lnTo>
                  <a:pt x="1529704" y="504563"/>
                </a:lnTo>
                <a:cubicBezTo>
                  <a:pt x="1527709" y="606178"/>
                  <a:pt x="1501781" y="687507"/>
                  <a:pt x="1451919" y="748549"/>
                </a:cubicBezTo>
                <a:cubicBezTo>
                  <a:pt x="1402056" y="809588"/>
                  <a:pt x="1340229" y="850313"/>
                  <a:pt x="1266433" y="870717"/>
                </a:cubicBezTo>
                <a:cubicBezTo>
                  <a:pt x="1192637" y="891125"/>
                  <a:pt x="1118841" y="891184"/>
                  <a:pt x="1045046" y="870894"/>
                </a:cubicBezTo>
                <a:cubicBezTo>
                  <a:pt x="971250" y="850604"/>
                  <a:pt x="909419" y="809941"/>
                  <a:pt x="859557" y="748899"/>
                </a:cubicBezTo>
                <a:cubicBezTo>
                  <a:pt x="809695" y="687860"/>
                  <a:pt x="783766" y="606413"/>
                  <a:pt x="781775" y="504563"/>
                </a:cubicBezTo>
                <a:lnTo>
                  <a:pt x="781775" y="381506"/>
                </a:lnTo>
                <a:cubicBezTo>
                  <a:pt x="783766" y="279652"/>
                  <a:pt x="809695" y="198206"/>
                  <a:pt x="859557" y="137167"/>
                </a:cubicBezTo>
                <a:cubicBezTo>
                  <a:pt x="909419" y="76128"/>
                  <a:pt x="971250" y="35461"/>
                  <a:pt x="1045046" y="15171"/>
                </a:cubicBezTo>
                <a:cubicBezTo>
                  <a:pt x="1081944" y="5028"/>
                  <a:pt x="1118841" y="-30"/>
                  <a:pt x="1155739" y="1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xmlns="" id="{6FC71C6F-55E6-4F8C-ABAE-E6401946D2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419489" y="3487043"/>
            <a:ext cx="4109011" cy="2378388"/>
          </a:xfrm>
          <a:prstGeom prst="roundRect">
            <a:avLst>
              <a:gd name="adj" fmla="val 6326"/>
            </a:avLst>
          </a:prstGeom>
          <a:solidFill>
            <a:schemeClr val="bg1">
              <a:lumMod val="85000"/>
            </a:schemeClr>
          </a:solidFill>
          <a:effectLst/>
        </p:spPr>
        <p:txBody>
          <a:bodyPr lIns="91413" tIns="45707" rIns="91413" bIns="45707"/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xmlns="" id="{F3F58970-DF4B-417D-9D55-3B9FF2DD843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863509" y="3298375"/>
            <a:ext cx="4760931" cy="2755733"/>
          </a:xfrm>
          <a:prstGeom prst="roundRect">
            <a:avLst>
              <a:gd name="adj" fmla="val 6326"/>
            </a:avLst>
          </a:prstGeom>
          <a:solidFill>
            <a:schemeClr val="bg1">
              <a:lumMod val="85000"/>
            </a:schemeClr>
          </a:solidFill>
          <a:effectLst>
            <a:outerShdw blurRad="1270000" dist="2108200" sx="67000" sy="67000" algn="l" rotWithShape="0">
              <a:prstClr val="black">
                <a:alpha val="98000"/>
              </a:prstClr>
            </a:outerShdw>
          </a:effectLst>
        </p:spPr>
        <p:txBody>
          <a:bodyPr lIns="91413" tIns="45707" rIns="91413" bIns="45707"/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xmlns="" id="{489D7319-6017-46CF-8D90-3986ADA0145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52765" y="3053380"/>
            <a:ext cx="5610483" cy="3247473"/>
          </a:xfrm>
          <a:prstGeom prst="roundRect">
            <a:avLst>
              <a:gd name="adj" fmla="val 6326"/>
            </a:avLst>
          </a:prstGeom>
          <a:solidFill>
            <a:schemeClr val="bg1">
              <a:lumMod val="85000"/>
            </a:schemeClr>
          </a:solidFill>
          <a:effectLst>
            <a:outerShdw blurRad="1270000" dist="2108200" sx="67000" sy="67000" algn="l" rotWithShape="0">
              <a:prstClr val="black">
                <a:alpha val="98000"/>
              </a:prstClr>
            </a:outerShdw>
          </a:effectLst>
        </p:spPr>
        <p:txBody>
          <a:bodyPr lIns="91413" tIns="45707" rIns="91413" bIns="45707"/>
          <a:lstStyle>
            <a:lvl1pPr marL="0" indent="0">
              <a:buNone/>
              <a:defRPr sz="1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xmlns="" val="833213337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xmlns="" id="{6A0D96C3-D9BC-49BE-BEB0-CA6320C9E6B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180341" y="898661"/>
            <a:ext cx="3405943" cy="4115555"/>
          </a:xfrm>
          <a:custGeom>
            <a:avLst/>
            <a:gdLst>
              <a:gd name="connsiteX0" fmla="*/ 2593317 w 3405942"/>
              <a:gd name="connsiteY0" fmla="*/ 2428703 h 4115554"/>
              <a:gd name="connsiteX1" fmla="*/ 2285258 w 3405942"/>
              <a:gd name="connsiteY1" fmla="*/ 2507033 h 4115554"/>
              <a:gd name="connsiteX2" fmla="*/ 2150551 w 3405942"/>
              <a:gd name="connsiteY2" fmla="*/ 2746202 h 4115554"/>
              <a:gd name="connsiteX3" fmla="*/ 2278645 w 3405942"/>
              <a:gd name="connsiteY3" fmla="*/ 2990940 h 4115554"/>
              <a:gd name="connsiteX4" fmla="*/ 2590529 w 3405942"/>
              <a:gd name="connsiteY4" fmla="*/ 3074837 h 4115554"/>
              <a:gd name="connsiteX5" fmla="*/ 2909023 w 3405942"/>
              <a:gd name="connsiteY5" fmla="*/ 2991984 h 4115554"/>
              <a:gd name="connsiteX6" fmla="*/ 3041640 w 3405942"/>
              <a:gd name="connsiteY6" fmla="*/ 2746202 h 4115554"/>
              <a:gd name="connsiteX7" fmla="*/ 2906239 w 3405942"/>
              <a:gd name="connsiteY7" fmla="*/ 2507033 h 4115554"/>
              <a:gd name="connsiteX8" fmla="*/ 2593317 w 3405942"/>
              <a:gd name="connsiteY8" fmla="*/ 2428703 h 4115554"/>
              <a:gd name="connsiteX9" fmla="*/ 320108 w 3405942"/>
              <a:gd name="connsiteY9" fmla="*/ 2164619 h 4115554"/>
              <a:gd name="connsiteX10" fmla="*/ 987818 w 3405942"/>
              <a:gd name="connsiteY10" fmla="*/ 2164619 h 4115554"/>
              <a:gd name="connsiteX11" fmla="*/ 987818 w 3405942"/>
              <a:gd name="connsiteY11" fmla="*/ 3804140 h 4115554"/>
              <a:gd name="connsiteX12" fmla="*/ 1257826 w 3405942"/>
              <a:gd name="connsiteY12" fmla="*/ 3804140 h 4115554"/>
              <a:gd name="connsiteX13" fmla="*/ 1257826 w 3405942"/>
              <a:gd name="connsiteY13" fmla="*/ 4115553 h 4115554"/>
              <a:gd name="connsiteX14" fmla="*/ 331237 w 3405942"/>
              <a:gd name="connsiteY14" fmla="*/ 4115553 h 4115554"/>
              <a:gd name="connsiteX15" fmla="*/ 331243 w 3405942"/>
              <a:gd name="connsiteY15" fmla="*/ 3804140 h 4115554"/>
              <a:gd name="connsiteX16" fmla="*/ 623516 w 3405942"/>
              <a:gd name="connsiteY16" fmla="*/ 3804140 h 4115554"/>
              <a:gd name="connsiteX17" fmla="*/ 623516 w 3405942"/>
              <a:gd name="connsiteY17" fmla="*/ 2498295 h 4115554"/>
              <a:gd name="connsiteX18" fmla="*/ 320108 w 3405942"/>
              <a:gd name="connsiteY18" fmla="*/ 2498295 h 4115554"/>
              <a:gd name="connsiteX19" fmla="*/ 2593317 w 3405942"/>
              <a:gd name="connsiteY19" fmla="*/ 2100588 h 4115554"/>
              <a:gd name="connsiteX20" fmla="*/ 2980978 w 3405942"/>
              <a:gd name="connsiteY20" fmla="*/ 2172286 h 4115554"/>
              <a:gd name="connsiteX21" fmla="*/ 3283751 w 3405942"/>
              <a:gd name="connsiteY21" fmla="*/ 2388690 h 4115554"/>
              <a:gd name="connsiteX22" fmla="*/ 3405942 w 3405942"/>
              <a:gd name="connsiteY22" fmla="*/ 2751770 h 4115554"/>
              <a:gd name="connsiteX23" fmla="*/ 3405942 w 3405942"/>
              <a:gd name="connsiteY23" fmla="*/ 3478309 h 4115554"/>
              <a:gd name="connsiteX24" fmla="*/ 3287259 w 3405942"/>
              <a:gd name="connsiteY24" fmla="*/ 3836479 h 4115554"/>
              <a:gd name="connsiteX25" fmla="*/ 2990463 w 3405942"/>
              <a:gd name="connsiteY25" fmla="*/ 4046817 h 4115554"/>
              <a:gd name="connsiteX26" fmla="*/ 2604452 w 3405942"/>
              <a:gd name="connsiteY26" fmla="*/ 4115547 h 4115554"/>
              <a:gd name="connsiteX27" fmla="*/ 2206368 w 3405942"/>
              <a:gd name="connsiteY27" fmla="*/ 4057124 h 4115554"/>
              <a:gd name="connsiteX28" fmla="*/ 1910499 w 3405942"/>
              <a:gd name="connsiteY28" fmla="*/ 3870741 h 4115554"/>
              <a:gd name="connsiteX29" fmla="*/ 1794595 w 3405942"/>
              <a:gd name="connsiteY29" fmla="*/ 3539694 h 4115554"/>
              <a:gd name="connsiteX30" fmla="*/ 2161690 w 3405942"/>
              <a:gd name="connsiteY30" fmla="*/ 3539694 h 4115554"/>
              <a:gd name="connsiteX31" fmla="*/ 2228623 w 3405942"/>
              <a:gd name="connsiteY31" fmla="*/ 3683430 h 4115554"/>
              <a:gd name="connsiteX32" fmla="*/ 2392717 w 3405942"/>
              <a:gd name="connsiteY32" fmla="*/ 3769710 h 4115554"/>
              <a:gd name="connsiteX33" fmla="*/ 2598884 w 3405942"/>
              <a:gd name="connsiteY33" fmla="*/ 3798567 h 4115554"/>
              <a:gd name="connsiteX34" fmla="*/ 2811445 w 3405942"/>
              <a:gd name="connsiteY34" fmla="*/ 3761627 h 4115554"/>
              <a:gd name="connsiteX35" fmla="*/ 2975738 w 3405942"/>
              <a:gd name="connsiteY35" fmla="*/ 3649773 h 4115554"/>
              <a:gd name="connsiteX36" fmla="*/ 3041640 w 3405942"/>
              <a:gd name="connsiteY36" fmla="*/ 3469824 h 4115554"/>
              <a:gd name="connsiteX37" fmla="*/ 3041640 w 3405942"/>
              <a:gd name="connsiteY37" fmla="*/ 3188839 h 4115554"/>
              <a:gd name="connsiteX38" fmla="*/ 2841150 w 3405942"/>
              <a:gd name="connsiteY38" fmla="*/ 3341769 h 4115554"/>
              <a:gd name="connsiteX39" fmla="*/ 2590529 w 3405942"/>
              <a:gd name="connsiteY39" fmla="*/ 3394600 h 4115554"/>
              <a:gd name="connsiteX40" fmla="*/ 2207507 w 3405942"/>
              <a:gd name="connsiteY40" fmla="*/ 3334131 h 4115554"/>
              <a:gd name="connsiteX41" fmla="*/ 1907513 w 3405942"/>
              <a:gd name="connsiteY41" fmla="*/ 3129570 h 4115554"/>
              <a:gd name="connsiteX42" fmla="*/ 1786254 w 3405942"/>
              <a:gd name="connsiteY42" fmla="*/ 2746202 h 4115554"/>
              <a:gd name="connsiteX43" fmla="*/ 1908236 w 3405942"/>
              <a:gd name="connsiteY43" fmla="*/ 2387042 h 4115554"/>
              <a:gd name="connsiteX44" fmla="*/ 2209568 w 3405942"/>
              <a:gd name="connsiteY44" fmla="*/ 2172078 h 4115554"/>
              <a:gd name="connsiteX45" fmla="*/ 2593317 w 3405942"/>
              <a:gd name="connsiteY45" fmla="*/ 2100588 h 4115554"/>
              <a:gd name="connsiteX46" fmla="*/ 2551562 w 3405942"/>
              <a:gd name="connsiteY46" fmla="*/ 346560 h 4115554"/>
              <a:gd name="connsiteX47" fmla="*/ 2406497 w 3405942"/>
              <a:gd name="connsiteY47" fmla="*/ 366958 h 4115554"/>
              <a:gd name="connsiteX48" fmla="*/ 2163419 w 3405942"/>
              <a:gd name="connsiteY48" fmla="*/ 534376 h 4115554"/>
              <a:gd name="connsiteX49" fmla="*/ 2061483 w 3405942"/>
              <a:gd name="connsiteY49" fmla="*/ 871609 h 4115554"/>
              <a:gd name="connsiteX50" fmla="*/ 2061483 w 3405942"/>
              <a:gd name="connsiteY50" fmla="*/ 1152752 h 4115554"/>
              <a:gd name="connsiteX51" fmla="*/ 2163419 w 3405942"/>
              <a:gd name="connsiteY51" fmla="*/ 1492124 h 4115554"/>
              <a:gd name="connsiteX52" fmla="*/ 2406497 w 3405942"/>
              <a:gd name="connsiteY52" fmla="*/ 1661811 h 4115554"/>
              <a:gd name="connsiteX53" fmla="*/ 2696625 w 3405942"/>
              <a:gd name="connsiteY53" fmla="*/ 1661811 h 4115554"/>
              <a:gd name="connsiteX54" fmla="*/ 2939708 w 3405942"/>
              <a:gd name="connsiteY54" fmla="*/ 1492124 h 4115554"/>
              <a:gd name="connsiteX55" fmla="*/ 3041645 w 3405942"/>
              <a:gd name="connsiteY55" fmla="*/ 1152752 h 4115554"/>
              <a:gd name="connsiteX56" fmla="*/ 3041645 w 3405942"/>
              <a:gd name="connsiteY56" fmla="*/ 871609 h 4115554"/>
              <a:gd name="connsiteX57" fmla="*/ 2939708 w 3405942"/>
              <a:gd name="connsiteY57" fmla="*/ 536778 h 4115554"/>
              <a:gd name="connsiteX58" fmla="*/ 2696625 w 3405942"/>
              <a:gd name="connsiteY58" fmla="*/ 368161 h 4115554"/>
              <a:gd name="connsiteX59" fmla="*/ 2551562 w 3405942"/>
              <a:gd name="connsiteY59" fmla="*/ 346560 h 4115554"/>
              <a:gd name="connsiteX60" fmla="*/ 759726 w 3405942"/>
              <a:gd name="connsiteY60" fmla="*/ 30 h 4115554"/>
              <a:gd name="connsiteX61" fmla="*/ 1143683 w 3405942"/>
              <a:gd name="connsiteY61" fmla="*/ 58235 h 4115554"/>
              <a:gd name="connsiteX62" fmla="*/ 1448318 w 3405942"/>
              <a:gd name="connsiteY62" fmla="*/ 254342 h 4115554"/>
              <a:gd name="connsiteX63" fmla="*/ 1572367 w 3405942"/>
              <a:gd name="connsiteY63" fmla="*/ 620606 h 4115554"/>
              <a:gd name="connsiteX64" fmla="*/ 1460593 w 3405942"/>
              <a:gd name="connsiteY64" fmla="*/ 993720 h 4115554"/>
              <a:gd name="connsiteX65" fmla="*/ 1175037 w 3405942"/>
              <a:gd name="connsiteY65" fmla="*/ 1167676 h 4115554"/>
              <a:gd name="connsiteX66" fmla="*/ 790356 w 3405942"/>
              <a:gd name="connsiteY66" fmla="*/ 1210536 h 4115554"/>
              <a:gd name="connsiteX67" fmla="*/ 608837 w 3405942"/>
              <a:gd name="connsiteY67" fmla="*/ 1229210 h 4115554"/>
              <a:gd name="connsiteX68" fmla="*/ 440933 w 3405942"/>
              <a:gd name="connsiteY68" fmla="*/ 1304225 h 4115554"/>
              <a:gd name="connsiteX69" fmla="*/ 367091 w 3405942"/>
              <a:gd name="connsiteY69" fmla="*/ 1464050 h 4115554"/>
              <a:gd name="connsiteX70" fmla="*/ 367091 w 3405942"/>
              <a:gd name="connsiteY70" fmla="*/ 1631201 h 4115554"/>
              <a:gd name="connsiteX71" fmla="*/ 1577934 w 3405942"/>
              <a:gd name="connsiteY71" fmla="*/ 1631201 h 4115554"/>
              <a:gd name="connsiteX72" fmla="*/ 1577934 w 3405942"/>
              <a:gd name="connsiteY72" fmla="*/ 1973234 h 4115554"/>
              <a:gd name="connsiteX73" fmla="*/ 0 w 3405942"/>
              <a:gd name="connsiteY73" fmla="*/ 1973234 h 4115554"/>
              <a:gd name="connsiteX74" fmla="*/ 0 w 3405942"/>
              <a:gd name="connsiteY74" fmla="*/ 1718411 h 4115554"/>
              <a:gd name="connsiteX75" fmla="*/ 0 w 3405942"/>
              <a:gd name="connsiteY75" fmla="*/ 1461267 h 4115554"/>
              <a:gd name="connsiteX76" fmla="*/ 119511 w 3405942"/>
              <a:gd name="connsiteY76" fmla="*/ 1111294 h 4115554"/>
              <a:gd name="connsiteX77" fmla="*/ 414652 w 3405942"/>
              <a:gd name="connsiteY77" fmla="*/ 930839 h 4115554"/>
              <a:gd name="connsiteX78" fmla="*/ 790356 w 3405942"/>
              <a:gd name="connsiteY78" fmla="*/ 879638 h 4115554"/>
              <a:gd name="connsiteX79" fmla="*/ 964248 w 3405942"/>
              <a:gd name="connsiteY79" fmla="*/ 864783 h 4115554"/>
              <a:gd name="connsiteX80" fmla="*/ 1132572 w 3405942"/>
              <a:gd name="connsiteY80" fmla="*/ 794220 h 4115554"/>
              <a:gd name="connsiteX81" fmla="*/ 1208068 w 3405942"/>
              <a:gd name="connsiteY81" fmla="*/ 628962 h 4115554"/>
              <a:gd name="connsiteX82" fmla="*/ 1080668 w 3405942"/>
              <a:gd name="connsiteY82" fmla="*/ 393601 h 4115554"/>
              <a:gd name="connsiteX83" fmla="*/ 765294 w 3405942"/>
              <a:gd name="connsiteY83" fmla="*/ 317010 h 4115554"/>
              <a:gd name="connsiteX84" fmla="*/ 497965 w 3405942"/>
              <a:gd name="connsiteY84" fmla="*/ 387662 h 4115554"/>
              <a:gd name="connsiteX85" fmla="*/ 372648 w 3405942"/>
              <a:gd name="connsiteY85" fmla="*/ 589797 h 4115554"/>
              <a:gd name="connsiteX86" fmla="*/ 8341 w 3405942"/>
              <a:gd name="connsiteY86" fmla="*/ 589797 h 4115554"/>
              <a:gd name="connsiteX87" fmla="*/ 124553 w 3405942"/>
              <a:gd name="connsiteY87" fmla="*/ 253905 h 4115554"/>
              <a:gd name="connsiteX88" fmla="*/ 405884 w 3405942"/>
              <a:gd name="connsiteY88" fmla="*/ 61440 h 4115554"/>
              <a:gd name="connsiteX89" fmla="*/ 759726 w 3405942"/>
              <a:gd name="connsiteY89" fmla="*/ 30 h 4115554"/>
              <a:gd name="connsiteX90" fmla="*/ 2551562 w 3405942"/>
              <a:gd name="connsiteY90" fmla="*/ 5 h 4115554"/>
              <a:gd name="connsiteX91" fmla="*/ 2804461 w 3405942"/>
              <a:gd name="connsiteY91" fmla="*/ 35070 h 4115554"/>
              <a:gd name="connsiteX92" fmla="*/ 3228232 w 3405942"/>
              <a:gd name="connsiteY92" fmla="*/ 314181 h 4115554"/>
              <a:gd name="connsiteX93" fmla="*/ 3405942 w 3405942"/>
              <a:gd name="connsiteY93" fmla="*/ 871609 h 4115554"/>
              <a:gd name="connsiteX94" fmla="*/ 3405942 w 3405942"/>
              <a:gd name="connsiteY94" fmla="*/ 1152752 h 4115554"/>
              <a:gd name="connsiteX95" fmla="*/ 3228232 w 3405942"/>
              <a:gd name="connsiteY95" fmla="*/ 1710174 h 4115554"/>
              <a:gd name="connsiteX96" fmla="*/ 2804461 w 3405942"/>
              <a:gd name="connsiteY96" fmla="*/ 1989291 h 4115554"/>
              <a:gd name="connsiteX97" fmla="*/ 2298666 w 3405942"/>
              <a:gd name="connsiteY97" fmla="*/ 1989693 h 4115554"/>
              <a:gd name="connsiteX98" fmla="*/ 1874891 w 3405942"/>
              <a:gd name="connsiteY98" fmla="*/ 1710977 h 4115554"/>
              <a:gd name="connsiteX99" fmla="*/ 1697180 w 3405942"/>
              <a:gd name="connsiteY99" fmla="*/ 1152752 h 4115554"/>
              <a:gd name="connsiteX100" fmla="*/ 1697180 w 3405942"/>
              <a:gd name="connsiteY100" fmla="*/ 871609 h 4115554"/>
              <a:gd name="connsiteX101" fmla="*/ 1874891 w 3405942"/>
              <a:gd name="connsiteY101" fmla="*/ 313379 h 4115554"/>
              <a:gd name="connsiteX102" fmla="*/ 2298666 w 3405942"/>
              <a:gd name="connsiteY102" fmla="*/ 34668 h 4115554"/>
              <a:gd name="connsiteX103" fmla="*/ 2551562 w 3405942"/>
              <a:gd name="connsiteY103" fmla="*/ 5 h 4115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3405942" h="4115554">
                <a:moveTo>
                  <a:pt x="2593317" y="2428703"/>
                </a:moveTo>
                <a:cubicBezTo>
                  <a:pt x="2473747" y="2428529"/>
                  <a:pt x="2371062" y="2454638"/>
                  <a:pt x="2285258" y="2507033"/>
                </a:cubicBezTo>
                <a:cubicBezTo>
                  <a:pt x="2199459" y="2559427"/>
                  <a:pt x="2154553" y="2639149"/>
                  <a:pt x="2150551" y="2746202"/>
                </a:cubicBezTo>
                <a:cubicBezTo>
                  <a:pt x="2153568" y="2853717"/>
                  <a:pt x="2196264" y="2935296"/>
                  <a:pt x="2278645" y="2990940"/>
                </a:cubicBezTo>
                <a:cubicBezTo>
                  <a:pt x="2361027" y="3046584"/>
                  <a:pt x="2464990" y="3074549"/>
                  <a:pt x="2590529" y="3074837"/>
                </a:cubicBezTo>
                <a:cubicBezTo>
                  <a:pt x="2716710" y="3074722"/>
                  <a:pt x="2822872" y="3047104"/>
                  <a:pt x="2909023" y="2991984"/>
                </a:cubicBezTo>
                <a:cubicBezTo>
                  <a:pt x="2995169" y="2936861"/>
                  <a:pt x="3039377" y="2854935"/>
                  <a:pt x="3041640" y="2746202"/>
                </a:cubicBezTo>
                <a:cubicBezTo>
                  <a:pt x="3036712" y="2639149"/>
                  <a:pt x="2991578" y="2559427"/>
                  <a:pt x="2906239" y="2507033"/>
                </a:cubicBezTo>
                <a:cubicBezTo>
                  <a:pt x="2820901" y="2454638"/>
                  <a:pt x="2716597" y="2428529"/>
                  <a:pt x="2593317" y="2428703"/>
                </a:cubicBezTo>
                <a:close/>
                <a:moveTo>
                  <a:pt x="320108" y="2164619"/>
                </a:moveTo>
                <a:lnTo>
                  <a:pt x="987818" y="2164619"/>
                </a:lnTo>
                <a:lnTo>
                  <a:pt x="987818" y="3804140"/>
                </a:lnTo>
                <a:lnTo>
                  <a:pt x="1257826" y="3804140"/>
                </a:lnTo>
                <a:lnTo>
                  <a:pt x="1257826" y="4115553"/>
                </a:lnTo>
                <a:lnTo>
                  <a:pt x="331237" y="4115553"/>
                </a:lnTo>
                <a:lnTo>
                  <a:pt x="331243" y="3804140"/>
                </a:lnTo>
                <a:lnTo>
                  <a:pt x="623516" y="3804140"/>
                </a:lnTo>
                <a:lnTo>
                  <a:pt x="623516" y="2498295"/>
                </a:lnTo>
                <a:lnTo>
                  <a:pt x="320108" y="2498295"/>
                </a:lnTo>
                <a:close/>
                <a:moveTo>
                  <a:pt x="2593317" y="2100588"/>
                </a:moveTo>
                <a:cubicBezTo>
                  <a:pt x="2728707" y="2100534"/>
                  <a:pt x="2857931" y="2124433"/>
                  <a:pt x="2980978" y="2172286"/>
                </a:cubicBezTo>
                <a:cubicBezTo>
                  <a:pt x="3104025" y="2220138"/>
                  <a:pt x="3204952" y="2292273"/>
                  <a:pt x="3283751" y="2388690"/>
                </a:cubicBezTo>
                <a:cubicBezTo>
                  <a:pt x="3362552" y="2485105"/>
                  <a:pt x="3403283" y="2606136"/>
                  <a:pt x="3405942" y="2751770"/>
                </a:cubicBezTo>
                <a:lnTo>
                  <a:pt x="3405942" y="3478309"/>
                </a:lnTo>
                <a:cubicBezTo>
                  <a:pt x="3403471" y="3622853"/>
                  <a:pt x="3363909" y="3742245"/>
                  <a:pt x="3287259" y="3836479"/>
                </a:cubicBezTo>
                <a:cubicBezTo>
                  <a:pt x="3210603" y="3930709"/>
                  <a:pt x="3111673" y="4000821"/>
                  <a:pt x="2990463" y="4046817"/>
                </a:cubicBezTo>
                <a:cubicBezTo>
                  <a:pt x="2869259" y="4092807"/>
                  <a:pt x="2740586" y="4115721"/>
                  <a:pt x="2604452" y="4115547"/>
                </a:cubicBezTo>
                <a:cubicBezTo>
                  <a:pt x="2461205" y="4116008"/>
                  <a:pt x="2328510" y="4096536"/>
                  <a:pt x="2206368" y="4057124"/>
                </a:cubicBezTo>
                <a:cubicBezTo>
                  <a:pt x="2084233" y="4017717"/>
                  <a:pt x="1985605" y="3955589"/>
                  <a:pt x="1910499" y="3870741"/>
                </a:cubicBezTo>
                <a:cubicBezTo>
                  <a:pt x="1835389" y="3785892"/>
                  <a:pt x="1796754" y="3675545"/>
                  <a:pt x="1794595" y="3539694"/>
                </a:cubicBezTo>
                <a:lnTo>
                  <a:pt x="2161690" y="3539694"/>
                </a:lnTo>
                <a:cubicBezTo>
                  <a:pt x="2163221" y="3597186"/>
                  <a:pt x="2185531" y="3645097"/>
                  <a:pt x="2228623" y="3683430"/>
                </a:cubicBezTo>
                <a:cubicBezTo>
                  <a:pt x="2271721" y="3721768"/>
                  <a:pt x="2326414" y="3750527"/>
                  <a:pt x="2392717" y="3769710"/>
                </a:cubicBezTo>
                <a:cubicBezTo>
                  <a:pt x="2459016" y="3788899"/>
                  <a:pt x="2527737" y="3798518"/>
                  <a:pt x="2598884" y="3798567"/>
                </a:cubicBezTo>
                <a:cubicBezTo>
                  <a:pt x="2673608" y="3799305"/>
                  <a:pt x="2744458" y="3786991"/>
                  <a:pt x="2811445" y="3761627"/>
                </a:cubicBezTo>
                <a:cubicBezTo>
                  <a:pt x="2878432" y="3736262"/>
                  <a:pt x="2933195" y="3698974"/>
                  <a:pt x="2975738" y="3649773"/>
                </a:cubicBezTo>
                <a:cubicBezTo>
                  <a:pt x="3018280" y="3600574"/>
                  <a:pt x="3040248" y="3540590"/>
                  <a:pt x="3041640" y="3469824"/>
                </a:cubicBezTo>
                <a:lnTo>
                  <a:pt x="3041640" y="3188839"/>
                </a:lnTo>
                <a:cubicBezTo>
                  <a:pt x="2994654" y="3255807"/>
                  <a:pt x="2927821" y="3306780"/>
                  <a:pt x="2841150" y="3341769"/>
                </a:cubicBezTo>
                <a:cubicBezTo>
                  <a:pt x="2754479" y="3376759"/>
                  <a:pt x="2670938" y="3394368"/>
                  <a:pt x="2590529" y="3394600"/>
                </a:cubicBezTo>
                <a:cubicBezTo>
                  <a:pt x="2456990" y="3395566"/>
                  <a:pt x="2329316" y="3375407"/>
                  <a:pt x="2207507" y="3334131"/>
                </a:cubicBezTo>
                <a:cubicBezTo>
                  <a:pt x="2085699" y="3292852"/>
                  <a:pt x="1985698" y="3224666"/>
                  <a:pt x="1907513" y="3129570"/>
                </a:cubicBezTo>
                <a:cubicBezTo>
                  <a:pt x="1829331" y="3034474"/>
                  <a:pt x="1788908" y="2906686"/>
                  <a:pt x="1786254" y="2746202"/>
                </a:cubicBezTo>
                <a:cubicBezTo>
                  <a:pt x="1788943" y="2602386"/>
                  <a:pt x="1829604" y="2482668"/>
                  <a:pt x="1908236" y="2387042"/>
                </a:cubicBezTo>
                <a:cubicBezTo>
                  <a:pt x="1986868" y="2291415"/>
                  <a:pt x="2087314" y="2219762"/>
                  <a:pt x="2209568" y="2172078"/>
                </a:cubicBezTo>
                <a:cubicBezTo>
                  <a:pt x="2331827" y="2124398"/>
                  <a:pt x="2459744" y="2100568"/>
                  <a:pt x="2593317" y="2100588"/>
                </a:cubicBezTo>
                <a:close/>
                <a:moveTo>
                  <a:pt x="2551562" y="346560"/>
                </a:moveTo>
                <a:cubicBezTo>
                  <a:pt x="2503208" y="346357"/>
                  <a:pt x="2454855" y="353158"/>
                  <a:pt x="2406497" y="366958"/>
                </a:cubicBezTo>
                <a:cubicBezTo>
                  <a:pt x="2309786" y="394562"/>
                  <a:pt x="2228762" y="450365"/>
                  <a:pt x="2163419" y="534376"/>
                </a:cubicBezTo>
                <a:cubicBezTo>
                  <a:pt x="2098072" y="618382"/>
                  <a:pt x="2064094" y="730794"/>
                  <a:pt x="2061483" y="871609"/>
                </a:cubicBezTo>
                <a:lnTo>
                  <a:pt x="2061483" y="1152752"/>
                </a:lnTo>
                <a:cubicBezTo>
                  <a:pt x="2064094" y="1294156"/>
                  <a:pt x="2098072" y="1407281"/>
                  <a:pt x="2163419" y="1492124"/>
                </a:cubicBezTo>
                <a:cubicBezTo>
                  <a:pt x="2228762" y="1576968"/>
                  <a:pt x="2309786" y="1633529"/>
                  <a:pt x="2406497" y="1661811"/>
                </a:cubicBezTo>
                <a:cubicBezTo>
                  <a:pt x="2503208" y="1690089"/>
                  <a:pt x="2599919" y="1690089"/>
                  <a:pt x="2696625" y="1661811"/>
                </a:cubicBezTo>
                <a:cubicBezTo>
                  <a:pt x="2793337" y="1633529"/>
                  <a:pt x="2874361" y="1576968"/>
                  <a:pt x="2939708" y="1492124"/>
                </a:cubicBezTo>
                <a:cubicBezTo>
                  <a:pt x="3005051" y="1407281"/>
                  <a:pt x="3039030" y="1294156"/>
                  <a:pt x="3041645" y="1152752"/>
                </a:cubicBezTo>
                <a:lnTo>
                  <a:pt x="3041645" y="871609"/>
                </a:lnTo>
                <a:cubicBezTo>
                  <a:pt x="3039030" y="732399"/>
                  <a:pt x="3005051" y="620790"/>
                  <a:pt x="2939708" y="536778"/>
                </a:cubicBezTo>
                <a:cubicBezTo>
                  <a:pt x="2874361" y="452772"/>
                  <a:pt x="2793337" y="396563"/>
                  <a:pt x="2696625" y="368161"/>
                </a:cubicBezTo>
                <a:cubicBezTo>
                  <a:pt x="2648272" y="353961"/>
                  <a:pt x="2599919" y="346758"/>
                  <a:pt x="2551562" y="346560"/>
                </a:cubicBezTo>
                <a:close/>
                <a:moveTo>
                  <a:pt x="759726" y="30"/>
                </a:moveTo>
                <a:cubicBezTo>
                  <a:pt x="892492" y="-866"/>
                  <a:pt x="1020477" y="18535"/>
                  <a:pt x="1143683" y="58235"/>
                </a:cubicBezTo>
                <a:cubicBezTo>
                  <a:pt x="1266888" y="97930"/>
                  <a:pt x="1368433" y="163303"/>
                  <a:pt x="1448318" y="254342"/>
                </a:cubicBezTo>
                <a:cubicBezTo>
                  <a:pt x="1528203" y="345386"/>
                  <a:pt x="1569558" y="467473"/>
                  <a:pt x="1572367" y="620606"/>
                </a:cubicBezTo>
                <a:cubicBezTo>
                  <a:pt x="1570296" y="783843"/>
                  <a:pt x="1533038" y="908218"/>
                  <a:pt x="1460593" y="993720"/>
                </a:cubicBezTo>
                <a:cubicBezTo>
                  <a:pt x="1388148" y="1079227"/>
                  <a:pt x="1292961" y="1137214"/>
                  <a:pt x="1175037" y="1167676"/>
                </a:cubicBezTo>
                <a:cubicBezTo>
                  <a:pt x="1057110" y="1198138"/>
                  <a:pt x="928882" y="1212428"/>
                  <a:pt x="790356" y="1210536"/>
                </a:cubicBezTo>
                <a:cubicBezTo>
                  <a:pt x="734286" y="1209744"/>
                  <a:pt x="673778" y="1215970"/>
                  <a:pt x="608837" y="1229210"/>
                </a:cubicBezTo>
                <a:cubicBezTo>
                  <a:pt x="543896" y="1242454"/>
                  <a:pt x="487929" y="1267458"/>
                  <a:pt x="440933" y="1304225"/>
                </a:cubicBezTo>
                <a:cubicBezTo>
                  <a:pt x="393938" y="1340988"/>
                  <a:pt x="369325" y="1394265"/>
                  <a:pt x="367091" y="1464050"/>
                </a:cubicBezTo>
                <a:lnTo>
                  <a:pt x="367091" y="1631201"/>
                </a:lnTo>
                <a:lnTo>
                  <a:pt x="1577934" y="1631201"/>
                </a:lnTo>
                <a:lnTo>
                  <a:pt x="1577934" y="1973234"/>
                </a:lnTo>
                <a:lnTo>
                  <a:pt x="0" y="1973234"/>
                </a:lnTo>
                <a:cubicBezTo>
                  <a:pt x="0" y="1888485"/>
                  <a:pt x="0" y="1803547"/>
                  <a:pt x="0" y="1718411"/>
                </a:cubicBezTo>
                <a:cubicBezTo>
                  <a:pt x="0" y="1633276"/>
                  <a:pt x="0" y="1547561"/>
                  <a:pt x="0" y="1461267"/>
                </a:cubicBezTo>
                <a:cubicBezTo>
                  <a:pt x="2640" y="1312997"/>
                  <a:pt x="42479" y="1196340"/>
                  <a:pt x="119511" y="1111294"/>
                </a:cubicBezTo>
                <a:cubicBezTo>
                  <a:pt x="196543" y="1026243"/>
                  <a:pt x="294923" y="966091"/>
                  <a:pt x="414652" y="930839"/>
                </a:cubicBezTo>
                <a:cubicBezTo>
                  <a:pt x="534385" y="895587"/>
                  <a:pt x="659622" y="878519"/>
                  <a:pt x="790356" y="879638"/>
                </a:cubicBezTo>
                <a:cubicBezTo>
                  <a:pt x="841979" y="880723"/>
                  <a:pt x="899941" y="875769"/>
                  <a:pt x="964248" y="864783"/>
                </a:cubicBezTo>
                <a:cubicBezTo>
                  <a:pt x="1028555" y="853797"/>
                  <a:pt x="1084666" y="830274"/>
                  <a:pt x="1132572" y="794220"/>
                </a:cubicBezTo>
                <a:cubicBezTo>
                  <a:pt x="1180480" y="758166"/>
                  <a:pt x="1205647" y="703082"/>
                  <a:pt x="1208068" y="628962"/>
                </a:cubicBezTo>
                <a:cubicBezTo>
                  <a:pt x="1205286" y="523350"/>
                  <a:pt x="1162817" y="444896"/>
                  <a:pt x="1080668" y="393601"/>
                </a:cubicBezTo>
                <a:cubicBezTo>
                  <a:pt x="998514" y="342305"/>
                  <a:pt x="893393" y="316776"/>
                  <a:pt x="765294" y="317010"/>
                </a:cubicBezTo>
                <a:cubicBezTo>
                  <a:pt x="665045" y="317416"/>
                  <a:pt x="575933" y="340968"/>
                  <a:pt x="497965" y="387662"/>
                </a:cubicBezTo>
                <a:cubicBezTo>
                  <a:pt x="419991" y="434356"/>
                  <a:pt x="378221" y="501734"/>
                  <a:pt x="372648" y="589797"/>
                </a:cubicBezTo>
                <a:lnTo>
                  <a:pt x="8341" y="589797"/>
                </a:lnTo>
                <a:cubicBezTo>
                  <a:pt x="11843" y="452901"/>
                  <a:pt x="50577" y="340939"/>
                  <a:pt x="124553" y="253905"/>
                </a:cubicBezTo>
                <a:cubicBezTo>
                  <a:pt x="198529" y="166878"/>
                  <a:pt x="292303" y="102720"/>
                  <a:pt x="405884" y="61440"/>
                </a:cubicBezTo>
                <a:cubicBezTo>
                  <a:pt x="519461" y="20155"/>
                  <a:pt x="637412" y="-311"/>
                  <a:pt x="759726" y="30"/>
                </a:cubicBezTo>
                <a:close/>
                <a:moveTo>
                  <a:pt x="2551562" y="5"/>
                </a:moveTo>
                <a:cubicBezTo>
                  <a:pt x="2635860" y="70"/>
                  <a:pt x="2720158" y="11759"/>
                  <a:pt x="2804461" y="35070"/>
                </a:cubicBezTo>
                <a:cubicBezTo>
                  <a:pt x="2973058" y="81688"/>
                  <a:pt x="3114313" y="174724"/>
                  <a:pt x="3228232" y="314181"/>
                </a:cubicBezTo>
                <a:cubicBezTo>
                  <a:pt x="3342151" y="453638"/>
                  <a:pt x="3401390" y="639448"/>
                  <a:pt x="3405942" y="871609"/>
                </a:cubicBezTo>
                <a:lnTo>
                  <a:pt x="3405942" y="1152752"/>
                </a:lnTo>
                <a:cubicBezTo>
                  <a:pt x="3401390" y="1384912"/>
                  <a:pt x="3342151" y="1570717"/>
                  <a:pt x="3228232" y="1710174"/>
                </a:cubicBezTo>
                <a:cubicBezTo>
                  <a:pt x="3114313" y="1849631"/>
                  <a:pt x="2973058" y="1942672"/>
                  <a:pt x="2804461" y="1989291"/>
                </a:cubicBezTo>
                <a:cubicBezTo>
                  <a:pt x="2635860" y="2035911"/>
                  <a:pt x="2467263" y="2036045"/>
                  <a:pt x="2298666" y="1989693"/>
                </a:cubicBezTo>
                <a:cubicBezTo>
                  <a:pt x="2130069" y="1943340"/>
                  <a:pt x="1988810" y="1850434"/>
                  <a:pt x="1874891" y="1710977"/>
                </a:cubicBezTo>
                <a:cubicBezTo>
                  <a:pt x="1760972" y="1571519"/>
                  <a:pt x="1701737" y="1385443"/>
                  <a:pt x="1697180" y="1152752"/>
                </a:cubicBezTo>
                <a:lnTo>
                  <a:pt x="1697180" y="871609"/>
                </a:lnTo>
                <a:cubicBezTo>
                  <a:pt x="1701737" y="638912"/>
                  <a:pt x="1760972" y="452836"/>
                  <a:pt x="1874891" y="313379"/>
                </a:cubicBezTo>
                <a:cubicBezTo>
                  <a:pt x="1988810" y="173923"/>
                  <a:pt x="2130069" y="81019"/>
                  <a:pt x="2298666" y="34668"/>
                </a:cubicBezTo>
                <a:cubicBezTo>
                  <a:pt x="2382965" y="11492"/>
                  <a:pt x="2467263" y="-64"/>
                  <a:pt x="2551562" y="5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79BD4258-A7E5-4817-ACB9-49D1715A4C4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6685" y="0"/>
            <a:ext cx="7015316" cy="6858000"/>
          </a:xfrm>
          <a:custGeom>
            <a:avLst/>
            <a:gdLst>
              <a:gd name="connsiteX0" fmla="*/ 0 w 7015316"/>
              <a:gd name="connsiteY0" fmla="*/ 0 h 6858000"/>
              <a:gd name="connsiteX1" fmla="*/ 7015316 w 7015316"/>
              <a:gd name="connsiteY1" fmla="*/ 0 h 6858000"/>
              <a:gd name="connsiteX2" fmla="*/ 7015316 w 7015316"/>
              <a:gd name="connsiteY2" fmla="*/ 6858000 h 6858000"/>
              <a:gd name="connsiteX3" fmla="*/ 0 w 701531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15316" h="6858000">
                <a:moveTo>
                  <a:pt x="0" y="0"/>
                </a:moveTo>
                <a:lnTo>
                  <a:pt x="7015316" y="0"/>
                </a:lnTo>
                <a:lnTo>
                  <a:pt x="70153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70058878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xmlns="" id="{9952785F-81B2-4A72-BFD2-48D5C57ACE1D}"/>
              </a:ext>
            </a:extLst>
          </p:cNvPr>
          <p:cNvSpPr/>
          <p:nvPr userDrawn="1"/>
        </p:nvSpPr>
        <p:spPr>
          <a:xfrm>
            <a:off x="7" y="6"/>
            <a:ext cx="6934199" cy="6857999"/>
          </a:xfrm>
          <a:custGeom>
            <a:avLst/>
            <a:gdLst>
              <a:gd name="connsiteX0" fmla="*/ 0 w 6934199"/>
              <a:gd name="connsiteY0" fmla="*/ 0 h 6857999"/>
              <a:gd name="connsiteX1" fmla="*/ 4597856 w 6934199"/>
              <a:gd name="connsiteY1" fmla="*/ 0 h 6857999"/>
              <a:gd name="connsiteX2" fmla="*/ 4607441 w 6934199"/>
              <a:gd name="connsiteY2" fmla="*/ 164244 h 6857999"/>
              <a:gd name="connsiteX3" fmla="*/ 4396674 w 6934199"/>
              <a:gd name="connsiteY3" fmla="*/ 1711081 h 6857999"/>
              <a:gd name="connsiteX4" fmla="*/ 6033960 w 6934199"/>
              <a:gd name="connsiteY4" fmla="*/ 5239591 h 6857999"/>
              <a:gd name="connsiteX5" fmla="*/ 6927411 w 6934199"/>
              <a:gd name="connsiteY5" fmla="*/ 6786501 h 6857999"/>
              <a:gd name="connsiteX6" fmla="*/ 6934199 w 6934199"/>
              <a:gd name="connsiteY6" fmla="*/ 6857999 h 6857999"/>
              <a:gd name="connsiteX7" fmla="*/ 0 w 6934199"/>
              <a:gd name="connsiteY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34199" h="6857999">
                <a:moveTo>
                  <a:pt x="0" y="0"/>
                </a:moveTo>
                <a:lnTo>
                  <a:pt x="4597856" y="0"/>
                </a:lnTo>
                <a:lnTo>
                  <a:pt x="4607441" y="164244"/>
                </a:lnTo>
                <a:cubicBezTo>
                  <a:pt x="4612929" y="568571"/>
                  <a:pt x="4517278" y="1036982"/>
                  <a:pt x="4396674" y="1711081"/>
                </a:cubicBezTo>
                <a:cubicBezTo>
                  <a:pt x="4076072" y="3508680"/>
                  <a:pt x="4974361" y="4326712"/>
                  <a:pt x="6033960" y="5239591"/>
                </a:cubicBezTo>
                <a:cubicBezTo>
                  <a:pt x="6696209" y="5811065"/>
                  <a:pt x="6881541" y="6414379"/>
                  <a:pt x="6927411" y="6786501"/>
                </a:cubicBezTo>
                <a:lnTo>
                  <a:pt x="6934199" y="6857999"/>
                </a:lnTo>
                <a:lnTo>
                  <a:pt x="0" y="6857999"/>
                </a:lnTo>
                <a:close/>
              </a:path>
            </a:pathLst>
          </a:custGeom>
          <a:gradFill>
            <a:gsLst>
              <a:gs pos="3000">
                <a:schemeClr val="accent1"/>
              </a:gs>
              <a:gs pos="100000">
                <a:schemeClr val="accent2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3" tIns="45707" rIns="91413" bIns="457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xmlns="" val="3982707115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xmlns="" id="{D694F039-912F-4A69-AE67-0F04446F34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05597" y="1094330"/>
            <a:ext cx="4669343" cy="4669343"/>
          </a:xfrm>
          <a:custGeom>
            <a:avLst/>
            <a:gdLst>
              <a:gd name="connsiteX0" fmla="*/ 2334671 w 4669342"/>
              <a:gd name="connsiteY0" fmla="*/ 0 h 4669342"/>
              <a:gd name="connsiteX1" fmla="*/ 4669342 w 4669342"/>
              <a:gd name="connsiteY1" fmla="*/ 2334671 h 4669342"/>
              <a:gd name="connsiteX2" fmla="*/ 2334671 w 4669342"/>
              <a:gd name="connsiteY2" fmla="*/ 4669342 h 4669342"/>
              <a:gd name="connsiteX3" fmla="*/ 0 w 4669342"/>
              <a:gd name="connsiteY3" fmla="*/ 2334671 h 4669342"/>
              <a:gd name="connsiteX4" fmla="*/ 2334671 w 4669342"/>
              <a:gd name="connsiteY4" fmla="*/ 0 h 4669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9342" h="4669342">
                <a:moveTo>
                  <a:pt x="2334671" y="0"/>
                </a:moveTo>
                <a:cubicBezTo>
                  <a:pt x="3624074" y="0"/>
                  <a:pt x="4669342" y="1045268"/>
                  <a:pt x="4669342" y="2334671"/>
                </a:cubicBezTo>
                <a:cubicBezTo>
                  <a:pt x="4669342" y="3624074"/>
                  <a:pt x="3624074" y="4669342"/>
                  <a:pt x="2334671" y="4669342"/>
                </a:cubicBezTo>
                <a:cubicBezTo>
                  <a:pt x="1045268" y="4669342"/>
                  <a:pt x="0" y="3624074"/>
                  <a:pt x="0" y="2334671"/>
                </a:cubicBezTo>
                <a:cubicBezTo>
                  <a:pt x="0" y="1045268"/>
                  <a:pt x="1045268" y="0"/>
                  <a:pt x="2334671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09980548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299F94C7-7DCD-4D20-A2E6-48E9BF39A75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16304" y="1373039"/>
            <a:ext cx="5675699" cy="4111924"/>
          </a:xfrm>
          <a:custGeom>
            <a:avLst/>
            <a:gdLst>
              <a:gd name="connsiteX0" fmla="*/ 2334671 w 6445103"/>
              <a:gd name="connsiteY0" fmla="*/ 0 h 4669342"/>
              <a:gd name="connsiteX1" fmla="*/ 6445103 w 6445103"/>
              <a:gd name="connsiteY1" fmla="*/ 0 h 4669342"/>
              <a:gd name="connsiteX2" fmla="*/ 6445103 w 6445103"/>
              <a:gd name="connsiteY2" fmla="*/ 4669342 h 4669342"/>
              <a:gd name="connsiteX3" fmla="*/ 2334671 w 6445103"/>
              <a:gd name="connsiteY3" fmla="*/ 4669342 h 4669342"/>
              <a:gd name="connsiteX4" fmla="*/ 0 w 6445103"/>
              <a:gd name="connsiteY4" fmla="*/ 2334671 h 4669342"/>
              <a:gd name="connsiteX5" fmla="*/ 2334671 w 6445103"/>
              <a:gd name="connsiteY5" fmla="*/ 0 h 4669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45103" h="4669342">
                <a:moveTo>
                  <a:pt x="2334671" y="0"/>
                </a:moveTo>
                <a:lnTo>
                  <a:pt x="6445103" y="0"/>
                </a:lnTo>
                <a:lnTo>
                  <a:pt x="6445103" y="4669342"/>
                </a:lnTo>
                <a:lnTo>
                  <a:pt x="2334671" y="4669342"/>
                </a:lnTo>
                <a:cubicBezTo>
                  <a:pt x="1045268" y="4669342"/>
                  <a:pt x="0" y="3624074"/>
                  <a:pt x="0" y="2334671"/>
                </a:cubicBezTo>
                <a:cubicBezTo>
                  <a:pt x="0" y="1045268"/>
                  <a:pt x="1045268" y="0"/>
                  <a:pt x="2334671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94137551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C86E9287-9BA1-48A9-BF8C-043DCBB6D98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" y="1373039"/>
            <a:ext cx="5675699" cy="4111924"/>
          </a:xfrm>
          <a:custGeom>
            <a:avLst/>
            <a:gdLst>
              <a:gd name="connsiteX0" fmla="*/ 0 w 6445103"/>
              <a:gd name="connsiteY0" fmla="*/ 0 h 4669342"/>
              <a:gd name="connsiteX1" fmla="*/ 4110432 w 6445103"/>
              <a:gd name="connsiteY1" fmla="*/ 0 h 4669342"/>
              <a:gd name="connsiteX2" fmla="*/ 6445103 w 6445103"/>
              <a:gd name="connsiteY2" fmla="*/ 2334671 h 4669342"/>
              <a:gd name="connsiteX3" fmla="*/ 4110432 w 6445103"/>
              <a:gd name="connsiteY3" fmla="*/ 4669342 h 4669342"/>
              <a:gd name="connsiteX4" fmla="*/ 0 w 6445103"/>
              <a:gd name="connsiteY4" fmla="*/ 4669342 h 4669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45103" h="4669342">
                <a:moveTo>
                  <a:pt x="0" y="0"/>
                </a:moveTo>
                <a:lnTo>
                  <a:pt x="4110432" y="0"/>
                </a:lnTo>
                <a:cubicBezTo>
                  <a:pt x="5399835" y="0"/>
                  <a:pt x="6445103" y="1045268"/>
                  <a:pt x="6445103" y="2334671"/>
                </a:cubicBezTo>
                <a:cubicBezTo>
                  <a:pt x="6445103" y="3624074"/>
                  <a:pt x="5399835" y="4669342"/>
                  <a:pt x="4110432" y="4669342"/>
                </a:cubicBezTo>
                <a:lnTo>
                  <a:pt x="0" y="4669342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07526608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CF6BCA96-3B07-416C-877F-0E0C62D4C9B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" y="1679403"/>
            <a:ext cx="7692571" cy="3499196"/>
          </a:xfrm>
          <a:custGeom>
            <a:avLst/>
            <a:gdLst>
              <a:gd name="connsiteX0" fmla="*/ 0 w 7692571"/>
              <a:gd name="connsiteY0" fmla="*/ 0 h 3499196"/>
              <a:gd name="connsiteX1" fmla="*/ 7400038 w 7692571"/>
              <a:gd name="connsiteY1" fmla="*/ 0 h 3499196"/>
              <a:gd name="connsiteX2" fmla="*/ 7692571 w 7692571"/>
              <a:gd name="connsiteY2" fmla="*/ 292533 h 3499196"/>
              <a:gd name="connsiteX3" fmla="*/ 7692571 w 7692571"/>
              <a:gd name="connsiteY3" fmla="*/ 3206663 h 3499196"/>
              <a:gd name="connsiteX4" fmla="*/ 7400038 w 7692571"/>
              <a:gd name="connsiteY4" fmla="*/ 3499196 h 3499196"/>
              <a:gd name="connsiteX5" fmla="*/ 0 w 7692571"/>
              <a:gd name="connsiteY5" fmla="*/ 3499196 h 3499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1" h="3499196">
                <a:moveTo>
                  <a:pt x="0" y="0"/>
                </a:moveTo>
                <a:lnTo>
                  <a:pt x="7400038" y="0"/>
                </a:lnTo>
                <a:cubicBezTo>
                  <a:pt x="7561600" y="0"/>
                  <a:pt x="7692571" y="130971"/>
                  <a:pt x="7692571" y="292533"/>
                </a:cubicBezTo>
                <a:lnTo>
                  <a:pt x="7692571" y="3206663"/>
                </a:lnTo>
                <a:cubicBezTo>
                  <a:pt x="7692571" y="3368225"/>
                  <a:pt x="7561600" y="3499196"/>
                  <a:pt x="7400038" y="3499196"/>
                </a:cubicBezTo>
                <a:lnTo>
                  <a:pt x="0" y="3499196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95537628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8EF93A8-7F2D-4451-9A9D-39989544BD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1019"/>
            <a:ext cx="12192000" cy="68559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38602"/>
            <a:ext cx="10363200" cy="1362075"/>
          </a:xfrm>
        </p:spPr>
        <p:txBody>
          <a:bodyPr anchor="t">
            <a:normAutofit/>
          </a:bodyPr>
          <a:lstStyle>
            <a:lvl1pPr algn="l">
              <a:defRPr sz="3733" b="0" cap="none" baseline="0">
                <a:solidFill>
                  <a:schemeClr val="bg1"/>
                </a:solidFill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57C6DA0-C681-4242-AD6B-27316EED94EE}"/>
              </a:ext>
            </a:extLst>
          </p:cNvPr>
          <p:cNvSpPr/>
          <p:nvPr userDrawn="1"/>
        </p:nvSpPr>
        <p:spPr>
          <a:xfrm>
            <a:off x="4055728" y="308585"/>
            <a:ext cx="4080544" cy="3355304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3200" dirty="0">
              <a:solidFill>
                <a:prstClr val="white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403D3C80-8EA9-4957-A2B4-218734ECD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xmlns="" id="{45DF442F-C6AC-4256-897B-45BA065F0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658351" y="6576977"/>
            <a:ext cx="6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Adani Regular" panose="02000503000000020004" pitchFamily="2" charset="0"/>
              </a:defRPr>
            </a:lvl1pPr>
          </a:lstStyle>
          <a:p>
            <a:endParaRPr lang="en-IN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AE10684-67EB-4B3C-AD3C-66BB0C27DCEA}"/>
              </a:ext>
            </a:extLst>
          </p:cNvPr>
          <p:cNvCxnSpPr/>
          <p:nvPr userDrawn="1"/>
        </p:nvCxnSpPr>
        <p:spPr>
          <a:xfrm>
            <a:off x="11707664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805809" y="1243454"/>
            <a:ext cx="1607379" cy="109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368486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="" id="{F7AB63AE-9AE6-4B98-B893-00B3220E64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12941" y="2655263"/>
            <a:ext cx="1629667" cy="1629668"/>
          </a:xfrm>
          <a:custGeom>
            <a:avLst/>
            <a:gdLst>
              <a:gd name="connsiteX0" fmla="*/ 814833 w 1629666"/>
              <a:gd name="connsiteY0" fmla="*/ 0 h 1629668"/>
              <a:gd name="connsiteX1" fmla="*/ 1629666 w 1629666"/>
              <a:gd name="connsiteY1" fmla="*/ 814834 h 1629668"/>
              <a:gd name="connsiteX2" fmla="*/ 814833 w 1629666"/>
              <a:gd name="connsiteY2" fmla="*/ 1629668 h 1629668"/>
              <a:gd name="connsiteX3" fmla="*/ 0 w 1629666"/>
              <a:gd name="connsiteY3" fmla="*/ 814834 h 1629668"/>
              <a:gd name="connsiteX4" fmla="*/ 814833 w 1629666"/>
              <a:gd name="connsiteY4" fmla="*/ 0 h 162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29666" h="1629668">
                <a:moveTo>
                  <a:pt x="814833" y="0"/>
                </a:moveTo>
                <a:cubicBezTo>
                  <a:pt x="1264853" y="0"/>
                  <a:pt x="1629666" y="364814"/>
                  <a:pt x="1629666" y="814834"/>
                </a:cubicBezTo>
                <a:cubicBezTo>
                  <a:pt x="1629666" y="1264854"/>
                  <a:pt x="1264853" y="1629668"/>
                  <a:pt x="814833" y="1629668"/>
                </a:cubicBezTo>
                <a:cubicBezTo>
                  <a:pt x="364813" y="1629668"/>
                  <a:pt x="0" y="1264854"/>
                  <a:pt x="0" y="814834"/>
                </a:cubicBezTo>
                <a:cubicBezTo>
                  <a:pt x="0" y="364814"/>
                  <a:pt x="364813" y="0"/>
                  <a:pt x="814833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xmlns="" id="{58D3AC57-00B0-4E09-B51A-267C32958A9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564813" y="2243517"/>
            <a:ext cx="1629667" cy="1629668"/>
          </a:xfrm>
          <a:custGeom>
            <a:avLst/>
            <a:gdLst>
              <a:gd name="connsiteX0" fmla="*/ 814833 w 1629666"/>
              <a:gd name="connsiteY0" fmla="*/ 0 h 1629668"/>
              <a:gd name="connsiteX1" fmla="*/ 1629666 w 1629666"/>
              <a:gd name="connsiteY1" fmla="*/ 814834 h 1629668"/>
              <a:gd name="connsiteX2" fmla="*/ 814833 w 1629666"/>
              <a:gd name="connsiteY2" fmla="*/ 1629668 h 1629668"/>
              <a:gd name="connsiteX3" fmla="*/ 0 w 1629666"/>
              <a:gd name="connsiteY3" fmla="*/ 814834 h 1629668"/>
              <a:gd name="connsiteX4" fmla="*/ 814833 w 1629666"/>
              <a:gd name="connsiteY4" fmla="*/ 0 h 162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29666" h="1629668">
                <a:moveTo>
                  <a:pt x="814833" y="0"/>
                </a:moveTo>
                <a:cubicBezTo>
                  <a:pt x="1264853" y="0"/>
                  <a:pt x="1629666" y="364814"/>
                  <a:pt x="1629666" y="814834"/>
                </a:cubicBezTo>
                <a:cubicBezTo>
                  <a:pt x="1629666" y="1264854"/>
                  <a:pt x="1264853" y="1629668"/>
                  <a:pt x="814833" y="1629668"/>
                </a:cubicBezTo>
                <a:cubicBezTo>
                  <a:pt x="364813" y="1629668"/>
                  <a:pt x="0" y="1264854"/>
                  <a:pt x="0" y="814834"/>
                </a:cubicBezTo>
                <a:cubicBezTo>
                  <a:pt x="0" y="364814"/>
                  <a:pt x="364813" y="0"/>
                  <a:pt x="814833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xmlns="" id="{5DE30AF0-BEB1-43C3-8322-A0C35C152E0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93513" y="891422"/>
            <a:ext cx="1629667" cy="1629668"/>
          </a:xfrm>
          <a:custGeom>
            <a:avLst/>
            <a:gdLst>
              <a:gd name="connsiteX0" fmla="*/ 814833 w 1629666"/>
              <a:gd name="connsiteY0" fmla="*/ 0 h 1629668"/>
              <a:gd name="connsiteX1" fmla="*/ 1629666 w 1629666"/>
              <a:gd name="connsiteY1" fmla="*/ 814834 h 1629668"/>
              <a:gd name="connsiteX2" fmla="*/ 814833 w 1629666"/>
              <a:gd name="connsiteY2" fmla="*/ 1629668 h 1629668"/>
              <a:gd name="connsiteX3" fmla="*/ 0 w 1629666"/>
              <a:gd name="connsiteY3" fmla="*/ 814834 h 1629668"/>
              <a:gd name="connsiteX4" fmla="*/ 814833 w 1629666"/>
              <a:gd name="connsiteY4" fmla="*/ 0 h 162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29666" h="1629668">
                <a:moveTo>
                  <a:pt x="814833" y="0"/>
                </a:moveTo>
                <a:cubicBezTo>
                  <a:pt x="1264853" y="0"/>
                  <a:pt x="1629666" y="364814"/>
                  <a:pt x="1629666" y="814834"/>
                </a:cubicBezTo>
                <a:cubicBezTo>
                  <a:pt x="1629666" y="1264854"/>
                  <a:pt x="1264853" y="1629668"/>
                  <a:pt x="814833" y="1629668"/>
                </a:cubicBezTo>
                <a:cubicBezTo>
                  <a:pt x="364813" y="1629668"/>
                  <a:pt x="0" y="1264854"/>
                  <a:pt x="0" y="814834"/>
                </a:cubicBezTo>
                <a:cubicBezTo>
                  <a:pt x="0" y="364814"/>
                  <a:pt x="364813" y="0"/>
                  <a:pt x="814833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xmlns="" id="{E61C3E88-97BB-454D-B9A2-D703E705843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295189" y="387087"/>
            <a:ext cx="1629667" cy="1629668"/>
          </a:xfrm>
          <a:custGeom>
            <a:avLst/>
            <a:gdLst>
              <a:gd name="connsiteX0" fmla="*/ 814833 w 1629666"/>
              <a:gd name="connsiteY0" fmla="*/ 0 h 1629668"/>
              <a:gd name="connsiteX1" fmla="*/ 1629666 w 1629666"/>
              <a:gd name="connsiteY1" fmla="*/ 814834 h 1629668"/>
              <a:gd name="connsiteX2" fmla="*/ 814833 w 1629666"/>
              <a:gd name="connsiteY2" fmla="*/ 1629668 h 1629668"/>
              <a:gd name="connsiteX3" fmla="*/ 0 w 1629666"/>
              <a:gd name="connsiteY3" fmla="*/ 814834 h 1629668"/>
              <a:gd name="connsiteX4" fmla="*/ 814833 w 1629666"/>
              <a:gd name="connsiteY4" fmla="*/ 0 h 162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29666" h="1629668">
                <a:moveTo>
                  <a:pt x="814833" y="0"/>
                </a:moveTo>
                <a:cubicBezTo>
                  <a:pt x="1264853" y="0"/>
                  <a:pt x="1629666" y="364814"/>
                  <a:pt x="1629666" y="814834"/>
                </a:cubicBezTo>
                <a:cubicBezTo>
                  <a:pt x="1629666" y="1264854"/>
                  <a:pt x="1264853" y="1629668"/>
                  <a:pt x="814833" y="1629668"/>
                </a:cubicBezTo>
                <a:cubicBezTo>
                  <a:pt x="364813" y="1629668"/>
                  <a:pt x="0" y="1264854"/>
                  <a:pt x="0" y="814834"/>
                </a:cubicBezTo>
                <a:cubicBezTo>
                  <a:pt x="0" y="364814"/>
                  <a:pt x="364813" y="0"/>
                  <a:pt x="814833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xmlns="" id="{385468AA-DB56-48CD-B5D6-A57E7FFBF14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517828" y="2370239"/>
            <a:ext cx="1629667" cy="1629668"/>
          </a:xfrm>
          <a:custGeom>
            <a:avLst/>
            <a:gdLst>
              <a:gd name="connsiteX0" fmla="*/ 814833 w 1629666"/>
              <a:gd name="connsiteY0" fmla="*/ 0 h 1629668"/>
              <a:gd name="connsiteX1" fmla="*/ 1629666 w 1629666"/>
              <a:gd name="connsiteY1" fmla="*/ 814834 h 1629668"/>
              <a:gd name="connsiteX2" fmla="*/ 814833 w 1629666"/>
              <a:gd name="connsiteY2" fmla="*/ 1629668 h 1629668"/>
              <a:gd name="connsiteX3" fmla="*/ 0 w 1629666"/>
              <a:gd name="connsiteY3" fmla="*/ 814834 h 1629668"/>
              <a:gd name="connsiteX4" fmla="*/ 814833 w 1629666"/>
              <a:gd name="connsiteY4" fmla="*/ 0 h 162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29666" h="1629668">
                <a:moveTo>
                  <a:pt x="814833" y="0"/>
                </a:moveTo>
                <a:cubicBezTo>
                  <a:pt x="1264853" y="0"/>
                  <a:pt x="1629666" y="364814"/>
                  <a:pt x="1629666" y="814834"/>
                </a:cubicBezTo>
                <a:cubicBezTo>
                  <a:pt x="1629666" y="1264854"/>
                  <a:pt x="1264853" y="1629668"/>
                  <a:pt x="814833" y="1629668"/>
                </a:cubicBezTo>
                <a:cubicBezTo>
                  <a:pt x="364813" y="1629668"/>
                  <a:pt x="0" y="1264854"/>
                  <a:pt x="0" y="814834"/>
                </a:cubicBezTo>
                <a:cubicBezTo>
                  <a:pt x="0" y="364814"/>
                  <a:pt x="364813" y="0"/>
                  <a:pt x="814833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xmlns="" id="{8A0C4D81-4E3B-4194-81CB-3406EA2AF86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823209" y="4284931"/>
            <a:ext cx="1629667" cy="1629668"/>
          </a:xfrm>
          <a:custGeom>
            <a:avLst/>
            <a:gdLst>
              <a:gd name="connsiteX0" fmla="*/ 814833 w 1629666"/>
              <a:gd name="connsiteY0" fmla="*/ 0 h 1629668"/>
              <a:gd name="connsiteX1" fmla="*/ 1629666 w 1629666"/>
              <a:gd name="connsiteY1" fmla="*/ 814834 h 1629668"/>
              <a:gd name="connsiteX2" fmla="*/ 814833 w 1629666"/>
              <a:gd name="connsiteY2" fmla="*/ 1629668 h 1629668"/>
              <a:gd name="connsiteX3" fmla="*/ 0 w 1629666"/>
              <a:gd name="connsiteY3" fmla="*/ 814834 h 1629668"/>
              <a:gd name="connsiteX4" fmla="*/ 814833 w 1629666"/>
              <a:gd name="connsiteY4" fmla="*/ 0 h 162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29666" h="1629668">
                <a:moveTo>
                  <a:pt x="814833" y="0"/>
                </a:moveTo>
                <a:cubicBezTo>
                  <a:pt x="1264853" y="0"/>
                  <a:pt x="1629666" y="364814"/>
                  <a:pt x="1629666" y="814834"/>
                </a:cubicBezTo>
                <a:cubicBezTo>
                  <a:pt x="1629666" y="1264854"/>
                  <a:pt x="1264853" y="1629668"/>
                  <a:pt x="814833" y="1629668"/>
                </a:cubicBezTo>
                <a:cubicBezTo>
                  <a:pt x="364813" y="1629668"/>
                  <a:pt x="0" y="1264854"/>
                  <a:pt x="0" y="814834"/>
                </a:cubicBezTo>
                <a:cubicBezTo>
                  <a:pt x="0" y="364814"/>
                  <a:pt x="364813" y="0"/>
                  <a:pt x="814833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xmlns="" id="{A5549E13-AA2A-4DCE-8918-1FA31EAEA1F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665524" y="4068433"/>
            <a:ext cx="1629667" cy="1629668"/>
          </a:xfrm>
          <a:custGeom>
            <a:avLst/>
            <a:gdLst>
              <a:gd name="connsiteX0" fmla="*/ 814833 w 1629666"/>
              <a:gd name="connsiteY0" fmla="*/ 0 h 1629668"/>
              <a:gd name="connsiteX1" fmla="*/ 1629666 w 1629666"/>
              <a:gd name="connsiteY1" fmla="*/ 814834 h 1629668"/>
              <a:gd name="connsiteX2" fmla="*/ 814833 w 1629666"/>
              <a:gd name="connsiteY2" fmla="*/ 1629668 h 1629668"/>
              <a:gd name="connsiteX3" fmla="*/ 0 w 1629666"/>
              <a:gd name="connsiteY3" fmla="*/ 814834 h 1629668"/>
              <a:gd name="connsiteX4" fmla="*/ 814833 w 1629666"/>
              <a:gd name="connsiteY4" fmla="*/ 0 h 162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29666" h="1629668">
                <a:moveTo>
                  <a:pt x="814833" y="0"/>
                </a:moveTo>
                <a:cubicBezTo>
                  <a:pt x="1264853" y="0"/>
                  <a:pt x="1629666" y="364814"/>
                  <a:pt x="1629666" y="814834"/>
                </a:cubicBezTo>
                <a:cubicBezTo>
                  <a:pt x="1629666" y="1264854"/>
                  <a:pt x="1264853" y="1629668"/>
                  <a:pt x="814833" y="1629668"/>
                </a:cubicBezTo>
                <a:cubicBezTo>
                  <a:pt x="364813" y="1629668"/>
                  <a:pt x="0" y="1264854"/>
                  <a:pt x="0" y="814834"/>
                </a:cubicBezTo>
                <a:cubicBezTo>
                  <a:pt x="0" y="364814"/>
                  <a:pt x="364813" y="0"/>
                  <a:pt x="814833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49304423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7C193578-E1DF-4B09-97CE-37E4A5D0475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671038"/>
            <a:ext cx="12192000" cy="2186967"/>
          </a:xfrm>
          <a:custGeom>
            <a:avLst/>
            <a:gdLst>
              <a:gd name="connsiteX0" fmla="*/ 0 w 12192000"/>
              <a:gd name="connsiteY0" fmla="*/ 0 h 1767296"/>
              <a:gd name="connsiteX1" fmla="*/ 12192000 w 12192000"/>
              <a:gd name="connsiteY1" fmla="*/ 0 h 1767296"/>
              <a:gd name="connsiteX2" fmla="*/ 12192000 w 12192000"/>
              <a:gd name="connsiteY2" fmla="*/ 1767296 h 1767296"/>
              <a:gd name="connsiteX3" fmla="*/ 0 w 12192000"/>
              <a:gd name="connsiteY3" fmla="*/ 1767296 h 1767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767296">
                <a:moveTo>
                  <a:pt x="0" y="0"/>
                </a:moveTo>
                <a:lnTo>
                  <a:pt x="12192000" y="0"/>
                </a:lnTo>
                <a:lnTo>
                  <a:pt x="12192000" y="1767296"/>
                </a:lnTo>
                <a:lnTo>
                  <a:pt x="0" y="1767296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3863023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BE6CF6E8-B561-4F86-AD78-BD17256B929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4625916"/>
          </a:xfrm>
          <a:custGeom>
            <a:avLst/>
            <a:gdLst>
              <a:gd name="connsiteX0" fmla="*/ 0 w 12192000"/>
              <a:gd name="connsiteY0" fmla="*/ 0 h 4625916"/>
              <a:gd name="connsiteX1" fmla="*/ 12192000 w 12192000"/>
              <a:gd name="connsiteY1" fmla="*/ 0 h 4625916"/>
              <a:gd name="connsiteX2" fmla="*/ 12192000 w 12192000"/>
              <a:gd name="connsiteY2" fmla="*/ 1531409 h 4625916"/>
              <a:gd name="connsiteX3" fmla="*/ 0 w 12192000"/>
              <a:gd name="connsiteY3" fmla="*/ 4625916 h 4625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625916">
                <a:moveTo>
                  <a:pt x="0" y="0"/>
                </a:moveTo>
                <a:lnTo>
                  <a:pt x="12192000" y="0"/>
                </a:lnTo>
                <a:lnTo>
                  <a:pt x="12192000" y="1531409"/>
                </a:lnTo>
                <a:lnTo>
                  <a:pt x="0" y="4625916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02229265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7B78155-524B-49F1-8880-1C8E7EE718F2}"/>
              </a:ext>
            </a:extLst>
          </p:cNvPr>
          <p:cNvSpPr/>
          <p:nvPr userDrawn="1"/>
        </p:nvSpPr>
        <p:spPr>
          <a:xfrm>
            <a:off x="11547428" y="1648922"/>
            <a:ext cx="644577" cy="35976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7" rIns="91413" bIns="45707" rtlCol="0" anchor="ctr"/>
          <a:lstStyle/>
          <a:p>
            <a:pPr algn="ctr"/>
            <a:endParaRPr lang="en-US" sz="180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8F8AFA87-7ECE-4188-8A71-F3FEAA798B6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255819"/>
          </a:xfrm>
          <a:custGeom>
            <a:avLst/>
            <a:gdLst>
              <a:gd name="connsiteX0" fmla="*/ 0 w 12192000"/>
              <a:gd name="connsiteY0" fmla="*/ 0 h 3255818"/>
              <a:gd name="connsiteX1" fmla="*/ 12192000 w 12192000"/>
              <a:gd name="connsiteY1" fmla="*/ 0 h 3255818"/>
              <a:gd name="connsiteX2" fmla="*/ 12192000 w 12192000"/>
              <a:gd name="connsiteY2" fmla="*/ 3255818 h 3255818"/>
              <a:gd name="connsiteX3" fmla="*/ 0 w 12192000"/>
              <a:gd name="connsiteY3" fmla="*/ 3255818 h 3255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255818">
                <a:moveTo>
                  <a:pt x="0" y="0"/>
                </a:moveTo>
                <a:lnTo>
                  <a:pt x="12192000" y="0"/>
                </a:lnTo>
                <a:lnTo>
                  <a:pt x="12192000" y="3255818"/>
                </a:lnTo>
                <a:lnTo>
                  <a:pt x="0" y="3255818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90823812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1BE39F15-4A18-4DD3-9CAA-736275DFC5A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4283772" cy="6858000"/>
          </a:xfrm>
          <a:custGeom>
            <a:avLst/>
            <a:gdLst>
              <a:gd name="connsiteX0" fmla="*/ 0 w 4283772"/>
              <a:gd name="connsiteY0" fmla="*/ 0 h 6858000"/>
              <a:gd name="connsiteX1" fmla="*/ 4283772 w 4283772"/>
              <a:gd name="connsiteY1" fmla="*/ 0 h 6858000"/>
              <a:gd name="connsiteX2" fmla="*/ 4283772 w 4283772"/>
              <a:gd name="connsiteY2" fmla="*/ 6858000 h 6858000"/>
              <a:gd name="connsiteX3" fmla="*/ 0 w 428377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3772" h="6858000">
                <a:moveTo>
                  <a:pt x="0" y="0"/>
                </a:moveTo>
                <a:lnTo>
                  <a:pt x="4283772" y="0"/>
                </a:lnTo>
                <a:lnTo>
                  <a:pt x="428377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43880509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xmlns="" id="{B159A52D-1A9C-4193-99BC-E10C517BD1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964159" y="1161145"/>
            <a:ext cx="2502127" cy="3280228"/>
          </a:xfrm>
          <a:prstGeom prst="roundRect">
            <a:avLst>
              <a:gd name="adj" fmla="val 7081"/>
            </a:avLst>
          </a:prstGeom>
          <a:noFill/>
          <a:effectLst>
            <a:outerShdw blurRad="1155700" dist="1028700" dir="5400000" sx="78000" sy="78000" algn="t" rotWithShape="0">
              <a:prstClr val="black">
                <a:alpha val="40000"/>
              </a:prstClr>
            </a:outerShdw>
          </a:effectLst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xmlns="" id="{51BDB7F6-728A-4D2E-A3E9-ECB885E50ED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37075" y="1161145"/>
            <a:ext cx="2502127" cy="3280228"/>
          </a:xfrm>
          <a:prstGeom prst="roundRect">
            <a:avLst>
              <a:gd name="adj" fmla="val 7081"/>
            </a:avLst>
          </a:prstGeom>
          <a:noFill/>
          <a:effectLst>
            <a:outerShdw blurRad="1155700" dist="1028700" dir="5400000" sx="78000" sy="78000" algn="t" rotWithShape="0">
              <a:prstClr val="black">
                <a:alpha val="40000"/>
              </a:prstClr>
            </a:outerShdw>
          </a:effectLst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xmlns="" id="{187B9C94-1688-4DF6-84AE-1CAAF2EE30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709991" y="1161145"/>
            <a:ext cx="2502127" cy="3280228"/>
          </a:xfrm>
          <a:prstGeom prst="roundRect">
            <a:avLst>
              <a:gd name="adj" fmla="val 7081"/>
            </a:avLst>
          </a:prstGeom>
          <a:noFill/>
          <a:effectLst>
            <a:outerShdw blurRad="1155700" dist="1028700" dir="5400000" sx="78000" sy="78000" algn="t" rotWithShape="0">
              <a:prstClr val="black">
                <a:alpha val="40000"/>
              </a:prstClr>
            </a:outerShdw>
          </a:effectLst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39326812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xmlns="" id="{1236AE7F-C752-4B26-88E4-98852D185F7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9434" y="1609730"/>
            <a:ext cx="2914295" cy="2524559"/>
          </a:xfrm>
          <a:custGeom>
            <a:avLst/>
            <a:gdLst>
              <a:gd name="connsiteX0" fmla="*/ 130494 w 2914295"/>
              <a:gd name="connsiteY0" fmla="*/ 0 h 2524559"/>
              <a:gd name="connsiteX1" fmla="*/ 2783801 w 2914295"/>
              <a:gd name="connsiteY1" fmla="*/ 0 h 2524559"/>
              <a:gd name="connsiteX2" fmla="*/ 2914295 w 2914295"/>
              <a:gd name="connsiteY2" fmla="*/ 130494 h 2524559"/>
              <a:gd name="connsiteX3" fmla="*/ 2914295 w 2914295"/>
              <a:gd name="connsiteY3" fmla="*/ 2394065 h 2524559"/>
              <a:gd name="connsiteX4" fmla="*/ 2783801 w 2914295"/>
              <a:gd name="connsiteY4" fmla="*/ 2524559 h 2524559"/>
              <a:gd name="connsiteX5" fmla="*/ 130494 w 2914295"/>
              <a:gd name="connsiteY5" fmla="*/ 2524559 h 2524559"/>
              <a:gd name="connsiteX6" fmla="*/ 0 w 2914295"/>
              <a:gd name="connsiteY6" fmla="*/ 2394065 h 2524559"/>
              <a:gd name="connsiteX7" fmla="*/ 0 w 2914295"/>
              <a:gd name="connsiteY7" fmla="*/ 130494 h 2524559"/>
              <a:gd name="connsiteX8" fmla="*/ 130494 w 2914295"/>
              <a:gd name="connsiteY8" fmla="*/ 0 h 2524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4295" h="2524559">
                <a:moveTo>
                  <a:pt x="130494" y="0"/>
                </a:moveTo>
                <a:lnTo>
                  <a:pt x="2783801" y="0"/>
                </a:lnTo>
                <a:cubicBezTo>
                  <a:pt x="2855871" y="0"/>
                  <a:pt x="2914295" y="58424"/>
                  <a:pt x="2914295" y="130494"/>
                </a:cubicBezTo>
                <a:lnTo>
                  <a:pt x="2914295" y="2394065"/>
                </a:lnTo>
                <a:cubicBezTo>
                  <a:pt x="2914295" y="2466135"/>
                  <a:pt x="2855871" y="2524559"/>
                  <a:pt x="2783801" y="2524559"/>
                </a:cubicBezTo>
                <a:lnTo>
                  <a:pt x="130494" y="2524559"/>
                </a:lnTo>
                <a:cubicBezTo>
                  <a:pt x="58424" y="2524559"/>
                  <a:pt x="0" y="2466135"/>
                  <a:pt x="0" y="2394065"/>
                </a:cubicBezTo>
                <a:lnTo>
                  <a:pt x="0" y="130494"/>
                </a:lnTo>
                <a:cubicBezTo>
                  <a:pt x="0" y="58424"/>
                  <a:pt x="58424" y="0"/>
                  <a:pt x="130494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xmlns="" id="{492AFEC9-F0F3-4028-AE98-941E1F39689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48664" y="1609730"/>
            <a:ext cx="2914295" cy="2524559"/>
          </a:xfrm>
          <a:custGeom>
            <a:avLst/>
            <a:gdLst>
              <a:gd name="connsiteX0" fmla="*/ 130494 w 2914295"/>
              <a:gd name="connsiteY0" fmla="*/ 0 h 2524559"/>
              <a:gd name="connsiteX1" fmla="*/ 2783801 w 2914295"/>
              <a:gd name="connsiteY1" fmla="*/ 0 h 2524559"/>
              <a:gd name="connsiteX2" fmla="*/ 2914295 w 2914295"/>
              <a:gd name="connsiteY2" fmla="*/ 130494 h 2524559"/>
              <a:gd name="connsiteX3" fmla="*/ 2914295 w 2914295"/>
              <a:gd name="connsiteY3" fmla="*/ 2394065 h 2524559"/>
              <a:gd name="connsiteX4" fmla="*/ 2783801 w 2914295"/>
              <a:gd name="connsiteY4" fmla="*/ 2524559 h 2524559"/>
              <a:gd name="connsiteX5" fmla="*/ 130494 w 2914295"/>
              <a:gd name="connsiteY5" fmla="*/ 2524559 h 2524559"/>
              <a:gd name="connsiteX6" fmla="*/ 0 w 2914295"/>
              <a:gd name="connsiteY6" fmla="*/ 2394065 h 2524559"/>
              <a:gd name="connsiteX7" fmla="*/ 0 w 2914295"/>
              <a:gd name="connsiteY7" fmla="*/ 130494 h 2524559"/>
              <a:gd name="connsiteX8" fmla="*/ 130494 w 2914295"/>
              <a:gd name="connsiteY8" fmla="*/ 0 h 2524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4295" h="2524559">
                <a:moveTo>
                  <a:pt x="130494" y="0"/>
                </a:moveTo>
                <a:lnTo>
                  <a:pt x="2783801" y="0"/>
                </a:lnTo>
                <a:cubicBezTo>
                  <a:pt x="2855871" y="0"/>
                  <a:pt x="2914295" y="58424"/>
                  <a:pt x="2914295" y="130494"/>
                </a:cubicBezTo>
                <a:lnTo>
                  <a:pt x="2914295" y="2394065"/>
                </a:lnTo>
                <a:cubicBezTo>
                  <a:pt x="2914295" y="2466135"/>
                  <a:pt x="2855871" y="2524559"/>
                  <a:pt x="2783801" y="2524559"/>
                </a:cubicBezTo>
                <a:lnTo>
                  <a:pt x="130494" y="2524559"/>
                </a:lnTo>
                <a:cubicBezTo>
                  <a:pt x="58424" y="2524559"/>
                  <a:pt x="0" y="2466135"/>
                  <a:pt x="0" y="2394065"/>
                </a:cubicBezTo>
                <a:lnTo>
                  <a:pt x="0" y="130494"/>
                </a:lnTo>
                <a:cubicBezTo>
                  <a:pt x="0" y="58424"/>
                  <a:pt x="58424" y="0"/>
                  <a:pt x="130494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xmlns="" id="{237E4E5F-F135-43DC-84F1-1D9394CA300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68281" y="1609730"/>
            <a:ext cx="2914295" cy="2524559"/>
          </a:xfrm>
          <a:custGeom>
            <a:avLst/>
            <a:gdLst>
              <a:gd name="connsiteX0" fmla="*/ 130494 w 2914295"/>
              <a:gd name="connsiteY0" fmla="*/ 0 h 2524559"/>
              <a:gd name="connsiteX1" fmla="*/ 2783801 w 2914295"/>
              <a:gd name="connsiteY1" fmla="*/ 0 h 2524559"/>
              <a:gd name="connsiteX2" fmla="*/ 2914295 w 2914295"/>
              <a:gd name="connsiteY2" fmla="*/ 130494 h 2524559"/>
              <a:gd name="connsiteX3" fmla="*/ 2914295 w 2914295"/>
              <a:gd name="connsiteY3" fmla="*/ 2394065 h 2524559"/>
              <a:gd name="connsiteX4" fmla="*/ 2783801 w 2914295"/>
              <a:gd name="connsiteY4" fmla="*/ 2524559 h 2524559"/>
              <a:gd name="connsiteX5" fmla="*/ 130494 w 2914295"/>
              <a:gd name="connsiteY5" fmla="*/ 2524559 h 2524559"/>
              <a:gd name="connsiteX6" fmla="*/ 0 w 2914295"/>
              <a:gd name="connsiteY6" fmla="*/ 2394065 h 2524559"/>
              <a:gd name="connsiteX7" fmla="*/ 0 w 2914295"/>
              <a:gd name="connsiteY7" fmla="*/ 130494 h 2524559"/>
              <a:gd name="connsiteX8" fmla="*/ 130494 w 2914295"/>
              <a:gd name="connsiteY8" fmla="*/ 0 h 2524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4295" h="2524559">
                <a:moveTo>
                  <a:pt x="130494" y="0"/>
                </a:moveTo>
                <a:lnTo>
                  <a:pt x="2783801" y="0"/>
                </a:lnTo>
                <a:cubicBezTo>
                  <a:pt x="2855871" y="0"/>
                  <a:pt x="2914295" y="58424"/>
                  <a:pt x="2914295" y="130494"/>
                </a:cubicBezTo>
                <a:lnTo>
                  <a:pt x="2914295" y="2394065"/>
                </a:lnTo>
                <a:cubicBezTo>
                  <a:pt x="2914295" y="2466135"/>
                  <a:pt x="2855871" y="2524559"/>
                  <a:pt x="2783801" y="2524559"/>
                </a:cubicBezTo>
                <a:lnTo>
                  <a:pt x="130494" y="2524559"/>
                </a:lnTo>
                <a:cubicBezTo>
                  <a:pt x="58424" y="2524559"/>
                  <a:pt x="0" y="2466135"/>
                  <a:pt x="0" y="2394065"/>
                </a:cubicBezTo>
                <a:lnTo>
                  <a:pt x="0" y="130494"/>
                </a:lnTo>
                <a:cubicBezTo>
                  <a:pt x="0" y="58424"/>
                  <a:pt x="58424" y="0"/>
                  <a:pt x="130494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xmlns="" id="{484A5E54-643B-490A-B17F-6FE65245737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68173" y="4219146"/>
            <a:ext cx="2914295" cy="2524559"/>
          </a:xfrm>
          <a:custGeom>
            <a:avLst/>
            <a:gdLst>
              <a:gd name="connsiteX0" fmla="*/ 130494 w 2914295"/>
              <a:gd name="connsiteY0" fmla="*/ 0 h 2524559"/>
              <a:gd name="connsiteX1" fmla="*/ 2783801 w 2914295"/>
              <a:gd name="connsiteY1" fmla="*/ 0 h 2524559"/>
              <a:gd name="connsiteX2" fmla="*/ 2914295 w 2914295"/>
              <a:gd name="connsiteY2" fmla="*/ 130494 h 2524559"/>
              <a:gd name="connsiteX3" fmla="*/ 2914295 w 2914295"/>
              <a:gd name="connsiteY3" fmla="*/ 2394065 h 2524559"/>
              <a:gd name="connsiteX4" fmla="*/ 2783801 w 2914295"/>
              <a:gd name="connsiteY4" fmla="*/ 2524559 h 2524559"/>
              <a:gd name="connsiteX5" fmla="*/ 130494 w 2914295"/>
              <a:gd name="connsiteY5" fmla="*/ 2524559 h 2524559"/>
              <a:gd name="connsiteX6" fmla="*/ 0 w 2914295"/>
              <a:gd name="connsiteY6" fmla="*/ 2394065 h 2524559"/>
              <a:gd name="connsiteX7" fmla="*/ 0 w 2914295"/>
              <a:gd name="connsiteY7" fmla="*/ 130494 h 2524559"/>
              <a:gd name="connsiteX8" fmla="*/ 130494 w 2914295"/>
              <a:gd name="connsiteY8" fmla="*/ 0 h 2524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4295" h="2524559">
                <a:moveTo>
                  <a:pt x="130494" y="0"/>
                </a:moveTo>
                <a:lnTo>
                  <a:pt x="2783801" y="0"/>
                </a:lnTo>
                <a:cubicBezTo>
                  <a:pt x="2855871" y="0"/>
                  <a:pt x="2914295" y="58424"/>
                  <a:pt x="2914295" y="130494"/>
                </a:cubicBezTo>
                <a:lnTo>
                  <a:pt x="2914295" y="2394065"/>
                </a:lnTo>
                <a:cubicBezTo>
                  <a:pt x="2914295" y="2466135"/>
                  <a:pt x="2855871" y="2524559"/>
                  <a:pt x="2783801" y="2524559"/>
                </a:cubicBezTo>
                <a:lnTo>
                  <a:pt x="130494" y="2524559"/>
                </a:lnTo>
                <a:cubicBezTo>
                  <a:pt x="58424" y="2524559"/>
                  <a:pt x="0" y="2466135"/>
                  <a:pt x="0" y="2394065"/>
                </a:cubicBezTo>
                <a:lnTo>
                  <a:pt x="0" y="130494"/>
                </a:lnTo>
                <a:cubicBezTo>
                  <a:pt x="0" y="58424"/>
                  <a:pt x="58424" y="0"/>
                  <a:pt x="130494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xmlns="" id="{53B90613-B664-4A0B-922C-F539471FFD4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129050" y="4219146"/>
            <a:ext cx="2914295" cy="2524559"/>
          </a:xfrm>
          <a:custGeom>
            <a:avLst/>
            <a:gdLst>
              <a:gd name="connsiteX0" fmla="*/ 130494 w 2914295"/>
              <a:gd name="connsiteY0" fmla="*/ 0 h 2524559"/>
              <a:gd name="connsiteX1" fmla="*/ 2783801 w 2914295"/>
              <a:gd name="connsiteY1" fmla="*/ 0 h 2524559"/>
              <a:gd name="connsiteX2" fmla="*/ 2914295 w 2914295"/>
              <a:gd name="connsiteY2" fmla="*/ 130494 h 2524559"/>
              <a:gd name="connsiteX3" fmla="*/ 2914295 w 2914295"/>
              <a:gd name="connsiteY3" fmla="*/ 2394065 h 2524559"/>
              <a:gd name="connsiteX4" fmla="*/ 2783801 w 2914295"/>
              <a:gd name="connsiteY4" fmla="*/ 2524559 h 2524559"/>
              <a:gd name="connsiteX5" fmla="*/ 130494 w 2914295"/>
              <a:gd name="connsiteY5" fmla="*/ 2524559 h 2524559"/>
              <a:gd name="connsiteX6" fmla="*/ 0 w 2914295"/>
              <a:gd name="connsiteY6" fmla="*/ 2394065 h 2524559"/>
              <a:gd name="connsiteX7" fmla="*/ 0 w 2914295"/>
              <a:gd name="connsiteY7" fmla="*/ 130494 h 2524559"/>
              <a:gd name="connsiteX8" fmla="*/ 130494 w 2914295"/>
              <a:gd name="connsiteY8" fmla="*/ 0 h 2524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4295" h="2524559">
                <a:moveTo>
                  <a:pt x="130494" y="0"/>
                </a:moveTo>
                <a:lnTo>
                  <a:pt x="2783801" y="0"/>
                </a:lnTo>
                <a:cubicBezTo>
                  <a:pt x="2855871" y="0"/>
                  <a:pt x="2914295" y="58424"/>
                  <a:pt x="2914295" y="130494"/>
                </a:cubicBezTo>
                <a:lnTo>
                  <a:pt x="2914295" y="2394065"/>
                </a:lnTo>
                <a:cubicBezTo>
                  <a:pt x="2914295" y="2466135"/>
                  <a:pt x="2855871" y="2524559"/>
                  <a:pt x="2783801" y="2524559"/>
                </a:cubicBezTo>
                <a:lnTo>
                  <a:pt x="130494" y="2524559"/>
                </a:lnTo>
                <a:cubicBezTo>
                  <a:pt x="58424" y="2524559"/>
                  <a:pt x="0" y="2466135"/>
                  <a:pt x="0" y="2394065"/>
                </a:cubicBezTo>
                <a:lnTo>
                  <a:pt x="0" y="130494"/>
                </a:lnTo>
                <a:cubicBezTo>
                  <a:pt x="0" y="58424"/>
                  <a:pt x="58424" y="0"/>
                  <a:pt x="130494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xmlns="" id="{C3B94E82-449F-42C7-B047-C94121C179A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9434" y="4219146"/>
            <a:ext cx="2914295" cy="2524559"/>
          </a:xfrm>
          <a:custGeom>
            <a:avLst/>
            <a:gdLst>
              <a:gd name="connsiteX0" fmla="*/ 130494 w 2914295"/>
              <a:gd name="connsiteY0" fmla="*/ 0 h 2524559"/>
              <a:gd name="connsiteX1" fmla="*/ 2783801 w 2914295"/>
              <a:gd name="connsiteY1" fmla="*/ 0 h 2524559"/>
              <a:gd name="connsiteX2" fmla="*/ 2914295 w 2914295"/>
              <a:gd name="connsiteY2" fmla="*/ 130494 h 2524559"/>
              <a:gd name="connsiteX3" fmla="*/ 2914295 w 2914295"/>
              <a:gd name="connsiteY3" fmla="*/ 2394065 h 2524559"/>
              <a:gd name="connsiteX4" fmla="*/ 2783801 w 2914295"/>
              <a:gd name="connsiteY4" fmla="*/ 2524559 h 2524559"/>
              <a:gd name="connsiteX5" fmla="*/ 130494 w 2914295"/>
              <a:gd name="connsiteY5" fmla="*/ 2524559 h 2524559"/>
              <a:gd name="connsiteX6" fmla="*/ 0 w 2914295"/>
              <a:gd name="connsiteY6" fmla="*/ 2394065 h 2524559"/>
              <a:gd name="connsiteX7" fmla="*/ 0 w 2914295"/>
              <a:gd name="connsiteY7" fmla="*/ 130494 h 2524559"/>
              <a:gd name="connsiteX8" fmla="*/ 130494 w 2914295"/>
              <a:gd name="connsiteY8" fmla="*/ 0 h 2524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4295" h="2524559">
                <a:moveTo>
                  <a:pt x="130494" y="0"/>
                </a:moveTo>
                <a:lnTo>
                  <a:pt x="2783801" y="0"/>
                </a:lnTo>
                <a:cubicBezTo>
                  <a:pt x="2855871" y="0"/>
                  <a:pt x="2914295" y="58424"/>
                  <a:pt x="2914295" y="130494"/>
                </a:cubicBezTo>
                <a:lnTo>
                  <a:pt x="2914295" y="2394065"/>
                </a:lnTo>
                <a:cubicBezTo>
                  <a:pt x="2914295" y="2466135"/>
                  <a:pt x="2855871" y="2524559"/>
                  <a:pt x="2783801" y="2524559"/>
                </a:cubicBezTo>
                <a:lnTo>
                  <a:pt x="130494" y="2524559"/>
                </a:lnTo>
                <a:cubicBezTo>
                  <a:pt x="58424" y="2524559"/>
                  <a:pt x="0" y="2466135"/>
                  <a:pt x="0" y="2394065"/>
                </a:cubicBezTo>
                <a:lnTo>
                  <a:pt x="0" y="130494"/>
                </a:lnTo>
                <a:cubicBezTo>
                  <a:pt x="0" y="58424"/>
                  <a:pt x="58424" y="0"/>
                  <a:pt x="130494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19757564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xmlns="" id="{E64AC43D-270B-43DF-9A7D-C97F6D479E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93124" y="1925093"/>
            <a:ext cx="1799275" cy="1797687"/>
          </a:xfrm>
          <a:custGeom>
            <a:avLst/>
            <a:gdLst>
              <a:gd name="connsiteX0" fmla="*/ 299620 w 1799274"/>
              <a:gd name="connsiteY0" fmla="*/ 0 h 1797686"/>
              <a:gd name="connsiteX1" fmla="*/ 1499654 w 1799274"/>
              <a:gd name="connsiteY1" fmla="*/ 0 h 1797686"/>
              <a:gd name="connsiteX2" fmla="*/ 1799274 w 1799274"/>
              <a:gd name="connsiteY2" fmla="*/ 299620 h 1797686"/>
              <a:gd name="connsiteX3" fmla="*/ 1799274 w 1799274"/>
              <a:gd name="connsiteY3" fmla="*/ 1498066 h 1797686"/>
              <a:gd name="connsiteX4" fmla="*/ 1499654 w 1799274"/>
              <a:gd name="connsiteY4" fmla="*/ 1797686 h 1797686"/>
              <a:gd name="connsiteX5" fmla="*/ 299620 w 1799274"/>
              <a:gd name="connsiteY5" fmla="*/ 1797686 h 1797686"/>
              <a:gd name="connsiteX6" fmla="*/ 0 w 1799274"/>
              <a:gd name="connsiteY6" fmla="*/ 1498066 h 1797686"/>
              <a:gd name="connsiteX7" fmla="*/ 0 w 1799274"/>
              <a:gd name="connsiteY7" fmla="*/ 299620 h 1797686"/>
              <a:gd name="connsiteX8" fmla="*/ 299620 w 1799274"/>
              <a:gd name="connsiteY8" fmla="*/ 0 h 1797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9274" h="1797686">
                <a:moveTo>
                  <a:pt x="299620" y="0"/>
                </a:moveTo>
                <a:lnTo>
                  <a:pt x="1499654" y="0"/>
                </a:lnTo>
                <a:cubicBezTo>
                  <a:pt x="1665130" y="0"/>
                  <a:pt x="1799274" y="134144"/>
                  <a:pt x="1799274" y="299620"/>
                </a:cubicBezTo>
                <a:lnTo>
                  <a:pt x="1799274" y="1498066"/>
                </a:lnTo>
                <a:cubicBezTo>
                  <a:pt x="1799274" y="1663542"/>
                  <a:pt x="1665130" y="1797686"/>
                  <a:pt x="1499654" y="1797686"/>
                </a:cubicBezTo>
                <a:lnTo>
                  <a:pt x="299620" y="1797686"/>
                </a:lnTo>
                <a:cubicBezTo>
                  <a:pt x="134144" y="1797686"/>
                  <a:pt x="0" y="1663542"/>
                  <a:pt x="0" y="1498066"/>
                </a:cubicBezTo>
                <a:lnTo>
                  <a:pt x="0" y="299620"/>
                </a:lnTo>
                <a:cubicBezTo>
                  <a:pt x="0" y="134144"/>
                  <a:pt x="134144" y="0"/>
                  <a:pt x="299620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3012B13C-91D2-4151-85ED-2D730D056DD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145996" y="1925093"/>
            <a:ext cx="1799275" cy="1797687"/>
          </a:xfrm>
          <a:custGeom>
            <a:avLst/>
            <a:gdLst>
              <a:gd name="connsiteX0" fmla="*/ 299620 w 1799274"/>
              <a:gd name="connsiteY0" fmla="*/ 0 h 1797686"/>
              <a:gd name="connsiteX1" fmla="*/ 1499654 w 1799274"/>
              <a:gd name="connsiteY1" fmla="*/ 0 h 1797686"/>
              <a:gd name="connsiteX2" fmla="*/ 1799274 w 1799274"/>
              <a:gd name="connsiteY2" fmla="*/ 299620 h 1797686"/>
              <a:gd name="connsiteX3" fmla="*/ 1799274 w 1799274"/>
              <a:gd name="connsiteY3" fmla="*/ 1498066 h 1797686"/>
              <a:gd name="connsiteX4" fmla="*/ 1499654 w 1799274"/>
              <a:gd name="connsiteY4" fmla="*/ 1797686 h 1797686"/>
              <a:gd name="connsiteX5" fmla="*/ 299620 w 1799274"/>
              <a:gd name="connsiteY5" fmla="*/ 1797686 h 1797686"/>
              <a:gd name="connsiteX6" fmla="*/ 0 w 1799274"/>
              <a:gd name="connsiteY6" fmla="*/ 1498066 h 1797686"/>
              <a:gd name="connsiteX7" fmla="*/ 0 w 1799274"/>
              <a:gd name="connsiteY7" fmla="*/ 299620 h 1797686"/>
              <a:gd name="connsiteX8" fmla="*/ 299620 w 1799274"/>
              <a:gd name="connsiteY8" fmla="*/ 0 h 1797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9274" h="1797686">
                <a:moveTo>
                  <a:pt x="299620" y="0"/>
                </a:moveTo>
                <a:lnTo>
                  <a:pt x="1499654" y="0"/>
                </a:lnTo>
                <a:cubicBezTo>
                  <a:pt x="1665130" y="0"/>
                  <a:pt x="1799274" y="134144"/>
                  <a:pt x="1799274" y="299620"/>
                </a:cubicBezTo>
                <a:lnTo>
                  <a:pt x="1799274" y="1498066"/>
                </a:lnTo>
                <a:cubicBezTo>
                  <a:pt x="1799274" y="1663542"/>
                  <a:pt x="1665130" y="1797686"/>
                  <a:pt x="1499654" y="1797686"/>
                </a:cubicBezTo>
                <a:lnTo>
                  <a:pt x="299620" y="1797686"/>
                </a:lnTo>
                <a:cubicBezTo>
                  <a:pt x="134144" y="1797686"/>
                  <a:pt x="0" y="1663542"/>
                  <a:pt x="0" y="1498066"/>
                </a:cubicBezTo>
                <a:lnTo>
                  <a:pt x="0" y="299620"/>
                </a:lnTo>
                <a:cubicBezTo>
                  <a:pt x="0" y="134144"/>
                  <a:pt x="134144" y="0"/>
                  <a:pt x="299620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="" id="{906E896F-3327-408E-97AF-4CC362FEF4B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8865" y="1925093"/>
            <a:ext cx="1799275" cy="1797687"/>
          </a:xfrm>
          <a:custGeom>
            <a:avLst/>
            <a:gdLst>
              <a:gd name="connsiteX0" fmla="*/ 299620 w 1799274"/>
              <a:gd name="connsiteY0" fmla="*/ 0 h 1797686"/>
              <a:gd name="connsiteX1" fmla="*/ 1499654 w 1799274"/>
              <a:gd name="connsiteY1" fmla="*/ 0 h 1797686"/>
              <a:gd name="connsiteX2" fmla="*/ 1799274 w 1799274"/>
              <a:gd name="connsiteY2" fmla="*/ 299620 h 1797686"/>
              <a:gd name="connsiteX3" fmla="*/ 1799274 w 1799274"/>
              <a:gd name="connsiteY3" fmla="*/ 1498066 h 1797686"/>
              <a:gd name="connsiteX4" fmla="*/ 1499654 w 1799274"/>
              <a:gd name="connsiteY4" fmla="*/ 1797686 h 1797686"/>
              <a:gd name="connsiteX5" fmla="*/ 299620 w 1799274"/>
              <a:gd name="connsiteY5" fmla="*/ 1797686 h 1797686"/>
              <a:gd name="connsiteX6" fmla="*/ 0 w 1799274"/>
              <a:gd name="connsiteY6" fmla="*/ 1498066 h 1797686"/>
              <a:gd name="connsiteX7" fmla="*/ 0 w 1799274"/>
              <a:gd name="connsiteY7" fmla="*/ 299620 h 1797686"/>
              <a:gd name="connsiteX8" fmla="*/ 299620 w 1799274"/>
              <a:gd name="connsiteY8" fmla="*/ 0 h 1797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9274" h="1797686">
                <a:moveTo>
                  <a:pt x="299620" y="0"/>
                </a:moveTo>
                <a:lnTo>
                  <a:pt x="1499654" y="0"/>
                </a:lnTo>
                <a:cubicBezTo>
                  <a:pt x="1665130" y="0"/>
                  <a:pt x="1799274" y="134144"/>
                  <a:pt x="1799274" y="299620"/>
                </a:cubicBezTo>
                <a:lnTo>
                  <a:pt x="1799274" y="1498066"/>
                </a:lnTo>
                <a:cubicBezTo>
                  <a:pt x="1799274" y="1663542"/>
                  <a:pt x="1665130" y="1797686"/>
                  <a:pt x="1499654" y="1797686"/>
                </a:cubicBezTo>
                <a:lnTo>
                  <a:pt x="299620" y="1797686"/>
                </a:lnTo>
                <a:cubicBezTo>
                  <a:pt x="134144" y="1797686"/>
                  <a:pt x="0" y="1663542"/>
                  <a:pt x="0" y="1498066"/>
                </a:cubicBezTo>
                <a:lnTo>
                  <a:pt x="0" y="299620"/>
                </a:lnTo>
                <a:cubicBezTo>
                  <a:pt x="0" y="134144"/>
                  <a:pt x="134144" y="0"/>
                  <a:pt x="299620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xmlns="" id="{590F1F5D-BD5E-45FB-A4DA-A1306D2F0FA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98865" y="3922985"/>
            <a:ext cx="1799275" cy="1797687"/>
          </a:xfrm>
          <a:custGeom>
            <a:avLst/>
            <a:gdLst>
              <a:gd name="connsiteX0" fmla="*/ 299620 w 1799274"/>
              <a:gd name="connsiteY0" fmla="*/ 0 h 1797686"/>
              <a:gd name="connsiteX1" fmla="*/ 1499654 w 1799274"/>
              <a:gd name="connsiteY1" fmla="*/ 0 h 1797686"/>
              <a:gd name="connsiteX2" fmla="*/ 1799274 w 1799274"/>
              <a:gd name="connsiteY2" fmla="*/ 299620 h 1797686"/>
              <a:gd name="connsiteX3" fmla="*/ 1799274 w 1799274"/>
              <a:gd name="connsiteY3" fmla="*/ 1498066 h 1797686"/>
              <a:gd name="connsiteX4" fmla="*/ 1499654 w 1799274"/>
              <a:gd name="connsiteY4" fmla="*/ 1797686 h 1797686"/>
              <a:gd name="connsiteX5" fmla="*/ 299620 w 1799274"/>
              <a:gd name="connsiteY5" fmla="*/ 1797686 h 1797686"/>
              <a:gd name="connsiteX6" fmla="*/ 0 w 1799274"/>
              <a:gd name="connsiteY6" fmla="*/ 1498066 h 1797686"/>
              <a:gd name="connsiteX7" fmla="*/ 0 w 1799274"/>
              <a:gd name="connsiteY7" fmla="*/ 299620 h 1797686"/>
              <a:gd name="connsiteX8" fmla="*/ 299620 w 1799274"/>
              <a:gd name="connsiteY8" fmla="*/ 0 h 1797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9274" h="1797686">
                <a:moveTo>
                  <a:pt x="299620" y="0"/>
                </a:moveTo>
                <a:lnTo>
                  <a:pt x="1499654" y="0"/>
                </a:lnTo>
                <a:cubicBezTo>
                  <a:pt x="1665130" y="0"/>
                  <a:pt x="1799274" y="134144"/>
                  <a:pt x="1799274" y="299620"/>
                </a:cubicBezTo>
                <a:lnTo>
                  <a:pt x="1799274" y="1498066"/>
                </a:lnTo>
                <a:cubicBezTo>
                  <a:pt x="1799274" y="1663542"/>
                  <a:pt x="1665130" y="1797686"/>
                  <a:pt x="1499654" y="1797686"/>
                </a:cubicBezTo>
                <a:lnTo>
                  <a:pt x="299620" y="1797686"/>
                </a:lnTo>
                <a:cubicBezTo>
                  <a:pt x="134144" y="1797686"/>
                  <a:pt x="0" y="1663542"/>
                  <a:pt x="0" y="1498066"/>
                </a:cubicBezTo>
                <a:lnTo>
                  <a:pt x="0" y="299620"/>
                </a:lnTo>
                <a:cubicBezTo>
                  <a:pt x="0" y="134144"/>
                  <a:pt x="134144" y="0"/>
                  <a:pt x="299620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xmlns="" id="{45EC2007-5BCE-45BE-AF7C-2310B7F74EF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51737" y="3922985"/>
            <a:ext cx="1799275" cy="1797687"/>
          </a:xfrm>
          <a:custGeom>
            <a:avLst/>
            <a:gdLst>
              <a:gd name="connsiteX0" fmla="*/ 299620 w 1799274"/>
              <a:gd name="connsiteY0" fmla="*/ 0 h 1797686"/>
              <a:gd name="connsiteX1" fmla="*/ 1499654 w 1799274"/>
              <a:gd name="connsiteY1" fmla="*/ 0 h 1797686"/>
              <a:gd name="connsiteX2" fmla="*/ 1799274 w 1799274"/>
              <a:gd name="connsiteY2" fmla="*/ 299620 h 1797686"/>
              <a:gd name="connsiteX3" fmla="*/ 1799274 w 1799274"/>
              <a:gd name="connsiteY3" fmla="*/ 1498066 h 1797686"/>
              <a:gd name="connsiteX4" fmla="*/ 1499654 w 1799274"/>
              <a:gd name="connsiteY4" fmla="*/ 1797686 h 1797686"/>
              <a:gd name="connsiteX5" fmla="*/ 299620 w 1799274"/>
              <a:gd name="connsiteY5" fmla="*/ 1797686 h 1797686"/>
              <a:gd name="connsiteX6" fmla="*/ 0 w 1799274"/>
              <a:gd name="connsiteY6" fmla="*/ 1498066 h 1797686"/>
              <a:gd name="connsiteX7" fmla="*/ 0 w 1799274"/>
              <a:gd name="connsiteY7" fmla="*/ 299620 h 1797686"/>
              <a:gd name="connsiteX8" fmla="*/ 299620 w 1799274"/>
              <a:gd name="connsiteY8" fmla="*/ 0 h 1797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9274" h="1797686">
                <a:moveTo>
                  <a:pt x="299620" y="0"/>
                </a:moveTo>
                <a:lnTo>
                  <a:pt x="1499654" y="0"/>
                </a:lnTo>
                <a:cubicBezTo>
                  <a:pt x="1665130" y="0"/>
                  <a:pt x="1799274" y="134144"/>
                  <a:pt x="1799274" y="299620"/>
                </a:cubicBezTo>
                <a:lnTo>
                  <a:pt x="1799274" y="1498066"/>
                </a:lnTo>
                <a:cubicBezTo>
                  <a:pt x="1799274" y="1663542"/>
                  <a:pt x="1665130" y="1797686"/>
                  <a:pt x="1499654" y="1797686"/>
                </a:cubicBezTo>
                <a:lnTo>
                  <a:pt x="299620" y="1797686"/>
                </a:lnTo>
                <a:cubicBezTo>
                  <a:pt x="134144" y="1797686"/>
                  <a:pt x="0" y="1663542"/>
                  <a:pt x="0" y="1498066"/>
                </a:cubicBezTo>
                <a:lnTo>
                  <a:pt x="0" y="299620"/>
                </a:lnTo>
                <a:cubicBezTo>
                  <a:pt x="0" y="134144"/>
                  <a:pt x="134144" y="0"/>
                  <a:pt x="299620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xmlns="" id="{948C979F-D09C-4D93-8510-633D33C48B6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304608" y="3922985"/>
            <a:ext cx="1799275" cy="1797687"/>
          </a:xfrm>
          <a:custGeom>
            <a:avLst/>
            <a:gdLst>
              <a:gd name="connsiteX0" fmla="*/ 299620 w 1799274"/>
              <a:gd name="connsiteY0" fmla="*/ 0 h 1797686"/>
              <a:gd name="connsiteX1" fmla="*/ 1499654 w 1799274"/>
              <a:gd name="connsiteY1" fmla="*/ 0 h 1797686"/>
              <a:gd name="connsiteX2" fmla="*/ 1799274 w 1799274"/>
              <a:gd name="connsiteY2" fmla="*/ 299620 h 1797686"/>
              <a:gd name="connsiteX3" fmla="*/ 1799274 w 1799274"/>
              <a:gd name="connsiteY3" fmla="*/ 1498066 h 1797686"/>
              <a:gd name="connsiteX4" fmla="*/ 1499654 w 1799274"/>
              <a:gd name="connsiteY4" fmla="*/ 1797686 h 1797686"/>
              <a:gd name="connsiteX5" fmla="*/ 299620 w 1799274"/>
              <a:gd name="connsiteY5" fmla="*/ 1797686 h 1797686"/>
              <a:gd name="connsiteX6" fmla="*/ 0 w 1799274"/>
              <a:gd name="connsiteY6" fmla="*/ 1498066 h 1797686"/>
              <a:gd name="connsiteX7" fmla="*/ 0 w 1799274"/>
              <a:gd name="connsiteY7" fmla="*/ 299620 h 1797686"/>
              <a:gd name="connsiteX8" fmla="*/ 299620 w 1799274"/>
              <a:gd name="connsiteY8" fmla="*/ 0 h 1797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9274" h="1797686">
                <a:moveTo>
                  <a:pt x="299620" y="0"/>
                </a:moveTo>
                <a:lnTo>
                  <a:pt x="1499654" y="0"/>
                </a:lnTo>
                <a:cubicBezTo>
                  <a:pt x="1665130" y="0"/>
                  <a:pt x="1799274" y="134144"/>
                  <a:pt x="1799274" y="299620"/>
                </a:cubicBezTo>
                <a:lnTo>
                  <a:pt x="1799274" y="1498066"/>
                </a:lnTo>
                <a:cubicBezTo>
                  <a:pt x="1799274" y="1663542"/>
                  <a:pt x="1665130" y="1797686"/>
                  <a:pt x="1499654" y="1797686"/>
                </a:cubicBezTo>
                <a:lnTo>
                  <a:pt x="299620" y="1797686"/>
                </a:lnTo>
                <a:cubicBezTo>
                  <a:pt x="134144" y="1797686"/>
                  <a:pt x="0" y="1663542"/>
                  <a:pt x="0" y="1498066"/>
                </a:cubicBezTo>
                <a:lnTo>
                  <a:pt x="0" y="299620"/>
                </a:lnTo>
                <a:cubicBezTo>
                  <a:pt x="0" y="134144"/>
                  <a:pt x="134144" y="0"/>
                  <a:pt x="299620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31806212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81AB0525-DFE5-4510-A0C6-B04F6BF58F5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8877300" cy="6858000"/>
          </a:xfrm>
          <a:custGeom>
            <a:avLst/>
            <a:gdLst>
              <a:gd name="connsiteX0" fmla="*/ 0 w 8877300"/>
              <a:gd name="connsiteY0" fmla="*/ 0 h 6858000"/>
              <a:gd name="connsiteX1" fmla="*/ 8877300 w 8877300"/>
              <a:gd name="connsiteY1" fmla="*/ 0 h 6858000"/>
              <a:gd name="connsiteX2" fmla="*/ 8877300 w 8877300"/>
              <a:gd name="connsiteY2" fmla="*/ 6858000 h 6858000"/>
              <a:gd name="connsiteX3" fmla="*/ 0 w 88773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77300" h="6858000">
                <a:moveTo>
                  <a:pt x="0" y="0"/>
                </a:moveTo>
                <a:lnTo>
                  <a:pt x="8877300" y="0"/>
                </a:lnTo>
                <a:lnTo>
                  <a:pt x="88773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16335065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xmlns="" id="{1D85AAF7-BCD6-4A70-9940-A899AC766F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238014" y="1753647"/>
            <a:ext cx="2928868" cy="1770276"/>
          </a:xfrm>
          <a:custGeom>
            <a:avLst/>
            <a:gdLst>
              <a:gd name="connsiteX0" fmla="*/ 118077 w 2928868"/>
              <a:gd name="connsiteY0" fmla="*/ 0 h 1770276"/>
              <a:gd name="connsiteX1" fmla="*/ 2810791 w 2928868"/>
              <a:gd name="connsiteY1" fmla="*/ 0 h 1770276"/>
              <a:gd name="connsiteX2" fmla="*/ 2928868 w 2928868"/>
              <a:gd name="connsiteY2" fmla="*/ 118077 h 1770276"/>
              <a:gd name="connsiteX3" fmla="*/ 2928868 w 2928868"/>
              <a:gd name="connsiteY3" fmla="*/ 1770276 h 1770276"/>
              <a:gd name="connsiteX4" fmla="*/ 0 w 2928868"/>
              <a:gd name="connsiteY4" fmla="*/ 1770276 h 1770276"/>
              <a:gd name="connsiteX5" fmla="*/ 0 w 2928868"/>
              <a:gd name="connsiteY5" fmla="*/ 118077 h 1770276"/>
              <a:gd name="connsiteX6" fmla="*/ 118077 w 2928868"/>
              <a:gd name="connsiteY6" fmla="*/ 0 h 1770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28868" h="1770276">
                <a:moveTo>
                  <a:pt x="118077" y="0"/>
                </a:moveTo>
                <a:lnTo>
                  <a:pt x="2810791" y="0"/>
                </a:lnTo>
                <a:cubicBezTo>
                  <a:pt x="2876003" y="0"/>
                  <a:pt x="2928868" y="52865"/>
                  <a:pt x="2928868" y="118077"/>
                </a:cubicBezTo>
                <a:lnTo>
                  <a:pt x="2928868" y="1770276"/>
                </a:lnTo>
                <a:lnTo>
                  <a:pt x="0" y="1770276"/>
                </a:lnTo>
                <a:lnTo>
                  <a:pt x="0" y="118077"/>
                </a:lnTo>
                <a:cubicBezTo>
                  <a:pt x="0" y="52865"/>
                  <a:pt x="52865" y="0"/>
                  <a:pt x="118077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A7FBF635-F43B-49E9-938F-8F812D1FB78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453162" y="485287"/>
            <a:ext cx="2928868" cy="1770276"/>
          </a:xfrm>
          <a:custGeom>
            <a:avLst/>
            <a:gdLst>
              <a:gd name="connsiteX0" fmla="*/ 118077 w 2928868"/>
              <a:gd name="connsiteY0" fmla="*/ 0 h 1770276"/>
              <a:gd name="connsiteX1" fmla="*/ 2810791 w 2928868"/>
              <a:gd name="connsiteY1" fmla="*/ 0 h 1770276"/>
              <a:gd name="connsiteX2" fmla="*/ 2928868 w 2928868"/>
              <a:gd name="connsiteY2" fmla="*/ 118077 h 1770276"/>
              <a:gd name="connsiteX3" fmla="*/ 2928868 w 2928868"/>
              <a:gd name="connsiteY3" fmla="*/ 1770276 h 1770276"/>
              <a:gd name="connsiteX4" fmla="*/ 0 w 2928868"/>
              <a:gd name="connsiteY4" fmla="*/ 1770276 h 1770276"/>
              <a:gd name="connsiteX5" fmla="*/ 0 w 2928868"/>
              <a:gd name="connsiteY5" fmla="*/ 118077 h 1770276"/>
              <a:gd name="connsiteX6" fmla="*/ 118077 w 2928868"/>
              <a:gd name="connsiteY6" fmla="*/ 0 h 1770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28868" h="1770276">
                <a:moveTo>
                  <a:pt x="118077" y="0"/>
                </a:moveTo>
                <a:lnTo>
                  <a:pt x="2810791" y="0"/>
                </a:lnTo>
                <a:cubicBezTo>
                  <a:pt x="2876003" y="0"/>
                  <a:pt x="2928868" y="52865"/>
                  <a:pt x="2928868" y="118077"/>
                </a:cubicBezTo>
                <a:lnTo>
                  <a:pt x="2928868" y="1770276"/>
                </a:lnTo>
                <a:lnTo>
                  <a:pt x="0" y="1770276"/>
                </a:lnTo>
                <a:lnTo>
                  <a:pt x="0" y="118077"/>
                </a:lnTo>
                <a:cubicBezTo>
                  <a:pt x="0" y="52865"/>
                  <a:pt x="52865" y="0"/>
                  <a:pt x="118077" y="0"/>
                </a:cubicBez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99874971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0BDC30C0-F1CF-4DEB-9E47-A0928BA1CC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1019"/>
            <a:ext cx="12192000" cy="68559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38602"/>
            <a:ext cx="10363200" cy="1362075"/>
          </a:xfrm>
        </p:spPr>
        <p:txBody>
          <a:bodyPr anchor="t">
            <a:normAutofit/>
          </a:bodyPr>
          <a:lstStyle>
            <a:lvl1pPr algn="l">
              <a:defRPr sz="3733" b="0" cap="none" baseline="0">
                <a:solidFill>
                  <a:schemeClr val="bg1"/>
                </a:solidFill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4D440C5-5B00-4ECA-B528-EF4D187535E0}"/>
              </a:ext>
            </a:extLst>
          </p:cNvPr>
          <p:cNvSpPr/>
          <p:nvPr userDrawn="1"/>
        </p:nvSpPr>
        <p:spPr>
          <a:xfrm>
            <a:off x="4055728" y="308585"/>
            <a:ext cx="4080544" cy="3355304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3200" dirty="0">
              <a:solidFill>
                <a:prstClr val="white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4B1F6E34-4EB0-4450-AE66-26412A356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xmlns="" id="{4DCBDA35-A6DE-4F64-BCC2-1D9997494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658351" y="6576977"/>
            <a:ext cx="6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Adani Regular" panose="02000503000000020004" pitchFamily="2" charset="0"/>
              </a:defRPr>
            </a:lvl1pPr>
          </a:lstStyle>
          <a:p>
            <a:endParaRPr lang="en-IN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843CECF-4DD6-44FE-AFB5-B8559E5BE918}"/>
              </a:ext>
            </a:extLst>
          </p:cNvPr>
          <p:cNvCxnSpPr/>
          <p:nvPr userDrawn="1"/>
        </p:nvCxnSpPr>
        <p:spPr>
          <a:xfrm>
            <a:off x="11707664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805809" y="1243454"/>
            <a:ext cx="1607379" cy="109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421585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xmlns="" id="{9BC0F123-1A1C-4F3D-9F76-AE1D68B79675}"/>
              </a:ext>
            </a:extLst>
          </p:cNvPr>
          <p:cNvSpPr/>
          <p:nvPr userDrawn="1"/>
        </p:nvSpPr>
        <p:spPr>
          <a:xfrm>
            <a:off x="2976660" y="6199097"/>
            <a:ext cx="6329269" cy="174811"/>
          </a:xfrm>
          <a:prstGeom prst="roundRect">
            <a:avLst>
              <a:gd name="adj" fmla="val 50000"/>
            </a:avLst>
          </a:prstGeom>
          <a:solidFill>
            <a:schemeClr val="bg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7" rIns="91413" bIns="45707" rtlCol="0" anchor="ctr"/>
          <a:lstStyle/>
          <a:p>
            <a:pPr algn="ctr"/>
            <a:endParaRPr lang="en-US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346DCEF-3EC7-46FF-A936-70803912748C}"/>
              </a:ext>
            </a:extLst>
          </p:cNvPr>
          <p:cNvSpPr txBox="1"/>
          <p:nvPr userDrawn="1"/>
        </p:nvSpPr>
        <p:spPr>
          <a:xfrm>
            <a:off x="830857" y="6141848"/>
            <a:ext cx="2145803" cy="486261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600" b="1" spc="0" dirty="0">
                <a:solidFill>
                  <a:schemeClr val="bg1">
                    <a:alpha val="40000"/>
                  </a:schemeClr>
                </a:solidFill>
                <a:latin typeface="Nexa Bold" panose="02000000000000000000" pitchFamily="50" charset="0"/>
              </a:rPr>
              <a:t>2019 Epic </a:t>
            </a:r>
            <a:r>
              <a:rPr lang="en-US" sz="1600" b="1" spc="0" dirty="0">
                <a:solidFill>
                  <a:schemeClr val="bg1">
                    <a:alpha val="40000"/>
                  </a:schemeClr>
                </a:solidFill>
                <a:latin typeface="Nexa Light" panose="02000000000000000000" pitchFamily="50" charset="0"/>
              </a:rPr>
              <a:t>Business</a:t>
            </a:r>
            <a:endParaRPr lang="en-US" sz="1600" b="0" spc="0" dirty="0">
              <a:solidFill>
                <a:schemeClr val="bg1">
                  <a:alpha val="40000"/>
                </a:schemeClr>
              </a:solidFill>
              <a:latin typeface="Nexa Light" panose="02000000000000000000" pitchFamily="50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1B270491-BBEC-4B27-8AB5-273A515040F4}"/>
              </a:ext>
            </a:extLst>
          </p:cNvPr>
          <p:cNvGrpSpPr/>
          <p:nvPr userDrawn="1"/>
        </p:nvGrpSpPr>
        <p:grpSpPr>
          <a:xfrm>
            <a:off x="9596439" y="6169621"/>
            <a:ext cx="1300925" cy="233759"/>
            <a:chOff x="7252748" y="4797701"/>
            <a:chExt cx="1834865" cy="329700"/>
          </a:xfrm>
          <a:solidFill>
            <a:schemeClr val="bg1">
              <a:alpha val="20000"/>
            </a:schemeClr>
          </a:solidFill>
        </p:grpSpPr>
        <p:sp>
          <p:nvSpPr>
            <p:cNvPr id="5" name="Freeform 85">
              <a:extLst>
                <a:ext uri="{FF2B5EF4-FFF2-40B4-BE49-F238E27FC236}">
                  <a16:creationId xmlns:a16="http://schemas.microsoft.com/office/drawing/2014/main" xmlns="" id="{014D3B4C-EBF9-4F58-8E63-24A9FA07C3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738820" y="4846267"/>
              <a:ext cx="348793" cy="280359"/>
            </a:xfrm>
            <a:custGeom>
              <a:avLst/>
              <a:gdLst>
                <a:gd name="T0" fmla="*/ 250282 w 462"/>
                <a:gd name="T1" fmla="*/ 24258 h 374"/>
                <a:gd name="T2" fmla="*/ 250282 w 462"/>
                <a:gd name="T3" fmla="*/ 24258 h 374"/>
                <a:gd name="T4" fmla="*/ 221508 w 462"/>
                <a:gd name="T5" fmla="*/ 33962 h 374"/>
                <a:gd name="T6" fmla="*/ 240510 w 462"/>
                <a:gd name="T7" fmla="*/ 5391 h 374"/>
                <a:gd name="T8" fmla="*/ 211192 w 462"/>
                <a:gd name="T9" fmla="*/ 19407 h 374"/>
                <a:gd name="T10" fmla="*/ 173189 w 462"/>
                <a:gd name="T11" fmla="*/ 0 h 374"/>
                <a:gd name="T12" fmla="*/ 119983 w 462"/>
                <a:gd name="T13" fmla="*/ 52829 h 374"/>
                <a:gd name="T14" fmla="*/ 124870 w 462"/>
                <a:gd name="T15" fmla="*/ 62532 h 374"/>
                <a:gd name="T16" fmla="*/ 19002 w 462"/>
                <a:gd name="T17" fmla="*/ 10242 h 374"/>
                <a:gd name="T18" fmla="*/ 9229 w 462"/>
                <a:gd name="T19" fmla="*/ 38813 h 374"/>
                <a:gd name="T20" fmla="*/ 33118 w 462"/>
                <a:gd name="T21" fmla="*/ 81400 h 374"/>
                <a:gd name="T22" fmla="*/ 9229 w 462"/>
                <a:gd name="T23" fmla="*/ 72236 h 374"/>
                <a:gd name="T24" fmla="*/ 9229 w 462"/>
                <a:gd name="T25" fmla="*/ 72236 h 374"/>
                <a:gd name="T26" fmla="*/ 53205 w 462"/>
                <a:gd name="T27" fmla="*/ 124526 h 374"/>
                <a:gd name="T28" fmla="*/ 38004 w 462"/>
                <a:gd name="T29" fmla="*/ 124526 h 374"/>
                <a:gd name="T30" fmla="*/ 28774 w 462"/>
                <a:gd name="T31" fmla="*/ 124526 h 374"/>
                <a:gd name="T32" fmla="*/ 77093 w 462"/>
                <a:gd name="T33" fmla="*/ 158487 h 374"/>
                <a:gd name="T34" fmla="*/ 14116 w 462"/>
                <a:gd name="T35" fmla="*/ 182206 h 374"/>
                <a:gd name="T36" fmla="*/ 0 w 462"/>
                <a:gd name="T37" fmla="*/ 182206 h 374"/>
                <a:gd name="T38" fmla="*/ 77093 w 462"/>
                <a:gd name="T39" fmla="*/ 201074 h 374"/>
                <a:gd name="T40" fmla="*/ 221508 w 462"/>
                <a:gd name="T41" fmla="*/ 57681 h 374"/>
                <a:gd name="T42" fmla="*/ 221508 w 462"/>
                <a:gd name="T43" fmla="*/ 52829 h 374"/>
                <a:gd name="T44" fmla="*/ 250282 w 462"/>
                <a:gd name="T45" fmla="*/ 24258 h 3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62" h="374">
                  <a:moveTo>
                    <a:pt x="461" y="45"/>
                  </a:moveTo>
                  <a:lnTo>
                    <a:pt x="461" y="45"/>
                  </a:lnTo>
                  <a:cubicBezTo>
                    <a:pt x="443" y="54"/>
                    <a:pt x="425" y="63"/>
                    <a:pt x="408" y="63"/>
                  </a:cubicBezTo>
                  <a:cubicBezTo>
                    <a:pt x="425" y="54"/>
                    <a:pt x="443" y="36"/>
                    <a:pt x="443" y="10"/>
                  </a:cubicBezTo>
                  <a:cubicBezTo>
                    <a:pt x="425" y="19"/>
                    <a:pt x="408" y="27"/>
                    <a:pt x="389" y="36"/>
                  </a:cubicBezTo>
                  <a:cubicBezTo>
                    <a:pt x="372" y="19"/>
                    <a:pt x="345" y="0"/>
                    <a:pt x="319" y="0"/>
                  </a:cubicBezTo>
                  <a:cubicBezTo>
                    <a:pt x="265" y="0"/>
                    <a:pt x="221" y="45"/>
                    <a:pt x="221" y="98"/>
                  </a:cubicBezTo>
                  <a:cubicBezTo>
                    <a:pt x="221" y="107"/>
                    <a:pt x="221" y="116"/>
                    <a:pt x="230" y="116"/>
                  </a:cubicBezTo>
                  <a:cubicBezTo>
                    <a:pt x="151" y="116"/>
                    <a:pt x="79" y="81"/>
                    <a:pt x="35" y="19"/>
                  </a:cubicBezTo>
                  <a:cubicBezTo>
                    <a:pt x="26" y="36"/>
                    <a:pt x="17" y="54"/>
                    <a:pt x="17" y="72"/>
                  </a:cubicBezTo>
                  <a:cubicBezTo>
                    <a:pt x="17" y="98"/>
                    <a:pt x="35" y="134"/>
                    <a:pt x="61" y="151"/>
                  </a:cubicBezTo>
                  <a:cubicBezTo>
                    <a:pt x="44" y="143"/>
                    <a:pt x="35" y="143"/>
                    <a:pt x="17" y="134"/>
                  </a:cubicBezTo>
                  <a:cubicBezTo>
                    <a:pt x="17" y="178"/>
                    <a:pt x="53" y="222"/>
                    <a:pt x="98" y="231"/>
                  </a:cubicBezTo>
                  <a:cubicBezTo>
                    <a:pt x="89" y="231"/>
                    <a:pt x="79" y="231"/>
                    <a:pt x="70" y="231"/>
                  </a:cubicBezTo>
                  <a:cubicBezTo>
                    <a:pt x="61" y="231"/>
                    <a:pt x="61" y="231"/>
                    <a:pt x="53" y="231"/>
                  </a:cubicBezTo>
                  <a:cubicBezTo>
                    <a:pt x="61" y="266"/>
                    <a:pt x="98" y="294"/>
                    <a:pt x="142" y="294"/>
                  </a:cubicBezTo>
                  <a:cubicBezTo>
                    <a:pt x="106" y="319"/>
                    <a:pt x="70" y="338"/>
                    <a:pt x="26" y="338"/>
                  </a:cubicBezTo>
                  <a:cubicBezTo>
                    <a:pt x="17" y="338"/>
                    <a:pt x="8" y="338"/>
                    <a:pt x="0" y="338"/>
                  </a:cubicBezTo>
                  <a:cubicBezTo>
                    <a:pt x="44" y="364"/>
                    <a:pt x="89" y="373"/>
                    <a:pt x="142" y="373"/>
                  </a:cubicBezTo>
                  <a:cubicBezTo>
                    <a:pt x="319" y="373"/>
                    <a:pt x="408" y="231"/>
                    <a:pt x="408" y="107"/>
                  </a:cubicBezTo>
                  <a:lnTo>
                    <a:pt x="408" y="98"/>
                  </a:lnTo>
                  <a:cubicBezTo>
                    <a:pt x="434" y="81"/>
                    <a:pt x="443" y="72"/>
                    <a:pt x="461" y="45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sz="1800" dirty="0"/>
            </a:p>
          </p:txBody>
        </p:sp>
        <p:sp>
          <p:nvSpPr>
            <p:cNvPr id="6" name="Freeform 87">
              <a:extLst>
                <a:ext uri="{FF2B5EF4-FFF2-40B4-BE49-F238E27FC236}">
                  <a16:creationId xmlns:a16="http://schemas.microsoft.com/office/drawing/2014/main" xmlns="" id="{1B424BAF-5C9F-4A5C-A322-38CAD4DD32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95784" y="4797701"/>
              <a:ext cx="322302" cy="328925"/>
            </a:xfrm>
            <a:custGeom>
              <a:avLst/>
              <a:gdLst>
                <a:gd name="T0" fmla="*/ 187705 w 426"/>
                <a:gd name="T1" fmla="*/ 115822 h 435"/>
                <a:gd name="T2" fmla="*/ 187705 w 426"/>
                <a:gd name="T3" fmla="*/ 115822 h 435"/>
                <a:gd name="T4" fmla="*/ 115888 w 426"/>
                <a:gd name="T5" fmla="*/ 188143 h 435"/>
                <a:gd name="T6" fmla="*/ 42982 w 426"/>
                <a:gd name="T7" fmla="*/ 115822 h 435"/>
                <a:gd name="T8" fmla="*/ 47878 w 426"/>
                <a:gd name="T9" fmla="*/ 106034 h 435"/>
                <a:gd name="T10" fmla="*/ 0 w 426"/>
                <a:gd name="T11" fmla="*/ 106034 h 435"/>
                <a:gd name="T12" fmla="*/ 0 w 426"/>
                <a:gd name="T13" fmla="*/ 197387 h 435"/>
                <a:gd name="T14" fmla="*/ 33733 w 426"/>
                <a:gd name="T15" fmla="*/ 235994 h 435"/>
                <a:gd name="T16" fmla="*/ 197498 w 426"/>
                <a:gd name="T17" fmla="*/ 235994 h 435"/>
                <a:gd name="T18" fmla="*/ 231231 w 426"/>
                <a:gd name="T19" fmla="*/ 197387 h 435"/>
                <a:gd name="T20" fmla="*/ 231231 w 426"/>
                <a:gd name="T21" fmla="*/ 106034 h 435"/>
                <a:gd name="T22" fmla="*/ 183353 w 426"/>
                <a:gd name="T23" fmla="*/ 106034 h 435"/>
                <a:gd name="T24" fmla="*/ 187705 w 426"/>
                <a:gd name="T25" fmla="*/ 115822 h 435"/>
                <a:gd name="T26" fmla="*/ 197498 w 426"/>
                <a:gd name="T27" fmla="*/ 0 h 435"/>
                <a:gd name="T28" fmla="*/ 197498 w 426"/>
                <a:gd name="T29" fmla="*/ 0 h 435"/>
                <a:gd name="T30" fmla="*/ 33733 w 426"/>
                <a:gd name="T31" fmla="*/ 0 h 435"/>
                <a:gd name="T32" fmla="*/ 0 w 426"/>
                <a:gd name="T33" fmla="*/ 38607 h 435"/>
                <a:gd name="T34" fmla="*/ 0 w 426"/>
                <a:gd name="T35" fmla="*/ 77215 h 435"/>
                <a:gd name="T36" fmla="*/ 57672 w 426"/>
                <a:gd name="T37" fmla="*/ 77215 h 435"/>
                <a:gd name="T38" fmla="*/ 115888 w 426"/>
                <a:gd name="T39" fmla="*/ 48395 h 435"/>
                <a:gd name="T40" fmla="*/ 173559 w 426"/>
                <a:gd name="T41" fmla="*/ 77215 h 435"/>
                <a:gd name="T42" fmla="*/ 231231 w 426"/>
                <a:gd name="T43" fmla="*/ 77215 h 435"/>
                <a:gd name="T44" fmla="*/ 231231 w 426"/>
                <a:gd name="T45" fmla="*/ 38607 h 435"/>
                <a:gd name="T46" fmla="*/ 197498 w 426"/>
                <a:gd name="T47" fmla="*/ 0 h 435"/>
                <a:gd name="T48" fmla="*/ 212188 w 426"/>
                <a:gd name="T49" fmla="*/ 48395 h 435"/>
                <a:gd name="T50" fmla="*/ 212188 w 426"/>
                <a:gd name="T51" fmla="*/ 48395 h 435"/>
                <a:gd name="T52" fmla="*/ 207292 w 426"/>
                <a:gd name="T53" fmla="*/ 52745 h 435"/>
                <a:gd name="T54" fmla="*/ 187705 w 426"/>
                <a:gd name="T55" fmla="*/ 52745 h 435"/>
                <a:gd name="T56" fmla="*/ 178456 w 426"/>
                <a:gd name="T57" fmla="*/ 48395 h 435"/>
                <a:gd name="T58" fmla="*/ 178456 w 426"/>
                <a:gd name="T59" fmla="*/ 28820 h 435"/>
                <a:gd name="T60" fmla="*/ 187705 w 426"/>
                <a:gd name="T61" fmla="*/ 19576 h 435"/>
                <a:gd name="T62" fmla="*/ 207292 w 426"/>
                <a:gd name="T63" fmla="*/ 19576 h 435"/>
                <a:gd name="T64" fmla="*/ 212188 w 426"/>
                <a:gd name="T65" fmla="*/ 28820 h 435"/>
                <a:gd name="T66" fmla="*/ 212188 w 426"/>
                <a:gd name="T67" fmla="*/ 48395 h 435"/>
                <a:gd name="T68" fmla="*/ 158869 w 426"/>
                <a:gd name="T69" fmla="*/ 115822 h 435"/>
                <a:gd name="T70" fmla="*/ 158869 w 426"/>
                <a:gd name="T71" fmla="*/ 115822 h 435"/>
                <a:gd name="T72" fmla="*/ 115888 w 426"/>
                <a:gd name="T73" fmla="*/ 72321 h 435"/>
                <a:gd name="T74" fmla="*/ 71818 w 426"/>
                <a:gd name="T75" fmla="*/ 115822 h 435"/>
                <a:gd name="T76" fmla="*/ 115888 w 426"/>
                <a:gd name="T77" fmla="*/ 159323 h 435"/>
                <a:gd name="T78" fmla="*/ 158869 w 426"/>
                <a:gd name="T79" fmla="*/ 115822 h 43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426" h="435">
                  <a:moveTo>
                    <a:pt x="345" y="213"/>
                  </a:moveTo>
                  <a:lnTo>
                    <a:pt x="345" y="213"/>
                  </a:lnTo>
                  <a:cubicBezTo>
                    <a:pt x="345" y="284"/>
                    <a:pt x="284" y="346"/>
                    <a:pt x="213" y="346"/>
                  </a:cubicBezTo>
                  <a:cubicBezTo>
                    <a:pt x="142" y="346"/>
                    <a:pt x="79" y="284"/>
                    <a:pt x="79" y="213"/>
                  </a:cubicBezTo>
                  <a:cubicBezTo>
                    <a:pt x="79" y="203"/>
                    <a:pt x="88" y="203"/>
                    <a:pt x="88" y="195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363"/>
                    <a:pt x="0" y="363"/>
                    <a:pt x="0" y="363"/>
                  </a:cubicBezTo>
                  <a:cubicBezTo>
                    <a:pt x="0" y="399"/>
                    <a:pt x="26" y="434"/>
                    <a:pt x="62" y="434"/>
                  </a:cubicBezTo>
                  <a:cubicBezTo>
                    <a:pt x="363" y="434"/>
                    <a:pt x="363" y="434"/>
                    <a:pt x="363" y="434"/>
                  </a:cubicBezTo>
                  <a:cubicBezTo>
                    <a:pt x="398" y="434"/>
                    <a:pt x="425" y="399"/>
                    <a:pt x="425" y="363"/>
                  </a:cubicBezTo>
                  <a:cubicBezTo>
                    <a:pt x="425" y="195"/>
                    <a:pt x="425" y="195"/>
                    <a:pt x="425" y="195"/>
                  </a:cubicBezTo>
                  <a:cubicBezTo>
                    <a:pt x="337" y="195"/>
                    <a:pt x="337" y="195"/>
                    <a:pt x="337" y="195"/>
                  </a:cubicBezTo>
                  <a:cubicBezTo>
                    <a:pt x="337" y="203"/>
                    <a:pt x="345" y="203"/>
                    <a:pt x="345" y="213"/>
                  </a:cubicBezTo>
                  <a:close/>
                  <a:moveTo>
                    <a:pt x="363" y="0"/>
                  </a:moveTo>
                  <a:lnTo>
                    <a:pt x="363" y="0"/>
                  </a:lnTo>
                  <a:cubicBezTo>
                    <a:pt x="62" y="0"/>
                    <a:pt x="62" y="0"/>
                    <a:pt x="62" y="0"/>
                  </a:cubicBezTo>
                  <a:cubicBezTo>
                    <a:pt x="26" y="0"/>
                    <a:pt x="0" y="36"/>
                    <a:pt x="0" y="71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132" y="106"/>
                    <a:pt x="168" y="89"/>
                    <a:pt x="213" y="89"/>
                  </a:cubicBezTo>
                  <a:cubicBezTo>
                    <a:pt x="257" y="89"/>
                    <a:pt x="292" y="106"/>
                    <a:pt x="319" y="142"/>
                  </a:cubicBezTo>
                  <a:cubicBezTo>
                    <a:pt x="425" y="142"/>
                    <a:pt x="425" y="142"/>
                    <a:pt x="425" y="142"/>
                  </a:cubicBezTo>
                  <a:cubicBezTo>
                    <a:pt x="425" y="71"/>
                    <a:pt x="425" y="71"/>
                    <a:pt x="425" y="71"/>
                  </a:cubicBezTo>
                  <a:cubicBezTo>
                    <a:pt x="425" y="36"/>
                    <a:pt x="398" y="0"/>
                    <a:pt x="363" y="0"/>
                  </a:cubicBezTo>
                  <a:close/>
                  <a:moveTo>
                    <a:pt x="390" y="89"/>
                  </a:moveTo>
                  <a:lnTo>
                    <a:pt x="390" y="89"/>
                  </a:lnTo>
                  <a:cubicBezTo>
                    <a:pt x="390" y="89"/>
                    <a:pt x="390" y="97"/>
                    <a:pt x="381" y="97"/>
                  </a:cubicBezTo>
                  <a:cubicBezTo>
                    <a:pt x="345" y="97"/>
                    <a:pt x="345" y="97"/>
                    <a:pt x="345" y="97"/>
                  </a:cubicBezTo>
                  <a:cubicBezTo>
                    <a:pt x="337" y="97"/>
                    <a:pt x="328" y="89"/>
                    <a:pt x="328" y="89"/>
                  </a:cubicBezTo>
                  <a:cubicBezTo>
                    <a:pt x="328" y="53"/>
                    <a:pt x="328" y="53"/>
                    <a:pt x="328" y="53"/>
                  </a:cubicBezTo>
                  <a:cubicBezTo>
                    <a:pt x="328" y="44"/>
                    <a:pt x="337" y="36"/>
                    <a:pt x="345" y="36"/>
                  </a:cubicBezTo>
                  <a:cubicBezTo>
                    <a:pt x="381" y="36"/>
                    <a:pt x="381" y="36"/>
                    <a:pt x="381" y="36"/>
                  </a:cubicBezTo>
                  <a:cubicBezTo>
                    <a:pt x="390" y="36"/>
                    <a:pt x="390" y="44"/>
                    <a:pt x="390" y="53"/>
                  </a:cubicBezTo>
                  <a:lnTo>
                    <a:pt x="390" y="89"/>
                  </a:lnTo>
                  <a:close/>
                  <a:moveTo>
                    <a:pt x="292" y="213"/>
                  </a:moveTo>
                  <a:lnTo>
                    <a:pt x="292" y="213"/>
                  </a:lnTo>
                  <a:cubicBezTo>
                    <a:pt x="292" y="168"/>
                    <a:pt x="257" y="133"/>
                    <a:pt x="213" y="133"/>
                  </a:cubicBezTo>
                  <a:cubicBezTo>
                    <a:pt x="168" y="133"/>
                    <a:pt x="132" y="168"/>
                    <a:pt x="132" y="213"/>
                  </a:cubicBezTo>
                  <a:cubicBezTo>
                    <a:pt x="132" y="257"/>
                    <a:pt x="168" y="293"/>
                    <a:pt x="213" y="293"/>
                  </a:cubicBezTo>
                  <a:cubicBezTo>
                    <a:pt x="257" y="293"/>
                    <a:pt x="292" y="257"/>
                    <a:pt x="292" y="213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sz="1800" dirty="0"/>
            </a:p>
          </p:txBody>
        </p:sp>
        <p:sp>
          <p:nvSpPr>
            <p:cNvPr id="7" name="Freeform 106">
              <a:extLst>
                <a:ext uri="{FF2B5EF4-FFF2-40B4-BE49-F238E27FC236}">
                  <a16:creationId xmlns:a16="http://schemas.microsoft.com/office/drawing/2014/main" xmlns="" id="{790CCE42-78C1-42EC-82CF-4393E2C916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252748" y="4802892"/>
              <a:ext cx="322302" cy="324509"/>
            </a:xfrm>
            <a:custGeom>
              <a:avLst/>
              <a:gdLst>
                <a:gd name="T0" fmla="*/ 202395 w 426"/>
                <a:gd name="T1" fmla="*/ 0 h 427"/>
                <a:gd name="T2" fmla="*/ 202395 w 426"/>
                <a:gd name="T3" fmla="*/ 0 h 427"/>
                <a:gd name="T4" fmla="*/ 28836 w 426"/>
                <a:gd name="T5" fmla="*/ 0 h 427"/>
                <a:gd name="T6" fmla="*/ 0 w 426"/>
                <a:gd name="T7" fmla="*/ 28965 h 427"/>
                <a:gd name="T8" fmla="*/ 0 w 426"/>
                <a:gd name="T9" fmla="*/ 203304 h 427"/>
                <a:gd name="T10" fmla="*/ 28836 w 426"/>
                <a:gd name="T11" fmla="*/ 232815 h 427"/>
                <a:gd name="T12" fmla="*/ 115888 w 426"/>
                <a:gd name="T13" fmla="*/ 232815 h 427"/>
                <a:gd name="T14" fmla="*/ 115888 w 426"/>
                <a:gd name="T15" fmla="*/ 149745 h 427"/>
                <a:gd name="T16" fmla="*/ 87052 w 426"/>
                <a:gd name="T17" fmla="*/ 149745 h 427"/>
                <a:gd name="T18" fmla="*/ 87052 w 426"/>
                <a:gd name="T19" fmla="*/ 111489 h 427"/>
                <a:gd name="T20" fmla="*/ 115888 w 426"/>
                <a:gd name="T21" fmla="*/ 111489 h 427"/>
                <a:gd name="T22" fmla="*/ 115888 w 426"/>
                <a:gd name="T23" fmla="*/ 91815 h 427"/>
                <a:gd name="T24" fmla="*/ 163766 w 426"/>
                <a:gd name="T25" fmla="*/ 43721 h 427"/>
                <a:gd name="T26" fmla="*/ 188249 w 426"/>
                <a:gd name="T27" fmla="*/ 43721 h 427"/>
                <a:gd name="T28" fmla="*/ 188249 w 426"/>
                <a:gd name="T29" fmla="*/ 87442 h 427"/>
                <a:gd name="T30" fmla="*/ 168663 w 426"/>
                <a:gd name="T31" fmla="*/ 87442 h 427"/>
                <a:gd name="T32" fmla="*/ 158869 w 426"/>
                <a:gd name="T33" fmla="*/ 91815 h 427"/>
                <a:gd name="T34" fmla="*/ 158869 w 426"/>
                <a:gd name="T35" fmla="*/ 111489 h 427"/>
                <a:gd name="T36" fmla="*/ 188249 w 426"/>
                <a:gd name="T37" fmla="*/ 111489 h 427"/>
                <a:gd name="T38" fmla="*/ 188249 w 426"/>
                <a:gd name="T39" fmla="*/ 149745 h 427"/>
                <a:gd name="T40" fmla="*/ 158869 w 426"/>
                <a:gd name="T41" fmla="*/ 149745 h 427"/>
                <a:gd name="T42" fmla="*/ 158869 w 426"/>
                <a:gd name="T43" fmla="*/ 232815 h 427"/>
                <a:gd name="T44" fmla="*/ 202395 w 426"/>
                <a:gd name="T45" fmla="*/ 232815 h 427"/>
                <a:gd name="T46" fmla="*/ 231231 w 426"/>
                <a:gd name="T47" fmla="*/ 203304 h 427"/>
                <a:gd name="T48" fmla="*/ 231231 w 426"/>
                <a:gd name="T49" fmla="*/ 28965 h 427"/>
                <a:gd name="T50" fmla="*/ 202395 w 426"/>
                <a:gd name="T51" fmla="*/ 0 h 4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426" h="427">
                  <a:moveTo>
                    <a:pt x="372" y="0"/>
                  </a:moveTo>
                  <a:lnTo>
                    <a:pt x="372" y="0"/>
                  </a:lnTo>
                  <a:cubicBezTo>
                    <a:pt x="53" y="0"/>
                    <a:pt x="53" y="0"/>
                    <a:pt x="53" y="0"/>
                  </a:cubicBezTo>
                  <a:cubicBezTo>
                    <a:pt x="27" y="0"/>
                    <a:pt x="0" y="27"/>
                    <a:pt x="0" y="53"/>
                  </a:cubicBezTo>
                  <a:cubicBezTo>
                    <a:pt x="0" y="372"/>
                    <a:pt x="0" y="372"/>
                    <a:pt x="0" y="372"/>
                  </a:cubicBezTo>
                  <a:cubicBezTo>
                    <a:pt x="0" y="399"/>
                    <a:pt x="27" y="426"/>
                    <a:pt x="53" y="426"/>
                  </a:cubicBezTo>
                  <a:cubicBezTo>
                    <a:pt x="213" y="426"/>
                    <a:pt x="213" y="426"/>
                    <a:pt x="213" y="426"/>
                  </a:cubicBezTo>
                  <a:cubicBezTo>
                    <a:pt x="213" y="274"/>
                    <a:pt x="213" y="274"/>
                    <a:pt x="213" y="274"/>
                  </a:cubicBezTo>
                  <a:cubicBezTo>
                    <a:pt x="160" y="274"/>
                    <a:pt x="160" y="274"/>
                    <a:pt x="160" y="274"/>
                  </a:cubicBezTo>
                  <a:cubicBezTo>
                    <a:pt x="160" y="204"/>
                    <a:pt x="160" y="204"/>
                    <a:pt x="160" y="204"/>
                  </a:cubicBezTo>
                  <a:cubicBezTo>
                    <a:pt x="213" y="204"/>
                    <a:pt x="213" y="204"/>
                    <a:pt x="213" y="204"/>
                  </a:cubicBezTo>
                  <a:cubicBezTo>
                    <a:pt x="213" y="168"/>
                    <a:pt x="213" y="168"/>
                    <a:pt x="213" y="168"/>
                  </a:cubicBezTo>
                  <a:cubicBezTo>
                    <a:pt x="213" y="124"/>
                    <a:pt x="257" y="80"/>
                    <a:pt x="301" y="80"/>
                  </a:cubicBezTo>
                  <a:cubicBezTo>
                    <a:pt x="346" y="80"/>
                    <a:pt x="346" y="80"/>
                    <a:pt x="346" y="80"/>
                  </a:cubicBezTo>
                  <a:cubicBezTo>
                    <a:pt x="346" y="160"/>
                    <a:pt x="346" y="160"/>
                    <a:pt x="346" y="160"/>
                  </a:cubicBezTo>
                  <a:cubicBezTo>
                    <a:pt x="310" y="160"/>
                    <a:pt x="310" y="160"/>
                    <a:pt x="310" y="160"/>
                  </a:cubicBezTo>
                  <a:cubicBezTo>
                    <a:pt x="292" y="160"/>
                    <a:pt x="292" y="160"/>
                    <a:pt x="292" y="168"/>
                  </a:cubicBezTo>
                  <a:cubicBezTo>
                    <a:pt x="292" y="204"/>
                    <a:pt x="292" y="204"/>
                    <a:pt x="292" y="204"/>
                  </a:cubicBezTo>
                  <a:cubicBezTo>
                    <a:pt x="346" y="204"/>
                    <a:pt x="346" y="204"/>
                    <a:pt x="346" y="204"/>
                  </a:cubicBezTo>
                  <a:cubicBezTo>
                    <a:pt x="346" y="274"/>
                    <a:pt x="346" y="274"/>
                    <a:pt x="346" y="274"/>
                  </a:cubicBezTo>
                  <a:cubicBezTo>
                    <a:pt x="292" y="274"/>
                    <a:pt x="292" y="274"/>
                    <a:pt x="292" y="274"/>
                  </a:cubicBezTo>
                  <a:cubicBezTo>
                    <a:pt x="292" y="426"/>
                    <a:pt x="292" y="426"/>
                    <a:pt x="292" y="426"/>
                  </a:cubicBezTo>
                  <a:cubicBezTo>
                    <a:pt x="372" y="426"/>
                    <a:pt x="372" y="426"/>
                    <a:pt x="372" y="426"/>
                  </a:cubicBezTo>
                  <a:cubicBezTo>
                    <a:pt x="399" y="426"/>
                    <a:pt x="425" y="399"/>
                    <a:pt x="425" y="372"/>
                  </a:cubicBezTo>
                  <a:cubicBezTo>
                    <a:pt x="425" y="53"/>
                    <a:pt x="425" y="53"/>
                    <a:pt x="425" y="53"/>
                  </a:cubicBezTo>
                  <a:cubicBezTo>
                    <a:pt x="425" y="27"/>
                    <a:pt x="399" y="0"/>
                    <a:pt x="372" y="0"/>
                  </a:cubicBezTo>
                </a:path>
              </a:pathLst>
            </a:custGeom>
            <a:grpFill/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sz="1800" dirty="0"/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2C4B23B8-56CE-4644-BFE2-0865A1A49EF6}"/>
              </a:ext>
            </a:extLst>
          </p:cNvPr>
          <p:cNvSpPr/>
          <p:nvPr userDrawn="1"/>
        </p:nvSpPr>
        <p:spPr>
          <a:xfrm>
            <a:off x="11768221" y="2144807"/>
            <a:ext cx="423780" cy="2568388"/>
          </a:xfrm>
          <a:custGeom>
            <a:avLst/>
            <a:gdLst>
              <a:gd name="connsiteX0" fmla="*/ 219640 w 423780"/>
              <a:gd name="connsiteY0" fmla="*/ 0 h 2568388"/>
              <a:gd name="connsiteX1" fmla="*/ 423780 w 423780"/>
              <a:gd name="connsiteY1" fmla="*/ 0 h 2568388"/>
              <a:gd name="connsiteX2" fmla="*/ 423780 w 423780"/>
              <a:gd name="connsiteY2" fmla="*/ 2568388 h 2568388"/>
              <a:gd name="connsiteX3" fmla="*/ 219640 w 423780"/>
              <a:gd name="connsiteY3" fmla="*/ 2568388 h 2568388"/>
              <a:gd name="connsiteX4" fmla="*/ 0 w 423780"/>
              <a:gd name="connsiteY4" fmla="*/ 2348748 h 2568388"/>
              <a:gd name="connsiteX5" fmla="*/ 0 w 423780"/>
              <a:gd name="connsiteY5" fmla="*/ 219640 h 2568388"/>
              <a:gd name="connsiteX6" fmla="*/ 219640 w 423780"/>
              <a:gd name="connsiteY6" fmla="*/ 0 h 256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780" h="2568388">
                <a:moveTo>
                  <a:pt x="219640" y="0"/>
                </a:moveTo>
                <a:lnTo>
                  <a:pt x="423780" y="0"/>
                </a:lnTo>
                <a:lnTo>
                  <a:pt x="423780" y="2568388"/>
                </a:lnTo>
                <a:lnTo>
                  <a:pt x="219640" y="2568388"/>
                </a:lnTo>
                <a:cubicBezTo>
                  <a:pt x="98336" y="2568388"/>
                  <a:pt x="0" y="2470052"/>
                  <a:pt x="0" y="2348748"/>
                </a:cubicBezTo>
                <a:lnTo>
                  <a:pt x="0" y="219640"/>
                </a:lnTo>
                <a:cubicBezTo>
                  <a:pt x="0" y="98336"/>
                  <a:pt x="98336" y="0"/>
                  <a:pt x="219640" y="0"/>
                </a:cubicBez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7" rIns="91413" bIns="45707" rtlCol="0" anchor="ctr"/>
          <a:lstStyle/>
          <a:p>
            <a:pPr algn="ctr"/>
            <a:endParaRPr lang="en-US" sz="18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571CD0F5-1D31-47A2-966E-C8FD0ECE0BB3}"/>
              </a:ext>
            </a:extLst>
          </p:cNvPr>
          <p:cNvSpPr txBox="1"/>
          <p:nvPr userDrawn="1"/>
        </p:nvSpPr>
        <p:spPr>
          <a:xfrm rot="16200000">
            <a:off x="10907212" y="3308984"/>
            <a:ext cx="2145803" cy="240039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0" spc="300" dirty="0">
                <a:solidFill>
                  <a:schemeClr val="bg1"/>
                </a:solidFill>
                <a:latin typeface="Nexa Light" panose="02000000000000000000" pitchFamily="50" charset="0"/>
              </a:rPr>
              <a:t>www.website.co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C3E2F8F-737A-4743-B363-462607B8F705}"/>
              </a:ext>
            </a:extLst>
          </p:cNvPr>
          <p:cNvSpPr txBox="1"/>
          <p:nvPr userDrawn="1"/>
        </p:nvSpPr>
        <p:spPr>
          <a:xfrm>
            <a:off x="8972791" y="157648"/>
            <a:ext cx="2987231" cy="1446524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algn="r"/>
            <a:fld id="{260E2A6B-A809-4840-BF14-8648BC0BDF87}" type="slidenum">
              <a:rPr lang="id-ID" sz="8800" b="0" i="0" strike="noStrike" spc="0" smtClean="0">
                <a:solidFill>
                  <a:schemeClr val="bg1">
                    <a:lumMod val="95000"/>
                    <a:alpha val="12000"/>
                  </a:schemeClr>
                </a:solidFill>
                <a:latin typeface="Nexa Light" panose="02000000000000000000" pitchFamily="50" charset="0"/>
                <a:ea typeface="Open Sans Semibold" panose="020B0706030804020204" pitchFamily="34" charset="0"/>
                <a:cs typeface="Segoe UI" panose="020B0502040204020203" pitchFamily="34" charset="0"/>
              </a:rPr>
              <a:pPr algn="r"/>
              <a:t>‹#›</a:t>
            </a:fld>
            <a:endParaRPr lang="id-ID" sz="11500" b="0" i="0" strike="noStrike" spc="0" dirty="0">
              <a:solidFill>
                <a:schemeClr val="bg1">
                  <a:lumMod val="95000"/>
                  <a:alpha val="12000"/>
                </a:schemeClr>
              </a:solidFill>
              <a:latin typeface="Nexa Light" panose="02000000000000000000" pitchFamily="50" charset="0"/>
              <a:ea typeface="Open Sans Semibold" panose="020B0706030804020204" pitchFamily="34" charset="0"/>
              <a:cs typeface="Segoe UI" panose="020B0502040204020203" pitchFamily="34" charset="0"/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7C219A4A-26B6-4226-A74B-CEF2AD7F4EC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79721" y="670561"/>
            <a:ext cx="6187440" cy="6187440"/>
          </a:xfrm>
          <a:custGeom>
            <a:avLst/>
            <a:gdLst>
              <a:gd name="connsiteX0" fmla="*/ 0 w 6187440"/>
              <a:gd name="connsiteY0" fmla="*/ 0 h 6187440"/>
              <a:gd name="connsiteX1" fmla="*/ 6187440 w 6187440"/>
              <a:gd name="connsiteY1" fmla="*/ 0 h 6187440"/>
              <a:gd name="connsiteX2" fmla="*/ 6187440 w 6187440"/>
              <a:gd name="connsiteY2" fmla="*/ 6187440 h 6187440"/>
              <a:gd name="connsiteX3" fmla="*/ 0 w 6187440"/>
              <a:gd name="connsiteY3" fmla="*/ 6187440 h 6187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87440" h="6187440">
                <a:moveTo>
                  <a:pt x="0" y="0"/>
                </a:moveTo>
                <a:lnTo>
                  <a:pt x="6187440" y="0"/>
                </a:lnTo>
                <a:lnTo>
                  <a:pt x="6187440" y="6187440"/>
                </a:lnTo>
                <a:lnTo>
                  <a:pt x="0" y="6187440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44142526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xmlns="" id="{DD35BF0C-8CA1-4D10-925B-B62D42B3559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04731" y="0"/>
            <a:ext cx="9580296" cy="5096779"/>
          </a:xfrm>
          <a:custGeom>
            <a:avLst/>
            <a:gdLst>
              <a:gd name="connsiteX0" fmla="*/ 1526488 w 9580296"/>
              <a:gd name="connsiteY0" fmla="*/ 1 h 5096778"/>
              <a:gd name="connsiteX1" fmla="*/ 8052672 w 9580296"/>
              <a:gd name="connsiteY1" fmla="*/ 1 h 5096778"/>
              <a:gd name="connsiteX2" fmla="*/ 8051297 w 9580296"/>
              <a:gd name="connsiteY2" fmla="*/ 8125 h 5096778"/>
              <a:gd name="connsiteX3" fmla="*/ 8046265 w 9580296"/>
              <a:gd name="connsiteY3" fmla="*/ 38330 h 5096778"/>
              <a:gd name="connsiteX4" fmla="*/ 8041234 w 9580296"/>
              <a:gd name="connsiteY4" fmla="*/ 65789 h 5096778"/>
              <a:gd name="connsiteX5" fmla="*/ 8036562 w 9580296"/>
              <a:gd name="connsiteY5" fmla="*/ 89678 h 5096778"/>
              <a:gd name="connsiteX6" fmla="*/ 8032608 w 9580296"/>
              <a:gd name="connsiteY6" fmla="*/ 109448 h 5096778"/>
              <a:gd name="connsiteX7" fmla="*/ 8029015 w 9580296"/>
              <a:gd name="connsiteY7" fmla="*/ 124001 h 5096778"/>
              <a:gd name="connsiteX8" fmla="*/ 8021108 w 9580296"/>
              <a:gd name="connsiteY8" fmla="*/ 155029 h 5096778"/>
              <a:gd name="connsiteX9" fmla="*/ 8012842 w 9580296"/>
              <a:gd name="connsiteY9" fmla="*/ 185508 h 5096778"/>
              <a:gd name="connsiteX10" fmla="*/ 8004217 w 9580296"/>
              <a:gd name="connsiteY10" fmla="*/ 216262 h 5096778"/>
              <a:gd name="connsiteX11" fmla="*/ 7995232 w 9580296"/>
              <a:gd name="connsiteY11" fmla="*/ 247015 h 5096778"/>
              <a:gd name="connsiteX12" fmla="*/ 7985528 w 9580296"/>
              <a:gd name="connsiteY12" fmla="*/ 277495 h 5096778"/>
              <a:gd name="connsiteX13" fmla="*/ 7975465 w 9580296"/>
              <a:gd name="connsiteY13" fmla="*/ 308248 h 5096778"/>
              <a:gd name="connsiteX14" fmla="*/ 7965043 w 9580296"/>
              <a:gd name="connsiteY14" fmla="*/ 338727 h 5096778"/>
              <a:gd name="connsiteX15" fmla="*/ 7953902 w 9580296"/>
              <a:gd name="connsiteY15" fmla="*/ 369481 h 5096778"/>
              <a:gd name="connsiteX16" fmla="*/ 7942761 w 9580296"/>
              <a:gd name="connsiteY16" fmla="*/ 399960 h 5096778"/>
              <a:gd name="connsiteX17" fmla="*/ 7931260 w 9580296"/>
              <a:gd name="connsiteY17" fmla="*/ 430714 h 5096778"/>
              <a:gd name="connsiteX18" fmla="*/ 7919401 w 9580296"/>
              <a:gd name="connsiteY18" fmla="*/ 461193 h 5096778"/>
              <a:gd name="connsiteX19" fmla="*/ 7907181 w 9580296"/>
              <a:gd name="connsiteY19" fmla="*/ 491672 h 5096778"/>
              <a:gd name="connsiteX20" fmla="*/ 7894243 w 9580296"/>
              <a:gd name="connsiteY20" fmla="*/ 522151 h 5096778"/>
              <a:gd name="connsiteX21" fmla="*/ 7881665 w 9580296"/>
              <a:gd name="connsiteY21" fmla="*/ 552630 h 5096778"/>
              <a:gd name="connsiteX22" fmla="*/ 7868367 w 9580296"/>
              <a:gd name="connsiteY22" fmla="*/ 583109 h 5096778"/>
              <a:gd name="connsiteX23" fmla="*/ 7854710 w 9580296"/>
              <a:gd name="connsiteY23" fmla="*/ 613588 h 5096778"/>
              <a:gd name="connsiteX24" fmla="*/ 7841413 w 9580296"/>
              <a:gd name="connsiteY24" fmla="*/ 643793 h 5096778"/>
              <a:gd name="connsiteX25" fmla="*/ 7827397 w 9580296"/>
              <a:gd name="connsiteY25" fmla="*/ 673997 h 5096778"/>
              <a:gd name="connsiteX26" fmla="*/ 7813021 w 9580296"/>
              <a:gd name="connsiteY26" fmla="*/ 704202 h 5096778"/>
              <a:gd name="connsiteX27" fmla="*/ 7798645 w 9580296"/>
              <a:gd name="connsiteY27" fmla="*/ 733857 h 5096778"/>
              <a:gd name="connsiteX28" fmla="*/ 7784270 w 9580296"/>
              <a:gd name="connsiteY28" fmla="*/ 764061 h 5096778"/>
              <a:gd name="connsiteX29" fmla="*/ 7769176 w 9580296"/>
              <a:gd name="connsiteY29" fmla="*/ 793991 h 5096778"/>
              <a:gd name="connsiteX30" fmla="*/ 7754081 w 9580296"/>
              <a:gd name="connsiteY30" fmla="*/ 823921 h 5096778"/>
              <a:gd name="connsiteX31" fmla="*/ 7738987 w 9580296"/>
              <a:gd name="connsiteY31" fmla="*/ 853302 h 5096778"/>
              <a:gd name="connsiteX32" fmla="*/ 7708439 w 9580296"/>
              <a:gd name="connsiteY32" fmla="*/ 912338 h 5096778"/>
              <a:gd name="connsiteX33" fmla="*/ 7677172 w 9580296"/>
              <a:gd name="connsiteY33" fmla="*/ 970825 h 5096778"/>
              <a:gd name="connsiteX34" fmla="*/ 7645545 w 9580296"/>
              <a:gd name="connsiteY34" fmla="*/ 1029037 h 5096778"/>
              <a:gd name="connsiteX35" fmla="*/ 7613919 w 9580296"/>
              <a:gd name="connsiteY35" fmla="*/ 1086151 h 5096778"/>
              <a:gd name="connsiteX36" fmla="*/ 7608888 w 9580296"/>
              <a:gd name="connsiteY36" fmla="*/ 1095487 h 5096778"/>
              <a:gd name="connsiteX37" fmla="*/ 7603497 w 9580296"/>
              <a:gd name="connsiteY37" fmla="*/ 1105647 h 5096778"/>
              <a:gd name="connsiteX38" fmla="*/ 7598106 w 9580296"/>
              <a:gd name="connsiteY38" fmla="*/ 1116356 h 5096778"/>
              <a:gd name="connsiteX39" fmla="*/ 7592715 w 9580296"/>
              <a:gd name="connsiteY39" fmla="*/ 1127064 h 5096778"/>
              <a:gd name="connsiteX40" fmla="*/ 7586965 w 9580296"/>
              <a:gd name="connsiteY40" fmla="*/ 1137499 h 5096778"/>
              <a:gd name="connsiteX41" fmla="*/ 7581214 w 9580296"/>
              <a:gd name="connsiteY41" fmla="*/ 1147384 h 5096778"/>
              <a:gd name="connsiteX42" fmla="*/ 7575105 w 9580296"/>
              <a:gd name="connsiteY42" fmla="*/ 1156445 h 5096778"/>
              <a:gd name="connsiteX43" fmla="*/ 7568995 w 9580296"/>
              <a:gd name="connsiteY43" fmla="*/ 1164957 h 5096778"/>
              <a:gd name="connsiteX44" fmla="*/ 7566479 w 9580296"/>
              <a:gd name="connsiteY44" fmla="*/ 1171547 h 5096778"/>
              <a:gd name="connsiteX45" fmla="*/ 7563245 w 9580296"/>
              <a:gd name="connsiteY45" fmla="*/ 1178961 h 5096778"/>
              <a:gd name="connsiteX46" fmla="*/ 7560010 w 9580296"/>
              <a:gd name="connsiteY46" fmla="*/ 1186375 h 5096778"/>
              <a:gd name="connsiteX47" fmla="*/ 7556417 w 9580296"/>
              <a:gd name="connsiteY47" fmla="*/ 1194064 h 5096778"/>
              <a:gd name="connsiteX48" fmla="*/ 7547791 w 9580296"/>
              <a:gd name="connsiteY48" fmla="*/ 1209990 h 5096778"/>
              <a:gd name="connsiteX49" fmla="*/ 7538447 w 9580296"/>
              <a:gd name="connsiteY49" fmla="*/ 1225916 h 5096778"/>
              <a:gd name="connsiteX50" fmla="*/ 7529103 w 9580296"/>
              <a:gd name="connsiteY50" fmla="*/ 1242391 h 5096778"/>
              <a:gd name="connsiteX51" fmla="*/ 7520118 w 9580296"/>
              <a:gd name="connsiteY51" fmla="*/ 1258042 h 5096778"/>
              <a:gd name="connsiteX52" fmla="*/ 7511133 w 9580296"/>
              <a:gd name="connsiteY52" fmla="*/ 1273144 h 5096778"/>
              <a:gd name="connsiteX53" fmla="*/ 7503586 w 9580296"/>
              <a:gd name="connsiteY53" fmla="*/ 1287148 h 5096778"/>
              <a:gd name="connsiteX54" fmla="*/ 7492086 w 9580296"/>
              <a:gd name="connsiteY54" fmla="*/ 1308291 h 5096778"/>
              <a:gd name="connsiteX55" fmla="*/ 7480226 w 9580296"/>
              <a:gd name="connsiteY55" fmla="*/ 1329984 h 5096778"/>
              <a:gd name="connsiteX56" fmla="*/ 7468007 w 9580296"/>
              <a:gd name="connsiteY56" fmla="*/ 1351951 h 5096778"/>
              <a:gd name="connsiteX57" fmla="*/ 7455068 w 9580296"/>
              <a:gd name="connsiteY57" fmla="*/ 1374192 h 5096778"/>
              <a:gd name="connsiteX58" fmla="*/ 7441771 w 9580296"/>
              <a:gd name="connsiteY58" fmla="*/ 1396983 h 5096778"/>
              <a:gd name="connsiteX59" fmla="*/ 7428833 w 9580296"/>
              <a:gd name="connsiteY59" fmla="*/ 1419773 h 5096778"/>
              <a:gd name="connsiteX60" fmla="*/ 7414817 w 9580296"/>
              <a:gd name="connsiteY60" fmla="*/ 1443113 h 5096778"/>
              <a:gd name="connsiteX61" fmla="*/ 7401160 w 9580296"/>
              <a:gd name="connsiteY61" fmla="*/ 1465904 h 5096778"/>
              <a:gd name="connsiteX62" fmla="*/ 7387144 w 9580296"/>
              <a:gd name="connsiteY62" fmla="*/ 1488969 h 5096778"/>
              <a:gd name="connsiteX63" fmla="*/ 7373128 w 9580296"/>
              <a:gd name="connsiteY63" fmla="*/ 1511485 h 5096778"/>
              <a:gd name="connsiteX64" fmla="*/ 7359111 w 9580296"/>
              <a:gd name="connsiteY64" fmla="*/ 1534276 h 5096778"/>
              <a:gd name="connsiteX65" fmla="*/ 7345814 w 9580296"/>
              <a:gd name="connsiteY65" fmla="*/ 1556517 h 5096778"/>
              <a:gd name="connsiteX66" fmla="*/ 7331798 w 9580296"/>
              <a:gd name="connsiteY66" fmla="*/ 1578210 h 5096778"/>
              <a:gd name="connsiteX67" fmla="*/ 7318141 w 9580296"/>
              <a:gd name="connsiteY67" fmla="*/ 1599353 h 5096778"/>
              <a:gd name="connsiteX68" fmla="*/ 7304484 w 9580296"/>
              <a:gd name="connsiteY68" fmla="*/ 1619947 h 5096778"/>
              <a:gd name="connsiteX69" fmla="*/ 7291546 w 9580296"/>
              <a:gd name="connsiteY69" fmla="*/ 1639717 h 5096778"/>
              <a:gd name="connsiteX70" fmla="*/ 7272498 w 9580296"/>
              <a:gd name="connsiteY70" fmla="*/ 1668274 h 5096778"/>
              <a:gd name="connsiteX71" fmla="*/ 7253091 w 9580296"/>
              <a:gd name="connsiteY71" fmla="*/ 1696831 h 5096778"/>
              <a:gd name="connsiteX72" fmla="*/ 7233684 w 9580296"/>
              <a:gd name="connsiteY72" fmla="*/ 1725662 h 5096778"/>
              <a:gd name="connsiteX73" fmla="*/ 7214277 w 9580296"/>
              <a:gd name="connsiteY73" fmla="*/ 1753945 h 5096778"/>
              <a:gd name="connsiteX74" fmla="*/ 7194511 w 9580296"/>
              <a:gd name="connsiteY74" fmla="*/ 1782227 h 5096778"/>
              <a:gd name="connsiteX75" fmla="*/ 7174744 w 9580296"/>
              <a:gd name="connsiteY75" fmla="*/ 1809960 h 5096778"/>
              <a:gd name="connsiteX76" fmla="*/ 7154618 w 9580296"/>
              <a:gd name="connsiteY76" fmla="*/ 1837968 h 5096778"/>
              <a:gd name="connsiteX77" fmla="*/ 7134493 w 9580296"/>
              <a:gd name="connsiteY77" fmla="*/ 1865976 h 5096778"/>
              <a:gd name="connsiteX78" fmla="*/ 7114007 w 9580296"/>
              <a:gd name="connsiteY78" fmla="*/ 1893709 h 5096778"/>
              <a:gd name="connsiteX79" fmla="*/ 7093522 w 9580296"/>
              <a:gd name="connsiteY79" fmla="*/ 1920893 h 5096778"/>
              <a:gd name="connsiteX80" fmla="*/ 7073037 w 9580296"/>
              <a:gd name="connsiteY80" fmla="*/ 1948077 h 5096778"/>
              <a:gd name="connsiteX81" fmla="*/ 7052552 w 9580296"/>
              <a:gd name="connsiteY81" fmla="*/ 1974987 h 5096778"/>
              <a:gd name="connsiteX82" fmla="*/ 7032067 w 9580296"/>
              <a:gd name="connsiteY82" fmla="*/ 2001622 h 5096778"/>
              <a:gd name="connsiteX83" fmla="*/ 7010863 w 9580296"/>
              <a:gd name="connsiteY83" fmla="*/ 2028257 h 5096778"/>
              <a:gd name="connsiteX84" fmla="*/ 6990018 w 9580296"/>
              <a:gd name="connsiteY84" fmla="*/ 2054617 h 5096778"/>
              <a:gd name="connsiteX85" fmla="*/ 6968455 w 9580296"/>
              <a:gd name="connsiteY85" fmla="*/ 2080153 h 5096778"/>
              <a:gd name="connsiteX86" fmla="*/ 6946532 w 9580296"/>
              <a:gd name="connsiteY86" fmla="*/ 2107063 h 5096778"/>
              <a:gd name="connsiteX87" fmla="*/ 6924609 w 9580296"/>
              <a:gd name="connsiteY87" fmla="*/ 2133698 h 5096778"/>
              <a:gd name="connsiteX88" fmla="*/ 6902686 w 9580296"/>
              <a:gd name="connsiteY88" fmla="*/ 2160058 h 5096778"/>
              <a:gd name="connsiteX89" fmla="*/ 6881123 w 9580296"/>
              <a:gd name="connsiteY89" fmla="*/ 2186418 h 5096778"/>
              <a:gd name="connsiteX90" fmla="*/ 6858841 w 9580296"/>
              <a:gd name="connsiteY90" fmla="*/ 2212504 h 5096778"/>
              <a:gd name="connsiteX91" fmla="*/ 6836918 w 9580296"/>
              <a:gd name="connsiteY91" fmla="*/ 2238590 h 5096778"/>
              <a:gd name="connsiteX92" fmla="*/ 6814636 w 9580296"/>
              <a:gd name="connsiteY92" fmla="*/ 2264675 h 5096778"/>
              <a:gd name="connsiteX93" fmla="*/ 6791635 w 9580296"/>
              <a:gd name="connsiteY93" fmla="*/ 2290486 h 5096778"/>
              <a:gd name="connsiteX94" fmla="*/ 6767915 w 9580296"/>
              <a:gd name="connsiteY94" fmla="*/ 2317670 h 5096778"/>
              <a:gd name="connsiteX95" fmla="*/ 6743836 w 9580296"/>
              <a:gd name="connsiteY95" fmla="*/ 2344305 h 5096778"/>
              <a:gd name="connsiteX96" fmla="*/ 6720475 w 9580296"/>
              <a:gd name="connsiteY96" fmla="*/ 2370391 h 5096778"/>
              <a:gd name="connsiteX97" fmla="*/ 6697115 w 9580296"/>
              <a:gd name="connsiteY97" fmla="*/ 2395378 h 5096778"/>
              <a:gd name="connsiteX98" fmla="*/ 6674114 w 9580296"/>
              <a:gd name="connsiteY98" fmla="*/ 2420366 h 5096778"/>
              <a:gd name="connsiteX99" fmla="*/ 6651113 w 9580296"/>
              <a:gd name="connsiteY99" fmla="*/ 2444529 h 5096778"/>
              <a:gd name="connsiteX100" fmla="*/ 6628471 w 9580296"/>
              <a:gd name="connsiteY100" fmla="*/ 2468693 h 5096778"/>
              <a:gd name="connsiteX101" fmla="*/ 6605470 w 9580296"/>
              <a:gd name="connsiteY101" fmla="*/ 2492582 h 5096778"/>
              <a:gd name="connsiteX102" fmla="*/ 6582829 w 9580296"/>
              <a:gd name="connsiteY102" fmla="*/ 2516196 h 5096778"/>
              <a:gd name="connsiteX103" fmla="*/ 6559828 w 9580296"/>
              <a:gd name="connsiteY103" fmla="*/ 2539811 h 5096778"/>
              <a:gd name="connsiteX104" fmla="*/ 6536468 w 9580296"/>
              <a:gd name="connsiteY104" fmla="*/ 2563700 h 5096778"/>
              <a:gd name="connsiteX105" fmla="*/ 6513107 w 9580296"/>
              <a:gd name="connsiteY105" fmla="*/ 2587589 h 5096778"/>
              <a:gd name="connsiteX106" fmla="*/ 6489387 w 9580296"/>
              <a:gd name="connsiteY106" fmla="*/ 2612027 h 5096778"/>
              <a:gd name="connsiteX107" fmla="*/ 6465668 w 9580296"/>
              <a:gd name="connsiteY107" fmla="*/ 2636465 h 5096778"/>
              <a:gd name="connsiteX108" fmla="*/ 6440870 w 9580296"/>
              <a:gd name="connsiteY108" fmla="*/ 2661452 h 5096778"/>
              <a:gd name="connsiteX109" fmla="*/ 6416072 w 9580296"/>
              <a:gd name="connsiteY109" fmla="*/ 2687264 h 5096778"/>
              <a:gd name="connsiteX110" fmla="*/ 6392352 w 9580296"/>
              <a:gd name="connsiteY110" fmla="*/ 2711153 h 5096778"/>
              <a:gd name="connsiteX111" fmla="*/ 6367554 w 9580296"/>
              <a:gd name="connsiteY111" fmla="*/ 2735316 h 5096778"/>
              <a:gd name="connsiteX112" fmla="*/ 6342038 w 9580296"/>
              <a:gd name="connsiteY112" fmla="*/ 2759480 h 5096778"/>
              <a:gd name="connsiteX113" fmla="*/ 6316521 w 9580296"/>
              <a:gd name="connsiteY113" fmla="*/ 2783369 h 5096778"/>
              <a:gd name="connsiteX114" fmla="*/ 6291364 w 9580296"/>
              <a:gd name="connsiteY114" fmla="*/ 2806983 h 5096778"/>
              <a:gd name="connsiteX115" fmla="*/ 6265847 w 9580296"/>
              <a:gd name="connsiteY115" fmla="*/ 2830598 h 5096778"/>
              <a:gd name="connsiteX116" fmla="*/ 6241049 w 9580296"/>
              <a:gd name="connsiteY116" fmla="*/ 2854212 h 5096778"/>
              <a:gd name="connsiteX117" fmla="*/ 6217689 w 9580296"/>
              <a:gd name="connsiteY117" fmla="*/ 2877003 h 5096778"/>
              <a:gd name="connsiteX118" fmla="*/ 5690823 w 9580296"/>
              <a:gd name="connsiteY118" fmla="*/ 3334463 h 5096778"/>
              <a:gd name="connsiteX119" fmla="*/ 5679681 w 9580296"/>
              <a:gd name="connsiteY119" fmla="*/ 3343250 h 5096778"/>
              <a:gd name="connsiteX120" fmla="*/ 5668181 w 9580296"/>
              <a:gd name="connsiteY120" fmla="*/ 3351762 h 5096778"/>
              <a:gd name="connsiteX121" fmla="*/ 5656681 w 9580296"/>
              <a:gd name="connsiteY121" fmla="*/ 3359725 h 5096778"/>
              <a:gd name="connsiteX122" fmla="*/ 5645180 w 9580296"/>
              <a:gd name="connsiteY122" fmla="*/ 3367414 h 5096778"/>
              <a:gd name="connsiteX123" fmla="*/ 5633680 w 9580296"/>
              <a:gd name="connsiteY123" fmla="*/ 3375102 h 5096778"/>
              <a:gd name="connsiteX124" fmla="*/ 5622538 w 9580296"/>
              <a:gd name="connsiteY124" fmla="*/ 3382241 h 5096778"/>
              <a:gd name="connsiteX125" fmla="*/ 5611757 w 9580296"/>
              <a:gd name="connsiteY125" fmla="*/ 3389381 h 5096778"/>
              <a:gd name="connsiteX126" fmla="*/ 5602053 w 9580296"/>
              <a:gd name="connsiteY126" fmla="*/ 3397069 h 5096778"/>
              <a:gd name="connsiteX127" fmla="*/ 5573661 w 9580296"/>
              <a:gd name="connsiteY127" fmla="*/ 3419036 h 5096778"/>
              <a:gd name="connsiteX128" fmla="*/ 5542394 w 9580296"/>
              <a:gd name="connsiteY128" fmla="*/ 3442650 h 5096778"/>
              <a:gd name="connsiteX129" fmla="*/ 5509331 w 9580296"/>
              <a:gd name="connsiteY129" fmla="*/ 3467089 h 5096778"/>
              <a:gd name="connsiteX130" fmla="*/ 5474829 w 9580296"/>
              <a:gd name="connsiteY130" fmla="*/ 3491527 h 5096778"/>
              <a:gd name="connsiteX131" fmla="*/ 5439968 w 9580296"/>
              <a:gd name="connsiteY131" fmla="*/ 3516240 h 5096778"/>
              <a:gd name="connsiteX132" fmla="*/ 5405467 w 9580296"/>
              <a:gd name="connsiteY132" fmla="*/ 3539305 h 5096778"/>
              <a:gd name="connsiteX133" fmla="*/ 5388575 w 9580296"/>
              <a:gd name="connsiteY133" fmla="*/ 3550563 h 5096778"/>
              <a:gd name="connsiteX134" fmla="*/ 5371684 w 9580296"/>
              <a:gd name="connsiteY134" fmla="*/ 3561272 h 5096778"/>
              <a:gd name="connsiteX135" fmla="*/ 5355512 w 9580296"/>
              <a:gd name="connsiteY135" fmla="*/ 3571706 h 5096778"/>
              <a:gd name="connsiteX136" fmla="*/ 5340417 w 9580296"/>
              <a:gd name="connsiteY136" fmla="*/ 3581042 h 5096778"/>
              <a:gd name="connsiteX137" fmla="*/ 5304478 w 9580296"/>
              <a:gd name="connsiteY137" fmla="*/ 3603283 h 5096778"/>
              <a:gd name="connsiteX138" fmla="*/ 5272492 w 9580296"/>
              <a:gd name="connsiteY138" fmla="*/ 3622779 h 5096778"/>
              <a:gd name="connsiteX139" fmla="*/ 5257398 w 9580296"/>
              <a:gd name="connsiteY139" fmla="*/ 3631840 h 5096778"/>
              <a:gd name="connsiteX140" fmla="*/ 5242304 w 9580296"/>
              <a:gd name="connsiteY140" fmla="*/ 3640353 h 5096778"/>
              <a:gd name="connsiteX141" fmla="*/ 5227569 w 9580296"/>
              <a:gd name="connsiteY141" fmla="*/ 3648590 h 5096778"/>
              <a:gd name="connsiteX142" fmla="*/ 5213193 w 9580296"/>
              <a:gd name="connsiteY142" fmla="*/ 3656828 h 5096778"/>
              <a:gd name="connsiteX143" fmla="*/ 5198099 w 9580296"/>
              <a:gd name="connsiteY143" fmla="*/ 3664791 h 5096778"/>
              <a:gd name="connsiteX144" fmla="*/ 5182645 w 9580296"/>
              <a:gd name="connsiteY144" fmla="*/ 3672479 h 5096778"/>
              <a:gd name="connsiteX145" fmla="*/ 5167191 w 9580296"/>
              <a:gd name="connsiteY145" fmla="*/ 3680442 h 5096778"/>
              <a:gd name="connsiteX146" fmla="*/ 5150659 w 9580296"/>
              <a:gd name="connsiteY146" fmla="*/ 3688405 h 5096778"/>
              <a:gd name="connsiteX147" fmla="*/ 5133409 w 9580296"/>
              <a:gd name="connsiteY147" fmla="*/ 3696368 h 5096778"/>
              <a:gd name="connsiteX148" fmla="*/ 5115080 w 9580296"/>
              <a:gd name="connsiteY148" fmla="*/ 3704880 h 5096778"/>
              <a:gd name="connsiteX149" fmla="*/ 5094954 w 9580296"/>
              <a:gd name="connsiteY149" fmla="*/ 3713667 h 5096778"/>
              <a:gd name="connsiteX150" fmla="*/ 5073750 w 9580296"/>
              <a:gd name="connsiteY150" fmla="*/ 3723003 h 5096778"/>
              <a:gd name="connsiteX151" fmla="*/ 5059734 w 9580296"/>
              <a:gd name="connsiteY151" fmla="*/ 3728769 h 5096778"/>
              <a:gd name="connsiteX152" fmla="*/ 5042842 w 9580296"/>
              <a:gd name="connsiteY152" fmla="*/ 3734810 h 5096778"/>
              <a:gd name="connsiteX153" fmla="*/ 5024513 w 9580296"/>
              <a:gd name="connsiteY153" fmla="*/ 3741675 h 5096778"/>
              <a:gd name="connsiteX154" fmla="*/ 5004028 w 9580296"/>
              <a:gd name="connsiteY154" fmla="*/ 3748540 h 5096778"/>
              <a:gd name="connsiteX155" fmla="*/ 4982105 w 9580296"/>
              <a:gd name="connsiteY155" fmla="*/ 3755679 h 5096778"/>
              <a:gd name="connsiteX156" fmla="*/ 4958745 w 9580296"/>
              <a:gd name="connsiteY156" fmla="*/ 3762818 h 5096778"/>
              <a:gd name="connsiteX157" fmla="*/ 4934306 w 9580296"/>
              <a:gd name="connsiteY157" fmla="*/ 3769408 h 5096778"/>
              <a:gd name="connsiteX158" fmla="*/ 4909868 w 9580296"/>
              <a:gd name="connsiteY158" fmla="*/ 3775998 h 5096778"/>
              <a:gd name="connsiteX159" fmla="*/ 4884711 w 9580296"/>
              <a:gd name="connsiteY159" fmla="*/ 3782039 h 5096778"/>
              <a:gd name="connsiteX160" fmla="*/ 4859553 w 9580296"/>
              <a:gd name="connsiteY160" fmla="*/ 3787531 h 5096778"/>
              <a:gd name="connsiteX161" fmla="*/ 4847334 w 9580296"/>
              <a:gd name="connsiteY161" fmla="*/ 3789727 h 5096778"/>
              <a:gd name="connsiteX162" fmla="*/ 4834755 w 9580296"/>
              <a:gd name="connsiteY162" fmla="*/ 3791924 h 5096778"/>
              <a:gd name="connsiteX163" fmla="*/ 4822536 w 9580296"/>
              <a:gd name="connsiteY163" fmla="*/ 3794121 h 5096778"/>
              <a:gd name="connsiteX164" fmla="*/ 4810676 w 9580296"/>
              <a:gd name="connsiteY164" fmla="*/ 3795768 h 5096778"/>
              <a:gd name="connsiteX165" fmla="*/ 4799176 w 9580296"/>
              <a:gd name="connsiteY165" fmla="*/ 3797416 h 5096778"/>
              <a:gd name="connsiteX166" fmla="*/ 4787675 w 9580296"/>
              <a:gd name="connsiteY166" fmla="*/ 3798514 h 5096778"/>
              <a:gd name="connsiteX167" fmla="*/ 4776534 w 9580296"/>
              <a:gd name="connsiteY167" fmla="*/ 3799338 h 5096778"/>
              <a:gd name="connsiteX168" fmla="*/ 4765752 w 9580296"/>
              <a:gd name="connsiteY168" fmla="*/ 3799887 h 5096778"/>
              <a:gd name="connsiteX169" fmla="*/ 4755330 w 9580296"/>
              <a:gd name="connsiteY169" fmla="*/ 3800162 h 5096778"/>
              <a:gd name="connsiteX170" fmla="*/ 4745267 w 9580296"/>
              <a:gd name="connsiteY170" fmla="*/ 3800162 h 5096778"/>
              <a:gd name="connsiteX171" fmla="*/ 4735923 w 9580296"/>
              <a:gd name="connsiteY171" fmla="*/ 3799613 h 5096778"/>
              <a:gd name="connsiteX172" fmla="*/ 4726938 w 9580296"/>
              <a:gd name="connsiteY172" fmla="*/ 3798514 h 5096778"/>
              <a:gd name="connsiteX173" fmla="*/ 4706453 w 9580296"/>
              <a:gd name="connsiteY173" fmla="*/ 3795768 h 5096778"/>
              <a:gd name="connsiteX174" fmla="*/ 4686687 w 9580296"/>
              <a:gd name="connsiteY174" fmla="*/ 3792748 h 5096778"/>
              <a:gd name="connsiteX175" fmla="*/ 4666920 w 9580296"/>
              <a:gd name="connsiteY175" fmla="*/ 3789453 h 5096778"/>
              <a:gd name="connsiteX176" fmla="*/ 4648232 w 9580296"/>
              <a:gd name="connsiteY176" fmla="*/ 3785609 h 5096778"/>
              <a:gd name="connsiteX177" fmla="*/ 4629184 w 9580296"/>
              <a:gd name="connsiteY177" fmla="*/ 3782039 h 5096778"/>
              <a:gd name="connsiteX178" fmla="*/ 4610855 w 9580296"/>
              <a:gd name="connsiteY178" fmla="*/ 3777920 h 5096778"/>
              <a:gd name="connsiteX179" fmla="*/ 4592526 w 9580296"/>
              <a:gd name="connsiteY179" fmla="*/ 3773527 h 5096778"/>
              <a:gd name="connsiteX180" fmla="*/ 4574916 w 9580296"/>
              <a:gd name="connsiteY180" fmla="*/ 3768859 h 5096778"/>
              <a:gd name="connsiteX181" fmla="*/ 4557666 w 9580296"/>
              <a:gd name="connsiteY181" fmla="*/ 3763916 h 5096778"/>
              <a:gd name="connsiteX182" fmla="*/ 4540415 w 9580296"/>
              <a:gd name="connsiteY182" fmla="*/ 3758699 h 5096778"/>
              <a:gd name="connsiteX183" fmla="*/ 4523523 w 9580296"/>
              <a:gd name="connsiteY183" fmla="*/ 3753482 h 5096778"/>
              <a:gd name="connsiteX184" fmla="*/ 4506992 w 9580296"/>
              <a:gd name="connsiteY184" fmla="*/ 3747990 h 5096778"/>
              <a:gd name="connsiteX185" fmla="*/ 4490460 w 9580296"/>
              <a:gd name="connsiteY185" fmla="*/ 3741949 h 5096778"/>
              <a:gd name="connsiteX186" fmla="*/ 4474287 w 9580296"/>
              <a:gd name="connsiteY186" fmla="*/ 3736183 h 5096778"/>
              <a:gd name="connsiteX187" fmla="*/ 4458474 w 9580296"/>
              <a:gd name="connsiteY187" fmla="*/ 3729868 h 5096778"/>
              <a:gd name="connsiteX188" fmla="*/ 4442661 w 9580296"/>
              <a:gd name="connsiteY188" fmla="*/ 3723552 h 5096778"/>
              <a:gd name="connsiteX189" fmla="*/ 4426848 w 9580296"/>
              <a:gd name="connsiteY189" fmla="*/ 3716962 h 5096778"/>
              <a:gd name="connsiteX190" fmla="*/ 4411753 w 9580296"/>
              <a:gd name="connsiteY190" fmla="*/ 3710097 h 5096778"/>
              <a:gd name="connsiteX191" fmla="*/ 4396299 w 9580296"/>
              <a:gd name="connsiteY191" fmla="*/ 3702958 h 5096778"/>
              <a:gd name="connsiteX192" fmla="*/ 4381205 w 9580296"/>
              <a:gd name="connsiteY192" fmla="*/ 3695819 h 5096778"/>
              <a:gd name="connsiteX193" fmla="*/ 4366470 w 9580296"/>
              <a:gd name="connsiteY193" fmla="*/ 3688680 h 5096778"/>
              <a:gd name="connsiteX194" fmla="*/ 4351376 w 9580296"/>
              <a:gd name="connsiteY194" fmla="*/ 3680991 h 5096778"/>
              <a:gd name="connsiteX195" fmla="*/ 4336281 w 9580296"/>
              <a:gd name="connsiteY195" fmla="*/ 3673577 h 5096778"/>
              <a:gd name="connsiteX196" fmla="*/ 4321546 w 9580296"/>
              <a:gd name="connsiteY196" fmla="*/ 3665614 h 5096778"/>
              <a:gd name="connsiteX197" fmla="*/ 4292436 w 9580296"/>
              <a:gd name="connsiteY197" fmla="*/ 3649963 h 5096778"/>
              <a:gd name="connsiteX198" fmla="*/ 4262606 w 9580296"/>
              <a:gd name="connsiteY198" fmla="*/ 3633213 h 5096778"/>
              <a:gd name="connsiteX199" fmla="*/ 4233496 w 9580296"/>
              <a:gd name="connsiteY199" fmla="*/ 3616464 h 5096778"/>
              <a:gd name="connsiteX200" fmla="*/ 4204026 w 9580296"/>
              <a:gd name="connsiteY200" fmla="*/ 3599165 h 5096778"/>
              <a:gd name="connsiteX201" fmla="*/ 4188213 w 9580296"/>
              <a:gd name="connsiteY201" fmla="*/ 3589554 h 5096778"/>
              <a:gd name="connsiteX202" fmla="*/ 4173118 w 9580296"/>
              <a:gd name="connsiteY202" fmla="*/ 3580218 h 5096778"/>
              <a:gd name="connsiteX203" fmla="*/ 4165571 w 9580296"/>
              <a:gd name="connsiteY203" fmla="*/ 3575276 h 5096778"/>
              <a:gd name="connsiteX204" fmla="*/ 4158743 w 9580296"/>
              <a:gd name="connsiteY204" fmla="*/ 3570058 h 5096778"/>
              <a:gd name="connsiteX205" fmla="*/ 4151555 w 9580296"/>
              <a:gd name="connsiteY205" fmla="*/ 3564841 h 5096778"/>
              <a:gd name="connsiteX206" fmla="*/ 4145086 w 9580296"/>
              <a:gd name="connsiteY206" fmla="*/ 3559075 h 5096778"/>
              <a:gd name="connsiteX207" fmla="*/ 4139335 w 9580296"/>
              <a:gd name="connsiteY207" fmla="*/ 3556055 h 5096778"/>
              <a:gd name="connsiteX208" fmla="*/ 4129273 w 9580296"/>
              <a:gd name="connsiteY208" fmla="*/ 3549190 h 5096778"/>
              <a:gd name="connsiteX209" fmla="*/ 4115256 w 9580296"/>
              <a:gd name="connsiteY209" fmla="*/ 3539579 h 5096778"/>
              <a:gd name="connsiteX210" fmla="*/ 4098006 w 9580296"/>
              <a:gd name="connsiteY210" fmla="*/ 3527223 h 5096778"/>
              <a:gd name="connsiteX211" fmla="*/ 4077880 w 9580296"/>
              <a:gd name="connsiteY211" fmla="*/ 3512945 h 5096778"/>
              <a:gd name="connsiteX212" fmla="*/ 4055598 w 9580296"/>
              <a:gd name="connsiteY212" fmla="*/ 3497019 h 5096778"/>
              <a:gd name="connsiteX213" fmla="*/ 4031878 w 9580296"/>
              <a:gd name="connsiteY213" fmla="*/ 3479720 h 5096778"/>
              <a:gd name="connsiteX214" fmla="*/ 4007799 w 9580296"/>
              <a:gd name="connsiteY214" fmla="*/ 3461871 h 5096778"/>
              <a:gd name="connsiteX215" fmla="*/ 3983360 w 9580296"/>
              <a:gd name="connsiteY215" fmla="*/ 3443749 h 5096778"/>
              <a:gd name="connsiteX216" fmla="*/ 3959281 w 9580296"/>
              <a:gd name="connsiteY216" fmla="*/ 3425626 h 5096778"/>
              <a:gd name="connsiteX217" fmla="*/ 3935921 w 9580296"/>
              <a:gd name="connsiteY217" fmla="*/ 3408327 h 5096778"/>
              <a:gd name="connsiteX218" fmla="*/ 3914357 w 9580296"/>
              <a:gd name="connsiteY218" fmla="*/ 3392401 h 5096778"/>
              <a:gd name="connsiteX219" fmla="*/ 3894950 w 9580296"/>
              <a:gd name="connsiteY219" fmla="*/ 3377574 h 5096778"/>
              <a:gd name="connsiteX220" fmla="*/ 3878059 w 9580296"/>
              <a:gd name="connsiteY220" fmla="*/ 3364668 h 5096778"/>
              <a:gd name="connsiteX221" fmla="*/ 3864762 w 9580296"/>
              <a:gd name="connsiteY221" fmla="*/ 3354508 h 5096778"/>
              <a:gd name="connsiteX222" fmla="*/ 3855777 w 9580296"/>
              <a:gd name="connsiteY222" fmla="*/ 3347094 h 5096778"/>
              <a:gd name="connsiteX223" fmla="*/ 3844276 w 9580296"/>
              <a:gd name="connsiteY223" fmla="*/ 3338033 h 5096778"/>
              <a:gd name="connsiteX224" fmla="*/ 3832416 w 9580296"/>
              <a:gd name="connsiteY224" fmla="*/ 3328972 h 5096778"/>
              <a:gd name="connsiteX225" fmla="*/ 3821635 w 9580296"/>
              <a:gd name="connsiteY225" fmla="*/ 3320185 h 5096778"/>
              <a:gd name="connsiteX226" fmla="*/ 3810494 w 9580296"/>
              <a:gd name="connsiteY226" fmla="*/ 3311398 h 5096778"/>
              <a:gd name="connsiteX227" fmla="*/ 3799353 w 9580296"/>
              <a:gd name="connsiteY227" fmla="*/ 3302611 h 5096778"/>
              <a:gd name="connsiteX228" fmla="*/ 3787852 w 9580296"/>
              <a:gd name="connsiteY228" fmla="*/ 3293550 h 5096778"/>
              <a:gd name="connsiteX229" fmla="*/ 3776352 w 9580296"/>
              <a:gd name="connsiteY229" fmla="*/ 3284763 h 5096778"/>
              <a:gd name="connsiteX230" fmla="*/ 3764132 w 9580296"/>
              <a:gd name="connsiteY230" fmla="*/ 3275702 h 5096778"/>
              <a:gd name="connsiteX231" fmla="*/ 3696926 w 9580296"/>
              <a:gd name="connsiteY231" fmla="*/ 3218039 h 5096778"/>
              <a:gd name="connsiteX232" fmla="*/ 3689739 w 9580296"/>
              <a:gd name="connsiteY232" fmla="*/ 3212273 h 5096778"/>
              <a:gd name="connsiteX233" fmla="*/ 3685066 w 9580296"/>
              <a:gd name="connsiteY233" fmla="*/ 3208428 h 5096778"/>
              <a:gd name="connsiteX234" fmla="*/ 3680754 w 9580296"/>
              <a:gd name="connsiteY234" fmla="*/ 3205133 h 5096778"/>
              <a:gd name="connsiteX235" fmla="*/ 3675004 w 9580296"/>
              <a:gd name="connsiteY235" fmla="*/ 3199367 h 5096778"/>
              <a:gd name="connsiteX236" fmla="*/ 3664222 w 9580296"/>
              <a:gd name="connsiteY236" fmla="*/ 3189482 h 5096778"/>
              <a:gd name="connsiteX237" fmla="*/ 3650924 w 9580296"/>
              <a:gd name="connsiteY237" fmla="*/ 3176851 h 5096778"/>
              <a:gd name="connsiteX238" fmla="*/ 3635111 w 9580296"/>
              <a:gd name="connsiteY238" fmla="*/ 3162847 h 5096778"/>
              <a:gd name="connsiteX239" fmla="*/ 3617501 w 9580296"/>
              <a:gd name="connsiteY239" fmla="*/ 3147470 h 5096778"/>
              <a:gd name="connsiteX240" fmla="*/ 3598094 w 9580296"/>
              <a:gd name="connsiteY240" fmla="*/ 3130995 h 5096778"/>
              <a:gd name="connsiteX241" fmla="*/ 3578328 w 9580296"/>
              <a:gd name="connsiteY241" fmla="*/ 3113696 h 5096778"/>
              <a:gd name="connsiteX242" fmla="*/ 3557842 w 9580296"/>
              <a:gd name="connsiteY242" fmla="*/ 3095848 h 5096778"/>
              <a:gd name="connsiteX243" fmla="*/ 3536998 w 9580296"/>
              <a:gd name="connsiteY243" fmla="*/ 3077725 h 5096778"/>
              <a:gd name="connsiteX244" fmla="*/ 3516872 w 9580296"/>
              <a:gd name="connsiteY244" fmla="*/ 3059877 h 5096778"/>
              <a:gd name="connsiteX245" fmla="*/ 3497105 w 9580296"/>
              <a:gd name="connsiteY245" fmla="*/ 3042853 h 5096778"/>
              <a:gd name="connsiteX246" fmla="*/ 3478777 w 9580296"/>
              <a:gd name="connsiteY246" fmla="*/ 3026378 h 5096778"/>
              <a:gd name="connsiteX247" fmla="*/ 3461885 w 9580296"/>
              <a:gd name="connsiteY247" fmla="*/ 3011275 h 5096778"/>
              <a:gd name="connsiteX248" fmla="*/ 3447150 w 9580296"/>
              <a:gd name="connsiteY248" fmla="*/ 2997271 h 5096778"/>
              <a:gd name="connsiteX249" fmla="*/ 3435290 w 9580296"/>
              <a:gd name="connsiteY249" fmla="*/ 2985464 h 5096778"/>
              <a:gd name="connsiteX250" fmla="*/ 3430259 w 9580296"/>
              <a:gd name="connsiteY250" fmla="*/ 2980522 h 5096778"/>
              <a:gd name="connsiteX251" fmla="*/ 3425946 w 9580296"/>
              <a:gd name="connsiteY251" fmla="*/ 2975854 h 5096778"/>
              <a:gd name="connsiteX252" fmla="*/ 3422712 w 9580296"/>
              <a:gd name="connsiteY252" fmla="*/ 2971735 h 5096778"/>
              <a:gd name="connsiteX253" fmla="*/ 3420196 w 9580296"/>
              <a:gd name="connsiteY253" fmla="*/ 2968165 h 5096778"/>
              <a:gd name="connsiteX254" fmla="*/ 3415883 w 9580296"/>
              <a:gd name="connsiteY254" fmla="*/ 2965145 h 5096778"/>
              <a:gd name="connsiteX255" fmla="*/ 3409414 w 9580296"/>
              <a:gd name="connsiteY255" fmla="*/ 2959928 h 5096778"/>
              <a:gd name="connsiteX256" fmla="*/ 3401508 w 9580296"/>
              <a:gd name="connsiteY256" fmla="*/ 2953063 h 5096778"/>
              <a:gd name="connsiteX257" fmla="*/ 3392164 w 9580296"/>
              <a:gd name="connsiteY257" fmla="*/ 2944551 h 5096778"/>
              <a:gd name="connsiteX258" fmla="*/ 3369163 w 9580296"/>
              <a:gd name="connsiteY258" fmla="*/ 2923133 h 5096778"/>
              <a:gd name="connsiteX259" fmla="*/ 3341130 w 9580296"/>
              <a:gd name="connsiteY259" fmla="*/ 2896773 h 5096778"/>
              <a:gd name="connsiteX260" fmla="*/ 3309504 w 9580296"/>
              <a:gd name="connsiteY260" fmla="*/ 2866294 h 5096778"/>
              <a:gd name="connsiteX261" fmla="*/ 3275002 w 9580296"/>
              <a:gd name="connsiteY261" fmla="*/ 2833069 h 5096778"/>
              <a:gd name="connsiteX262" fmla="*/ 3238704 w 9580296"/>
              <a:gd name="connsiteY262" fmla="*/ 2797647 h 5096778"/>
              <a:gd name="connsiteX263" fmla="*/ 3201687 w 9580296"/>
              <a:gd name="connsiteY263" fmla="*/ 2761127 h 5096778"/>
              <a:gd name="connsiteX264" fmla="*/ 3165029 w 9580296"/>
              <a:gd name="connsiteY264" fmla="*/ 2724607 h 5096778"/>
              <a:gd name="connsiteX265" fmla="*/ 3129449 w 9580296"/>
              <a:gd name="connsiteY265" fmla="*/ 2688911 h 5096778"/>
              <a:gd name="connsiteX266" fmla="*/ 3095667 w 9580296"/>
              <a:gd name="connsiteY266" fmla="*/ 2655137 h 5096778"/>
              <a:gd name="connsiteX267" fmla="*/ 3065119 w 9580296"/>
              <a:gd name="connsiteY267" fmla="*/ 2624109 h 5096778"/>
              <a:gd name="connsiteX268" fmla="*/ 3039242 w 9580296"/>
              <a:gd name="connsiteY268" fmla="*/ 2597199 h 5096778"/>
              <a:gd name="connsiteX269" fmla="*/ 3018398 w 9580296"/>
              <a:gd name="connsiteY269" fmla="*/ 2574683 h 5096778"/>
              <a:gd name="connsiteX270" fmla="*/ 3009772 w 9580296"/>
              <a:gd name="connsiteY270" fmla="*/ 2565622 h 5096778"/>
              <a:gd name="connsiteX271" fmla="*/ 3002944 w 9580296"/>
              <a:gd name="connsiteY271" fmla="*/ 2558208 h 5096778"/>
              <a:gd name="connsiteX272" fmla="*/ 2998631 w 9580296"/>
              <a:gd name="connsiteY272" fmla="*/ 2552442 h 5096778"/>
              <a:gd name="connsiteX273" fmla="*/ 2995397 w 9580296"/>
              <a:gd name="connsiteY273" fmla="*/ 2548323 h 5096778"/>
              <a:gd name="connsiteX274" fmla="*/ 2985693 w 9580296"/>
              <a:gd name="connsiteY274" fmla="*/ 2539262 h 5096778"/>
              <a:gd name="connsiteX275" fmla="*/ 2971677 w 9580296"/>
              <a:gd name="connsiteY275" fmla="*/ 2524983 h 5096778"/>
              <a:gd name="connsiteX276" fmla="*/ 2954067 w 9580296"/>
              <a:gd name="connsiteY276" fmla="*/ 2506311 h 5096778"/>
              <a:gd name="connsiteX277" fmla="*/ 2933582 w 9580296"/>
              <a:gd name="connsiteY277" fmla="*/ 2484344 h 5096778"/>
              <a:gd name="connsiteX278" fmla="*/ 2910581 w 9580296"/>
              <a:gd name="connsiteY278" fmla="*/ 2459082 h 5096778"/>
              <a:gd name="connsiteX279" fmla="*/ 2885783 w 9580296"/>
              <a:gd name="connsiteY279" fmla="*/ 2432448 h 5096778"/>
              <a:gd name="connsiteX280" fmla="*/ 2860266 w 9580296"/>
              <a:gd name="connsiteY280" fmla="*/ 2403891 h 5096778"/>
              <a:gd name="connsiteX281" fmla="*/ 2834390 w 9580296"/>
              <a:gd name="connsiteY281" fmla="*/ 2375059 h 5096778"/>
              <a:gd name="connsiteX282" fmla="*/ 2808514 w 9580296"/>
              <a:gd name="connsiteY282" fmla="*/ 2345953 h 5096778"/>
              <a:gd name="connsiteX283" fmla="*/ 2783716 w 9580296"/>
              <a:gd name="connsiteY283" fmla="*/ 2317670 h 5096778"/>
              <a:gd name="connsiteX284" fmla="*/ 2760356 w 9580296"/>
              <a:gd name="connsiteY284" fmla="*/ 2291036 h 5096778"/>
              <a:gd name="connsiteX285" fmla="*/ 2739511 w 9580296"/>
              <a:gd name="connsiteY285" fmla="*/ 2266597 h 5096778"/>
              <a:gd name="connsiteX286" fmla="*/ 2721901 w 9580296"/>
              <a:gd name="connsiteY286" fmla="*/ 2245180 h 5096778"/>
              <a:gd name="connsiteX287" fmla="*/ 2707166 w 9580296"/>
              <a:gd name="connsiteY287" fmla="*/ 2227332 h 5096778"/>
              <a:gd name="connsiteX288" fmla="*/ 2701416 w 9580296"/>
              <a:gd name="connsiteY288" fmla="*/ 2219643 h 5096778"/>
              <a:gd name="connsiteX289" fmla="*/ 2697103 w 9580296"/>
              <a:gd name="connsiteY289" fmla="*/ 2213877 h 5096778"/>
              <a:gd name="connsiteX290" fmla="*/ 2693869 w 9580296"/>
              <a:gd name="connsiteY290" fmla="*/ 2208660 h 5096778"/>
              <a:gd name="connsiteX291" fmla="*/ 2691712 w 9580296"/>
              <a:gd name="connsiteY291" fmla="*/ 2205365 h 5096778"/>
              <a:gd name="connsiteX292" fmla="*/ 2688118 w 9580296"/>
              <a:gd name="connsiteY292" fmla="*/ 2202619 h 5096778"/>
              <a:gd name="connsiteX293" fmla="*/ 2683087 w 9580296"/>
              <a:gd name="connsiteY293" fmla="*/ 2197402 h 5096778"/>
              <a:gd name="connsiteX294" fmla="*/ 2676977 w 9580296"/>
              <a:gd name="connsiteY294" fmla="*/ 2190537 h 5096778"/>
              <a:gd name="connsiteX295" fmla="*/ 2669071 w 9580296"/>
              <a:gd name="connsiteY295" fmla="*/ 2181750 h 5096778"/>
              <a:gd name="connsiteX296" fmla="*/ 2650742 w 9580296"/>
              <a:gd name="connsiteY296" fmla="*/ 2159509 h 5096778"/>
              <a:gd name="connsiteX297" fmla="*/ 2627381 w 9580296"/>
              <a:gd name="connsiteY297" fmla="*/ 2131226 h 5096778"/>
              <a:gd name="connsiteX298" fmla="*/ 2601146 w 9580296"/>
              <a:gd name="connsiteY298" fmla="*/ 2098276 h 5096778"/>
              <a:gd name="connsiteX299" fmla="*/ 2572754 w 9580296"/>
              <a:gd name="connsiteY299" fmla="*/ 2061756 h 5096778"/>
              <a:gd name="connsiteX300" fmla="*/ 2542925 w 9580296"/>
              <a:gd name="connsiteY300" fmla="*/ 2022765 h 5096778"/>
              <a:gd name="connsiteX301" fmla="*/ 2511658 w 9580296"/>
              <a:gd name="connsiteY301" fmla="*/ 1981851 h 5096778"/>
              <a:gd name="connsiteX302" fmla="*/ 2480750 w 9580296"/>
              <a:gd name="connsiteY302" fmla="*/ 1940664 h 5096778"/>
              <a:gd name="connsiteX303" fmla="*/ 2450202 w 9580296"/>
              <a:gd name="connsiteY303" fmla="*/ 1900299 h 5096778"/>
              <a:gd name="connsiteX304" fmla="*/ 2421810 w 9580296"/>
              <a:gd name="connsiteY304" fmla="*/ 1861308 h 5096778"/>
              <a:gd name="connsiteX305" fmla="*/ 2395575 w 9580296"/>
              <a:gd name="connsiteY305" fmla="*/ 1825063 h 5096778"/>
              <a:gd name="connsiteX306" fmla="*/ 2372214 w 9580296"/>
              <a:gd name="connsiteY306" fmla="*/ 1792387 h 5096778"/>
              <a:gd name="connsiteX307" fmla="*/ 2353167 w 9580296"/>
              <a:gd name="connsiteY307" fmla="*/ 1764928 h 5096778"/>
              <a:gd name="connsiteX308" fmla="*/ 2344901 w 9580296"/>
              <a:gd name="connsiteY308" fmla="*/ 1753121 h 5096778"/>
              <a:gd name="connsiteX309" fmla="*/ 2338791 w 9580296"/>
              <a:gd name="connsiteY309" fmla="*/ 1743236 h 5096778"/>
              <a:gd name="connsiteX310" fmla="*/ 2333400 w 9580296"/>
              <a:gd name="connsiteY310" fmla="*/ 1734724 h 5096778"/>
              <a:gd name="connsiteX311" fmla="*/ 2329806 w 9580296"/>
              <a:gd name="connsiteY311" fmla="*/ 1728134 h 5096778"/>
              <a:gd name="connsiteX312" fmla="*/ 2321900 w 9580296"/>
              <a:gd name="connsiteY312" fmla="*/ 1718249 h 5096778"/>
              <a:gd name="connsiteX313" fmla="*/ 2313993 w 9580296"/>
              <a:gd name="connsiteY313" fmla="*/ 1708364 h 5096778"/>
              <a:gd name="connsiteX314" fmla="*/ 2306446 w 9580296"/>
              <a:gd name="connsiteY314" fmla="*/ 1697655 h 5096778"/>
              <a:gd name="connsiteX315" fmla="*/ 2298539 w 9580296"/>
              <a:gd name="connsiteY315" fmla="*/ 1686671 h 5096778"/>
              <a:gd name="connsiteX316" fmla="*/ 2283804 w 9580296"/>
              <a:gd name="connsiteY316" fmla="*/ 1663606 h 5096778"/>
              <a:gd name="connsiteX317" fmla="*/ 2269069 w 9580296"/>
              <a:gd name="connsiteY317" fmla="*/ 1639717 h 5096778"/>
              <a:gd name="connsiteX318" fmla="*/ 2254334 w 9580296"/>
              <a:gd name="connsiteY318" fmla="*/ 1615828 h 5096778"/>
              <a:gd name="connsiteX319" fmla="*/ 2239959 w 9580296"/>
              <a:gd name="connsiteY319" fmla="*/ 1591939 h 5096778"/>
              <a:gd name="connsiteX320" fmla="*/ 2226302 w 9580296"/>
              <a:gd name="connsiteY320" fmla="*/ 1569148 h 5096778"/>
              <a:gd name="connsiteX321" fmla="*/ 2212286 w 9580296"/>
              <a:gd name="connsiteY321" fmla="*/ 1547456 h 5096778"/>
              <a:gd name="connsiteX322" fmla="*/ 2204739 w 9580296"/>
              <a:gd name="connsiteY322" fmla="*/ 1536198 h 5096778"/>
              <a:gd name="connsiteX323" fmla="*/ 2197910 w 9580296"/>
              <a:gd name="connsiteY323" fmla="*/ 1524665 h 5096778"/>
              <a:gd name="connsiteX324" fmla="*/ 2190722 w 9580296"/>
              <a:gd name="connsiteY324" fmla="*/ 1513133 h 5096778"/>
              <a:gd name="connsiteX325" fmla="*/ 2184253 w 9580296"/>
              <a:gd name="connsiteY325" fmla="*/ 1501600 h 5096778"/>
              <a:gd name="connsiteX326" fmla="*/ 2177066 w 9580296"/>
              <a:gd name="connsiteY326" fmla="*/ 1490342 h 5096778"/>
              <a:gd name="connsiteX327" fmla="*/ 2170597 w 9580296"/>
              <a:gd name="connsiteY327" fmla="*/ 1478535 h 5096778"/>
              <a:gd name="connsiteX328" fmla="*/ 2164128 w 9580296"/>
              <a:gd name="connsiteY328" fmla="*/ 1467002 h 5096778"/>
              <a:gd name="connsiteX329" fmla="*/ 2156940 w 9580296"/>
              <a:gd name="connsiteY329" fmla="*/ 1455744 h 5096778"/>
              <a:gd name="connsiteX330" fmla="*/ 2150830 w 9580296"/>
              <a:gd name="connsiteY330" fmla="*/ 1445585 h 5096778"/>
              <a:gd name="connsiteX331" fmla="*/ 2143642 w 9580296"/>
              <a:gd name="connsiteY331" fmla="*/ 1434326 h 5096778"/>
              <a:gd name="connsiteX332" fmla="*/ 2136095 w 9580296"/>
              <a:gd name="connsiteY332" fmla="*/ 1421696 h 5096778"/>
              <a:gd name="connsiteX333" fmla="*/ 2128189 w 9580296"/>
              <a:gd name="connsiteY333" fmla="*/ 1408515 h 5096778"/>
              <a:gd name="connsiteX334" fmla="*/ 2120282 w 9580296"/>
              <a:gd name="connsiteY334" fmla="*/ 1395610 h 5096778"/>
              <a:gd name="connsiteX335" fmla="*/ 2113813 w 9580296"/>
              <a:gd name="connsiteY335" fmla="*/ 1382979 h 5096778"/>
              <a:gd name="connsiteX336" fmla="*/ 2108063 w 9580296"/>
              <a:gd name="connsiteY336" fmla="*/ 1371172 h 5096778"/>
              <a:gd name="connsiteX337" fmla="*/ 2103750 w 9580296"/>
              <a:gd name="connsiteY337" fmla="*/ 1361012 h 5096778"/>
              <a:gd name="connsiteX338" fmla="*/ 2094765 w 9580296"/>
              <a:gd name="connsiteY338" fmla="*/ 1347832 h 5096778"/>
              <a:gd name="connsiteX339" fmla="*/ 2086140 w 9580296"/>
              <a:gd name="connsiteY339" fmla="*/ 1333004 h 5096778"/>
              <a:gd name="connsiteX340" fmla="*/ 2077155 w 9580296"/>
              <a:gd name="connsiteY340" fmla="*/ 1317353 h 5096778"/>
              <a:gd name="connsiteX341" fmla="*/ 2068530 w 9580296"/>
              <a:gd name="connsiteY341" fmla="*/ 1301152 h 5096778"/>
              <a:gd name="connsiteX342" fmla="*/ 2059904 w 9580296"/>
              <a:gd name="connsiteY342" fmla="*/ 1284402 h 5096778"/>
              <a:gd name="connsiteX343" fmla="*/ 2051638 w 9580296"/>
              <a:gd name="connsiteY343" fmla="*/ 1268202 h 5096778"/>
              <a:gd name="connsiteX344" fmla="*/ 2044091 w 9580296"/>
              <a:gd name="connsiteY344" fmla="*/ 1252276 h 5096778"/>
              <a:gd name="connsiteX345" fmla="*/ 2036185 w 9580296"/>
              <a:gd name="connsiteY345" fmla="*/ 1237997 h 5096778"/>
              <a:gd name="connsiteX346" fmla="*/ 2028997 w 9580296"/>
              <a:gd name="connsiteY346" fmla="*/ 1224543 h 5096778"/>
              <a:gd name="connsiteX347" fmla="*/ 2019653 w 9580296"/>
              <a:gd name="connsiteY347" fmla="*/ 1206145 h 5096778"/>
              <a:gd name="connsiteX348" fmla="*/ 2008152 w 9580296"/>
              <a:gd name="connsiteY348" fmla="*/ 1184178 h 5096778"/>
              <a:gd name="connsiteX349" fmla="*/ 1994495 w 9580296"/>
              <a:gd name="connsiteY349" fmla="*/ 1159191 h 5096778"/>
              <a:gd name="connsiteX350" fmla="*/ 1980120 w 9580296"/>
              <a:gd name="connsiteY350" fmla="*/ 1131183 h 5096778"/>
              <a:gd name="connsiteX351" fmla="*/ 1964307 w 9580296"/>
              <a:gd name="connsiteY351" fmla="*/ 1101253 h 5096778"/>
              <a:gd name="connsiteX352" fmla="*/ 1948134 w 9580296"/>
              <a:gd name="connsiteY352" fmla="*/ 1070500 h 5096778"/>
              <a:gd name="connsiteX353" fmla="*/ 1931602 w 9580296"/>
              <a:gd name="connsiteY353" fmla="*/ 1039471 h 5096778"/>
              <a:gd name="connsiteX354" fmla="*/ 1915789 w 9580296"/>
              <a:gd name="connsiteY354" fmla="*/ 1008169 h 5096778"/>
              <a:gd name="connsiteX355" fmla="*/ 1899976 w 9580296"/>
              <a:gd name="connsiteY355" fmla="*/ 977964 h 5096778"/>
              <a:gd name="connsiteX356" fmla="*/ 1885600 w 9580296"/>
              <a:gd name="connsiteY356" fmla="*/ 949682 h 5096778"/>
              <a:gd name="connsiteX357" fmla="*/ 1872303 w 9580296"/>
              <a:gd name="connsiteY357" fmla="*/ 923871 h 5096778"/>
              <a:gd name="connsiteX358" fmla="*/ 1861162 w 9580296"/>
              <a:gd name="connsiteY358" fmla="*/ 900805 h 5096778"/>
              <a:gd name="connsiteX359" fmla="*/ 1852177 w 9580296"/>
              <a:gd name="connsiteY359" fmla="*/ 881584 h 5096778"/>
              <a:gd name="connsiteX360" fmla="*/ 1845708 w 9580296"/>
              <a:gd name="connsiteY360" fmla="*/ 867306 h 5096778"/>
              <a:gd name="connsiteX361" fmla="*/ 1842114 w 9580296"/>
              <a:gd name="connsiteY361" fmla="*/ 857695 h 5096778"/>
              <a:gd name="connsiteX362" fmla="*/ 1839239 w 9580296"/>
              <a:gd name="connsiteY362" fmla="*/ 853302 h 5096778"/>
              <a:gd name="connsiteX363" fmla="*/ 1834567 w 9580296"/>
              <a:gd name="connsiteY363" fmla="*/ 846163 h 5096778"/>
              <a:gd name="connsiteX364" fmla="*/ 1828817 w 9580296"/>
              <a:gd name="connsiteY364" fmla="*/ 836278 h 5096778"/>
              <a:gd name="connsiteX365" fmla="*/ 1822707 w 9580296"/>
              <a:gd name="connsiteY365" fmla="*/ 824196 h 5096778"/>
              <a:gd name="connsiteX366" fmla="*/ 1807972 w 9580296"/>
              <a:gd name="connsiteY366" fmla="*/ 794540 h 5096778"/>
              <a:gd name="connsiteX367" fmla="*/ 1791799 w 9580296"/>
              <a:gd name="connsiteY367" fmla="*/ 761316 h 5096778"/>
              <a:gd name="connsiteX368" fmla="*/ 1776346 w 9580296"/>
              <a:gd name="connsiteY368" fmla="*/ 726992 h 5096778"/>
              <a:gd name="connsiteX369" fmla="*/ 1761251 w 9580296"/>
              <a:gd name="connsiteY369" fmla="*/ 695415 h 5096778"/>
              <a:gd name="connsiteX370" fmla="*/ 1749391 w 9580296"/>
              <a:gd name="connsiteY370" fmla="*/ 669329 h 5096778"/>
              <a:gd name="connsiteX371" fmla="*/ 1742204 w 9580296"/>
              <a:gd name="connsiteY371" fmla="*/ 652305 h 5096778"/>
              <a:gd name="connsiteX372" fmla="*/ 1723515 w 9580296"/>
              <a:gd name="connsiteY372" fmla="*/ 609744 h 5096778"/>
              <a:gd name="connsiteX373" fmla="*/ 1705546 w 9580296"/>
              <a:gd name="connsiteY373" fmla="*/ 568007 h 5096778"/>
              <a:gd name="connsiteX374" fmla="*/ 1688295 w 9580296"/>
              <a:gd name="connsiteY374" fmla="*/ 526544 h 5096778"/>
              <a:gd name="connsiteX375" fmla="*/ 1671404 w 9580296"/>
              <a:gd name="connsiteY375" fmla="*/ 485356 h 5096778"/>
              <a:gd name="connsiteX376" fmla="*/ 1654872 w 9580296"/>
              <a:gd name="connsiteY376" fmla="*/ 444718 h 5096778"/>
              <a:gd name="connsiteX377" fmla="*/ 1638699 w 9580296"/>
              <a:gd name="connsiteY377" fmla="*/ 403530 h 5096778"/>
              <a:gd name="connsiteX378" fmla="*/ 1623605 w 9580296"/>
              <a:gd name="connsiteY378" fmla="*/ 362616 h 5096778"/>
              <a:gd name="connsiteX379" fmla="*/ 1609229 w 9580296"/>
              <a:gd name="connsiteY379" fmla="*/ 321428 h 5096778"/>
              <a:gd name="connsiteX380" fmla="*/ 1602401 w 9580296"/>
              <a:gd name="connsiteY380" fmla="*/ 300834 h 5096778"/>
              <a:gd name="connsiteX381" fmla="*/ 1595213 w 9580296"/>
              <a:gd name="connsiteY381" fmla="*/ 279966 h 5096778"/>
              <a:gd name="connsiteX382" fmla="*/ 1588744 w 9580296"/>
              <a:gd name="connsiteY382" fmla="*/ 259097 h 5096778"/>
              <a:gd name="connsiteX383" fmla="*/ 1582634 w 9580296"/>
              <a:gd name="connsiteY383" fmla="*/ 238503 h 5096778"/>
              <a:gd name="connsiteX384" fmla="*/ 1576165 w 9580296"/>
              <a:gd name="connsiteY384" fmla="*/ 217360 h 5096778"/>
              <a:gd name="connsiteX385" fmla="*/ 1570056 w 9580296"/>
              <a:gd name="connsiteY385" fmla="*/ 195942 h 5096778"/>
              <a:gd name="connsiteX386" fmla="*/ 1564305 w 9580296"/>
              <a:gd name="connsiteY386" fmla="*/ 175074 h 5096778"/>
              <a:gd name="connsiteX387" fmla="*/ 1558555 w 9580296"/>
              <a:gd name="connsiteY387" fmla="*/ 153656 h 5096778"/>
              <a:gd name="connsiteX388" fmla="*/ 1553164 w 9580296"/>
              <a:gd name="connsiteY388" fmla="*/ 131964 h 5096778"/>
              <a:gd name="connsiteX389" fmla="*/ 1548492 w 9580296"/>
              <a:gd name="connsiteY389" fmla="*/ 109997 h 5096778"/>
              <a:gd name="connsiteX390" fmla="*/ 1543461 w 9580296"/>
              <a:gd name="connsiteY390" fmla="*/ 88305 h 5096778"/>
              <a:gd name="connsiteX391" fmla="*/ 1538429 w 9580296"/>
              <a:gd name="connsiteY391" fmla="*/ 66063 h 5096778"/>
              <a:gd name="connsiteX392" fmla="*/ 1534117 w 9580296"/>
              <a:gd name="connsiteY392" fmla="*/ 43822 h 5096778"/>
              <a:gd name="connsiteX393" fmla="*/ 1529804 w 9580296"/>
              <a:gd name="connsiteY393" fmla="*/ 21031 h 5096778"/>
              <a:gd name="connsiteX394" fmla="*/ 0 w 9580296"/>
              <a:gd name="connsiteY394" fmla="*/ 0 h 5096778"/>
              <a:gd name="connsiteX395" fmla="*/ 1191188 w 9580296"/>
              <a:gd name="connsiteY395" fmla="*/ 0 h 5096778"/>
              <a:gd name="connsiteX396" fmla="*/ 1195310 w 9580296"/>
              <a:gd name="connsiteY396" fmla="*/ 16586 h 5096778"/>
              <a:gd name="connsiteX397" fmla="*/ 1201707 w 9580296"/>
              <a:gd name="connsiteY397" fmla="*/ 40411 h 5096778"/>
              <a:gd name="connsiteX398" fmla="*/ 1208103 w 9580296"/>
              <a:gd name="connsiteY398" fmla="*/ 63625 h 5096778"/>
              <a:gd name="connsiteX399" fmla="*/ 1214900 w 9580296"/>
              <a:gd name="connsiteY399" fmla="*/ 87449 h 5096778"/>
              <a:gd name="connsiteX400" fmla="*/ 1222094 w 9580296"/>
              <a:gd name="connsiteY400" fmla="*/ 110968 h 5096778"/>
              <a:gd name="connsiteX401" fmla="*/ 1228891 w 9580296"/>
              <a:gd name="connsiteY401" fmla="*/ 133876 h 5096778"/>
              <a:gd name="connsiteX402" fmla="*/ 1236087 w 9580296"/>
              <a:gd name="connsiteY402" fmla="*/ 157089 h 5096778"/>
              <a:gd name="connsiteX403" fmla="*/ 1244083 w 9580296"/>
              <a:gd name="connsiteY403" fmla="*/ 180303 h 5096778"/>
              <a:gd name="connsiteX404" fmla="*/ 1251679 w 9580296"/>
              <a:gd name="connsiteY404" fmla="*/ 203211 h 5096778"/>
              <a:gd name="connsiteX405" fmla="*/ 1267669 w 9580296"/>
              <a:gd name="connsiteY405" fmla="*/ 249027 h 5096778"/>
              <a:gd name="connsiteX406" fmla="*/ 1284459 w 9580296"/>
              <a:gd name="connsiteY406" fmla="*/ 294538 h 5096778"/>
              <a:gd name="connsiteX407" fmla="*/ 1302450 w 9580296"/>
              <a:gd name="connsiteY407" fmla="*/ 340354 h 5096778"/>
              <a:gd name="connsiteX408" fmla="*/ 1320839 w 9580296"/>
              <a:gd name="connsiteY408" fmla="*/ 385559 h 5096778"/>
              <a:gd name="connsiteX409" fmla="*/ 1339628 w 9580296"/>
              <a:gd name="connsiteY409" fmla="*/ 431375 h 5096778"/>
              <a:gd name="connsiteX410" fmla="*/ 1358818 w 9580296"/>
              <a:gd name="connsiteY410" fmla="*/ 477496 h 5096778"/>
              <a:gd name="connsiteX411" fmla="*/ 1378807 w 9580296"/>
              <a:gd name="connsiteY411" fmla="*/ 523924 h 5096778"/>
              <a:gd name="connsiteX412" fmla="*/ 1399595 w 9580296"/>
              <a:gd name="connsiteY412" fmla="*/ 571267 h 5096778"/>
              <a:gd name="connsiteX413" fmla="*/ 1407589 w 9580296"/>
              <a:gd name="connsiteY413" fmla="*/ 590204 h 5096778"/>
              <a:gd name="connsiteX414" fmla="*/ 1420782 w 9580296"/>
              <a:gd name="connsiteY414" fmla="*/ 619221 h 5096778"/>
              <a:gd name="connsiteX415" fmla="*/ 1437572 w 9580296"/>
              <a:gd name="connsiteY415" fmla="*/ 654346 h 5096778"/>
              <a:gd name="connsiteX416" fmla="*/ 1454763 w 9580296"/>
              <a:gd name="connsiteY416" fmla="*/ 692527 h 5096778"/>
              <a:gd name="connsiteX417" fmla="*/ 1472752 w 9580296"/>
              <a:gd name="connsiteY417" fmla="*/ 729485 h 5096778"/>
              <a:gd name="connsiteX418" fmla="*/ 1489143 w 9580296"/>
              <a:gd name="connsiteY418" fmla="*/ 762473 h 5096778"/>
              <a:gd name="connsiteX419" fmla="*/ 1495939 w 9580296"/>
              <a:gd name="connsiteY419" fmla="*/ 775912 h 5096778"/>
              <a:gd name="connsiteX420" fmla="*/ 1502336 w 9580296"/>
              <a:gd name="connsiteY420" fmla="*/ 786908 h 5096778"/>
              <a:gd name="connsiteX421" fmla="*/ 1507533 w 9580296"/>
              <a:gd name="connsiteY421" fmla="*/ 794849 h 5096778"/>
              <a:gd name="connsiteX422" fmla="*/ 1510731 w 9580296"/>
              <a:gd name="connsiteY422" fmla="*/ 799737 h 5096778"/>
              <a:gd name="connsiteX423" fmla="*/ 1514729 w 9580296"/>
              <a:gd name="connsiteY423" fmla="*/ 810426 h 5096778"/>
              <a:gd name="connsiteX424" fmla="*/ 1521924 w 9580296"/>
              <a:gd name="connsiteY424" fmla="*/ 826310 h 5096778"/>
              <a:gd name="connsiteX425" fmla="*/ 1531918 w 9580296"/>
              <a:gd name="connsiteY425" fmla="*/ 847690 h 5096778"/>
              <a:gd name="connsiteX426" fmla="*/ 1544313 w 9580296"/>
              <a:gd name="connsiteY426" fmla="*/ 873347 h 5096778"/>
              <a:gd name="connsiteX427" fmla="*/ 1559104 w 9580296"/>
              <a:gd name="connsiteY427" fmla="*/ 902059 h 5096778"/>
              <a:gd name="connsiteX428" fmla="*/ 1575094 w 9580296"/>
              <a:gd name="connsiteY428" fmla="*/ 933519 h 5096778"/>
              <a:gd name="connsiteX429" fmla="*/ 1592685 w 9580296"/>
              <a:gd name="connsiteY429" fmla="*/ 967118 h 5096778"/>
              <a:gd name="connsiteX430" fmla="*/ 1610275 w 9580296"/>
              <a:gd name="connsiteY430" fmla="*/ 1001938 h 5096778"/>
              <a:gd name="connsiteX431" fmla="*/ 1628664 w 9580296"/>
              <a:gd name="connsiteY431" fmla="*/ 1036452 h 5096778"/>
              <a:gd name="connsiteX432" fmla="*/ 1646654 w 9580296"/>
              <a:gd name="connsiteY432" fmla="*/ 1070662 h 5096778"/>
              <a:gd name="connsiteX433" fmla="*/ 1664244 w 9580296"/>
              <a:gd name="connsiteY433" fmla="*/ 1103955 h 5096778"/>
              <a:gd name="connsiteX434" fmla="*/ 1680236 w 9580296"/>
              <a:gd name="connsiteY434" fmla="*/ 1135110 h 5096778"/>
              <a:gd name="connsiteX435" fmla="*/ 1695426 w 9580296"/>
              <a:gd name="connsiteY435" fmla="*/ 1162905 h 5096778"/>
              <a:gd name="connsiteX436" fmla="*/ 1708220 w 9580296"/>
              <a:gd name="connsiteY436" fmla="*/ 1187340 h 5096778"/>
              <a:gd name="connsiteX437" fmla="*/ 1718613 w 9580296"/>
              <a:gd name="connsiteY437" fmla="*/ 1207805 h 5096778"/>
              <a:gd name="connsiteX438" fmla="*/ 1726609 w 9580296"/>
              <a:gd name="connsiteY438" fmla="*/ 1222771 h 5096778"/>
              <a:gd name="connsiteX439" fmla="*/ 1735403 w 9580296"/>
              <a:gd name="connsiteY439" fmla="*/ 1238655 h 5096778"/>
              <a:gd name="connsiteX440" fmla="*/ 1743799 w 9580296"/>
              <a:gd name="connsiteY440" fmla="*/ 1256370 h 5096778"/>
              <a:gd name="connsiteX441" fmla="*/ 1752994 w 9580296"/>
              <a:gd name="connsiteY441" fmla="*/ 1274391 h 5096778"/>
              <a:gd name="connsiteX442" fmla="*/ 1762588 w 9580296"/>
              <a:gd name="connsiteY442" fmla="*/ 1293023 h 5096778"/>
              <a:gd name="connsiteX443" fmla="*/ 1772183 w 9580296"/>
              <a:gd name="connsiteY443" fmla="*/ 1311043 h 5096778"/>
              <a:gd name="connsiteX444" fmla="*/ 1782177 w 9580296"/>
              <a:gd name="connsiteY444" fmla="*/ 1328454 h 5096778"/>
              <a:gd name="connsiteX445" fmla="*/ 1791772 w 9580296"/>
              <a:gd name="connsiteY445" fmla="*/ 1344948 h 5096778"/>
              <a:gd name="connsiteX446" fmla="*/ 1801766 w 9580296"/>
              <a:gd name="connsiteY446" fmla="*/ 1359609 h 5096778"/>
              <a:gd name="connsiteX447" fmla="*/ 1806564 w 9580296"/>
              <a:gd name="connsiteY447" fmla="*/ 1370910 h 5096778"/>
              <a:gd name="connsiteX448" fmla="*/ 1812959 w 9580296"/>
              <a:gd name="connsiteY448" fmla="*/ 1384044 h 5096778"/>
              <a:gd name="connsiteX449" fmla="*/ 1820156 w 9580296"/>
              <a:gd name="connsiteY449" fmla="*/ 1398094 h 5096778"/>
              <a:gd name="connsiteX450" fmla="*/ 1828951 w 9580296"/>
              <a:gd name="connsiteY450" fmla="*/ 1412450 h 5096778"/>
              <a:gd name="connsiteX451" fmla="*/ 1837745 w 9580296"/>
              <a:gd name="connsiteY451" fmla="*/ 1427111 h 5096778"/>
              <a:gd name="connsiteX452" fmla="*/ 1846141 w 9580296"/>
              <a:gd name="connsiteY452" fmla="*/ 1441161 h 5096778"/>
              <a:gd name="connsiteX453" fmla="*/ 1854137 w 9580296"/>
              <a:gd name="connsiteY453" fmla="*/ 1453684 h 5096778"/>
              <a:gd name="connsiteX454" fmla="*/ 1860933 w 9580296"/>
              <a:gd name="connsiteY454" fmla="*/ 1464986 h 5096778"/>
              <a:gd name="connsiteX455" fmla="*/ 1868928 w 9580296"/>
              <a:gd name="connsiteY455" fmla="*/ 1477509 h 5096778"/>
              <a:gd name="connsiteX456" fmla="*/ 1876124 w 9580296"/>
              <a:gd name="connsiteY456" fmla="*/ 1490337 h 5096778"/>
              <a:gd name="connsiteX457" fmla="*/ 1883320 w 9580296"/>
              <a:gd name="connsiteY457" fmla="*/ 1503471 h 5096778"/>
              <a:gd name="connsiteX458" fmla="*/ 1891314 w 9580296"/>
              <a:gd name="connsiteY458" fmla="*/ 1515994 h 5096778"/>
              <a:gd name="connsiteX459" fmla="*/ 1898511 w 9580296"/>
              <a:gd name="connsiteY459" fmla="*/ 1528823 h 5096778"/>
              <a:gd name="connsiteX460" fmla="*/ 1906507 w 9580296"/>
              <a:gd name="connsiteY460" fmla="*/ 1541651 h 5096778"/>
              <a:gd name="connsiteX461" fmla="*/ 1914102 w 9580296"/>
              <a:gd name="connsiteY461" fmla="*/ 1554480 h 5096778"/>
              <a:gd name="connsiteX462" fmla="*/ 1922497 w 9580296"/>
              <a:gd name="connsiteY462" fmla="*/ 1567003 h 5096778"/>
              <a:gd name="connsiteX463" fmla="*/ 1938089 w 9580296"/>
              <a:gd name="connsiteY463" fmla="*/ 1591133 h 5096778"/>
              <a:gd name="connsiteX464" fmla="*/ 1953280 w 9580296"/>
              <a:gd name="connsiteY464" fmla="*/ 1616484 h 5096778"/>
              <a:gd name="connsiteX465" fmla="*/ 1969270 w 9580296"/>
              <a:gd name="connsiteY465" fmla="*/ 1643058 h 5096778"/>
              <a:gd name="connsiteX466" fmla="*/ 1985662 w 9580296"/>
              <a:gd name="connsiteY466" fmla="*/ 1669631 h 5096778"/>
              <a:gd name="connsiteX467" fmla="*/ 2002052 w 9580296"/>
              <a:gd name="connsiteY467" fmla="*/ 1696204 h 5096778"/>
              <a:gd name="connsiteX468" fmla="*/ 2018443 w 9580296"/>
              <a:gd name="connsiteY468" fmla="*/ 1721861 h 5096778"/>
              <a:gd name="connsiteX469" fmla="*/ 2027239 w 9580296"/>
              <a:gd name="connsiteY469" fmla="*/ 1734079 h 5096778"/>
              <a:gd name="connsiteX470" fmla="*/ 2035634 w 9580296"/>
              <a:gd name="connsiteY470" fmla="*/ 1745991 h 5096778"/>
              <a:gd name="connsiteX471" fmla="*/ 2044427 w 9580296"/>
              <a:gd name="connsiteY471" fmla="*/ 1756986 h 5096778"/>
              <a:gd name="connsiteX472" fmla="*/ 2053224 w 9580296"/>
              <a:gd name="connsiteY472" fmla="*/ 1767983 h 5096778"/>
              <a:gd name="connsiteX473" fmla="*/ 2057222 w 9580296"/>
              <a:gd name="connsiteY473" fmla="*/ 1775313 h 5096778"/>
              <a:gd name="connsiteX474" fmla="*/ 2063218 w 9580296"/>
              <a:gd name="connsiteY474" fmla="*/ 1784781 h 5096778"/>
              <a:gd name="connsiteX475" fmla="*/ 2070014 w 9580296"/>
              <a:gd name="connsiteY475" fmla="*/ 1795778 h 5096778"/>
              <a:gd name="connsiteX476" fmla="*/ 2079208 w 9580296"/>
              <a:gd name="connsiteY476" fmla="*/ 1808912 h 5096778"/>
              <a:gd name="connsiteX477" fmla="*/ 2100397 w 9580296"/>
              <a:gd name="connsiteY477" fmla="*/ 1839456 h 5096778"/>
              <a:gd name="connsiteX478" fmla="*/ 2126382 w 9580296"/>
              <a:gd name="connsiteY478" fmla="*/ 1875804 h 5096778"/>
              <a:gd name="connsiteX479" fmla="*/ 2155565 w 9580296"/>
              <a:gd name="connsiteY479" fmla="*/ 1916121 h 5096778"/>
              <a:gd name="connsiteX480" fmla="*/ 2187147 w 9580296"/>
              <a:gd name="connsiteY480" fmla="*/ 1959494 h 5096778"/>
              <a:gd name="connsiteX481" fmla="*/ 2221129 w 9580296"/>
              <a:gd name="connsiteY481" fmla="*/ 2004393 h 5096778"/>
              <a:gd name="connsiteX482" fmla="*/ 2255509 w 9580296"/>
              <a:gd name="connsiteY482" fmla="*/ 2050210 h 5096778"/>
              <a:gd name="connsiteX483" fmla="*/ 2290289 w 9580296"/>
              <a:gd name="connsiteY483" fmla="*/ 2095721 h 5096778"/>
              <a:gd name="connsiteX484" fmla="*/ 2323470 w 9580296"/>
              <a:gd name="connsiteY484" fmla="*/ 2139093 h 5096778"/>
              <a:gd name="connsiteX485" fmla="*/ 2355053 w 9580296"/>
              <a:gd name="connsiteY485" fmla="*/ 2179717 h 5096778"/>
              <a:gd name="connsiteX486" fmla="*/ 2384236 w 9580296"/>
              <a:gd name="connsiteY486" fmla="*/ 2216370 h 5096778"/>
              <a:gd name="connsiteX487" fmla="*/ 2410221 w 9580296"/>
              <a:gd name="connsiteY487" fmla="*/ 2247830 h 5096778"/>
              <a:gd name="connsiteX488" fmla="*/ 2430610 w 9580296"/>
              <a:gd name="connsiteY488" fmla="*/ 2272571 h 5096778"/>
              <a:gd name="connsiteX489" fmla="*/ 2439404 w 9580296"/>
              <a:gd name="connsiteY489" fmla="*/ 2282344 h 5096778"/>
              <a:gd name="connsiteX490" fmla="*/ 2446200 w 9580296"/>
              <a:gd name="connsiteY490" fmla="*/ 2289980 h 5096778"/>
              <a:gd name="connsiteX491" fmla="*/ 2451798 w 9580296"/>
              <a:gd name="connsiteY491" fmla="*/ 2295784 h 5096778"/>
              <a:gd name="connsiteX492" fmla="*/ 2455795 w 9580296"/>
              <a:gd name="connsiteY492" fmla="*/ 2298838 h 5096778"/>
              <a:gd name="connsiteX493" fmla="*/ 2458194 w 9580296"/>
              <a:gd name="connsiteY493" fmla="*/ 2302503 h 5096778"/>
              <a:gd name="connsiteX494" fmla="*/ 2461791 w 9580296"/>
              <a:gd name="connsiteY494" fmla="*/ 2308307 h 5096778"/>
              <a:gd name="connsiteX495" fmla="*/ 2466589 w 9580296"/>
              <a:gd name="connsiteY495" fmla="*/ 2314722 h 5096778"/>
              <a:gd name="connsiteX496" fmla="*/ 2472986 w 9580296"/>
              <a:gd name="connsiteY496" fmla="*/ 2323273 h 5096778"/>
              <a:gd name="connsiteX497" fmla="*/ 2489375 w 9580296"/>
              <a:gd name="connsiteY497" fmla="*/ 2343128 h 5096778"/>
              <a:gd name="connsiteX498" fmla="*/ 2508965 w 9580296"/>
              <a:gd name="connsiteY498" fmla="*/ 2366951 h 5096778"/>
              <a:gd name="connsiteX499" fmla="*/ 2532153 w 9580296"/>
              <a:gd name="connsiteY499" fmla="*/ 2394135 h 5096778"/>
              <a:gd name="connsiteX500" fmla="*/ 2558137 w 9580296"/>
              <a:gd name="connsiteY500" fmla="*/ 2423763 h 5096778"/>
              <a:gd name="connsiteX501" fmla="*/ 2585722 w 9580296"/>
              <a:gd name="connsiteY501" fmla="*/ 2455224 h 5096778"/>
              <a:gd name="connsiteX502" fmla="*/ 2614505 w 9580296"/>
              <a:gd name="connsiteY502" fmla="*/ 2487600 h 5096778"/>
              <a:gd name="connsiteX503" fmla="*/ 2643289 w 9580296"/>
              <a:gd name="connsiteY503" fmla="*/ 2519672 h 5096778"/>
              <a:gd name="connsiteX504" fmla="*/ 2671673 w 9580296"/>
              <a:gd name="connsiteY504" fmla="*/ 2551438 h 5096778"/>
              <a:gd name="connsiteX505" fmla="*/ 2699257 w 9580296"/>
              <a:gd name="connsiteY505" fmla="*/ 2581065 h 5096778"/>
              <a:gd name="connsiteX506" fmla="*/ 2724842 w 9580296"/>
              <a:gd name="connsiteY506" fmla="*/ 2609166 h 5096778"/>
              <a:gd name="connsiteX507" fmla="*/ 2747629 w 9580296"/>
              <a:gd name="connsiteY507" fmla="*/ 2633602 h 5096778"/>
              <a:gd name="connsiteX508" fmla="*/ 2767218 w 9580296"/>
              <a:gd name="connsiteY508" fmla="*/ 2654371 h 5096778"/>
              <a:gd name="connsiteX509" fmla="*/ 2782809 w 9580296"/>
              <a:gd name="connsiteY509" fmla="*/ 2670254 h 5096778"/>
              <a:gd name="connsiteX510" fmla="*/ 2793603 w 9580296"/>
              <a:gd name="connsiteY510" fmla="*/ 2680334 h 5096778"/>
              <a:gd name="connsiteX511" fmla="*/ 2797201 w 9580296"/>
              <a:gd name="connsiteY511" fmla="*/ 2684915 h 5096778"/>
              <a:gd name="connsiteX512" fmla="*/ 2801998 w 9580296"/>
              <a:gd name="connsiteY512" fmla="*/ 2691330 h 5096778"/>
              <a:gd name="connsiteX513" fmla="*/ 2809594 w 9580296"/>
              <a:gd name="connsiteY513" fmla="*/ 2699576 h 5096778"/>
              <a:gd name="connsiteX514" fmla="*/ 2819188 w 9580296"/>
              <a:gd name="connsiteY514" fmla="*/ 2709656 h 5096778"/>
              <a:gd name="connsiteX515" fmla="*/ 2842375 w 9580296"/>
              <a:gd name="connsiteY515" fmla="*/ 2734702 h 5096778"/>
              <a:gd name="connsiteX516" fmla="*/ 2871159 w 9580296"/>
              <a:gd name="connsiteY516" fmla="*/ 2764635 h 5096778"/>
              <a:gd name="connsiteX517" fmla="*/ 2905140 w 9580296"/>
              <a:gd name="connsiteY517" fmla="*/ 2799150 h 5096778"/>
              <a:gd name="connsiteX518" fmla="*/ 2942719 w 9580296"/>
              <a:gd name="connsiteY518" fmla="*/ 2836719 h 5096778"/>
              <a:gd name="connsiteX519" fmla="*/ 2982297 w 9580296"/>
              <a:gd name="connsiteY519" fmla="*/ 2876426 h 5096778"/>
              <a:gd name="connsiteX520" fmla="*/ 3023073 w 9580296"/>
              <a:gd name="connsiteY520" fmla="*/ 2917050 h 5096778"/>
              <a:gd name="connsiteX521" fmla="*/ 3064250 w 9580296"/>
              <a:gd name="connsiteY521" fmla="*/ 2957674 h 5096778"/>
              <a:gd name="connsiteX522" fmla="*/ 3104627 w 9580296"/>
              <a:gd name="connsiteY522" fmla="*/ 2997075 h 5096778"/>
              <a:gd name="connsiteX523" fmla="*/ 3143005 w 9580296"/>
              <a:gd name="connsiteY523" fmla="*/ 3034034 h 5096778"/>
              <a:gd name="connsiteX524" fmla="*/ 3178185 w 9580296"/>
              <a:gd name="connsiteY524" fmla="*/ 3067937 h 5096778"/>
              <a:gd name="connsiteX525" fmla="*/ 3209367 w 9580296"/>
              <a:gd name="connsiteY525" fmla="*/ 3097260 h 5096778"/>
              <a:gd name="connsiteX526" fmla="*/ 3234952 w 9580296"/>
              <a:gd name="connsiteY526" fmla="*/ 3121084 h 5096778"/>
              <a:gd name="connsiteX527" fmla="*/ 3245347 w 9580296"/>
              <a:gd name="connsiteY527" fmla="*/ 3130553 h 5096778"/>
              <a:gd name="connsiteX528" fmla="*/ 3254143 w 9580296"/>
              <a:gd name="connsiteY528" fmla="*/ 3138189 h 5096778"/>
              <a:gd name="connsiteX529" fmla="*/ 3261339 w 9580296"/>
              <a:gd name="connsiteY529" fmla="*/ 3143993 h 5096778"/>
              <a:gd name="connsiteX530" fmla="*/ 3266135 w 9580296"/>
              <a:gd name="connsiteY530" fmla="*/ 3147352 h 5096778"/>
              <a:gd name="connsiteX531" fmla="*/ 3268934 w 9580296"/>
              <a:gd name="connsiteY531" fmla="*/ 3151322 h 5096778"/>
              <a:gd name="connsiteX532" fmla="*/ 3272532 w 9580296"/>
              <a:gd name="connsiteY532" fmla="*/ 3155905 h 5096778"/>
              <a:gd name="connsiteX533" fmla="*/ 3277329 w 9580296"/>
              <a:gd name="connsiteY533" fmla="*/ 3161097 h 5096778"/>
              <a:gd name="connsiteX534" fmla="*/ 3282926 w 9580296"/>
              <a:gd name="connsiteY534" fmla="*/ 3166595 h 5096778"/>
              <a:gd name="connsiteX535" fmla="*/ 3296118 w 9580296"/>
              <a:gd name="connsiteY535" fmla="*/ 3179728 h 5096778"/>
              <a:gd name="connsiteX536" fmla="*/ 3312508 w 9580296"/>
              <a:gd name="connsiteY536" fmla="*/ 3195306 h 5096778"/>
              <a:gd name="connsiteX537" fmla="*/ 3331299 w 9580296"/>
              <a:gd name="connsiteY537" fmla="*/ 3212106 h 5096778"/>
              <a:gd name="connsiteX538" fmla="*/ 3351686 w 9580296"/>
              <a:gd name="connsiteY538" fmla="*/ 3230432 h 5096778"/>
              <a:gd name="connsiteX539" fmla="*/ 3373674 w 9580296"/>
              <a:gd name="connsiteY539" fmla="*/ 3249370 h 5096778"/>
              <a:gd name="connsiteX540" fmla="*/ 3396062 w 9580296"/>
              <a:gd name="connsiteY540" fmla="*/ 3269223 h 5096778"/>
              <a:gd name="connsiteX541" fmla="*/ 3419248 w 9580296"/>
              <a:gd name="connsiteY541" fmla="*/ 3289382 h 5096778"/>
              <a:gd name="connsiteX542" fmla="*/ 3442035 w 9580296"/>
              <a:gd name="connsiteY542" fmla="*/ 3309235 h 5096778"/>
              <a:gd name="connsiteX543" fmla="*/ 3464023 w 9580296"/>
              <a:gd name="connsiteY543" fmla="*/ 3328478 h 5096778"/>
              <a:gd name="connsiteX544" fmla="*/ 3485611 w 9580296"/>
              <a:gd name="connsiteY544" fmla="*/ 3346805 h 5096778"/>
              <a:gd name="connsiteX545" fmla="*/ 3505200 w 9580296"/>
              <a:gd name="connsiteY545" fmla="*/ 3363909 h 5096778"/>
              <a:gd name="connsiteX546" fmla="*/ 3522790 w 9580296"/>
              <a:gd name="connsiteY546" fmla="*/ 3379487 h 5096778"/>
              <a:gd name="connsiteX547" fmla="*/ 3537581 w 9580296"/>
              <a:gd name="connsiteY547" fmla="*/ 3393537 h 5096778"/>
              <a:gd name="connsiteX548" fmla="*/ 3549575 w 9580296"/>
              <a:gd name="connsiteY548" fmla="*/ 3404533 h 5096778"/>
              <a:gd name="connsiteX549" fmla="*/ 3555971 w 9580296"/>
              <a:gd name="connsiteY549" fmla="*/ 3410948 h 5096778"/>
              <a:gd name="connsiteX550" fmla="*/ 3560768 w 9580296"/>
              <a:gd name="connsiteY550" fmla="*/ 3414612 h 5096778"/>
              <a:gd name="connsiteX551" fmla="*/ 3565965 w 9580296"/>
              <a:gd name="connsiteY551" fmla="*/ 3418889 h 5096778"/>
              <a:gd name="connsiteX552" fmla="*/ 3573961 w 9580296"/>
              <a:gd name="connsiteY552" fmla="*/ 3425303 h 5096778"/>
              <a:gd name="connsiteX553" fmla="*/ 3648719 w 9580296"/>
              <a:gd name="connsiteY553" fmla="*/ 3489446 h 5096778"/>
              <a:gd name="connsiteX554" fmla="*/ 3662310 w 9580296"/>
              <a:gd name="connsiteY554" fmla="*/ 3499525 h 5096778"/>
              <a:gd name="connsiteX555" fmla="*/ 3675103 w 9580296"/>
              <a:gd name="connsiteY555" fmla="*/ 3509299 h 5096778"/>
              <a:gd name="connsiteX556" fmla="*/ 3687896 w 9580296"/>
              <a:gd name="connsiteY556" fmla="*/ 3519378 h 5096778"/>
              <a:gd name="connsiteX557" fmla="*/ 3700290 w 9580296"/>
              <a:gd name="connsiteY557" fmla="*/ 3529153 h 5096778"/>
              <a:gd name="connsiteX558" fmla="*/ 3712682 w 9580296"/>
              <a:gd name="connsiteY558" fmla="*/ 3538927 h 5096778"/>
              <a:gd name="connsiteX559" fmla="*/ 3724675 w 9580296"/>
              <a:gd name="connsiteY559" fmla="*/ 3548701 h 5096778"/>
              <a:gd name="connsiteX560" fmla="*/ 3737868 w 9580296"/>
              <a:gd name="connsiteY560" fmla="*/ 3558781 h 5096778"/>
              <a:gd name="connsiteX561" fmla="*/ 3750660 w 9580296"/>
              <a:gd name="connsiteY561" fmla="*/ 3568860 h 5096778"/>
              <a:gd name="connsiteX562" fmla="*/ 3760655 w 9580296"/>
              <a:gd name="connsiteY562" fmla="*/ 3577107 h 5096778"/>
              <a:gd name="connsiteX563" fmla="*/ 3775447 w 9580296"/>
              <a:gd name="connsiteY563" fmla="*/ 3588409 h 5096778"/>
              <a:gd name="connsiteX564" fmla="*/ 3794236 w 9580296"/>
              <a:gd name="connsiteY564" fmla="*/ 3602764 h 5096778"/>
              <a:gd name="connsiteX565" fmla="*/ 3815824 w 9580296"/>
              <a:gd name="connsiteY565" fmla="*/ 3619257 h 5096778"/>
              <a:gd name="connsiteX566" fmla="*/ 3839810 w 9580296"/>
              <a:gd name="connsiteY566" fmla="*/ 3636973 h 5096778"/>
              <a:gd name="connsiteX567" fmla="*/ 3865795 w 9580296"/>
              <a:gd name="connsiteY567" fmla="*/ 3656216 h 5096778"/>
              <a:gd name="connsiteX568" fmla="*/ 3892581 w 9580296"/>
              <a:gd name="connsiteY568" fmla="*/ 3676375 h 5096778"/>
              <a:gd name="connsiteX569" fmla="*/ 3919765 w 9580296"/>
              <a:gd name="connsiteY569" fmla="*/ 3696534 h 5096778"/>
              <a:gd name="connsiteX570" fmla="*/ 3946549 w 9580296"/>
              <a:gd name="connsiteY570" fmla="*/ 3716388 h 5096778"/>
              <a:gd name="connsiteX571" fmla="*/ 3972934 w 9580296"/>
              <a:gd name="connsiteY571" fmla="*/ 3735631 h 5096778"/>
              <a:gd name="connsiteX572" fmla="*/ 3997721 w 9580296"/>
              <a:gd name="connsiteY572" fmla="*/ 3753346 h 5096778"/>
              <a:gd name="connsiteX573" fmla="*/ 4020108 w 9580296"/>
              <a:gd name="connsiteY573" fmla="*/ 3769229 h 5096778"/>
              <a:gd name="connsiteX574" fmla="*/ 4039298 w 9580296"/>
              <a:gd name="connsiteY574" fmla="*/ 3782974 h 5096778"/>
              <a:gd name="connsiteX575" fmla="*/ 4054888 w 9580296"/>
              <a:gd name="connsiteY575" fmla="*/ 3793665 h 5096778"/>
              <a:gd name="connsiteX576" fmla="*/ 4066082 w 9580296"/>
              <a:gd name="connsiteY576" fmla="*/ 3801301 h 5096778"/>
              <a:gd name="connsiteX577" fmla="*/ 4072478 w 9580296"/>
              <a:gd name="connsiteY577" fmla="*/ 3804660 h 5096778"/>
              <a:gd name="connsiteX578" fmla="*/ 4079674 w 9580296"/>
              <a:gd name="connsiteY578" fmla="*/ 3811074 h 5096778"/>
              <a:gd name="connsiteX579" fmla="*/ 4087670 w 9580296"/>
              <a:gd name="connsiteY579" fmla="*/ 3816877 h 5096778"/>
              <a:gd name="connsiteX580" fmla="*/ 4095266 w 9580296"/>
              <a:gd name="connsiteY580" fmla="*/ 3822681 h 5096778"/>
              <a:gd name="connsiteX581" fmla="*/ 4103661 w 9580296"/>
              <a:gd name="connsiteY581" fmla="*/ 3828179 h 5096778"/>
              <a:gd name="connsiteX582" fmla="*/ 4120451 w 9580296"/>
              <a:gd name="connsiteY582" fmla="*/ 3838564 h 5096778"/>
              <a:gd name="connsiteX583" fmla="*/ 4138041 w 9580296"/>
              <a:gd name="connsiteY583" fmla="*/ 3849255 h 5096778"/>
              <a:gd name="connsiteX584" fmla="*/ 4170822 w 9580296"/>
              <a:gd name="connsiteY584" fmla="*/ 3868497 h 5096778"/>
              <a:gd name="connsiteX585" fmla="*/ 4203205 w 9580296"/>
              <a:gd name="connsiteY585" fmla="*/ 3887129 h 5096778"/>
              <a:gd name="connsiteX586" fmla="*/ 4236385 w 9580296"/>
              <a:gd name="connsiteY586" fmla="*/ 3905761 h 5096778"/>
              <a:gd name="connsiteX587" fmla="*/ 4268767 w 9580296"/>
              <a:gd name="connsiteY587" fmla="*/ 3923171 h 5096778"/>
              <a:gd name="connsiteX588" fmla="*/ 4285157 w 9580296"/>
              <a:gd name="connsiteY588" fmla="*/ 3932029 h 5096778"/>
              <a:gd name="connsiteX589" fmla="*/ 4301948 w 9580296"/>
              <a:gd name="connsiteY589" fmla="*/ 3940276 h 5096778"/>
              <a:gd name="connsiteX590" fmla="*/ 4318739 w 9580296"/>
              <a:gd name="connsiteY590" fmla="*/ 3948828 h 5096778"/>
              <a:gd name="connsiteX591" fmla="*/ 4335129 w 9580296"/>
              <a:gd name="connsiteY591" fmla="*/ 3956770 h 5096778"/>
              <a:gd name="connsiteX592" fmla="*/ 4351919 w 9580296"/>
              <a:gd name="connsiteY592" fmla="*/ 3964711 h 5096778"/>
              <a:gd name="connsiteX593" fmla="*/ 4369109 w 9580296"/>
              <a:gd name="connsiteY593" fmla="*/ 3972652 h 5096778"/>
              <a:gd name="connsiteX594" fmla="*/ 4385901 w 9580296"/>
              <a:gd name="connsiteY594" fmla="*/ 3980288 h 5096778"/>
              <a:gd name="connsiteX595" fmla="*/ 4403491 w 9580296"/>
              <a:gd name="connsiteY595" fmla="*/ 3987619 h 5096778"/>
              <a:gd name="connsiteX596" fmla="*/ 4421080 w 9580296"/>
              <a:gd name="connsiteY596" fmla="*/ 3994644 h 5096778"/>
              <a:gd name="connsiteX597" fmla="*/ 4438670 w 9580296"/>
              <a:gd name="connsiteY597" fmla="*/ 4001669 h 5096778"/>
              <a:gd name="connsiteX598" fmla="*/ 4456660 w 9580296"/>
              <a:gd name="connsiteY598" fmla="*/ 4008083 h 5096778"/>
              <a:gd name="connsiteX599" fmla="*/ 4475050 w 9580296"/>
              <a:gd name="connsiteY599" fmla="*/ 4014803 h 5096778"/>
              <a:gd name="connsiteX600" fmla="*/ 4493440 w 9580296"/>
              <a:gd name="connsiteY600" fmla="*/ 4020912 h 5096778"/>
              <a:gd name="connsiteX601" fmla="*/ 4512229 w 9580296"/>
              <a:gd name="connsiteY601" fmla="*/ 4026716 h 5096778"/>
              <a:gd name="connsiteX602" fmla="*/ 4531418 w 9580296"/>
              <a:gd name="connsiteY602" fmla="*/ 4032519 h 5096778"/>
              <a:gd name="connsiteX603" fmla="*/ 4550607 w 9580296"/>
              <a:gd name="connsiteY603" fmla="*/ 4038017 h 5096778"/>
              <a:gd name="connsiteX604" fmla="*/ 4570196 w 9580296"/>
              <a:gd name="connsiteY604" fmla="*/ 4043209 h 5096778"/>
              <a:gd name="connsiteX605" fmla="*/ 4590585 w 9580296"/>
              <a:gd name="connsiteY605" fmla="*/ 4048096 h 5096778"/>
              <a:gd name="connsiteX606" fmla="*/ 4610972 w 9580296"/>
              <a:gd name="connsiteY606" fmla="*/ 4052678 h 5096778"/>
              <a:gd name="connsiteX607" fmla="*/ 4632160 w 9580296"/>
              <a:gd name="connsiteY607" fmla="*/ 4056649 h 5096778"/>
              <a:gd name="connsiteX608" fmla="*/ 4652949 w 9580296"/>
              <a:gd name="connsiteY608" fmla="*/ 4060925 h 5096778"/>
              <a:gd name="connsiteX609" fmla="*/ 4674937 w 9580296"/>
              <a:gd name="connsiteY609" fmla="*/ 4064590 h 5096778"/>
              <a:gd name="connsiteX610" fmla="*/ 4696925 w 9580296"/>
              <a:gd name="connsiteY610" fmla="*/ 4067950 h 5096778"/>
              <a:gd name="connsiteX611" fmla="*/ 4719711 w 9580296"/>
              <a:gd name="connsiteY611" fmla="*/ 4071005 h 5096778"/>
              <a:gd name="connsiteX612" fmla="*/ 4729705 w 9580296"/>
              <a:gd name="connsiteY612" fmla="*/ 4072226 h 5096778"/>
              <a:gd name="connsiteX613" fmla="*/ 4740099 w 9580296"/>
              <a:gd name="connsiteY613" fmla="*/ 4072837 h 5096778"/>
              <a:gd name="connsiteX614" fmla="*/ 4751293 w 9580296"/>
              <a:gd name="connsiteY614" fmla="*/ 4072837 h 5096778"/>
              <a:gd name="connsiteX615" fmla="*/ 4762887 w 9580296"/>
              <a:gd name="connsiteY615" fmla="*/ 4072531 h 5096778"/>
              <a:gd name="connsiteX616" fmla="*/ 4774880 w 9580296"/>
              <a:gd name="connsiteY616" fmla="*/ 4071920 h 5096778"/>
              <a:gd name="connsiteX617" fmla="*/ 4787273 w 9580296"/>
              <a:gd name="connsiteY617" fmla="*/ 4071005 h 5096778"/>
              <a:gd name="connsiteX618" fmla="*/ 4800066 w 9580296"/>
              <a:gd name="connsiteY618" fmla="*/ 4069783 h 5096778"/>
              <a:gd name="connsiteX619" fmla="*/ 4812859 w 9580296"/>
              <a:gd name="connsiteY619" fmla="*/ 4067950 h 5096778"/>
              <a:gd name="connsiteX620" fmla="*/ 4826051 w 9580296"/>
              <a:gd name="connsiteY620" fmla="*/ 4066117 h 5096778"/>
              <a:gd name="connsiteX621" fmla="*/ 4839643 w 9580296"/>
              <a:gd name="connsiteY621" fmla="*/ 4063674 h 5096778"/>
              <a:gd name="connsiteX622" fmla="*/ 4853635 w 9580296"/>
              <a:gd name="connsiteY622" fmla="*/ 4061230 h 5096778"/>
              <a:gd name="connsiteX623" fmla="*/ 4867227 w 9580296"/>
              <a:gd name="connsiteY623" fmla="*/ 4058786 h 5096778"/>
              <a:gd name="connsiteX624" fmla="*/ 4895212 w 9580296"/>
              <a:gd name="connsiteY624" fmla="*/ 4052678 h 5096778"/>
              <a:gd name="connsiteX625" fmla="*/ 4923196 w 9580296"/>
              <a:gd name="connsiteY625" fmla="*/ 4045958 h 5096778"/>
              <a:gd name="connsiteX626" fmla="*/ 4950380 w 9580296"/>
              <a:gd name="connsiteY626" fmla="*/ 4038627 h 5096778"/>
              <a:gd name="connsiteX627" fmla="*/ 4977565 w 9580296"/>
              <a:gd name="connsiteY627" fmla="*/ 4031297 h 5096778"/>
              <a:gd name="connsiteX628" fmla="*/ 5003550 w 9580296"/>
              <a:gd name="connsiteY628" fmla="*/ 4023355 h 5096778"/>
              <a:gd name="connsiteX629" fmla="*/ 5027936 w 9580296"/>
              <a:gd name="connsiteY629" fmla="*/ 4015414 h 5096778"/>
              <a:gd name="connsiteX630" fmla="*/ 5050723 w 9580296"/>
              <a:gd name="connsiteY630" fmla="*/ 4007778 h 5096778"/>
              <a:gd name="connsiteX631" fmla="*/ 5071112 w 9580296"/>
              <a:gd name="connsiteY631" fmla="*/ 4000142 h 5096778"/>
              <a:gd name="connsiteX632" fmla="*/ 5089901 w 9580296"/>
              <a:gd name="connsiteY632" fmla="*/ 3993422 h 5096778"/>
              <a:gd name="connsiteX633" fmla="*/ 5105492 w 9580296"/>
              <a:gd name="connsiteY633" fmla="*/ 3987008 h 5096778"/>
              <a:gd name="connsiteX634" fmla="*/ 5129079 w 9580296"/>
              <a:gd name="connsiteY634" fmla="*/ 3976623 h 5096778"/>
              <a:gd name="connsiteX635" fmla="*/ 5151467 w 9580296"/>
              <a:gd name="connsiteY635" fmla="*/ 3966849 h 5096778"/>
              <a:gd name="connsiteX636" fmla="*/ 5171855 w 9580296"/>
              <a:gd name="connsiteY636" fmla="*/ 3957381 h 5096778"/>
              <a:gd name="connsiteX637" fmla="*/ 5191044 w 9580296"/>
              <a:gd name="connsiteY637" fmla="*/ 3948523 h 5096778"/>
              <a:gd name="connsiteX638" fmla="*/ 5209434 w 9580296"/>
              <a:gd name="connsiteY638" fmla="*/ 3939665 h 5096778"/>
              <a:gd name="connsiteX639" fmla="*/ 5226624 w 9580296"/>
              <a:gd name="connsiteY639" fmla="*/ 3930807 h 5096778"/>
              <a:gd name="connsiteX640" fmla="*/ 5243814 w 9580296"/>
              <a:gd name="connsiteY640" fmla="*/ 3922255 h 5096778"/>
              <a:gd name="connsiteX641" fmla="*/ 5260604 w 9580296"/>
              <a:gd name="connsiteY641" fmla="*/ 3913397 h 5096778"/>
              <a:gd name="connsiteX642" fmla="*/ 5276596 w 9580296"/>
              <a:gd name="connsiteY642" fmla="*/ 3904234 h 5096778"/>
              <a:gd name="connsiteX643" fmla="*/ 5292986 w 9580296"/>
              <a:gd name="connsiteY643" fmla="*/ 3895070 h 5096778"/>
              <a:gd name="connsiteX644" fmla="*/ 5309776 w 9580296"/>
              <a:gd name="connsiteY644" fmla="*/ 3885602 h 5096778"/>
              <a:gd name="connsiteX645" fmla="*/ 5326568 w 9580296"/>
              <a:gd name="connsiteY645" fmla="*/ 3875522 h 5096778"/>
              <a:gd name="connsiteX646" fmla="*/ 5362147 w 9580296"/>
              <a:gd name="connsiteY646" fmla="*/ 3853836 h 5096778"/>
              <a:gd name="connsiteX647" fmla="*/ 5402124 w 9580296"/>
              <a:gd name="connsiteY647" fmla="*/ 3829096 h 5096778"/>
              <a:gd name="connsiteX648" fmla="*/ 5418915 w 9580296"/>
              <a:gd name="connsiteY648" fmla="*/ 3818710 h 5096778"/>
              <a:gd name="connsiteX649" fmla="*/ 5436904 w 9580296"/>
              <a:gd name="connsiteY649" fmla="*/ 3807104 h 5096778"/>
              <a:gd name="connsiteX650" fmla="*/ 5455694 w 9580296"/>
              <a:gd name="connsiteY650" fmla="*/ 3795191 h 5096778"/>
              <a:gd name="connsiteX651" fmla="*/ 5474483 w 9580296"/>
              <a:gd name="connsiteY651" fmla="*/ 3782668 h 5096778"/>
              <a:gd name="connsiteX652" fmla="*/ 5512861 w 9580296"/>
              <a:gd name="connsiteY652" fmla="*/ 3757012 h 5096778"/>
              <a:gd name="connsiteX653" fmla="*/ 5551639 w 9580296"/>
              <a:gd name="connsiteY653" fmla="*/ 3729522 h 5096778"/>
              <a:gd name="connsiteX654" fmla="*/ 5590017 w 9580296"/>
              <a:gd name="connsiteY654" fmla="*/ 3702338 h 5096778"/>
              <a:gd name="connsiteX655" fmla="*/ 5626797 w 9580296"/>
              <a:gd name="connsiteY655" fmla="*/ 3675153 h 5096778"/>
              <a:gd name="connsiteX656" fmla="*/ 5661577 w 9580296"/>
              <a:gd name="connsiteY656" fmla="*/ 3648885 h 5096778"/>
              <a:gd name="connsiteX657" fmla="*/ 5693159 w 9580296"/>
              <a:gd name="connsiteY657" fmla="*/ 3624451 h 5096778"/>
              <a:gd name="connsiteX658" fmla="*/ 5703953 w 9580296"/>
              <a:gd name="connsiteY658" fmla="*/ 3615898 h 5096778"/>
              <a:gd name="connsiteX659" fmla="*/ 5715946 w 9580296"/>
              <a:gd name="connsiteY659" fmla="*/ 3607956 h 5096778"/>
              <a:gd name="connsiteX660" fmla="*/ 5728339 w 9580296"/>
              <a:gd name="connsiteY660" fmla="*/ 3600015 h 5096778"/>
              <a:gd name="connsiteX661" fmla="*/ 5741132 w 9580296"/>
              <a:gd name="connsiteY661" fmla="*/ 3591462 h 5096778"/>
              <a:gd name="connsiteX662" fmla="*/ 5753924 w 9580296"/>
              <a:gd name="connsiteY662" fmla="*/ 3582910 h 5096778"/>
              <a:gd name="connsiteX663" fmla="*/ 5766717 w 9580296"/>
              <a:gd name="connsiteY663" fmla="*/ 3574053 h 5096778"/>
              <a:gd name="connsiteX664" fmla="*/ 5779510 w 9580296"/>
              <a:gd name="connsiteY664" fmla="*/ 3564584 h 5096778"/>
              <a:gd name="connsiteX665" fmla="*/ 5791904 w 9580296"/>
              <a:gd name="connsiteY665" fmla="*/ 3554809 h 5096778"/>
              <a:gd name="connsiteX666" fmla="*/ 6377971 w 9580296"/>
              <a:gd name="connsiteY666" fmla="*/ 3045946 h 5096778"/>
              <a:gd name="connsiteX667" fmla="*/ 6403956 w 9580296"/>
              <a:gd name="connsiteY667" fmla="*/ 3020594 h 5096778"/>
              <a:gd name="connsiteX668" fmla="*/ 6431540 w 9580296"/>
              <a:gd name="connsiteY668" fmla="*/ 2994327 h 5096778"/>
              <a:gd name="connsiteX669" fmla="*/ 6459924 w 9580296"/>
              <a:gd name="connsiteY669" fmla="*/ 2968058 h 5096778"/>
              <a:gd name="connsiteX670" fmla="*/ 6487909 w 9580296"/>
              <a:gd name="connsiteY670" fmla="*/ 2941791 h 5096778"/>
              <a:gd name="connsiteX671" fmla="*/ 6516293 w 9580296"/>
              <a:gd name="connsiteY671" fmla="*/ 2915218 h 5096778"/>
              <a:gd name="connsiteX672" fmla="*/ 6544677 w 9580296"/>
              <a:gd name="connsiteY672" fmla="*/ 2888339 h 5096778"/>
              <a:gd name="connsiteX673" fmla="*/ 6572261 w 9580296"/>
              <a:gd name="connsiteY673" fmla="*/ 2861459 h 5096778"/>
              <a:gd name="connsiteX674" fmla="*/ 6598645 w 9580296"/>
              <a:gd name="connsiteY674" fmla="*/ 2834886 h 5096778"/>
              <a:gd name="connsiteX675" fmla="*/ 6626230 w 9580296"/>
              <a:gd name="connsiteY675" fmla="*/ 2806175 h 5096778"/>
              <a:gd name="connsiteX676" fmla="*/ 6653814 w 9580296"/>
              <a:gd name="connsiteY676" fmla="*/ 2778380 h 5096778"/>
              <a:gd name="connsiteX677" fmla="*/ 6680200 w 9580296"/>
              <a:gd name="connsiteY677" fmla="*/ 2751196 h 5096778"/>
              <a:gd name="connsiteX678" fmla="*/ 6706584 w 9580296"/>
              <a:gd name="connsiteY678" fmla="*/ 2724012 h 5096778"/>
              <a:gd name="connsiteX679" fmla="*/ 6732569 w 9580296"/>
              <a:gd name="connsiteY679" fmla="*/ 2697439 h 5096778"/>
              <a:gd name="connsiteX680" fmla="*/ 6758555 w 9580296"/>
              <a:gd name="connsiteY680" fmla="*/ 2670865 h 5096778"/>
              <a:gd name="connsiteX681" fmla="*/ 6784140 w 9580296"/>
              <a:gd name="connsiteY681" fmla="*/ 2644597 h 5096778"/>
              <a:gd name="connsiteX682" fmla="*/ 6809326 w 9580296"/>
              <a:gd name="connsiteY682" fmla="*/ 2618329 h 5096778"/>
              <a:gd name="connsiteX683" fmla="*/ 6834912 w 9580296"/>
              <a:gd name="connsiteY683" fmla="*/ 2591756 h 5096778"/>
              <a:gd name="connsiteX684" fmla="*/ 6860097 w 9580296"/>
              <a:gd name="connsiteY684" fmla="*/ 2564877 h 5096778"/>
              <a:gd name="connsiteX685" fmla="*/ 6885682 w 9580296"/>
              <a:gd name="connsiteY685" fmla="*/ 2537998 h 5096778"/>
              <a:gd name="connsiteX686" fmla="*/ 6911268 w 9580296"/>
              <a:gd name="connsiteY686" fmla="*/ 2510203 h 5096778"/>
              <a:gd name="connsiteX687" fmla="*/ 6937253 w 9580296"/>
              <a:gd name="connsiteY687" fmla="*/ 2482408 h 5096778"/>
              <a:gd name="connsiteX688" fmla="*/ 6963238 w 9580296"/>
              <a:gd name="connsiteY688" fmla="*/ 2453391 h 5096778"/>
              <a:gd name="connsiteX689" fmla="*/ 6990024 w 9580296"/>
              <a:gd name="connsiteY689" fmla="*/ 2423763 h 5096778"/>
              <a:gd name="connsiteX690" fmla="*/ 7016409 w 9580296"/>
              <a:gd name="connsiteY690" fmla="*/ 2393524 h 5096778"/>
              <a:gd name="connsiteX691" fmla="*/ 7041994 w 9580296"/>
              <a:gd name="connsiteY691" fmla="*/ 2364814 h 5096778"/>
              <a:gd name="connsiteX692" fmla="*/ 7066780 w 9580296"/>
              <a:gd name="connsiteY692" fmla="*/ 2335797 h 5096778"/>
              <a:gd name="connsiteX693" fmla="*/ 7091166 w 9580296"/>
              <a:gd name="connsiteY693" fmla="*/ 2306780 h 5096778"/>
              <a:gd name="connsiteX694" fmla="*/ 7115952 w 9580296"/>
              <a:gd name="connsiteY694" fmla="*/ 2277763 h 5096778"/>
              <a:gd name="connsiteX695" fmla="*/ 7139938 w 9580296"/>
              <a:gd name="connsiteY695" fmla="*/ 2248441 h 5096778"/>
              <a:gd name="connsiteX696" fmla="*/ 7164325 w 9580296"/>
              <a:gd name="connsiteY696" fmla="*/ 2219118 h 5096778"/>
              <a:gd name="connsiteX697" fmla="*/ 7188711 w 9580296"/>
              <a:gd name="connsiteY697" fmla="*/ 2189490 h 5096778"/>
              <a:gd name="connsiteX698" fmla="*/ 7213098 w 9580296"/>
              <a:gd name="connsiteY698" fmla="*/ 2159558 h 5096778"/>
              <a:gd name="connsiteX699" fmla="*/ 7237083 w 9580296"/>
              <a:gd name="connsiteY699" fmla="*/ 2131152 h 5096778"/>
              <a:gd name="connsiteX700" fmla="*/ 7260270 w 9580296"/>
              <a:gd name="connsiteY700" fmla="*/ 2101830 h 5096778"/>
              <a:gd name="connsiteX701" fmla="*/ 7283856 w 9580296"/>
              <a:gd name="connsiteY701" fmla="*/ 2072202 h 5096778"/>
              <a:gd name="connsiteX702" fmla="*/ 7306644 w 9580296"/>
              <a:gd name="connsiteY702" fmla="*/ 2042574 h 5096778"/>
              <a:gd name="connsiteX703" fmla="*/ 7329432 w 9580296"/>
              <a:gd name="connsiteY703" fmla="*/ 2012640 h 5096778"/>
              <a:gd name="connsiteX704" fmla="*/ 7352218 w 9580296"/>
              <a:gd name="connsiteY704" fmla="*/ 1982402 h 5096778"/>
              <a:gd name="connsiteX705" fmla="*/ 7375005 w 9580296"/>
              <a:gd name="connsiteY705" fmla="*/ 1952164 h 5096778"/>
              <a:gd name="connsiteX706" fmla="*/ 7397793 w 9580296"/>
              <a:gd name="connsiteY706" fmla="*/ 1921314 h 5096778"/>
              <a:gd name="connsiteX707" fmla="*/ 7420179 w 9580296"/>
              <a:gd name="connsiteY707" fmla="*/ 1890159 h 5096778"/>
              <a:gd name="connsiteX708" fmla="*/ 7442567 w 9580296"/>
              <a:gd name="connsiteY708" fmla="*/ 1859004 h 5096778"/>
              <a:gd name="connsiteX709" fmla="*/ 7464555 w 9580296"/>
              <a:gd name="connsiteY709" fmla="*/ 1828154 h 5096778"/>
              <a:gd name="connsiteX710" fmla="*/ 7486543 w 9580296"/>
              <a:gd name="connsiteY710" fmla="*/ 1796694 h 5096778"/>
              <a:gd name="connsiteX711" fmla="*/ 7508130 w 9580296"/>
              <a:gd name="connsiteY711" fmla="*/ 1765233 h 5096778"/>
              <a:gd name="connsiteX712" fmla="*/ 7529718 w 9580296"/>
              <a:gd name="connsiteY712" fmla="*/ 1733163 h 5096778"/>
              <a:gd name="connsiteX713" fmla="*/ 7551306 w 9580296"/>
              <a:gd name="connsiteY713" fmla="*/ 1701396 h 5096778"/>
              <a:gd name="connsiteX714" fmla="*/ 7572494 w 9580296"/>
              <a:gd name="connsiteY714" fmla="*/ 1669631 h 5096778"/>
              <a:gd name="connsiteX715" fmla="*/ 7586885 w 9580296"/>
              <a:gd name="connsiteY715" fmla="*/ 1647639 h 5096778"/>
              <a:gd name="connsiteX716" fmla="*/ 7602077 w 9580296"/>
              <a:gd name="connsiteY716" fmla="*/ 1624731 h 5096778"/>
              <a:gd name="connsiteX717" fmla="*/ 7617268 w 9580296"/>
              <a:gd name="connsiteY717" fmla="*/ 1601212 h 5096778"/>
              <a:gd name="connsiteX718" fmla="*/ 7632860 w 9580296"/>
              <a:gd name="connsiteY718" fmla="*/ 1577082 h 5096778"/>
              <a:gd name="connsiteX719" fmla="*/ 7647651 w 9580296"/>
              <a:gd name="connsiteY719" fmla="*/ 1552341 h 5096778"/>
              <a:gd name="connsiteX720" fmla="*/ 7663242 w 9580296"/>
              <a:gd name="connsiteY720" fmla="*/ 1526990 h 5096778"/>
              <a:gd name="connsiteX721" fmla="*/ 7678834 w 9580296"/>
              <a:gd name="connsiteY721" fmla="*/ 1501944 h 5096778"/>
              <a:gd name="connsiteX722" fmla="*/ 7694424 w 9580296"/>
              <a:gd name="connsiteY722" fmla="*/ 1476287 h 5096778"/>
              <a:gd name="connsiteX723" fmla="*/ 7709616 w 9580296"/>
              <a:gd name="connsiteY723" fmla="*/ 1450936 h 5096778"/>
              <a:gd name="connsiteX724" fmla="*/ 7725207 w 9580296"/>
              <a:gd name="connsiteY724" fmla="*/ 1424973 h 5096778"/>
              <a:gd name="connsiteX725" fmla="*/ 7739599 w 9580296"/>
              <a:gd name="connsiteY725" fmla="*/ 1399621 h 5096778"/>
              <a:gd name="connsiteX726" fmla="*/ 7754390 w 9580296"/>
              <a:gd name="connsiteY726" fmla="*/ 1374270 h 5096778"/>
              <a:gd name="connsiteX727" fmla="*/ 7768783 w 9580296"/>
              <a:gd name="connsiteY727" fmla="*/ 1349529 h 5096778"/>
              <a:gd name="connsiteX728" fmla="*/ 7782374 w 9580296"/>
              <a:gd name="connsiteY728" fmla="*/ 1325093 h 5096778"/>
              <a:gd name="connsiteX729" fmla="*/ 7795567 w 9580296"/>
              <a:gd name="connsiteY729" fmla="*/ 1300964 h 5096778"/>
              <a:gd name="connsiteX730" fmla="*/ 7808359 w 9580296"/>
              <a:gd name="connsiteY730" fmla="*/ 1277445 h 5096778"/>
              <a:gd name="connsiteX731" fmla="*/ 7816754 w 9580296"/>
              <a:gd name="connsiteY731" fmla="*/ 1261867 h 5096778"/>
              <a:gd name="connsiteX732" fmla="*/ 7826749 w 9580296"/>
              <a:gd name="connsiteY732" fmla="*/ 1245069 h 5096778"/>
              <a:gd name="connsiteX733" fmla="*/ 7836743 w 9580296"/>
              <a:gd name="connsiteY733" fmla="*/ 1227658 h 5096778"/>
              <a:gd name="connsiteX734" fmla="*/ 7847137 w 9580296"/>
              <a:gd name="connsiteY734" fmla="*/ 1209332 h 5096778"/>
              <a:gd name="connsiteX735" fmla="*/ 7857532 w 9580296"/>
              <a:gd name="connsiteY735" fmla="*/ 1191616 h 5096778"/>
              <a:gd name="connsiteX736" fmla="*/ 7867126 w 9580296"/>
              <a:gd name="connsiteY736" fmla="*/ 1173901 h 5096778"/>
              <a:gd name="connsiteX737" fmla="*/ 7871124 w 9580296"/>
              <a:gd name="connsiteY737" fmla="*/ 1165348 h 5096778"/>
              <a:gd name="connsiteX738" fmla="*/ 7874723 w 9580296"/>
              <a:gd name="connsiteY738" fmla="*/ 1157101 h 5096778"/>
              <a:gd name="connsiteX739" fmla="*/ 7878320 w 9580296"/>
              <a:gd name="connsiteY739" fmla="*/ 1148854 h 5096778"/>
              <a:gd name="connsiteX740" fmla="*/ 7881119 w 9580296"/>
              <a:gd name="connsiteY740" fmla="*/ 1141524 h 5096778"/>
              <a:gd name="connsiteX741" fmla="*/ 7887914 w 9580296"/>
              <a:gd name="connsiteY741" fmla="*/ 1132056 h 5096778"/>
              <a:gd name="connsiteX742" fmla="*/ 7894710 w 9580296"/>
              <a:gd name="connsiteY742" fmla="*/ 1121976 h 5096778"/>
              <a:gd name="connsiteX743" fmla="*/ 7901107 w 9580296"/>
              <a:gd name="connsiteY743" fmla="*/ 1110980 h 5096778"/>
              <a:gd name="connsiteX744" fmla="*/ 7907503 w 9580296"/>
              <a:gd name="connsiteY744" fmla="*/ 1099373 h 5096778"/>
              <a:gd name="connsiteX745" fmla="*/ 7913501 w 9580296"/>
              <a:gd name="connsiteY745" fmla="*/ 1087461 h 5096778"/>
              <a:gd name="connsiteX746" fmla="*/ 7919497 w 9580296"/>
              <a:gd name="connsiteY746" fmla="*/ 1075549 h 5096778"/>
              <a:gd name="connsiteX747" fmla="*/ 7925493 w 9580296"/>
              <a:gd name="connsiteY747" fmla="*/ 1064247 h 5096778"/>
              <a:gd name="connsiteX748" fmla="*/ 7931090 w 9580296"/>
              <a:gd name="connsiteY748" fmla="*/ 1053863 h 5096778"/>
              <a:gd name="connsiteX749" fmla="*/ 7966270 w 9580296"/>
              <a:gd name="connsiteY749" fmla="*/ 990331 h 5096778"/>
              <a:gd name="connsiteX750" fmla="*/ 8001450 w 9580296"/>
              <a:gd name="connsiteY750" fmla="*/ 925578 h 5096778"/>
              <a:gd name="connsiteX751" fmla="*/ 8036231 w 9580296"/>
              <a:gd name="connsiteY751" fmla="*/ 860519 h 5096778"/>
              <a:gd name="connsiteX752" fmla="*/ 8070211 w 9580296"/>
              <a:gd name="connsiteY752" fmla="*/ 794849 h 5096778"/>
              <a:gd name="connsiteX753" fmla="*/ 8087002 w 9580296"/>
              <a:gd name="connsiteY753" fmla="*/ 762167 h 5096778"/>
              <a:gd name="connsiteX754" fmla="*/ 8103792 w 9580296"/>
              <a:gd name="connsiteY754" fmla="*/ 728874 h 5096778"/>
              <a:gd name="connsiteX755" fmla="*/ 8120582 w 9580296"/>
              <a:gd name="connsiteY755" fmla="*/ 695581 h 5096778"/>
              <a:gd name="connsiteX756" fmla="*/ 8136574 w 9580296"/>
              <a:gd name="connsiteY756" fmla="*/ 661982 h 5096778"/>
              <a:gd name="connsiteX757" fmla="*/ 8152565 w 9580296"/>
              <a:gd name="connsiteY757" fmla="*/ 628995 h 5096778"/>
              <a:gd name="connsiteX758" fmla="*/ 8168555 w 9580296"/>
              <a:gd name="connsiteY758" fmla="*/ 595397 h 5096778"/>
              <a:gd name="connsiteX759" fmla="*/ 8184147 w 9580296"/>
              <a:gd name="connsiteY759" fmla="*/ 561798 h 5096778"/>
              <a:gd name="connsiteX760" fmla="*/ 8198938 w 9580296"/>
              <a:gd name="connsiteY760" fmla="*/ 528200 h 5096778"/>
              <a:gd name="connsiteX761" fmla="*/ 8214129 w 9580296"/>
              <a:gd name="connsiteY761" fmla="*/ 494296 h 5096778"/>
              <a:gd name="connsiteX762" fmla="*/ 8228921 w 9580296"/>
              <a:gd name="connsiteY762" fmla="*/ 460392 h 5096778"/>
              <a:gd name="connsiteX763" fmla="*/ 8242914 w 9580296"/>
              <a:gd name="connsiteY763" fmla="*/ 426488 h 5096778"/>
              <a:gd name="connsiteX764" fmla="*/ 8257305 w 9580296"/>
              <a:gd name="connsiteY764" fmla="*/ 392584 h 5096778"/>
              <a:gd name="connsiteX765" fmla="*/ 8270898 w 9580296"/>
              <a:gd name="connsiteY765" fmla="*/ 358680 h 5096778"/>
              <a:gd name="connsiteX766" fmla="*/ 8284090 w 9580296"/>
              <a:gd name="connsiteY766" fmla="*/ 324776 h 5096778"/>
              <a:gd name="connsiteX767" fmla="*/ 8296883 w 9580296"/>
              <a:gd name="connsiteY767" fmla="*/ 290567 h 5096778"/>
              <a:gd name="connsiteX768" fmla="*/ 8309276 w 9580296"/>
              <a:gd name="connsiteY768" fmla="*/ 256663 h 5096778"/>
              <a:gd name="connsiteX769" fmla="*/ 8321668 w 9580296"/>
              <a:gd name="connsiteY769" fmla="*/ 222453 h 5096778"/>
              <a:gd name="connsiteX770" fmla="*/ 8333262 w 9580296"/>
              <a:gd name="connsiteY770" fmla="*/ 188550 h 5096778"/>
              <a:gd name="connsiteX771" fmla="*/ 8344456 w 9580296"/>
              <a:gd name="connsiteY771" fmla="*/ 154341 h 5096778"/>
              <a:gd name="connsiteX772" fmla="*/ 8355250 w 9580296"/>
              <a:gd name="connsiteY772" fmla="*/ 120437 h 5096778"/>
              <a:gd name="connsiteX773" fmla="*/ 8365244 w 9580296"/>
              <a:gd name="connsiteY773" fmla="*/ 86228 h 5096778"/>
              <a:gd name="connsiteX774" fmla="*/ 8374839 w 9580296"/>
              <a:gd name="connsiteY774" fmla="*/ 52018 h 5096778"/>
              <a:gd name="connsiteX775" fmla="*/ 8384033 w 9580296"/>
              <a:gd name="connsiteY775" fmla="*/ 18114 h 5096778"/>
              <a:gd name="connsiteX776" fmla="*/ 8388649 w 9580296"/>
              <a:gd name="connsiteY776" fmla="*/ 0 h 5096778"/>
              <a:gd name="connsiteX777" fmla="*/ 9580296 w 9580296"/>
              <a:gd name="connsiteY777" fmla="*/ 0 h 5096778"/>
              <a:gd name="connsiteX778" fmla="*/ 9572082 w 9580296"/>
              <a:gd name="connsiteY778" fmla="*/ 20490 h 5096778"/>
              <a:gd name="connsiteX779" fmla="*/ 9552230 w 9580296"/>
              <a:gd name="connsiteY779" fmla="*/ 67254 h 5096778"/>
              <a:gd name="connsiteX780" fmla="*/ 9532931 w 9580296"/>
              <a:gd name="connsiteY780" fmla="*/ 114019 h 5096778"/>
              <a:gd name="connsiteX781" fmla="*/ 9512528 w 9580296"/>
              <a:gd name="connsiteY781" fmla="*/ 160783 h 5096778"/>
              <a:gd name="connsiteX782" fmla="*/ 9491575 w 9580296"/>
              <a:gd name="connsiteY782" fmla="*/ 207549 h 5096778"/>
              <a:gd name="connsiteX783" fmla="*/ 9471172 w 9580296"/>
              <a:gd name="connsiteY783" fmla="*/ 253892 h 5096778"/>
              <a:gd name="connsiteX784" fmla="*/ 9449666 w 9580296"/>
              <a:gd name="connsiteY784" fmla="*/ 300235 h 5096778"/>
              <a:gd name="connsiteX785" fmla="*/ 9427610 w 9580296"/>
              <a:gd name="connsiteY785" fmla="*/ 346578 h 5096778"/>
              <a:gd name="connsiteX786" fmla="*/ 9405553 w 9580296"/>
              <a:gd name="connsiteY786" fmla="*/ 392079 h 5096778"/>
              <a:gd name="connsiteX787" fmla="*/ 9383496 w 9580296"/>
              <a:gd name="connsiteY787" fmla="*/ 438423 h 5096778"/>
              <a:gd name="connsiteX788" fmla="*/ 9360337 w 9580296"/>
              <a:gd name="connsiteY788" fmla="*/ 484345 h 5096778"/>
              <a:gd name="connsiteX789" fmla="*/ 9337177 w 9580296"/>
              <a:gd name="connsiteY789" fmla="*/ 530267 h 5096778"/>
              <a:gd name="connsiteX790" fmla="*/ 9314018 w 9580296"/>
              <a:gd name="connsiteY790" fmla="*/ 575346 h 5096778"/>
              <a:gd name="connsiteX791" fmla="*/ 9267147 w 9580296"/>
              <a:gd name="connsiteY791" fmla="*/ 665927 h 5096778"/>
              <a:gd name="connsiteX792" fmla="*/ 9219173 w 9580296"/>
              <a:gd name="connsiteY792" fmla="*/ 755664 h 5096778"/>
              <a:gd name="connsiteX793" fmla="*/ 9170648 w 9580296"/>
              <a:gd name="connsiteY793" fmla="*/ 844981 h 5096778"/>
              <a:gd name="connsiteX794" fmla="*/ 9122123 w 9580296"/>
              <a:gd name="connsiteY794" fmla="*/ 932612 h 5096778"/>
              <a:gd name="connsiteX795" fmla="*/ 9114403 w 9580296"/>
              <a:gd name="connsiteY795" fmla="*/ 946936 h 5096778"/>
              <a:gd name="connsiteX796" fmla="*/ 9106131 w 9580296"/>
              <a:gd name="connsiteY796" fmla="*/ 962525 h 5096778"/>
              <a:gd name="connsiteX797" fmla="*/ 9097861 w 9580296"/>
              <a:gd name="connsiteY797" fmla="*/ 978955 h 5096778"/>
              <a:gd name="connsiteX798" fmla="*/ 9089590 w 9580296"/>
              <a:gd name="connsiteY798" fmla="*/ 995387 h 5096778"/>
              <a:gd name="connsiteX799" fmla="*/ 9080767 w 9580296"/>
              <a:gd name="connsiteY799" fmla="*/ 1011396 h 5096778"/>
              <a:gd name="connsiteX800" fmla="*/ 9071944 w 9580296"/>
              <a:gd name="connsiteY800" fmla="*/ 1026562 h 5096778"/>
              <a:gd name="connsiteX801" fmla="*/ 9062570 w 9580296"/>
              <a:gd name="connsiteY801" fmla="*/ 1040466 h 5096778"/>
              <a:gd name="connsiteX802" fmla="*/ 9053195 w 9580296"/>
              <a:gd name="connsiteY802" fmla="*/ 1053526 h 5096778"/>
              <a:gd name="connsiteX803" fmla="*/ 9049336 w 9580296"/>
              <a:gd name="connsiteY803" fmla="*/ 1063637 h 5096778"/>
              <a:gd name="connsiteX804" fmla="*/ 9044372 w 9580296"/>
              <a:gd name="connsiteY804" fmla="*/ 1075013 h 5096778"/>
              <a:gd name="connsiteX805" fmla="*/ 9039410 w 9580296"/>
              <a:gd name="connsiteY805" fmla="*/ 1086388 h 5096778"/>
              <a:gd name="connsiteX806" fmla="*/ 9033896 w 9580296"/>
              <a:gd name="connsiteY806" fmla="*/ 1098184 h 5096778"/>
              <a:gd name="connsiteX807" fmla="*/ 9020662 w 9580296"/>
              <a:gd name="connsiteY807" fmla="*/ 1122620 h 5096778"/>
              <a:gd name="connsiteX808" fmla="*/ 9006325 w 9580296"/>
              <a:gd name="connsiteY808" fmla="*/ 1147056 h 5096778"/>
              <a:gd name="connsiteX809" fmla="*/ 8991988 w 9580296"/>
              <a:gd name="connsiteY809" fmla="*/ 1172333 h 5096778"/>
              <a:gd name="connsiteX810" fmla="*/ 8978202 w 9580296"/>
              <a:gd name="connsiteY810" fmla="*/ 1196348 h 5096778"/>
              <a:gd name="connsiteX811" fmla="*/ 8964417 w 9580296"/>
              <a:gd name="connsiteY811" fmla="*/ 1219520 h 5096778"/>
              <a:gd name="connsiteX812" fmla="*/ 8952837 w 9580296"/>
              <a:gd name="connsiteY812" fmla="*/ 1241006 h 5096778"/>
              <a:gd name="connsiteX813" fmla="*/ 8935192 w 9580296"/>
              <a:gd name="connsiteY813" fmla="*/ 1273447 h 5096778"/>
              <a:gd name="connsiteX814" fmla="*/ 8916995 w 9580296"/>
              <a:gd name="connsiteY814" fmla="*/ 1306730 h 5096778"/>
              <a:gd name="connsiteX815" fmla="*/ 8898246 w 9580296"/>
              <a:gd name="connsiteY815" fmla="*/ 1340434 h 5096778"/>
              <a:gd name="connsiteX816" fmla="*/ 8878396 w 9580296"/>
              <a:gd name="connsiteY816" fmla="*/ 1374560 h 5096778"/>
              <a:gd name="connsiteX817" fmla="*/ 8857993 w 9580296"/>
              <a:gd name="connsiteY817" fmla="*/ 1409528 h 5096778"/>
              <a:gd name="connsiteX818" fmla="*/ 8838142 w 9580296"/>
              <a:gd name="connsiteY818" fmla="*/ 1444496 h 5096778"/>
              <a:gd name="connsiteX819" fmla="*/ 8816637 w 9580296"/>
              <a:gd name="connsiteY819" fmla="*/ 1480306 h 5096778"/>
              <a:gd name="connsiteX820" fmla="*/ 8795682 w 9580296"/>
              <a:gd name="connsiteY820" fmla="*/ 1515276 h 5096778"/>
              <a:gd name="connsiteX821" fmla="*/ 8774177 w 9580296"/>
              <a:gd name="connsiteY821" fmla="*/ 1550664 h 5096778"/>
              <a:gd name="connsiteX822" fmla="*/ 8752671 w 9580296"/>
              <a:gd name="connsiteY822" fmla="*/ 1585211 h 5096778"/>
              <a:gd name="connsiteX823" fmla="*/ 8731167 w 9580296"/>
              <a:gd name="connsiteY823" fmla="*/ 1620180 h 5096778"/>
              <a:gd name="connsiteX824" fmla="*/ 8710764 w 9580296"/>
              <a:gd name="connsiteY824" fmla="*/ 1654305 h 5096778"/>
              <a:gd name="connsiteX825" fmla="*/ 8689258 w 9580296"/>
              <a:gd name="connsiteY825" fmla="*/ 1687588 h 5096778"/>
              <a:gd name="connsiteX826" fmla="*/ 8668304 w 9580296"/>
              <a:gd name="connsiteY826" fmla="*/ 1720029 h 5096778"/>
              <a:gd name="connsiteX827" fmla="*/ 8647351 w 9580296"/>
              <a:gd name="connsiteY827" fmla="*/ 1751627 h 5096778"/>
              <a:gd name="connsiteX828" fmla="*/ 8627499 w 9580296"/>
              <a:gd name="connsiteY828" fmla="*/ 1781960 h 5096778"/>
              <a:gd name="connsiteX829" fmla="*/ 8598274 w 9580296"/>
              <a:gd name="connsiteY829" fmla="*/ 1825776 h 5096778"/>
              <a:gd name="connsiteX830" fmla="*/ 8568498 w 9580296"/>
              <a:gd name="connsiteY830" fmla="*/ 1869592 h 5096778"/>
              <a:gd name="connsiteX831" fmla="*/ 8538721 w 9580296"/>
              <a:gd name="connsiteY831" fmla="*/ 1913828 h 5096778"/>
              <a:gd name="connsiteX832" fmla="*/ 8508944 w 9580296"/>
              <a:gd name="connsiteY832" fmla="*/ 1957223 h 5096778"/>
              <a:gd name="connsiteX833" fmla="*/ 8478616 w 9580296"/>
              <a:gd name="connsiteY833" fmla="*/ 2000617 h 5096778"/>
              <a:gd name="connsiteX834" fmla="*/ 8448288 w 9580296"/>
              <a:gd name="connsiteY834" fmla="*/ 2043169 h 5096778"/>
              <a:gd name="connsiteX835" fmla="*/ 8417408 w 9580296"/>
              <a:gd name="connsiteY835" fmla="*/ 2086142 h 5096778"/>
              <a:gd name="connsiteX836" fmla="*/ 8386528 w 9580296"/>
              <a:gd name="connsiteY836" fmla="*/ 2129115 h 5096778"/>
              <a:gd name="connsiteX837" fmla="*/ 8355097 w 9580296"/>
              <a:gd name="connsiteY837" fmla="*/ 2171666 h 5096778"/>
              <a:gd name="connsiteX838" fmla="*/ 8323667 w 9580296"/>
              <a:gd name="connsiteY838" fmla="*/ 2213375 h 5096778"/>
              <a:gd name="connsiteX839" fmla="*/ 8292236 w 9580296"/>
              <a:gd name="connsiteY839" fmla="*/ 2255084 h 5096778"/>
              <a:gd name="connsiteX840" fmla="*/ 8260805 w 9580296"/>
              <a:gd name="connsiteY840" fmla="*/ 2296372 h 5096778"/>
              <a:gd name="connsiteX841" fmla="*/ 8229374 w 9580296"/>
              <a:gd name="connsiteY841" fmla="*/ 2337238 h 5096778"/>
              <a:gd name="connsiteX842" fmla="*/ 8196841 w 9580296"/>
              <a:gd name="connsiteY842" fmla="*/ 2378105 h 5096778"/>
              <a:gd name="connsiteX843" fmla="*/ 8164858 w 9580296"/>
              <a:gd name="connsiteY843" fmla="*/ 2418550 h 5096778"/>
              <a:gd name="connsiteX844" fmla="*/ 8131773 w 9580296"/>
              <a:gd name="connsiteY844" fmla="*/ 2457732 h 5096778"/>
              <a:gd name="connsiteX845" fmla="*/ 8098136 w 9580296"/>
              <a:gd name="connsiteY845" fmla="*/ 2499020 h 5096778"/>
              <a:gd name="connsiteX846" fmla="*/ 8064500 w 9580296"/>
              <a:gd name="connsiteY846" fmla="*/ 2539886 h 5096778"/>
              <a:gd name="connsiteX847" fmla="*/ 8030863 w 9580296"/>
              <a:gd name="connsiteY847" fmla="*/ 2580331 h 5096778"/>
              <a:gd name="connsiteX848" fmla="*/ 7997778 w 9580296"/>
              <a:gd name="connsiteY848" fmla="*/ 2620776 h 5096778"/>
              <a:gd name="connsiteX849" fmla="*/ 7963590 w 9580296"/>
              <a:gd name="connsiteY849" fmla="*/ 2660800 h 5096778"/>
              <a:gd name="connsiteX850" fmla="*/ 7929953 w 9580296"/>
              <a:gd name="connsiteY850" fmla="*/ 2700824 h 5096778"/>
              <a:gd name="connsiteX851" fmla="*/ 7895766 w 9580296"/>
              <a:gd name="connsiteY851" fmla="*/ 2740848 h 5096778"/>
              <a:gd name="connsiteX852" fmla="*/ 7860474 w 9580296"/>
              <a:gd name="connsiteY852" fmla="*/ 2780450 h 5096778"/>
              <a:gd name="connsiteX853" fmla="*/ 7824080 w 9580296"/>
              <a:gd name="connsiteY853" fmla="*/ 2822159 h 5096778"/>
              <a:gd name="connsiteX854" fmla="*/ 7787135 w 9580296"/>
              <a:gd name="connsiteY854" fmla="*/ 2863025 h 5096778"/>
              <a:gd name="connsiteX855" fmla="*/ 7751293 w 9580296"/>
              <a:gd name="connsiteY855" fmla="*/ 2903049 h 5096778"/>
              <a:gd name="connsiteX856" fmla="*/ 7715450 w 9580296"/>
              <a:gd name="connsiteY856" fmla="*/ 2941388 h 5096778"/>
              <a:gd name="connsiteX857" fmla="*/ 7680160 w 9580296"/>
              <a:gd name="connsiteY857" fmla="*/ 2979726 h 5096778"/>
              <a:gd name="connsiteX858" fmla="*/ 7644868 w 9580296"/>
              <a:gd name="connsiteY858" fmla="*/ 3016801 h 5096778"/>
              <a:gd name="connsiteX859" fmla="*/ 7610130 w 9580296"/>
              <a:gd name="connsiteY859" fmla="*/ 3053876 h 5096778"/>
              <a:gd name="connsiteX860" fmla="*/ 7574839 w 9580296"/>
              <a:gd name="connsiteY860" fmla="*/ 3090529 h 5096778"/>
              <a:gd name="connsiteX861" fmla="*/ 7540099 w 9580296"/>
              <a:gd name="connsiteY861" fmla="*/ 3126762 h 5096778"/>
              <a:gd name="connsiteX862" fmla="*/ 7504808 w 9580296"/>
              <a:gd name="connsiteY862" fmla="*/ 3162994 h 5096778"/>
              <a:gd name="connsiteX863" fmla="*/ 7468966 w 9580296"/>
              <a:gd name="connsiteY863" fmla="*/ 3199647 h 5096778"/>
              <a:gd name="connsiteX864" fmla="*/ 7433124 w 9580296"/>
              <a:gd name="connsiteY864" fmla="*/ 3236301 h 5096778"/>
              <a:gd name="connsiteX865" fmla="*/ 7396729 w 9580296"/>
              <a:gd name="connsiteY865" fmla="*/ 3273797 h 5096778"/>
              <a:gd name="connsiteX866" fmla="*/ 7360336 w 9580296"/>
              <a:gd name="connsiteY866" fmla="*/ 3311293 h 5096778"/>
              <a:gd name="connsiteX867" fmla="*/ 7322288 w 9580296"/>
              <a:gd name="connsiteY867" fmla="*/ 3349631 h 5096778"/>
              <a:gd name="connsiteX868" fmla="*/ 7284240 w 9580296"/>
              <a:gd name="connsiteY868" fmla="*/ 3389234 h 5096778"/>
              <a:gd name="connsiteX869" fmla="*/ 7247847 w 9580296"/>
              <a:gd name="connsiteY869" fmla="*/ 3425887 h 5096778"/>
              <a:gd name="connsiteX870" fmla="*/ 7209798 w 9580296"/>
              <a:gd name="connsiteY870" fmla="*/ 3462962 h 5096778"/>
              <a:gd name="connsiteX871" fmla="*/ 7170647 w 9580296"/>
              <a:gd name="connsiteY871" fmla="*/ 3500037 h 5096778"/>
              <a:gd name="connsiteX872" fmla="*/ 7131496 w 9580296"/>
              <a:gd name="connsiteY872" fmla="*/ 3536690 h 5096778"/>
              <a:gd name="connsiteX873" fmla="*/ 7092898 w 9580296"/>
              <a:gd name="connsiteY873" fmla="*/ 3572922 h 5096778"/>
              <a:gd name="connsiteX874" fmla="*/ 7053747 w 9580296"/>
              <a:gd name="connsiteY874" fmla="*/ 3609154 h 5096778"/>
              <a:gd name="connsiteX875" fmla="*/ 7015698 w 9580296"/>
              <a:gd name="connsiteY875" fmla="*/ 3645387 h 5096778"/>
              <a:gd name="connsiteX876" fmla="*/ 6979856 w 9580296"/>
              <a:gd name="connsiteY876" fmla="*/ 3680355 h 5096778"/>
              <a:gd name="connsiteX877" fmla="*/ 6171475 w 9580296"/>
              <a:gd name="connsiteY877" fmla="*/ 4382247 h 5096778"/>
              <a:gd name="connsiteX878" fmla="*/ 6154380 w 9580296"/>
              <a:gd name="connsiteY878" fmla="*/ 4395729 h 5096778"/>
              <a:gd name="connsiteX879" fmla="*/ 6136735 w 9580296"/>
              <a:gd name="connsiteY879" fmla="*/ 4408789 h 5096778"/>
              <a:gd name="connsiteX880" fmla="*/ 6119090 w 9580296"/>
              <a:gd name="connsiteY880" fmla="*/ 4421007 h 5096778"/>
              <a:gd name="connsiteX881" fmla="*/ 6101444 w 9580296"/>
              <a:gd name="connsiteY881" fmla="*/ 4432803 h 5096778"/>
              <a:gd name="connsiteX882" fmla="*/ 6083799 w 9580296"/>
              <a:gd name="connsiteY882" fmla="*/ 4444599 h 5096778"/>
              <a:gd name="connsiteX883" fmla="*/ 6066705 w 9580296"/>
              <a:gd name="connsiteY883" fmla="*/ 4455554 h 5096778"/>
              <a:gd name="connsiteX884" fmla="*/ 6050163 w 9580296"/>
              <a:gd name="connsiteY884" fmla="*/ 4466508 h 5096778"/>
              <a:gd name="connsiteX885" fmla="*/ 6035274 w 9580296"/>
              <a:gd name="connsiteY885" fmla="*/ 4478304 h 5096778"/>
              <a:gd name="connsiteX886" fmla="*/ 5991711 w 9580296"/>
              <a:gd name="connsiteY886" fmla="*/ 4512008 h 5096778"/>
              <a:gd name="connsiteX887" fmla="*/ 5943739 w 9580296"/>
              <a:gd name="connsiteY887" fmla="*/ 4548240 h 5096778"/>
              <a:gd name="connsiteX888" fmla="*/ 5893008 w 9580296"/>
              <a:gd name="connsiteY888" fmla="*/ 4585736 h 5096778"/>
              <a:gd name="connsiteX889" fmla="*/ 5840071 w 9580296"/>
              <a:gd name="connsiteY889" fmla="*/ 4623232 h 5096778"/>
              <a:gd name="connsiteX890" fmla="*/ 5786584 w 9580296"/>
              <a:gd name="connsiteY890" fmla="*/ 4661150 h 5096778"/>
              <a:gd name="connsiteX891" fmla="*/ 5733647 w 9580296"/>
              <a:gd name="connsiteY891" fmla="*/ 4696539 h 5096778"/>
              <a:gd name="connsiteX892" fmla="*/ 5707730 w 9580296"/>
              <a:gd name="connsiteY892" fmla="*/ 4713813 h 5096778"/>
              <a:gd name="connsiteX893" fmla="*/ 5681814 w 9580296"/>
              <a:gd name="connsiteY893" fmla="*/ 4730244 h 5096778"/>
              <a:gd name="connsiteX894" fmla="*/ 5657000 w 9580296"/>
              <a:gd name="connsiteY894" fmla="*/ 4746253 h 5096778"/>
              <a:gd name="connsiteX895" fmla="*/ 5633841 w 9580296"/>
              <a:gd name="connsiteY895" fmla="*/ 4760578 h 5096778"/>
              <a:gd name="connsiteX896" fmla="*/ 5578698 w 9580296"/>
              <a:gd name="connsiteY896" fmla="*/ 4794704 h 5096778"/>
              <a:gd name="connsiteX897" fmla="*/ 5529622 w 9580296"/>
              <a:gd name="connsiteY897" fmla="*/ 4824616 h 5096778"/>
              <a:gd name="connsiteX898" fmla="*/ 5506463 w 9580296"/>
              <a:gd name="connsiteY898" fmla="*/ 4838519 h 5096778"/>
              <a:gd name="connsiteX899" fmla="*/ 5483302 w 9580296"/>
              <a:gd name="connsiteY899" fmla="*/ 4851579 h 5096778"/>
              <a:gd name="connsiteX900" fmla="*/ 5460694 w 9580296"/>
              <a:gd name="connsiteY900" fmla="*/ 4864219 h 5096778"/>
              <a:gd name="connsiteX901" fmla="*/ 5438637 w 9580296"/>
              <a:gd name="connsiteY901" fmla="*/ 4876858 h 5096778"/>
              <a:gd name="connsiteX902" fmla="*/ 5415478 w 9580296"/>
              <a:gd name="connsiteY902" fmla="*/ 4889075 h 5096778"/>
              <a:gd name="connsiteX903" fmla="*/ 5391767 w 9580296"/>
              <a:gd name="connsiteY903" fmla="*/ 4900872 h 5096778"/>
              <a:gd name="connsiteX904" fmla="*/ 5368056 w 9580296"/>
              <a:gd name="connsiteY904" fmla="*/ 4913090 h 5096778"/>
              <a:gd name="connsiteX905" fmla="*/ 5342691 w 9580296"/>
              <a:gd name="connsiteY905" fmla="*/ 4925307 h 5096778"/>
              <a:gd name="connsiteX906" fmla="*/ 5316223 w 9580296"/>
              <a:gd name="connsiteY906" fmla="*/ 4937525 h 5096778"/>
              <a:gd name="connsiteX907" fmla="*/ 5288100 w 9580296"/>
              <a:gd name="connsiteY907" fmla="*/ 4950586 h 5096778"/>
              <a:gd name="connsiteX908" fmla="*/ 5257220 w 9580296"/>
              <a:gd name="connsiteY908" fmla="*/ 4964067 h 5096778"/>
              <a:gd name="connsiteX909" fmla="*/ 5224687 w 9580296"/>
              <a:gd name="connsiteY909" fmla="*/ 4978392 h 5096778"/>
              <a:gd name="connsiteX910" fmla="*/ 5203181 w 9580296"/>
              <a:gd name="connsiteY910" fmla="*/ 4987239 h 5096778"/>
              <a:gd name="connsiteX911" fmla="*/ 5177264 w 9580296"/>
              <a:gd name="connsiteY911" fmla="*/ 4996508 h 5096778"/>
              <a:gd name="connsiteX912" fmla="*/ 5149142 w 9580296"/>
              <a:gd name="connsiteY912" fmla="*/ 5007040 h 5096778"/>
              <a:gd name="connsiteX913" fmla="*/ 5117712 w 9580296"/>
              <a:gd name="connsiteY913" fmla="*/ 5017573 h 5096778"/>
              <a:gd name="connsiteX914" fmla="*/ 5084075 w 9580296"/>
              <a:gd name="connsiteY914" fmla="*/ 5028527 h 5096778"/>
              <a:gd name="connsiteX915" fmla="*/ 5048232 w 9580296"/>
              <a:gd name="connsiteY915" fmla="*/ 5039480 h 5096778"/>
              <a:gd name="connsiteX916" fmla="*/ 5010735 w 9580296"/>
              <a:gd name="connsiteY916" fmla="*/ 5049592 h 5096778"/>
              <a:gd name="connsiteX917" fmla="*/ 4973239 w 9580296"/>
              <a:gd name="connsiteY917" fmla="*/ 5059704 h 5096778"/>
              <a:gd name="connsiteX918" fmla="*/ 4934640 w 9580296"/>
              <a:gd name="connsiteY918" fmla="*/ 5068972 h 5096778"/>
              <a:gd name="connsiteX919" fmla="*/ 4896040 w 9580296"/>
              <a:gd name="connsiteY919" fmla="*/ 5077398 h 5096778"/>
              <a:gd name="connsiteX920" fmla="*/ 4877292 w 9580296"/>
              <a:gd name="connsiteY920" fmla="*/ 5080768 h 5096778"/>
              <a:gd name="connsiteX921" fmla="*/ 4857992 w 9580296"/>
              <a:gd name="connsiteY921" fmla="*/ 5084138 h 5096778"/>
              <a:gd name="connsiteX922" fmla="*/ 4839243 w 9580296"/>
              <a:gd name="connsiteY922" fmla="*/ 5087509 h 5096778"/>
              <a:gd name="connsiteX923" fmla="*/ 4821048 w 9580296"/>
              <a:gd name="connsiteY923" fmla="*/ 5090037 h 5096778"/>
              <a:gd name="connsiteX924" fmla="*/ 4803401 w 9580296"/>
              <a:gd name="connsiteY924" fmla="*/ 5092565 h 5096778"/>
              <a:gd name="connsiteX925" fmla="*/ 4785756 w 9580296"/>
              <a:gd name="connsiteY925" fmla="*/ 5094250 h 5096778"/>
              <a:gd name="connsiteX926" fmla="*/ 4768663 w 9580296"/>
              <a:gd name="connsiteY926" fmla="*/ 5095514 h 5096778"/>
              <a:gd name="connsiteX927" fmla="*/ 4752120 w 9580296"/>
              <a:gd name="connsiteY927" fmla="*/ 5096357 h 5096778"/>
              <a:gd name="connsiteX928" fmla="*/ 4736128 w 9580296"/>
              <a:gd name="connsiteY928" fmla="*/ 5096778 h 5096778"/>
              <a:gd name="connsiteX929" fmla="*/ 4720689 w 9580296"/>
              <a:gd name="connsiteY929" fmla="*/ 5096778 h 5096778"/>
              <a:gd name="connsiteX930" fmla="*/ 4706351 w 9580296"/>
              <a:gd name="connsiteY930" fmla="*/ 5095936 h 5096778"/>
              <a:gd name="connsiteX931" fmla="*/ 4692566 w 9580296"/>
              <a:gd name="connsiteY931" fmla="*/ 5094250 h 5096778"/>
              <a:gd name="connsiteX932" fmla="*/ 4661135 w 9580296"/>
              <a:gd name="connsiteY932" fmla="*/ 5090037 h 5096778"/>
              <a:gd name="connsiteX933" fmla="*/ 4630807 w 9580296"/>
              <a:gd name="connsiteY933" fmla="*/ 5085402 h 5096778"/>
              <a:gd name="connsiteX934" fmla="*/ 4600480 w 9580296"/>
              <a:gd name="connsiteY934" fmla="*/ 5080347 h 5096778"/>
              <a:gd name="connsiteX935" fmla="*/ 4571805 w 9580296"/>
              <a:gd name="connsiteY935" fmla="*/ 5074449 h 5096778"/>
              <a:gd name="connsiteX936" fmla="*/ 4542580 w 9580296"/>
              <a:gd name="connsiteY936" fmla="*/ 5068972 h 5096778"/>
              <a:gd name="connsiteX937" fmla="*/ 4514459 w 9580296"/>
              <a:gd name="connsiteY937" fmla="*/ 5062653 h 5096778"/>
              <a:gd name="connsiteX938" fmla="*/ 4486336 w 9580296"/>
              <a:gd name="connsiteY938" fmla="*/ 5055912 h 5096778"/>
              <a:gd name="connsiteX939" fmla="*/ 4459316 w 9580296"/>
              <a:gd name="connsiteY939" fmla="*/ 5048749 h 5096778"/>
              <a:gd name="connsiteX940" fmla="*/ 4432848 w 9580296"/>
              <a:gd name="connsiteY940" fmla="*/ 5041166 h 5096778"/>
              <a:gd name="connsiteX941" fmla="*/ 4406380 w 9580296"/>
              <a:gd name="connsiteY941" fmla="*/ 5033161 h 5096778"/>
              <a:gd name="connsiteX942" fmla="*/ 4380463 w 9580296"/>
              <a:gd name="connsiteY942" fmla="*/ 5025157 h 5096778"/>
              <a:gd name="connsiteX943" fmla="*/ 4355097 w 9580296"/>
              <a:gd name="connsiteY943" fmla="*/ 5016731 h 5096778"/>
              <a:gd name="connsiteX944" fmla="*/ 4329732 w 9580296"/>
              <a:gd name="connsiteY944" fmla="*/ 5007461 h 5096778"/>
              <a:gd name="connsiteX945" fmla="*/ 4304918 w 9580296"/>
              <a:gd name="connsiteY945" fmla="*/ 4998614 h 5096778"/>
              <a:gd name="connsiteX946" fmla="*/ 4280655 w 9580296"/>
              <a:gd name="connsiteY946" fmla="*/ 4988924 h 5096778"/>
              <a:gd name="connsiteX947" fmla="*/ 4256393 w 9580296"/>
              <a:gd name="connsiteY947" fmla="*/ 4979235 h 5096778"/>
              <a:gd name="connsiteX948" fmla="*/ 4232130 w 9580296"/>
              <a:gd name="connsiteY948" fmla="*/ 4969123 h 5096778"/>
              <a:gd name="connsiteX949" fmla="*/ 4208971 w 9580296"/>
              <a:gd name="connsiteY949" fmla="*/ 4958590 h 5096778"/>
              <a:gd name="connsiteX950" fmla="*/ 4185259 w 9580296"/>
              <a:gd name="connsiteY950" fmla="*/ 4947637 h 5096778"/>
              <a:gd name="connsiteX951" fmla="*/ 4162100 w 9580296"/>
              <a:gd name="connsiteY951" fmla="*/ 4936682 h 5096778"/>
              <a:gd name="connsiteX952" fmla="*/ 4139492 w 9580296"/>
              <a:gd name="connsiteY952" fmla="*/ 4925728 h 5096778"/>
              <a:gd name="connsiteX953" fmla="*/ 4116332 w 9580296"/>
              <a:gd name="connsiteY953" fmla="*/ 4913932 h 5096778"/>
              <a:gd name="connsiteX954" fmla="*/ 4093173 w 9580296"/>
              <a:gd name="connsiteY954" fmla="*/ 4902557 h 5096778"/>
              <a:gd name="connsiteX955" fmla="*/ 4070565 w 9580296"/>
              <a:gd name="connsiteY955" fmla="*/ 4890339 h 5096778"/>
              <a:gd name="connsiteX956" fmla="*/ 4025899 w 9580296"/>
              <a:gd name="connsiteY956" fmla="*/ 4866325 h 5096778"/>
              <a:gd name="connsiteX957" fmla="*/ 3980132 w 9580296"/>
              <a:gd name="connsiteY957" fmla="*/ 4840625 h 5096778"/>
              <a:gd name="connsiteX958" fmla="*/ 3935467 w 9580296"/>
              <a:gd name="connsiteY958" fmla="*/ 4814926 h 5096778"/>
              <a:gd name="connsiteX959" fmla="*/ 3890250 w 9580296"/>
              <a:gd name="connsiteY959" fmla="*/ 4788384 h 5096778"/>
              <a:gd name="connsiteX960" fmla="*/ 3865988 w 9580296"/>
              <a:gd name="connsiteY960" fmla="*/ 4773638 h 5096778"/>
              <a:gd name="connsiteX961" fmla="*/ 3842828 w 9580296"/>
              <a:gd name="connsiteY961" fmla="*/ 4759314 h 5096778"/>
              <a:gd name="connsiteX962" fmla="*/ 3831248 w 9580296"/>
              <a:gd name="connsiteY962" fmla="*/ 4751731 h 5096778"/>
              <a:gd name="connsiteX963" fmla="*/ 3820771 w 9580296"/>
              <a:gd name="connsiteY963" fmla="*/ 4743725 h 5096778"/>
              <a:gd name="connsiteX964" fmla="*/ 3809742 w 9580296"/>
              <a:gd name="connsiteY964" fmla="*/ 4735721 h 5096778"/>
              <a:gd name="connsiteX965" fmla="*/ 3799817 w 9580296"/>
              <a:gd name="connsiteY965" fmla="*/ 4726873 h 5096778"/>
              <a:gd name="connsiteX966" fmla="*/ 3790994 w 9580296"/>
              <a:gd name="connsiteY966" fmla="*/ 4722239 h 5096778"/>
              <a:gd name="connsiteX967" fmla="*/ 3775555 w 9580296"/>
              <a:gd name="connsiteY967" fmla="*/ 4711706 h 5096778"/>
              <a:gd name="connsiteX968" fmla="*/ 3754050 w 9580296"/>
              <a:gd name="connsiteY968" fmla="*/ 4696961 h 5096778"/>
              <a:gd name="connsiteX969" fmla="*/ 3727581 w 9580296"/>
              <a:gd name="connsiteY969" fmla="*/ 4678003 h 5096778"/>
              <a:gd name="connsiteX970" fmla="*/ 3696702 w 9580296"/>
              <a:gd name="connsiteY970" fmla="*/ 4656094 h 5096778"/>
              <a:gd name="connsiteX971" fmla="*/ 3662514 w 9580296"/>
              <a:gd name="connsiteY971" fmla="*/ 4631658 h 5096778"/>
              <a:gd name="connsiteX972" fmla="*/ 3626120 w 9580296"/>
              <a:gd name="connsiteY972" fmla="*/ 4605117 h 5096778"/>
              <a:gd name="connsiteX973" fmla="*/ 3589174 w 9580296"/>
              <a:gd name="connsiteY973" fmla="*/ 4577732 h 5096778"/>
              <a:gd name="connsiteX974" fmla="*/ 3551678 w 9580296"/>
              <a:gd name="connsiteY974" fmla="*/ 4549926 h 5096778"/>
              <a:gd name="connsiteX975" fmla="*/ 3514734 w 9580296"/>
              <a:gd name="connsiteY975" fmla="*/ 4522119 h 5096778"/>
              <a:gd name="connsiteX976" fmla="*/ 3478891 w 9580296"/>
              <a:gd name="connsiteY976" fmla="*/ 4495578 h 5096778"/>
              <a:gd name="connsiteX977" fmla="*/ 3445806 w 9580296"/>
              <a:gd name="connsiteY977" fmla="*/ 4471142 h 5096778"/>
              <a:gd name="connsiteX978" fmla="*/ 3416029 w 9580296"/>
              <a:gd name="connsiteY978" fmla="*/ 4448391 h 5096778"/>
              <a:gd name="connsiteX979" fmla="*/ 3390112 w 9580296"/>
              <a:gd name="connsiteY979" fmla="*/ 4428590 h 5096778"/>
              <a:gd name="connsiteX980" fmla="*/ 3369710 w 9580296"/>
              <a:gd name="connsiteY980" fmla="*/ 4413002 h 5096778"/>
              <a:gd name="connsiteX981" fmla="*/ 3355925 w 9580296"/>
              <a:gd name="connsiteY981" fmla="*/ 4401627 h 5096778"/>
              <a:gd name="connsiteX982" fmla="*/ 3338279 w 9580296"/>
              <a:gd name="connsiteY982" fmla="*/ 4387724 h 5096778"/>
              <a:gd name="connsiteX983" fmla="*/ 3320082 w 9580296"/>
              <a:gd name="connsiteY983" fmla="*/ 4373821 h 5096778"/>
              <a:gd name="connsiteX984" fmla="*/ 3303539 w 9580296"/>
              <a:gd name="connsiteY984" fmla="*/ 4360339 h 5096778"/>
              <a:gd name="connsiteX985" fmla="*/ 3286445 w 9580296"/>
              <a:gd name="connsiteY985" fmla="*/ 4346858 h 5096778"/>
              <a:gd name="connsiteX986" fmla="*/ 3269351 w 9580296"/>
              <a:gd name="connsiteY986" fmla="*/ 4333375 h 5096778"/>
              <a:gd name="connsiteX987" fmla="*/ 3251706 w 9580296"/>
              <a:gd name="connsiteY987" fmla="*/ 4319473 h 5096778"/>
              <a:gd name="connsiteX988" fmla="*/ 3234060 w 9580296"/>
              <a:gd name="connsiteY988" fmla="*/ 4305991 h 5096778"/>
              <a:gd name="connsiteX989" fmla="*/ 3215312 w 9580296"/>
              <a:gd name="connsiteY989" fmla="*/ 4292088 h 5096778"/>
              <a:gd name="connsiteX990" fmla="*/ 3112197 w 9580296"/>
              <a:gd name="connsiteY990" fmla="*/ 4203614 h 5096778"/>
              <a:gd name="connsiteX991" fmla="*/ 3101168 w 9580296"/>
              <a:gd name="connsiteY991" fmla="*/ 4194767 h 5096778"/>
              <a:gd name="connsiteX992" fmla="*/ 3093999 w 9580296"/>
              <a:gd name="connsiteY992" fmla="*/ 4188869 h 5096778"/>
              <a:gd name="connsiteX993" fmla="*/ 3087383 w 9580296"/>
              <a:gd name="connsiteY993" fmla="*/ 4183812 h 5096778"/>
              <a:gd name="connsiteX994" fmla="*/ 3078560 w 9580296"/>
              <a:gd name="connsiteY994" fmla="*/ 4174965 h 5096778"/>
              <a:gd name="connsiteX995" fmla="*/ 3062017 w 9580296"/>
              <a:gd name="connsiteY995" fmla="*/ 4159799 h 5096778"/>
              <a:gd name="connsiteX996" fmla="*/ 3041615 w 9580296"/>
              <a:gd name="connsiteY996" fmla="*/ 4140418 h 5096778"/>
              <a:gd name="connsiteX997" fmla="*/ 3017352 w 9580296"/>
              <a:gd name="connsiteY997" fmla="*/ 4118932 h 5096778"/>
              <a:gd name="connsiteX998" fmla="*/ 2990333 w 9580296"/>
              <a:gd name="connsiteY998" fmla="*/ 4095339 h 5096778"/>
              <a:gd name="connsiteX999" fmla="*/ 2960556 w 9580296"/>
              <a:gd name="connsiteY999" fmla="*/ 4070060 h 5096778"/>
              <a:gd name="connsiteX1000" fmla="*/ 2930228 w 9580296"/>
              <a:gd name="connsiteY1000" fmla="*/ 4043519 h 5096778"/>
              <a:gd name="connsiteX1001" fmla="*/ 2898797 w 9580296"/>
              <a:gd name="connsiteY1001" fmla="*/ 4016134 h 5096778"/>
              <a:gd name="connsiteX1002" fmla="*/ 2866815 w 9580296"/>
              <a:gd name="connsiteY1002" fmla="*/ 3988328 h 5096778"/>
              <a:gd name="connsiteX1003" fmla="*/ 2835935 w 9580296"/>
              <a:gd name="connsiteY1003" fmla="*/ 3960943 h 5096778"/>
              <a:gd name="connsiteX1004" fmla="*/ 2805607 w 9580296"/>
              <a:gd name="connsiteY1004" fmla="*/ 3934823 h 5096778"/>
              <a:gd name="connsiteX1005" fmla="*/ 2777485 w 9580296"/>
              <a:gd name="connsiteY1005" fmla="*/ 3909544 h 5096778"/>
              <a:gd name="connsiteX1006" fmla="*/ 2751568 w 9580296"/>
              <a:gd name="connsiteY1006" fmla="*/ 3886373 h 5096778"/>
              <a:gd name="connsiteX1007" fmla="*/ 2728960 w 9580296"/>
              <a:gd name="connsiteY1007" fmla="*/ 3864886 h 5096778"/>
              <a:gd name="connsiteX1008" fmla="*/ 2710763 w 9580296"/>
              <a:gd name="connsiteY1008" fmla="*/ 3846770 h 5096778"/>
              <a:gd name="connsiteX1009" fmla="*/ 2703043 w 9580296"/>
              <a:gd name="connsiteY1009" fmla="*/ 3839186 h 5096778"/>
              <a:gd name="connsiteX1010" fmla="*/ 2696426 w 9580296"/>
              <a:gd name="connsiteY1010" fmla="*/ 3832024 h 5096778"/>
              <a:gd name="connsiteX1011" fmla="*/ 2691463 w 9580296"/>
              <a:gd name="connsiteY1011" fmla="*/ 3825705 h 5096778"/>
              <a:gd name="connsiteX1012" fmla="*/ 2687603 w 9580296"/>
              <a:gd name="connsiteY1012" fmla="*/ 3820228 h 5096778"/>
              <a:gd name="connsiteX1013" fmla="*/ 2680986 w 9580296"/>
              <a:gd name="connsiteY1013" fmla="*/ 3815594 h 5096778"/>
              <a:gd name="connsiteX1014" fmla="*/ 2671061 w 9580296"/>
              <a:gd name="connsiteY1014" fmla="*/ 3807588 h 5096778"/>
              <a:gd name="connsiteX1015" fmla="*/ 2658929 w 9580296"/>
              <a:gd name="connsiteY1015" fmla="*/ 3797056 h 5096778"/>
              <a:gd name="connsiteX1016" fmla="*/ 2644593 w 9580296"/>
              <a:gd name="connsiteY1016" fmla="*/ 3783996 h 5096778"/>
              <a:gd name="connsiteX1017" fmla="*/ 2609302 w 9580296"/>
              <a:gd name="connsiteY1017" fmla="*/ 3751134 h 5096778"/>
              <a:gd name="connsiteX1018" fmla="*/ 2566291 w 9580296"/>
              <a:gd name="connsiteY1018" fmla="*/ 3710689 h 5096778"/>
              <a:gd name="connsiteX1019" fmla="*/ 2517766 w 9580296"/>
              <a:gd name="connsiteY1019" fmla="*/ 3663924 h 5096778"/>
              <a:gd name="connsiteX1020" fmla="*/ 2464830 w 9580296"/>
              <a:gd name="connsiteY1020" fmla="*/ 3612946 h 5096778"/>
              <a:gd name="connsiteX1021" fmla="*/ 2409136 w 9580296"/>
              <a:gd name="connsiteY1021" fmla="*/ 3558598 h 5096778"/>
              <a:gd name="connsiteX1022" fmla="*/ 2352341 w 9580296"/>
              <a:gd name="connsiteY1022" fmla="*/ 3502564 h 5096778"/>
              <a:gd name="connsiteX1023" fmla="*/ 2296096 w 9580296"/>
              <a:gd name="connsiteY1023" fmla="*/ 3446532 h 5096778"/>
              <a:gd name="connsiteX1024" fmla="*/ 2241506 w 9580296"/>
              <a:gd name="connsiteY1024" fmla="*/ 3391761 h 5096778"/>
              <a:gd name="connsiteX1025" fmla="*/ 2189672 w 9580296"/>
              <a:gd name="connsiteY1025" fmla="*/ 3339942 h 5096778"/>
              <a:gd name="connsiteX1026" fmla="*/ 2142801 w 9580296"/>
              <a:gd name="connsiteY1026" fmla="*/ 3292334 h 5096778"/>
              <a:gd name="connsiteX1027" fmla="*/ 2103098 w 9580296"/>
              <a:gd name="connsiteY1027" fmla="*/ 3251047 h 5096778"/>
              <a:gd name="connsiteX1028" fmla="*/ 2071116 w 9580296"/>
              <a:gd name="connsiteY1028" fmla="*/ 3216500 h 5096778"/>
              <a:gd name="connsiteX1029" fmla="*/ 2057882 w 9580296"/>
              <a:gd name="connsiteY1029" fmla="*/ 3202596 h 5096778"/>
              <a:gd name="connsiteX1030" fmla="*/ 2047406 w 9580296"/>
              <a:gd name="connsiteY1030" fmla="*/ 3191221 h 5096778"/>
              <a:gd name="connsiteX1031" fmla="*/ 2040788 w 9580296"/>
              <a:gd name="connsiteY1031" fmla="*/ 3182374 h 5096778"/>
              <a:gd name="connsiteX1032" fmla="*/ 2035825 w 9580296"/>
              <a:gd name="connsiteY1032" fmla="*/ 3176055 h 5096778"/>
              <a:gd name="connsiteX1033" fmla="*/ 2020936 w 9580296"/>
              <a:gd name="connsiteY1033" fmla="*/ 3162151 h 5096778"/>
              <a:gd name="connsiteX1034" fmla="*/ 1999431 w 9580296"/>
              <a:gd name="connsiteY1034" fmla="*/ 3140244 h 5096778"/>
              <a:gd name="connsiteX1035" fmla="*/ 1972411 w 9580296"/>
              <a:gd name="connsiteY1035" fmla="*/ 3111595 h 5096778"/>
              <a:gd name="connsiteX1036" fmla="*/ 1940982 w 9580296"/>
              <a:gd name="connsiteY1036" fmla="*/ 3077891 h 5096778"/>
              <a:gd name="connsiteX1037" fmla="*/ 1905689 w 9580296"/>
              <a:gd name="connsiteY1037" fmla="*/ 3039131 h 5096778"/>
              <a:gd name="connsiteX1038" fmla="*/ 1867642 w 9580296"/>
              <a:gd name="connsiteY1038" fmla="*/ 2998264 h 5096778"/>
              <a:gd name="connsiteX1039" fmla="*/ 1828491 w 9580296"/>
              <a:gd name="connsiteY1039" fmla="*/ 2954449 h 5096778"/>
              <a:gd name="connsiteX1040" fmla="*/ 1788789 w 9580296"/>
              <a:gd name="connsiteY1040" fmla="*/ 2910212 h 5096778"/>
              <a:gd name="connsiteX1041" fmla="*/ 1749087 w 9580296"/>
              <a:gd name="connsiteY1041" fmla="*/ 2865553 h 5096778"/>
              <a:gd name="connsiteX1042" fmla="*/ 1711038 w 9580296"/>
              <a:gd name="connsiteY1042" fmla="*/ 2822159 h 5096778"/>
              <a:gd name="connsiteX1043" fmla="*/ 1675196 w 9580296"/>
              <a:gd name="connsiteY1043" fmla="*/ 2781293 h 5096778"/>
              <a:gd name="connsiteX1044" fmla="*/ 1643214 w 9580296"/>
              <a:gd name="connsiteY1044" fmla="*/ 2743797 h 5096778"/>
              <a:gd name="connsiteX1045" fmla="*/ 1616194 w 9580296"/>
              <a:gd name="connsiteY1045" fmla="*/ 2710935 h 5096778"/>
              <a:gd name="connsiteX1046" fmla="*/ 1593587 w 9580296"/>
              <a:gd name="connsiteY1046" fmla="*/ 2683551 h 5096778"/>
              <a:gd name="connsiteX1047" fmla="*/ 1584764 w 9580296"/>
              <a:gd name="connsiteY1047" fmla="*/ 2671754 h 5096778"/>
              <a:gd name="connsiteX1048" fmla="*/ 1578146 w 9580296"/>
              <a:gd name="connsiteY1048" fmla="*/ 2662906 h 5096778"/>
              <a:gd name="connsiteX1049" fmla="*/ 1573184 w 9580296"/>
              <a:gd name="connsiteY1049" fmla="*/ 2654902 h 5096778"/>
              <a:gd name="connsiteX1050" fmla="*/ 1569875 w 9580296"/>
              <a:gd name="connsiteY1050" fmla="*/ 2649846 h 5096778"/>
              <a:gd name="connsiteX1051" fmla="*/ 1564361 w 9580296"/>
              <a:gd name="connsiteY1051" fmla="*/ 2645633 h 5096778"/>
              <a:gd name="connsiteX1052" fmla="*/ 1556640 w 9580296"/>
              <a:gd name="connsiteY1052" fmla="*/ 2637628 h 5096778"/>
              <a:gd name="connsiteX1053" fmla="*/ 1547267 w 9580296"/>
              <a:gd name="connsiteY1053" fmla="*/ 2627096 h 5096778"/>
              <a:gd name="connsiteX1054" fmla="*/ 1535135 w 9580296"/>
              <a:gd name="connsiteY1054" fmla="*/ 2613614 h 5096778"/>
              <a:gd name="connsiteX1055" fmla="*/ 1507013 w 9580296"/>
              <a:gd name="connsiteY1055" fmla="*/ 2579489 h 5096778"/>
              <a:gd name="connsiteX1056" fmla="*/ 1471171 w 9580296"/>
              <a:gd name="connsiteY1056" fmla="*/ 2536094 h 5096778"/>
              <a:gd name="connsiteX1057" fmla="*/ 1430918 w 9580296"/>
              <a:gd name="connsiteY1057" fmla="*/ 2485537 h 5096778"/>
              <a:gd name="connsiteX1058" fmla="*/ 1387355 w 9580296"/>
              <a:gd name="connsiteY1058" fmla="*/ 2429504 h 5096778"/>
              <a:gd name="connsiteX1059" fmla="*/ 1341587 w 9580296"/>
              <a:gd name="connsiteY1059" fmla="*/ 2369679 h 5096778"/>
              <a:gd name="connsiteX1060" fmla="*/ 1293614 w 9580296"/>
              <a:gd name="connsiteY1060" fmla="*/ 2306905 h 5096778"/>
              <a:gd name="connsiteX1061" fmla="*/ 1246192 w 9580296"/>
              <a:gd name="connsiteY1061" fmla="*/ 2243709 h 5096778"/>
              <a:gd name="connsiteX1062" fmla="*/ 1199322 w 9580296"/>
              <a:gd name="connsiteY1062" fmla="*/ 2181777 h 5096778"/>
              <a:gd name="connsiteX1063" fmla="*/ 1155759 w 9580296"/>
              <a:gd name="connsiteY1063" fmla="*/ 2121953 h 5096778"/>
              <a:gd name="connsiteX1064" fmla="*/ 1115505 w 9580296"/>
              <a:gd name="connsiteY1064" fmla="*/ 2066340 h 5096778"/>
              <a:gd name="connsiteX1065" fmla="*/ 1079663 w 9580296"/>
              <a:gd name="connsiteY1065" fmla="*/ 2016205 h 5096778"/>
              <a:gd name="connsiteX1066" fmla="*/ 1050438 w 9580296"/>
              <a:gd name="connsiteY1066" fmla="*/ 1974075 h 5096778"/>
              <a:gd name="connsiteX1067" fmla="*/ 1037755 w 9580296"/>
              <a:gd name="connsiteY1067" fmla="*/ 1955959 h 5096778"/>
              <a:gd name="connsiteX1068" fmla="*/ 1028381 w 9580296"/>
              <a:gd name="connsiteY1068" fmla="*/ 1940792 h 5096778"/>
              <a:gd name="connsiteX1069" fmla="*/ 1020109 w 9580296"/>
              <a:gd name="connsiteY1069" fmla="*/ 1927731 h 5096778"/>
              <a:gd name="connsiteX1070" fmla="*/ 1014595 w 9580296"/>
              <a:gd name="connsiteY1070" fmla="*/ 1917620 h 5096778"/>
              <a:gd name="connsiteX1071" fmla="*/ 1002464 w 9580296"/>
              <a:gd name="connsiteY1071" fmla="*/ 1902453 h 5096778"/>
              <a:gd name="connsiteX1072" fmla="*/ 990333 w 9580296"/>
              <a:gd name="connsiteY1072" fmla="*/ 1887286 h 5096778"/>
              <a:gd name="connsiteX1073" fmla="*/ 978753 w 9580296"/>
              <a:gd name="connsiteY1073" fmla="*/ 1870856 h 5096778"/>
              <a:gd name="connsiteX1074" fmla="*/ 966622 w 9580296"/>
              <a:gd name="connsiteY1074" fmla="*/ 1854003 h 5096778"/>
              <a:gd name="connsiteX1075" fmla="*/ 944014 w 9580296"/>
              <a:gd name="connsiteY1075" fmla="*/ 1818613 h 5096778"/>
              <a:gd name="connsiteX1076" fmla="*/ 921405 w 9580296"/>
              <a:gd name="connsiteY1076" fmla="*/ 1781960 h 5096778"/>
              <a:gd name="connsiteX1077" fmla="*/ 898798 w 9580296"/>
              <a:gd name="connsiteY1077" fmla="*/ 1745307 h 5096778"/>
              <a:gd name="connsiteX1078" fmla="*/ 876741 w 9580296"/>
              <a:gd name="connsiteY1078" fmla="*/ 1708654 h 5096778"/>
              <a:gd name="connsiteX1079" fmla="*/ 855787 w 9580296"/>
              <a:gd name="connsiteY1079" fmla="*/ 1673686 h 5096778"/>
              <a:gd name="connsiteX1080" fmla="*/ 834281 w 9580296"/>
              <a:gd name="connsiteY1080" fmla="*/ 1640403 h 5096778"/>
              <a:gd name="connsiteX1081" fmla="*/ 822701 w 9580296"/>
              <a:gd name="connsiteY1081" fmla="*/ 1623129 h 5096778"/>
              <a:gd name="connsiteX1082" fmla="*/ 812224 w 9580296"/>
              <a:gd name="connsiteY1082" fmla="*/ 1605434 h 5096778"/>
              <a:gd name="connsiteX1083" fmla="*/ 801197 w 9580296"/>
              <a:gd name="connsiteY1083" fmla="*/ 1587739 h 5096778"/>
              <a:gd name="connsiteX1084" fmla="*/ 791270 w 9580296"/>
              <a:gd name="connsiteY1084" fmla="*/ 1570045 h 5096778"/>
              <a:gd name="connsiteX1085" fmla="*/ 780242 w 9580296"/>
              <a:gd name="connsiteY1085" fmla="*/ 1552771 h 5096778"/>
              <a:gd name="connsiteX1086" fmla="*/ 770317 w 9580296"/>
              <a:gd name="connsiteY1086" fmla="*/ 1534655 h 5096778"/>
              <a:gd name="connsiteX1087" fmla="*/ 760390 w 9580296"/>
              <a:gd name="connsiteY1087" fmla="*/ 1516960 h 5096778"/>
              <a:gd name="connsiteX1088" fmla="*/ 749363 w 9580296"/>
              <a:gd name="connsiteY1088" fmla="*/ 1499687 h 5096778"/>
              <a:gd name="connsiteX1089" fmla="*/ 739988 w 9580296"/>
              <a:gd name="connsiteY1089" fmla="*/ 1484099 h 5096778"/>
              <a:gd name="connsiteX1090" fmla="*/ 728960 w 9580296"/>
              <a:gd name="connsiteY1090" fmla="*/ 1466825 h 5096778"/>
              <a:gd name="connsiteX1091" fmla="*/ 717380 w 9580296"/>
              <a:gd name="connsiteY1091" fmla="*/ 1447446 h 5096778"/>
              <a:gd name="connsiteX1092" fmla="*/ 705249 w 9580296"/>
              <a:gd name="connsiteY1092" fmla="*/ 1427223 h 5096778"/>
              <a:gd name="connsiteX1093" fmla="*/ 693117 w 9580296"/>
              <a:gd name="connsiteY1093" fmla="*/ 1407421 h 5096778"/>
              <a:gd name="connsiteX1094" fmla="*/ 683192 w 9580296"/>
              <a:gd name="connsiteY1094" fmla="*/ 1388041 h 5096778"/>
              <a:gd name="connsiteX1095" fmla="*/ 674370 w 9580296"/>
              <a:gd name="connsiteY1095" fmla="*/ 1369925 h 5096778"/>
              <a:gd name="connsiteX1096" fmla="*/ 667752 w 9580296"/>
              <a:gd name="connsiteY1096" fmla="*/ 1354337 h 5096778"/>
              <a:gd name="connsiteX1097" fmla="*/ 653967 w 9580296"/>
              <a:gd name="connsiteY1097" fmla="*/ 1334115 h 5096778"/>
              <a:gd name="connsiteX1098" fmla="*/ 640733 w 9580296"/>
              <a:gd name="connsiteY1098" fmla="*/ 1311364 h 5096778"/>
              <a:gd name="connsiteX1099" fmla="*/ 626947 w 9580296"/>
              <a:gd name="connsiteY1099" fmla="*/ 1287349 h 5096778"/>
              <a:gd name="connsiteX1100" fmla="*/ 613713 w 9580296"/>
              <a:gd name="connsiteY1100" fmla="*/ 1262493 h 5096778"/>
              <a:gd name="connsiteX1101" fmla="*/ 600479 w 9580296"/>
              <a:gd name="connsiteY1101" fmla="*/ 1236793 h 5096778"/>
              <a:gd name="connsiteX1102" fmla="*/ 587796 w 9580296"/>
              <a:gd name="connsiteY1102" fmla="*/ 1211936 h 5096778"/>
              <a:gd name="connsiteX1103" fmla="*/ 576217 w 9580296"/>
              <a:gd name="connsiteY1103" fmla="*/ 1187501 h 5096778"/>
              <a:gd name="connsiteX1104" fmla="*/ 564085 w 9580296"/>
              <a:gd name="connsiteY1104" fmla="*/ 1165593 h 5096778"/>
              <a:gd name="connsiteX1105" fmla="*/ 553056 w 9580296"/>
              <a:gd name="connsiteY1105" fmla="*/ 1144949 h 5096778"/>
              <a:gd name="connsiteX1106" fmla="*/ 538720 w 9580296"/>
              <a:gd name="connsiteY1106" fmla="*/ 1116722 h 5096778"/>
              <a:gd name="connsiteX1107" fmla="*/ 521075 w 9580296"/>
              <a:gd name="connsiteY1107" fmla="*/ 1083017 h 5096778"/>
              <a:gd name="connsiteX1108" fmla="*/ 500120 w 9580296"/>
              <a:gd name="connsiteY1108" fmla="*/ 1044679 h 5096778"/>
              <a:gd name="connsiteX1109" fmla="*/ 478063 w 9580296"/>
              <a:gd name="connsiteY1109" fmla="*/ 1001706 h 5096778"/>
              <a:gd name="connsiteX1110" fmla="*/ 453802 w 9580296"/>
              <a:gd name="connsiteY1110" fmla="*/ 955784 h 5096778"/>
              <a:gd name="connsiteX1111" fmla="*/ 428987 w 9580296"/>
              <a:gd name="connsiteY1111" fmla="*/ 908597 h 5096778"/>
              <a:gd name="connsiteX1112" fmla="*/ 403621 w 9580296"/>
              <a:gd name="connsiteY1112" fmla="*/ 860990 h 5096778"/>
              <a:gd name="connsiteX1113" fmla="*/ 379360 w 9580296"/>
              <a:gd name="connsiteY1113" fmla="*/ 812962 h 5096778"/>
              <a:gd name="connsiteX1114" fmla="*/ 355098 w 9580296"/>
              <a:gd name="connsiteY1114" fmla="*/ 766618 h 5096778"/>
              <a:gd name="connsiteX1115" fmla="*/ 333041 w 9580296"/>
              <a:gd name="connsiteY1115" fmla="*/ 723224 h 5096778"/>
              <a:gd name="connsiteX1116" fmla="*/ 312638 w 9580296"/>
              <a:gd name="connsiteY1116" fmla="*/ 683621 h 5096778"/>
              <a:gd name="connsiteX1117" fmla="*/ 295544 w 9580296"/>
              <a:gd name="connsiteY1117" fmla="*/ 648232 h 5096778"/>
              <a:gd name="connsiteX1118" fmla="*/ 281758 w 9580296"/>
              <a:gd name="connsiteY1118" fmla="*/ 618741 h 5096778"/>
              <a:gd name="connsiteX1119" fmla="*/ 271833 w 9580296"/>
              <a:gd name="connsiteY1119" fmla="*/ 596833 h 5096778"/>
              <a:gd name="connsiteX1120" fmla="*/ 266318 w 9580296"/>
              <a:gd name="connsiteY1120" fmla="*/ 582088 h 5096778"/>
              <a:gd name="connsiteX1121" fmla="*/ 261908 w 9580296"/>
              <a:gd name="connsiteY1121" fmla="*/ 575346 h 5096778"/>
              <a:gd name="connsiteX1122" fmla="*/ 254739 w 9580296"/>
              <a:gd name="connsiteY1122" fmla="*/ 564392 h 5096778"/>
              <a:gd name="connsiteX1123" fmla="*/ 245916 w 9580296"/>
              <a:gd name="connsiteY1123" fmla="*/ 549226 h 5096778"/>
              <a:gd name="connsiteX1124" fmla="*/ 236542 w 9580296"/>
              <a:gd name="connsiteY1124" fmla="*/ 530688 h 5096778"/>
              <a:gd name="connsiteX1125" fmla="*/ 213934 w 9580296"/>
              <a:gd name="connsiteY1125" fmla="*/ 485187 h 5096778"/>
              <a:gd name="connsiteX1126" fmla="*/ 189120 w 9580296"/>
              <a:gd name="connsiteY1126" fmla="*/ 434210 h 5096778"/>
              <a:gd name="connsiteX1127" fmla="*/ 165409 w 9580296"/>
              <a:gd name="connsiteY1127" fmla="*/ 381546 h 5096778"/>
              <a:gd name="connsiteX1128" fmla="*/ 142248 w 9580296"/>
              <a:gd name="connsiteY1128" fmla="*/ 333097 h 5096778"/>
              <a:gd name="connsiteX1129" fmla="*/ 124052 w 9580296"/>
              <a:gd name="connsiteY1129" fmla="*/ 293073 h 5096778"/>
              <a:gd name="connsiteX1130" fmla="*/ 113024 w 9580296"/>
              <a:gd name="connsiteY1130" fmla="*/ 266952 h 5096778"/>
              <a:gd name="connsiteX1131" fmla="*/ 84350 w 9580296"/>
              <a:gd name="connsiteY1131" fmla="*/ 201650 h 5096778"/>
              <a:gd name="connsiteX1132" fmla="*/ 56779 w 9580296"/>
              <a:gd name="connsiteY1132" fmla="*/ 137612 h 5096778"/>
              <a:gd name="connsiteX1133" fmla="*/ 30311 w 9580296"/>
              <a:gd name="connsiteY1133" fmla="*/ 73995 h 5096778"/>
              <a:gd name="connsiteX1134" fmla="*/ 4394 w 9580296"/>
              <a:gd name="connsiteY1134" fmla="*/ 10799 h 5096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</a:cxnLst>
            <a:rect l="l" t="t" r="r" b="b"/>
            <a:pathLst>
              <a:path w="9580296" h="5096778">
                <a:moveTo>
                  <a:pt x="1526488" y="1"/>
                </a:moveTo>
                <a:lnTo>
                  <a:pt x="8052672" y="1"/>
                </a:lnTo>
                <a:lnTo>
                  <a:pt x="8051297" y="8125"/>
                </a:lnTo>
                <a:lnTo>
                  <a:pt x="8046265" y="38330"/>
                </a:lnTo>
                <a:lnTo>
                  <a:pt x="8041234" y="65789"/>
                </a:lnTo>
                <a:lnTo>
                  <a:pt x="8036562" y="89678"/>
                </a:lnTo>
                <a:lnTo>
                  <a:pt x="8032608" y="109448"/>
                </a:lnTo>
                <a:lnTo>
                  <a:pt x="8029015" y="124001"/>
                </a:lnTo>
                <a:lnTo>
                  <a:pt x="8021108" y="155029"/>
                </a:lnTo>
                <a:lnTo>
                  <a:pt x="8012842" y="185508"/>
                </a:lnTo>
                <a:lnTo>
                  <a:pt x="8004217" y="216262"/>
                </a:lnTo>
                <a:lnTo>
                  <a:pt x="7995232" y="247015"/>
                </a:lnTo>
                <a:lnTo>
                  <a:pt x="7985528" y="277495"/>
                </a:lnTo>
                <a:lnTo>
                  <a:pt x="7975465" y="308248"/>
                </a:lnTo>
                <a:lnTo>
                  <a:pt x="7965043" y="338727"/>
                </a:lnTo>
                <a:lnTo>
                  <a:pt x="7953902" y="369481"/>
                </a:lnTo>
                <a:lnTo>
                  <a:pt x="7942761" y="399960"/>
                </a:lnTo>
                <a:lnTo>
                  <a:pt x="7931260" y="430714"/>
                </a:lnTo>
                <a:lnTo>
                  <a:pt x="7919401" y="461193"/>
                </a:lnTo>
                <a:lnTo>
                  <a:pt x="7907181" y="491672"/>
                </a:lnTo>
                <a:lnTo>
                  <a:pt x="7894243" y="522151"/>
                </a:lnTo>
                <a:lnTo>
                  <a:pt x="7881665" y="552630"/>
                </a:lnTo>
                <a:lnTo>
                  <a:pt x="7868367" y="583109"/>
                </a:lnTo>
                <a:lnTo>
                  <a:pt x="7854710" y="613588"/>
                </a:lnTo>
                <a:lnTo>
                  <a:pt x="7841413" y="643793"/>
                </a:lnTo>
                <a:lnTo>
                  <a:pt x="7827397" y="673997"/>
                </a:lnTo>
                <a:lnTo>
                  <a:pt x="7813021" y="704202"/>
                </a:lnTo>
                <a:lnTo>
                  <a:pt x="7798645" y="733857"/>
                </a:lnTo>
                <a:lnTo>
                  <a:pt x="7784270" y="764061"/>
                </a:lnTo>
                <a:lnTo>
                  <a:pt x="7769176" y="793991"/>
                </a:lnTo>
                <a:lnTo>
                  <a:pt x="7754081" y="823921"/>
                </a:lnTo>
                <a:lnTo>
                  <a:pt x="7738987" y="853302"/>
                </a:lnTo>
                <a:lnTo>
                  <a:pt x="7708439" y="912338"/>
                </a:lnTo>
                <a:lnTo>
                  <a:pt x="7677172" y="970825"/>
                </a:lnTo>
                <a:lnTo>
                  <a:pt x="7645545" y="1029037"/>
                </a:lnTo>
                <a:lnTo>
                  <a:pt x="7613919" y="1086151"/>
                </a:lnTo>
                <a:lnTo>
                  <a:pt x="7608888" y="1095487"/>
                </a:lnTo>
                <a:lnTo>
                  <a:pt x="7603497" y="1105647"/>
                </a:lnTo>
                <a:lnTo>
                  <a:pt x="7598106" y="1116356"/>
                </a:lnTo>
                <a:lnTo>
                  <a:pt x="7592715" y="1127064"/>
                </a:lnTo>
                <a:lnTo>
                  <a:pt x="7586965" y="1137499"/>
                </a:lnTo>
                <a:lnTo>
                  <a:pt x="7581214" y="1147384"/>
                </a:lnTo>
                <a:lnTo>
                  <a:pt x="7575105" y="1156445"/>
                </a:lnTo>
                <a:lnTo>
                  <a:pt x="7568995" y="1164957"/>
                </a:lnTo>
                <a:lnTo>
                  <a:pt x="7566479" y="1171547"/>
                </a:lnTo>
                <a:lnTo>
                  <a:pt x="7563245" y="1178961"/>
                </a:lnTo>
                <a:lnTo>
                  <a:pt x="7560010" y="1186375"/>
                </a:lnTo>
                <a:lnTo>
                  <a:pt x="7556417" y="1194064"/>
                </a:lnTo>
                <a:lnTo>
                  <a:pt x="7547791" y="1209990"/>
                </a:lnTo>
                <a:lnTo>
                  <a:pt x="7538447" y="1225916"/>
                </a:lnTo>
                <a:lnTo>
                  <a:pt x="7529103" y="1242391"/>
                </a:lnTo>
                <a:lnTo>
                  <a:pt x="7520118" y="1258042"/>
                </a:lnTo>
                <a:lnTo>
                  <a:pt x="7511133" y="1273144"/>
                </a:lnTo>
                <a:lnTo>
                  <a:pt x="7503586" y="1287148"/>
                </a:lnTo>
                <a:lnTo>
                  <a:pt x="7492086" y="1308291"/>
                </a:lnTo>
                <a:lnTo>
                  <a:pt x="7480226" y="1329984"/>
                </a:lnTo>
                <a:lnTo>
                  <a:pt x="7468007" y="1351951"/>
                </a:lnTo>
                <a:lnTo>
                  <a:pt x="7455068" y="1374192"/>
                </a:lnTo>
                <a:lnTo>
                  <a:pt x="7441771" y="1396983"/>
                </a:lnTo>
                <a:lnTo>
                  <a:pt x="7428833" y="1419773"/>
                </a:lnTo>
                <a:lnTo>
                  <a:pt x="7414817" y="1443113"/>
                </a:lnTo>
                <a:lnTo>
                  <a:pt x="7401160" y="1465904"/>
                </a:lnTo>
                <a:lnTo>
                  <a:pt x="7387144" y="1488969"/>
                </a:lnTo>
                <a:lnTo>
                  <a:pt x="7373128" y="1511485"/>
                </a:lnTo>
                <a:lnTo>
                  <a:pt x="7359111" y="1534276"/>
                </a:lnTo>
                <a:lnTo>
                  <a:pt x="7345814" y="1556517"/>
                </a:lnTo>
                <a:lnTo>
                  <a:pt x="7331798" y="1578210"/>
                </a:lnTo>
                <a:lnTo>
                  <a:pt x="7318141" y="1599353"/>
                </a:lnTo>
                <a:lnTo>
                  <a:pt x="7304484" y="1619947"/>
                </a:lnTo>
                <a:lnTo>
                  <a:pt x="7291546" y="1639717"/>
                </a:lnTo>
                <a:lnTo>
                  <a:pt x="7272498" y="1668274"/>
                </a:lnTo>
                <a:lnTo>
                  <a:pt x="7253091" y="1696831"/>
                </a:lnTo>
                <a:lnTo>
                  <a:pt x="7233684" y="1725662"/>
                </a:lnTo>
                <a:lnTo>
                  <a:pt x="7214277" y="1753945"/>
                </a:lnTo>
                <a:lnTo>
                  <a:pt x="7194511" y="1782227"/>
                </a:lnTo>
                <a:lnTo>
                  <a:pt x="7174744" y="1809960"/>
                </a:lnTo>
                <a:lnTo>
                  <a:pt x="7154618" y="1837968"/>
                </a:lnTo>
                <a:lnTo>
                  <a:pt x="7134493" y="1865976"/>
                </a:lnTo>
                <a:lnTo>
                  <a:pt x="7114007" y="1893709"/>
                </a:lnTo>
                <a:lnTo>
                  <a:pt x="7093522" y="1920893"/>
                </a:lnTo>
                <a:lnTo>
                  <a:pt x="7073037" y="1948077"/>
                </a:lnTo>
                <a:lnTo>
                  <a:pt x="7052552" y="1974987"/>
                </a:lnTo>
                <a:lnTo>
                  <a:pt x="7032067" y="2001622"/>
                </a:lnTo>
                <a:lnTo>
                  <a:pt x="7010863" y="2028257"/>
                </a:lnTo>
                <a:lnTo>
                  <a:pt x="6990018" y="2054617"/>
                </a:lnTo>
                <a:lnTo>
                  <a:pt x="6968455" y="2080153"/>
                </a:lnTo>
                <a:lnTo>
                  <a:pt x="6946532" y="2107063"/>
                </a:lnTo>
                <a:lnTo>
                  <a:pt x="6924609" y="2133698"/>
                </a:lnTo>
                <a:lnTo>
                  <a:pt x="6902686" y="2160058"/>
                </a:lnTo>
                <a:lnTo>
                  <a:pt x="6881123" y="2186418"/>
                </a:lnTo>
                <a:lnTo>
                  <a:pt x="6858841" y="2212504"/>
                </a:lnTo>
                <a:lnTo>
                  <a:pt x="6836918" y="2238590"/>
                </a:lnTo>
                <a:lnTo>
                  <a:pt x="6814636" y="2264675"/>
                </a:lnTo>
                <a:lnTo>
                  <a:pt x="6791635" y="2290486"/>
                </a:lnTo>
                <a:lnTo>
                  <a:pt x="6767915" y="2317670"/>
                </a:lnTo>
                <a:lnTo>
                  <a:pt x="6743836" y="2344305"/>
                </a:lnTo>
                <a:lnTo>
                  <a:pt x="6720475" y="2370391"/>
                </a:lnTo>
                <a:lnTo>
                  <a:pt x="6697115" y="2395378"/>
                </a:lnTo>
                <a:lnTo>
                  <a:pt x="6674114" y="2420366"/>
                </a:lnTo>
                <a:lnTo>
                  <a:pt x="6651113" y="2444529"/>
                </a:lnTo>
                <a:lnTo>
                  <a:pt x="6628471" y="2468693"/>
                </a:lnTo>
                <a:lnTo>
                  <a:pt x="6605470" y="2492582"/>
                </a:lnTo>
                <a:lnTo>
                  <a:pt x="6582829" y="2516196"/>
                </a:lnTo>
                <a:lnTo>
                  <a:pt x="6559828" y="2539811"/>
                </a:lnTo>
                <a:lnTo>
                  <a:pt x="6536468" y="2563700"/>
                </a:lnTo>
                <a:lnTo>
                  <a:pt x="6513107" y="2587589"/>
                </a:lnTo>
                <a:lnTo>
                  <a:pt x="6489387" y="2612027"/>
                </a:lnTo>
                <a:lnTo>
                  <a:pt x="6465668" y="2636465"/>
                </a:lnTo>
                <a:lnTo>
                  <a:pt x="6440870" y="2661452"/>
                </a:lnTo>
                <a:lnTo>
                  <a:pt x="6416072" y="2687264"/>
                </a:lnTo>
                <a:lnTo>
                  <a:pt x="6392352" y="2711153"/>
                </a:lnTo>
                <a:lnTo>
                  <a:pt x="6367554" y="2735316"/>
                </a:lnTo>
                <a:lnTo>
                  <a:pt x="6342038" y="2759480"/>
                </a:lnTo>
                <a:lnTo>
                  <a:pt x="6316521" y="2783369"/>
                </a:lnTo>
                <a:lnTo>
                  <a:pt x="6291364" y="2806983"/>
                </a:lnTo>
                <a:lnTo>
                  <a:pt x="6265847" y="2830598"/>
                </a:lnTo>
                <a:lnTo>
                  <a:pt x="6241049" y="2854212"/>
                </a:lnTo>
                <a:lnTo>
                  <a:pt x="6217689" y="2877003"/>
                </a:lnTo>
                <a:lnTo>
                  <a:pt x="5690823" y="3334463"/>
                </a:lnTo>
                <a:lnTo>
                  <a:pt x="5679681" y="3343250"/>
                </a:lnTo>
                <a:lnTo>
                  <a:pt x="5668181" y="3351762"/>
                </a:lnTo>
                <a:lnTo>
                  <a:pt x="5656681" y="3359725"/>
                </a:lnTo>
                <a:lnTo>
                  <a:pt x="5645180" y="3367414"/>
                </a:lnTo>
                <a:lnTo>
                  <a:pt x="5633680" y="3375102"/>
                </a:lnTo>
                <a:lnTo>
                  <a:pt x="5622538" y="3382241"/>
                </a:lnTo>
                <a:lnTo>
                  <a:pt x="5611757" y="3389381"/>
                </a:lnTo>
                <a:lnTo>
                  <a:pt x="5602053" y="3397069"/>
                </a:lnTo>
                <a:lnTo>
                  <a:pt x="5573661" y="3419036"/>
                </a:lnTo>
                <a:lnTo>
                  <a:pt x="5542394" y="3442650"/>
                </a:lnTo>
                <a:lnTo>
                  <a:pt x="5509331" y="3467089"/>
                </a:lnTo>
                <a:lnTo>
                  <a:pt x="5474829" y="3491527"/>
                </a:lnTo>
                <a:lnTo>
                  <a:pt x="5439968" y="3516240"/>
                </a:lnTo>
                <a:lnTo>
                  <a:pt x="5405467" y="3539305"/>
                </a:lnTo>
                <a:lnTo>
                  <a:pt x="5388575" y="3550563"/>
                </a:lnTo>
                <a:lnTo>
                  <a:pt x="5371684" y="3561272"/>
                </a:lnTo>
                <a:lnTo>
                  <a:pt x="5355512" y="3571706"/>
                </a:lnTo>
                <a:lnTo>
                  <a:pt x="5340417" y="3581042"/>
                </a:lnTo>
                <a:lnTo>
                  <a:pt x="5304478" y="3603283"/>
                </a:lnTo>
                <a:lnTo>
                  <a:pt x="5272492" y="3622779"/>
                </a:lnTo>
                <a:lnTo>
                  <a:pt x="5257398" y="3631840"/>
                </a:lnTo>
                <a:lnTo>
                  <a:pt x="5242304" y="3640353"/>
                </a:lnTo>
                <a:lnTo>
                  <a:pt x="5227569" y="3648590"/>
                </a:lnTo>
                <a:lnTo>
                  <a:pt x="5213193" y="3656828"/>
                </a:lnTo>
                <a:lnTo>
                  <a:pt x="5198099" y="3664791"/>
                </a:lnTo>
                <a:lnTo>
                  <a:pt x="5182645" y="3672479"/>
                </a:lnTo>
                <a:lnTo>
                  <a:pt x="5167191" y="3680442"/>
                </a:lnTo>
                <a:lnTo>
                  <a:pt x="5150659" y="3688405"/>
                </a:lnTo>
                <a:lnTo>
                  <a:pt x="5133409" y="3696368"/>
                </a:lnTo>
                <a:lnTo>
                  <a:pt x="5115080" y="3704880"/>
                </a:lnTo>
                <a:lnTo>
                  <a:pt x="5094954" y="3713667"/>
                </a:lnTo>
                <a:lnTo>
                  <a:pt x="5073750" y="3723003"/>
                </a:lnTo>
                <a:lnTo>
                  <a:pt x="5059734" y="3728769"/>
                </a:lnTo>
                <a:lnTo>
                  <a:pt x="5042842" y="3734810"/>
                </a:lnTo>
                <a:lnTo>
                  <a:pt x="5024513" y="3741675"/>
                </a:lnTo>
                <a:lnTo>
                  <a:pt x="5004028" y="3748540"/>
                </a:lnTo>
                <a:lnTo>
                  <a:pt x="4982105" y="3755679"/>
                </a:lnTo>
                <a:lnTo>
                  <a:pt x="4958745" y="3762818"/>
                </a:lnTo>
                <a:lnTo>
                  <a:pt x="4934306" y="3769408"/>
                </a:lnTo>
                <a:lnTo>
                  <a:pt x="4909868" y="3775998"/>
                </a:lnTo>
                <a:lnTo>
                  <a:pt x="4884711" y="3782039"/>
                </a:lnTo>
                <a:lnTo>
                  <a:pt x="4859553" y="3787531"/>
                </a:lnTo>
                <a:lnTo>
                  <a:pt x="4847334" y="3789727"/>
                </a:lnTo>
                <a:lnTo>
                  <a:pt x="4834755" y="3791924"/>
                </a:lnTo>
                <a:lnTo>
                  <a:pt x="4822536" y="3794121"/>
                </a:lnTo>
                <a:lnTo>
                  <a:pt x="4810676" y="3795768"/>
                </a:lnTo>
                <a:lnTo>
                  <a:pt x="4799176" y="3797416"/>
                </a:lnTo>
                <a:lnTo>
                  <a:pt x="4787675" y="3798514"/>
                </a:lnTo>
                <a:lnTo>
                  <a:pt x="4776534" y="3799338"/>
                </a:lnTo>
                <a:lnTo>
                  <a:pt x="4765752" y="3799887"/>
                </a:lnTo>
                <a:lnTo>
                  <a:pt x="4755330" y="3800162"/>
                </a:lnTo>
                <a:lnTo>
                  <a:pt x="4745267" y="3800162"/>
                </a:lnTo>
                <a:lnTo>
                  <a:pt x="4735923" y="3799613"/>
                </a:lnTo>
                <a:lnTo>
                  <a:pt x="4726938" y="3798514"/>
                </a:lnTo>
                <a:lnTo>
                  <a:pt x="4706453" y="3795768"/>
                </a:lnTo>
                <a:lnTo>
                  <a:pt x="4686687" y="3792748"/>
                </a:lnTo>
                <a:lnTo>
                  <a:pt x="4666920" y="3789453"/>
                </a:lnTo>
                <a:lnTo>
                  <a:pt x="4648232" y="3785609"/>
                </a:lnTo>
                <a:lnTo>
                  <a:pt x="4629184" y="3782039"/>
                </a:lnTo>
                <a:lnTo>
                  <a:pt x="4610855" y="3777920"/>
                </a:lnTo>
                <a:lnTo>
                  <a:pt x="4592526" y="3773527"/>
                </a:lnTo>
                <a:lnTo>
                  <a:pt x="4574916" y="3768859"/>
                </a:lnTo>
                <a:lnTo>
                  <a:pt x="4557666" y="3763916"/>
                </a:lnTo>
                <a:lnTo>
                  <a:pt x="4540415" y="3758699"/>
                </a:lnTo>
                <a:lnTo>
                  <a:pt x="4523523" y="3753482"/>
                </a:lnTo>
                <a:lnTo>
                  <a:pt x="4506992" y="3747990"/>
                </a:lnTo>
                <a:lnTo>
                  <a:pt x="4490460" y="3741949"/>
                </a:lnTo>
                <a:lnTo>
                  <a:pt x="4474287" y="3736183"/>
                </a:lnTo>
                <a:lnTo>
                  <a:pt x="4458474" y="3729868"/>
                </a:lnTo>
                <a:lnTo>
                  <a:pt x="4442661" y="3723552"/>
                </a:lnTo>
                <a:lnTo>
                  <a:pt x="4426848" y="3716962"/>
                </a:lnTo>
                <a:lnTo>
                  <a:pt x="4411753" y="3710097"/>
                </a:lnTo>
                <a:lnTo>
                  <a:pt x="4396299" y="3702958"/>
                </a:lnTo>
                <a:lnTo>
                  <a:pt x="4381205" y="3695819"/>
                </a:lnTo>
                <a:lnTo>
                  <a:pt x="4366470" y="3688680"/>
                </a:lnTo>
                <a:lnTo>
                  <a:pt x="4351376" y="3680991"/>
                </a:lnTo>
                <a:lnTo>
                  <a:pt x="4336281" y="3673577"/>
                </a:lnTo>
                <a:lnTo>
                  <a:pt x="4321546" y="3665614"/>
                </a:lnTo>
                <a:lnTo>
                  <a:pt x="4292436" y="3649963"/>
                </a:lnTo>
                <a:lnTo>
                  <a:pt x="4262606" y="3633213"/>
                </a:lnTo>
                <a:lnTo>
                  <a:pt x="4233496" y="3616464"/>
                </a:lnTo>
                <a:lnTo>
                  <a:pt x="4204026" y="3599165"/>
                </a:lnTo>
                <a:lnTo>
                  <a:pt x="4188213" y="3589554"/>
                </a:lnTo>
                <a:lnTo>
                  <a:pt x="4173118" y="3580218"/>
                </a:lnTo>
                <a:lnTo>
                  <a:pt x="4165571" y="3575276"/>
                </a:lnTo>
                <a:lnTo>
                  <a:pt x="4158743" y="3570058"/>
                </a:lnTo>
                <a:lnTo>
                  <a:pt x="4151555" y="3564841"/>
                </a:lnTo>
                <a:lnTo>
                  <a:pt x="4145086" y="3559075"/>
                </a:lnTo>
                <a:lnTo>
                  <a:pt x="4139335" y="3556055"/>
                </a:lnTo>
                <a:lnTo>
                  <a:pt x="4129273" y="3549190"/>
                </a:lnTo>
                <a:lnTo>
                  <a:pt x="4115256" y="3539579"/>
                </a:lnTo>
                <a:lnTo>
                  <a:pt x="4098006" y="3527223"/>
                </a:lnTo>
                <a:lnTo>
                  <a:pt x="4077880" y="3512945"/>
                </a:lnTo>
                <a:lnTo>
                  <a:pt x="4055598" y="3497019"/>
                </a:lnTo>
                <a:lnTo>
                  <a:pt x="4031878" y="3479720"/>
                </a:lnTo>
                <a:lnTo>
                  <a:pt x="4007799" y="3461871"/>
                </a:lnTo>
                <a:lnTo>
                  <a:pt x="3983360" y="3443749"/>
                </a:lnTo>
                <a:lnTo>
                  <a:pt x="3959281" y="3425626"/>
                </a:lnTo>
                <a:lnTo>
                  <a:pt x="3935921" y="3408327"/>
                </a:lnTo>
                <a:lnTo>
                  <a:pt x="3914357" y="3392401"/>
                </a:lnTo>
                <a:lnTo>
                  <a:pt x="3894950" y="3377574"/>
                </a:lnTo>
                <a:lnTo>
                  <a:pt x="3878059" y="3364668"/>
                </a:lnTo>
                <a:lnTo>
                  <a:pt x="3864762" y="3354508"/>
                </a:lnTo>
                <a:lnTo>
                  <a:pt x="3855777" y="3347094"/>
                </a:lnTo>
                <a:lnTo>
                  <a:pt x="3844276" y="3338033"/>
                </a:lnTo>
                <a:lnTo>
                  <a:pt x="3832416" y="3328972"/>
                </a:lnTo>
                <a:lnTo>
                  <a:pt x="3821635" y="3320185"/>
                </a:lnTo>
                <a:lnTo>
                  <a:pt x="3810494" y="3311398"/>
                </a:lnTo>
                <a:lnTo>
                  <a:pt x="3799353" y="3302611"/>
                </a:lnTo>
                <a:lnTo>
                  <a:pt x="3787852" y="3293550"/>
                </a:lnTo>
                <a:lnTo>
                  <a:pt x="3776352" y="3284763"/>
                </a:lnTo>
                <a:lnTo>
                  <a:pt x="3764132" y="3275702"/>
                </a:lnTo>
                <a:lnTo>
                  <a:pt x="3696926" y="3218039"/>
                </a:lnTo>
                <a:lnTo>
                  <a:pt x="3689739" y="3212273"/>
                </a:lnTo>
                <a:lnTo>
                  <a:pt x="3685066" y="3208428"/>
                </a:lnTo>
                <a:lnTo>
                  <a:pt x="3680754" y="3205133"/>
                </a:lnTo>
                <a:lnTo>
                  <a:pt x="3675004" y="3199367"/>
                </a:lnTo>
                <a:lnTo>
                  <a:pt x="3664222" y="3189482"/>
                </a:lnTo>
                <a:lnTo>
                  <a:pt x="3650924" y="3176851"/>
                </a:lnTo>
                <a:lnTo>
                  <a:pt x="3635111" y="3162847"/>
                </a:lnTo>
                <a:lnTo>
                  <a:pt x="3617501" y="3147470"/>
                </a:lnTo>
                <a:lnTo>
                  <a:pt x="3598094" y="3130995"/>
                </a:lnTo>
                <a:lnTo>
                  <a:pt x="3578328" y="3113696"/>
                </a:lnTo>
                <a:lnTo>
                  <a:pt x="3557842" y="3095848"/>
                </a:lnTo>
                <a:lnTo>
                  <a:pt x="3536998" y="3077725"/>
                </a:lnTo>
                <a:lnTo>
                  <a:pt x="3516872" y="3059877"/>
                </a:lnTo>
                <a:lnTo>
                  <a:pt x="3497105" y="3042853"/>
                </a:lnTo>
                <a:lnTo>
                  <a:pt x="3478777" y="3026378"/>
                </a:lnTo>
                <a:lnTo>
                  <a:pt x="3461885" y="3011275"/>
                </a:lnTo>
                <a:lnTo>
                  <a:pt x="3447150" y="2997271"/>
                </a:lnTo>
                <a:lnTo>
                  <a:pt x="3435290" y="2985464"/>
                </a:lnTo>
                <a:lnTo>
                  <a:pt x="3430259" y="2980522"/>
                </a:lnTo>
                <a:lnTo>
                  <a:pt x="3425946" y="2975854"/>
                </a:lnTo>
                <a:lnTo>
                  <a:pt x="3422712" y="2971735"/>
                </a:lnTo>
                <a:lnTo>
                  <a:pt x="3420196" y="2968165"/>
                </a:lnTo>
                <a:lnTo>
                  <a:pt x="3415883" y="2965145"/>
                </a:lnTo>
                <a:lnTo>
                  <a:pt x="3409414" y="2959928"/>
                </a:lnTo>
                <a:lnTo>
                  <a:pt x="3401508" y="2953063"/>
                </a:lnTo>
                <a:lnTo>
                  <a:pt x="3392164" y="2944551"/>
                </a:lnTo>
                <a:lnTo>
                  <a:pt x="3369163" y="2923133"/>
                </a:lnTo>
                <a:lnTo>
                  <a:pt x="3341130" y="2896773"/>
                </a:lnTo>
                <a:lnTo>
                  <a:pt x="3309504" y="2866294"/>
                </a:lnTo>
                <a:lnTo>
                  <a:pt x="3275002" y="2833069"/>
                </a:lnTo>
                <a:lnTo>
                  <a:pt x="3238704" y="2797647"/>
                </a:lnTo>
                <a:lnTo>
                  <a:pt x="3201687" y="2761127"/>
                </a:lnTo>
                <a:lnTo>
                  <a:pt x="3165029" y="2724607"/>
                </a:lnTo>
                <a:lnTo>
                  <a:pt x="3129449" y="2688911"/>
                </a:lnTo>
                <a:lnTo>
                  <a:pt x="3095667" y="2655137"/>
                </a:lnTo>
                <a:lnTo>
                  <a:pt x="3065119" y="2624109"/>
                </a:lnTo>
                <a:lnTo>
                  <a:pt x="3039242" y="2597199"/>
                </a:lnTo>
                <a:lnTo>
                  <a:pt x="3018398" y="2574683"/>
                </a:lnTo>
                <a:lnTo>
                  <a:pt x="3009772" y="2565622"/>
                </a:lnTo>
                <a:lnTo>
                  <a:pt x="3002944" y="2558208"/>
                </a:lnTo>
                <a:lnTo>
                  <a:pt x="2998631" y="2552442"/>
                </a:lnTo>
                <a:lnTo>
                  <a:pt x="2995397" y="2548323"/>
                </a:lnTo>
                <a:lnTo>
                  <a:pt x="2985693" y="2539262"/>
                </a:lnTo>
                <a:lnTo>
                  <a:pt x="2971677" y="2524983"/>
                </a:lnTo>
                <a:lnTo>
                  <a:pt x="2954067" y="2506311"/>
                </a:lnTo>
                <a:lnTo>
                  <a:pt x="2933582" y="2484344"/>
                </a:lnTo>
                <a:lnTo>
                  <a:pt x="2910581" y="2459082"/>
                </a:lnTo>
                <a:lnTo>
                  <a:pt x="2885783" y="2432448"/>
                </a:lnTo>
                <a:lnTo>
                  <a:pt x="2860266" y="2403891"/>
                </a:lnTo>
                <a:lnTo>
                  <a:pt x="2834390" y="2375059"/>
                </a:lnTo>
                <a:lnTo>
                  <a:pt x="2808514" y="2345953"/>
                </a:lnTo>
                <a:lnTo>
                  <a:pt x="2783716" y="2317670"/>
                </a:lnTo>
                <a:lnTo>
                  <a:pt x="2760356" y="2291036"/>
                </a:lnTo>
                <a:lnTo>
                  <a:pt x="2739511" y="2266597"/>
                </a:lnTo>
                <a:lnTo>
                  <a:pt x="2721901" y="2245180"/>
                </a:lnTo>
                <a:lnTo>
                  <a:pt x="2707166" y="2227332"/>
                </a:lnTo>
                <a:lnTo>
                  <a:pt x="2701416" y="2219643"/>
                </a:lnTo>
                <a:lnTo>
                  <a:pt x="2697103" y="2213877"/>
                </a:lnTo>
                <a:lnTo>
                  <a:pt x="2693869" y="2208660"/>
                </a:lnTo>
                <a:lnTo>
                  <a:pt x="2691712" y="2205365"/>
                </a:lnTo>
                <a:lnTo>
                  <a:pt x="2688118" y="2202619"/>
                </a:lnTo>
                <a:lnTo>
                  <a:pt x="2683087" y="2197402"/>
                </a:lnTo>
                <a:lnTo>
                  <a:pt x="2676977" y="2190537"/>
                </a:lnTo>
                <a:lnTo>
                  <a:pt x="2669071" y="2181750"/>
                </a:lnTo>
                <a:lnTo>
                  <a:pt x="2650742" y="2159509"/>
                </a:lnTo>
                <a:lnTo>
                  <a:pt x="2627381" y="2131226"/>
                </a:lnTo>
                <a:lnTo>
                  <a:pt x="2601146" y="2098276"/>
                </a:lnTo>
                <a:lnTo>
                  <a:pt x="2572754" y="2061756"/>
                </a:lnTo>
                <a:lnTo>
                  <a:pt x="2542925" y="2022765"/>
                </a:lnTo>
                <a:lnTo>
                  <a:pt x="2511658" y="1981851"/>
                </a:lnTo>
                <a:lnTo>
                  <a:pt x="2480750" y="1940664"/>
                </a:lnTo>
                <a:lnTo>
                  <a:pt x="2450202" y="1900299"/>
                </a:lnTo>
                <a:lnTo>
                  <a:pt x="2421810" y="1861308"/>
                </a:lnTo>
                <a:lnTo>
                  <a:pt x="2395575" y="1825063"/>
                </a:lnTo>
                <a:lnTo>
                  <a:pt x="2372214" y="1792387"/>
                </a:lnTo>
                <a:lnTo>
                  <a:pt x="2353167" y="1764928"/>
                </a:lnTo>
                <a:lnTo>
                  <a:pt x="2344901" y="1753121"/>
                </a:lnTo>
                <a:lnTo>
                  <a:pt x="2338791" y="1743236"/>
                </a:lnTo>
                <a:lnTo>
                  <a:pt x="2333400" y="1734724"/>
                </a:lnTo>
                <a:lnTo>
                  <a:pt x="2329806" y="1728134"/>
                </a:lnTo>
                <a:lnTo>
                  <a:pt x="2321900" y="1718249"/>
                </a:lnTo>
                <a:lnTo>
                  <a:pt x="2313993" y="1708364"/>
                </a:lnTo>
                <a:lnTo>
                  <a:pt x="2306446" y="1697655"/>
                </a:lnTo>
                <a:lnTo>
                  <a:pt x="2298539" y="1686671"/>
                </a:lnTo>
                <a:lnTo>
                  <a:pt x="2283804" y="1663606"/>
                </a:lnTo>
                <a:lnTo>
                  <a:pt x="2269069" y="1639717"/>
                </a:lnTo>
                <a:lnTo>
                  <a:pt x="2254334" y="1615828"/>
                </a:lnTo>
                <a:lnTo>
                  <a:pt x="2239959" y="1591939"/>
                </a:lnTo>
                <a:lnTo>
                  <a:pt x="2226302" y="1569148"/>
                </a:lnTo>
                <a:lnTo>
                  <a:pt x="2212286" y="1547456"/>
                </a:lnTo>
                <a:lnTo>
                  <a:pt x="2204739" y="1536198"/>
                </a:lnTo>
                <a:lnTo>
                  <a:pt x="2197910" y="1524665"/>
                </a:lnTo>
                <a:lnTo>
                  <a:pt x="2190722" y="1513133"/>
                </a:lnTo>
                <a:lnTo>
                  <a:pt x="2184253" y="1501600"/>
                </a:lnTo>
                <a:lnTo>
                  <a:pt x="2177066" y="1490342"/>
                </a:lnTo>
                <a:lnTo>
                  <a:pt x="2170597" y="1478535"/>
                </a:lnTo>
                <a:lnTo>
                  <a:pt x="2164128" y="1467002"/>
                </a:lnTo>
                <a:lnTo>
                  <a:pt x="2156940" y="1455744"/>
                </a:lnTo>
                <a:lnTo>
                  <a:pt x="2150830" y="1445585"/>
                </a:lnTo>
                <a:lnTo>
                  <a:pt x="2143642" y="1434326"/>
                </a:lnTo>
                <a:lnTo>
                  <a:pt x="2136095" y="1421696"/>
                </a:lnTo>
                <a:lnTo>
                  <a:pt x="2128189" y="1408515"/>
                </a:lnTo>
                <a:lnTo>
                  <a:pt x="2120282" y="1395610"/>
                </a:lnTo>
                <a:lnTo>
                  <a:pt x="2113813" y="1382979"/>
                </a:lnTo>
                <a:lnTo>
                  <a:pt x="2108063" y="1371172"/>
                </a:lnTo>
                <a:lnTo>
                  <a:pt x="2103750" y="1361012"/>
                </a:lnTo>
                <a:lnTo>
                  <a:pt x="2094765" y="1347832"/>
                </a:lnTo>
                <a:lnTo>
                  <a:pt x="2086140" y="1333004"/>
                </a:lnTo>
                <a:lnTo>
                  <a:pt x="2077155" y="1317353"/>
                </a:lnTo>
                <a:lnTo>
                  <a:pt x="2068530" y="1301152"/>
                </a:lnTo>
                <a:lnTo>
                  <a:pt x="2059904" y="1284402"/>
                </a:lnTo>
                <a:lnTo>
                  <a:pt x="2051638" y="1268202"/>
                </a:lnTo>
                <a:lnTo>
                  <a:pt x="2044091" y="1252276"/>
                </a:lnTo>
                <a:lnTo>
                  <a:pt x="2036185" y="1237997"/>
                </a:lnTo>
                <a:lnTo>
                  <a:pt x="2028997" y="1224543"/>
                </a:lnTo>
                <a:lnTo>
                  <a:pt x="2019653" y="1206145"/>
                </a:lnTo>
                <a:lnTo>
                  <a:pt x="2008152" y="1184178"/>
                </a:lnTo>
                <a:lnTo>
                  <a:pt x="1994495" y="1159191"/>
                </a:lnTo>
                <a:lnTo>
                  <a:pt x="1980120" y="1131183"/>
                </a:lnTo>
                <a:lnTo>
                  <a:pt x="1964307" y="1101253"/>
                </a:lnTo>
                <a:lnTo>
                  <a:pt x="1948134" y="1070500"/>
                </a:lnTo>
                <a:lnTo>
                  <a:pt x="1931602" y="1039471"/>
                </a:lnTo>
                <a:lnTo>
                  <a:pt x="1915789" y="1008169"/>
                </a:lnTo>
                <a:lnTo>
                  <a:pt x="1899976" y="977964"/>
                </a:lnTo>
                <a:lnTo>
                  <a:pt x="1885600" y="949682"/>
                </a:lnTo>
                <a:lnTo>
                  <a:pt x="1872303" y="923871"/>
                </a:lnTo>
                <a:lnTo>
                  <a:pt x="1861162" y="900805"/>
                </a:lnTo>
                <a:lnTo>
                  <a:pt x="1852177" y="881584"/>
                </a:lnTo>
                <a:lnTo>
                  <a:pt x="1845708" y="867306"/>
                </a:lnTo>
                <a:lnTo>
                  <a:pt x="1842114" y="857695"/>
                </a:lnTo>
                <a:lnTo>
                  <a:pt x="1839239" y="853302"/>
                </a:lnTo>
                <a:lnTo>
                  <a:pt x="1834567" y="846163"/>
                </a:lnTo>
                <a:lnTo>
                  <a:pt x="1828817" y="836278"/>
                </a:lnTo>
                <a:lnTo>
                  <a:pt x="1822707" y="824196"/>
                </a:lnTo>
                <a:lnTo>
                  <a:pt x="1807972" y="794540"/>
                </a:lnTo>
                <a:lnTo>
                  <a:pt x="1791799" y="761316"/>
                </a:lnTo>
                <a:lnTo>
                  <a:pt x="1776346" y="726992"/>
                </a:lnTo>
                <a:lnTo>
                  <a:pt x="1761251" y="695415"/>
                </a:lnTo>
                <a:lnTo>
                  <a:pt x="1749391" y="669329"/>
                </a:lnTo>
                <a:lnTo>
                  <a:pt x="1742204" y="652305"/>
                </a:lnTo>
                <a:lnTo>
                  <a:pt x="1723515" y="609744"/>
                </a:lnTo>
                <a:lnTo>
                  <a:pt x="1705546" y="568007"/>
                </a:lnTo>
                <a:lnTo>
                  <a:pt x="1688295" y="526544"/>
                </a:lnTo>
                <a:lnTo>
                  <a:pt x="1671404" y="485356"/>
                </a:lnTo>
                <a:lnTo>
                  <a:pt x="1654872" y="444718"/>
                </a:lnTo>
                <a:lnTo>
                  <a:pt x="1638699" y="403530"/>
                </a:lnTo>
                <a:lnTo>
                  <a:pt x="1623605" y="362616"/>
                </a:lnTo>
                <a:lnTo>
                  <a:pt x="1609229" y="321428"/>
                </a:lnTo>
                <a:lnTo>
                  <a:pt x="1602401" y="300834"/>
                </a:lnTo>
                <a:lnTo>
                  <a:pt x="1595213" y="279966"/>
                </a:lnTo>
                <a:lnTo>
                  <a:pt x="1588744" y="259097"/>
                </a:lnTo>
                <a:lnTo>
                  <a:pt x="1582634" y="238503"/>
                </a:lnTo>
                <a:lnTo>
                  <a:pt x="1576165" y="217360"/>
                </a:lnTo>
                <a:lnTo>
                  <a:pt x="1570056" y="195942"/>
                </a:lnTo>
                <a:lnTo>
                  <a:pt x="1564305" y="175074"/>
                </a:lnTo>
                <a:lnTo>
                  <a:pt x="1558555" y="153656"/>
                </a:lnTo>
                <a:lnTo>
                  <a:pt x="1553164" y="131964"/>
                </a:lnTo>
                <a:lnTo>
                  <a:pt x="1548492" y="109997"/>
                </a:lnTo>
                <a:lnTo>
                  <a:pt x="1543461" y="88305"/>
                </a:lnTo>
                <a:lnTo>
                  <a:pt x="1538429" y="66063"/>
                </a:lnTo>
                <a:lnTo>
                  <a:pt x="1534117" y="43822"/>
                </a:lnTo>
                <a:lnTo>
                  <a:pt x="1529804" y="21031"/>
                </a:lnTo>
                <a:close/>
                <a:moveTo>
                  <a:pt x="0" y="0"/>
                </a:moveTo>
                <a:lnTo>
                  <a:pt x="1191188" y="0"/>
                </a:lnTo>
                <a:lnTo>
                  <a:pt x="1195310" y="16586"/>
                </a:lnTo>
                <a:lnTo>
                  <a:pt x="1201707" y="40411"/>
                </a:lnTo>
                <a:lnTo>
                  <a:pt x="1208103" y="63625"/>
                </a:lnTo>
                <a:lnTo>
                  <a:pt x="1214900" y="87449"/>
                </a:lnTo>
                <a:lnTo>
                  <a:pt x="1222094" y="110968"/>
                </a:lnTo>
                <a:lnTo>
                  <a:pt x="1228891" y="133876"/>
                </a:lnTo>
                <a:lnTo>
                  <a:pt x="1236087" y="157089"/>
                </a:lnTo>
                <a:lnTo>
                  <a:pt x="1244083" y="180303"/>
                </a:lnTo>
                <a:lnTo>
                  <a:pt x="1251679" y="203211"/>
                </a:lnTo>
                <a:lnTo>
                  <a:pt x="1267669" y="249027"/>
                </a:lnTo>
                <a:lnTo>
                  <a:pt x="1284459" y="294538"/>
                </a:lnTo>
                <a:lnTo>
                  <a:pt x="1302450" y="340354"/>
                </a:lnTo>
                <a:lnTo>
                  <a:pt x="1320839" y="385559"/>
                </a:lnTo>
                <a:lnTo>
                  <a:pt x="1339628" y="431375"/>
                </a:lnTo>
                <a:lnTo>
                  <a:pt x="1358818" y="477496"/>
                </a:lnTo>
                <a:lnTo>
                  <a:pt x="1378807" y="523924"/>
                </a:lnTo>
                <a:lnTo>
                  <a:pt x="1399595" y="571267"/>
                </a:lnTo>
                <a:lnTo>
                  <a:pt x="1407589" y="590204"/>
                </a:lnTo>
                <a:lnTo>
                  <a:pt x="1420782" y="619221"/>
                </a:lnTo>
                <a:lnTo>
                  <a:pt x="1437572" y="654346"/>
                </a:lnTo>
                <a:lnTo>
                  <a:pt x="1454763" y="692527"/>
                </a:lnTo>
                <a:lnTo>
                  <a:pt x="1472752" y="729485"/>
                </a:lnTo>
                <a:lnTo>
                  <a:pt x="1489143" y="762473"/>
                </a:lnTo>
                <a:lnTo>
                  <a:pt x="1495939" y="775912"/>
                </a:lnTo>
                <a:lnTo>
                  <a:pt x="1502336" y="786908"/>
                </a:lnTo>
                <a:lnTo>
                  <a:pt x="1507533" y="794849"/>
                </a:lnTo>
                <a:lnTo>
                  <a:pt x="1510731" y="799737"/>
                </a:lnTo>
                <a:lnTo>
                  <a:pt x="1514729" y="810426"/>
                </a:lnTo>
                <a:lnTo>
                  <a:pt x="1521924" y="826310"/>
                </a:lnTo>
                <a:lnTo>
                  <a:pt x="1531918" y="847690"/>
                </a:lnTo>
                <a:lnTo>
                  <a:pt x="1544313" y="873347"/>
                </a:lnTo>
                <a:lnTo>
                  <a:pt x="1559104" y="902059"/>
                </a:lnTo>
                <a:lnTo>
                  <a:pt x="1575094" y="933519"/>
                </a:lnTo>
                <a:lnTo>
                  <a:pt x="1592685" y="967118"/>
                </a:lnTo>
                <a:lnTo>
                  <a:pt x="1610275" y="1001938"/>
                </a:lnTo>
                <a:lnTo>
                  <a:pt x="1628664" y="1036452"/>
                </a:lnTo>
                <a:lnTo>
                  <a:pt x="1646654" y="1070662"/>
                </a:lnTo>
                <a:lnTo>
                  <a:pt x="1664244" y="1103955"/>
                </a:lnTo>
                <a:lnTo>
                  <a:pt x="1680236" y="1135110"/>
                </a:lnTo>
                <a:lnTo>
                  <a:pt x="1695426" y="1162905"/>
                </a:lnTo>
                <a:lnTo>
                  <a:pt x="1708220" y="1187340"/>
                </a:lnTo>
                <a:lnTo>
                  <a:pt x="1718613" y="1207805"/>
                </a:lnTo>
                <a:lnTo>
                  <a:pt x="1726609" y="1222771"/>
                </a:lnTo>
                <a:lnTo>
                  <a:pt x="1735403" y="1238655"/>
                </a:lnTo>
                <a:lnTo>
                  <a:pt x="1743799" y="1256370"/>
                </a:lnTo>
                <a:lnTo>
                  <a:pt x="1752994" y="1274391"/>
                </a:lnTo>
                <a:lnTo>
                  <a:pt x="1762588" y="1293023"/>
                </a:lnTo>
                <a:lnTo>
                  <a:pt x="1772183" y="1311043"/>
                </a:lnTo>
                <a:lnTo>
                  <a:pt x="1782177" y="1328454"/>
                </a:lnTo>
                <a:lnTo>
                  <a:pt x="1791772" y="1344948"/>
                </a:lnTo>
                <a:lnTo>
                  <a:pt x="1801766" y="1359609"/>
                </a:lnTo>
                <a:lnTo>
                  <a:pt x="1806564" y="1370910"/>
                </a:lnTo>
                <a:lnTo>
                  <a:pt x="1812959" y="1384044"/>
                </a:lnTo>
                <a:lnTo>
                  <a:pt x="1820156" y="1398094"/>
                </a:lnTo>
                <a:lnTo>
                  <a:pt x="1828951" y="1412450"/>
                </a:lnTo>
                <a:lnTo>
                  <a:pt x="1837745" y="1427111"/>
                </a:lnTo>
                <a:lnTo>
                  <a:pt x="1846141" y="1441161"/>
                </a:lnTo>
                <a:lnTo>
                  <a:pt x="1854137" y="1453684"/>
                </a:lnTo>
                <a:lnTo>
                  <a:pt x="1860933" y="1464986"/>
                </a:lnTo>
                <a:lnTo>
                  <a:pt x="1868928" y="1477509"/>
                </a:lnTo>
                <a:lnTo>
                  <a:pt x="1876124" y="1490337"/>
                </a:lnTo>
                <a:lnTo>
                  <a:pt x="1883320" y="1503471"/>
                </a:lnTo>
                <a:lnTo>
                  <a:pt x="1891314" y="1515994"/>
                </a:lnTo>
                <a:lnTo>
                  <a:pt x="1898511" y="1528823"/>
                </a:lnTo>
                <a:lnTo>
                  <a:pt x="1906507" y="1541651"/>
                </a:lnTo>
                <a:lnTo>
                  <a:pt x="1914102" y="1554480"/>
                </a:lnTo>
                <a:lnTo>
                  <a:pt x="1922497" y="1567003"/>
                </a:lnTo>
                <a:lnTo>
                  <a:pt x="1938089" y="1591133"/>
                </a:lnTo>
                <a:lnTo>
                  <a:pt x="1953280" y="1616484"/>
                </a:lnTo>
                <a:lnTo>
                  <a:pt x="1969270" y="1643058"/>
                </a:lnTo>
                <a:lnTo>
                  <a:pt x="1985662" y="1669631"/>
                </a:lnTo>
                <a:lnTo>
                  <a:pt x="2002052" y="1696204"/>
                </a:lnTo>
                <a:lnTo>
                  <a:pt x="2018443" y="1721861"/>
                </a:lnTo>
                <a:lnTo>
                  <a:pt x="2027239" y="1734079"/>
                </a:lnTo>
                <a:lnTo>
                  <a:pt x="2035634" y="1745991"/>
                </a:lnTo>
                <a:lnTo>
                  <a:pt x="2044427" y="1756986"/>
                </a:lnTo>
                <a:lnTo>
                  <a:pt x="2053224" y="1767983"/>
                </a:lnTo>
                <a:lnTo>
                  <a:pt x="2057222" y="1775313"/>
                </a:lnTo>
                <a:lnTo>
                  <a:pt x="2063218" y="1784781"/>
                </a:lnTo>
                <a:lnTo>
                  <a:pt x="2070014" y="1795778"/>
                </a:lnTo>
                <a:lnTo>
                  <a:pt x="2079208" y="1808912"/>
                </a:lnTo>
                <a:lnTo>
                  <a:pt x="2100397" y="1839456"/>
                </a:lnTo>
                <a:lnTo>
                  <a:pt x="2126382" y="1875804"/>
                </a:lnTo>
                <a:lnTo>
                  <a:pt x="2155565" y="1916121"/>
                </a:lnTo>
                <a:lnTo>
                  <a:pt x="2187147" y="1959494"/>
                </a:lnTo>
                <a:lnTo>
                  <a:pt x="2221129" y="2004393"/>
                </a:lnTo>
                <a:lnTo>
                  <a:pt x="2255509" y="2050210"/>
                </a:lnTo>
                <a:lnTo>
                  <a:pt x="2290289" y="2095721"/>
                </a:lnTo>
                <a:lnTo>
                  <a:pt x="2323470" y="2139093"/>
                </a:lnTo>
                <a:lnTo>
                  <a:pt x="2355053" y="2179717"/>
                </a:lnTo>
                <a:lnTo>
                  <a:pt x="2384236" y="2216370"/>
                </a:lnTo>
                <a:lnTo>
                  <a:pt x="2410221" y="2247830"/>
                </a:lnTo>
                <a:lnTo>
                  <a:pt x="2430610" y="2272571"/>
                </a:lnTo>
                <a:lnTo>
                  <a:pt x="2439404" y="2282344"/>
                </a:lnTo>
                <a:lnTo>
                  <a:pt x="2446200" y="2289980"/>
                </a:lnTo>
                <a:lnTo>
                  <a:pt x="2451798" y="2295784"/>
                </a:lnTo>
                <a:lnTo>
                  <a:pt x="2455795" y="2298838"/>
                </a:lnTo>
                <a:lnTo>
                  <a:pt x="2458194" y="2302503"/>
                </a:lnTo>
                <a:lnTo>
                  <a:pt x="2461791" y="2308307"/>
                </a:lnTo>
                <a:lnTo>
                  <a:pt x="2466589" y="2314722"/>
                </a:lnTo>
                <a:lnTo>
                  <a:pt x="2472986" y="2323273"/>
                </a:lnTo>
                <a:lnTo>
                  <a:pt x="2489375" y="2343128"/>
                </a:lnTo>
                <a:lnTo>
                  <a:pt x="2508965" y="2366951"/>
                </a:lnTo>
                <a:lnTo>
                  <a:pt x="2532153" y="2394135"/>
                </a:lnTo>
                <a:lnTo>
                  <a:pt x="2558137" y="2423763"/>
                </a:lnTo>
                <a:lnTo>
                  <a:pt x="2585722" y="2455224"/>
                </a:lnTo>
                <a:lnTo>
                  <a:pt x="2614505" y="2487600"/>
                </a:lnTo>
                <a:lnTo>
                  <a:pt x="2643289" y="2519672"/>
                </a:lnTo>
                <a:lnTo>
                  <a:pt x="2671673" y="2551438"/>
                </a:lnTo>
                <a:lnTo>
                  <a:pt x="2699257" y="2581065"/>
                </a:lnTo>
                <a:lnTo>
                  <a:pt x="2724842" y="2609166"/>
                </a:lnTo>
                <a:lnTo>
                  <a:pt x="2747629" y="2633602"/>
                </a:lnTo>
                <a:lnTo>
                  <a:pt x="2767218" y="2654371"/>
                </a:lnTo>
                <a:lnTo>
                  <a:pt x="2782809" y="2670254"/>
                </a:lnTo>
                <a:lnTo>
                  <a:pt x="2793603" y="2680334"/>
                </a:lnTo>
                <a:lnTo>
                  <a:pt x="2797201" y="2684915"/>
                </a:lnTo>
                <a:lnTo>
                  <a:pt x="2801998" y="2691330"/>
                </a:lnTo>
                <a:lnTo>
                  <a:pt x="2809594" y="2699576"/>
                </a:lnTo>
                <a:lnTo>
                  <a:pt x="2819188" y="2709656"/>
                </a:lnTo>
                <a:lnTo>
                  <a:pt x="2842375" y="2734702"/>
                </a:lnTo>
                <a:lnTo>
                  <a:pt x="2871159" y="2764635"/>
                </a:lnTo>
                <a:lnTo>
                  <a:pt x="2905140" y="2799150"/>
                </a:lnTo>
                <a:lnTo>
                  <a:pt x="2942719" y="2836719"/>
                </a:lnTo>
                <a:lnTo>
                  <a:pt x="2982297" y="2876426"/>
                </a:lnTo>
                <a:lnTo>
                  <a:pt x="3023073" y="2917050"/>
                </a:lnTo>
                <a:lnTo>
                  <a:pt x="3064250" y="2957674"/>
                </a:lnTo>
                <a:lnTo>
                  <a:pt x="3104627" y="2997075"/>
                </a:lnTo>
                <a:lnTo>
                  <a:pt x="3143005" y="3034034"/>
                </a:lnTo>
                <a:lnTo>
                  <a:pt x="3178185" y="3067937"/>
                </a:lnTo>
                <a:lnTo>
                  <a:pt x="3209367" y="3097260"/>
                </a:lnTo>
                <a:lnTo>
                  <a:pt x="3234952" y="3121084"/>
                </a:lnTo>
                <a:lnTo>
                  <a:pt x="3245347" y="3130553"/>
                </a:lnTo>
                <a:lnTo>
                  <a:pt x="3254143" y="3138189"/>
                </a:lnTo>
                <a:lnTo>
                  <a:pt x="3261339" y="3143993"/>
                </a:lnTo>
                <a:lnTo>
                  <a:pt x="3266135" y="3147352"/>
                </a:lnTo>
                <a:lnTo>
                  <a:pt x="3268934" y="3151322"/>
                </a:lnTo>
                <a:lnTo>
                  <a:pt x="3272532" y="3155905"/>
                </a:lnTo>
                <a:lnTo>
                  <a:pt x="3277329" y="3161097"/>
                </a:lnTo>
                <a:lnTo>
                  <a:pt x="3282926" y="3166595"/>
                </a:lnTo>
                <a:lnTo>
                  <a:pt x="3296118" y="3179728"/>
                </a:lnTo>
                <a:lnTo>
                  <a:pt x="3312508" y="3195306"/>
                </a:lnTo>
                <a:lnTo>
                  <a:pt x="3331299" y="3212106"/>
                </a:lnTo>
                <a:lnTo>
                  <a:pt x="3351686" y="3230432"/>
                </a:lnTo>
                <a:lnTo>
                  <a:pt x="3373674" y="3249370"/>
                </a:lnTo>
                <a:lnTo>
                  <a:pt x="3396062" y="3269223"/>
                </a:lnTo>
                <a:lnTo>
                  <a:pt x="3419248" y="3289382"/>
                </a:lnTo>
                <a:lnTo>
                  <a:pt x="3442035" y="3309235"/>
                </a:lnTo>
                <a:lnTo>
                  <a:pt x="3464023" y="3328478"/>
                </a:lnTo>
                <a:lnTo>
                  <a:pt x="3485611" y="3346805"/>
                </a:lnTo>
                <a:lnTo>
                  <a:pt x="3505200" y="3363909"/>
                </a:lnTo>
                <a:lnTo>
                  <a:pt x="3522790" y="3379487"/>
                </a:lnTo>
                <a:lnTo>
                  <a:pt x="3537581" y="3393537"/>
                </a:lnTo>
                <a:lnTo>
                  <a:pt x="3549575" y="3404533"/>
                </a:lnTo>
                <a:lnTo>
                  <a:pt x="3555971" y="3410948"/>
                </a:lnTo>
                <a:lnTo>
                  <a:pt x="3560768" y="3414612"/>
                </a:lnTo>
                <a:lnTo>
                  <a:pt x="3565965" y="3418889"/>
                </a:lnTo>
                <a:lnTo>
                  <a:pt x="3573961" y="3425303"/>
                </a:lnTo>
                <a:lnTo>
                  <a:pt x="3648719" y="3489446"/>
                </a:lnTo>
                <a:lnTo>
                  <a:pt x="3662310" y="3499525"/>
                </a:lnTo>
                <a:lnTo>
                  <a:pt x="3675103" y="3509299"/>
                </a:lnTo>
                <a:lnTo>
                  <a:pt x="3687896" y="3519378"/>
                </a:lnTo>
                <a:lnTo>
                  <a:pt x="3700290" y="3529153"/>
                </a:lnTo>
                <a:lnTo>
                  <a:pt x="3712682" y="3538927"/>
                </a:lnTo>
                <a:lnTo>
                  <a:pt x="3724675" y="3548701"/>
                </a:lnTo>
                <a:lnTo>
                  <a:pt x="3737868" y="3558781"/>
                </a:lnTo>
                <a:lnTo>
                  <a:pt x="3750660" y="3568860"/>
                </a:lnTo>
                <a:lnTo>
                  <a:pt x="3760655" y="3577107"/>
                </a:lnTo>
                <a:lnTo>
                  <a:pt x="3775447" y="3588409"/>
                </a:lnTo>
                <a:lnTo>
                  <a:pt x="3794236" y="3602764"/>
                </a:lnTo>
                <a:lnTo>
                  <a:pt x="3815824" y="3619257"/>
                </a:lnTo>
                <a:lnTo>
                  <a:pt x="3839810" y="3636973"/>
                </a:lnTo>
                <a:lnTo>
                  <a:pt x="3865795" y="3656216"/>
                </a:lnTo>
                <a:lnTo>
                  <a:pt x="3892581" y="3676375"/>
                </a:lnTo>
                <a:lnTo>
                  <a:pt x="3919765" y="3696534"/>
                </a:lnTo>
                <a:lnTo>
                  <a:pt x="3946549" y="3716388"/>
                </a:lnTo>
                <a:lnTo>
                  <a:pt x="3972934" y="3735631"/>
                </a:lnTo>
                <a:lnTo>
                  <a:pt x="3997721" y="3753346"/>
                </a:lnTo>
                <a:lnTo>
                  <a:pt x="4020108" y="3769229"/>
                </a:lnTo>
                <a:lnTo>
                  <a:pt x="4039298" y="3782974"/>
                </a:lnTo>
                <a:lnTo>
                  <a:pt x="4054888" y="3793665"/>
                </a:lnTo>
                <a:lnTo>
                  <a:pt x="4066082" y="3801301"/>
                </a:lnTo>
                <a:lnTo>
                  <a:pt x="4072478" y="3804660"/>
                </a:lnTo>
                <a:lnTo>
                  <a:pt x="4079674" y="3811074"/>
                </a:lnTo>
                <a:lnTo>
                  <a:pt x="4087670" y="3816877"/>
                </a:lnTo>
                <a:lnTo>
                  <a:pt x="4095266" y="3822681"/>
                </a:lnTo>
                <a:lnTo>
                  <a:pt x="4103661" y="3828179"/>
                </a:lnTo>
                <a:lnTo>
                  <a:pt x="4120451" y="3838564"/>
                </a:lnTo>
                <a:lnTo>
                  <a:pt x="4138041" y="3849255"/>
                </a:lnTo>
                <a:lnTo>
                  <a:pt x="4170822" y="3868497"/>
                </a:lnTo>
                <a:lnTo>
                  <a:pt x="4203205" y="3887129"/>
                </a:lnTo>
                <a:lnTo>
                  <a:pt x="4236385" y="3905761"/>
                </a:lnTo>
                <a:lnTo>
                  <a:pt x="4268767" y="3923171"/>
                </a:lnTo>
                <a:lnTo>
                  <a:pt x="4285157" y="3932029"/>
                </a:lnTo>
                <a:lnTo>
                  <a:pt x="4301948" y="3940276"/>
                </a:lnTo>
                <a:lnTo>
                  <a:pt x="4318739" y="3948828"/>
                </a:lnTo>
                <a:lnTo>
                  <a:pt x="4335129" y="3956770"/>
                </a:lnTo>
                <a:lnTo>
                  <a:pt x="4351919" y="3964711"/>
                </a:lnTo>
                <a:lnTo>
                  <a:pt x="4369109" y="3972652"/>
                </a:lnTo>
                <a:lnTo>
                  <a:pt x="4385901" y="3980288"/>
                </a:lnTo>
                <a:lnTo>
                  <a:pt x="4403491" y="3987619"/>
                </a:lnTo>
                <a:lnTo>
                  <a:pt x="4421080" y="3994644"/>
                </a:lnTo>
                <a:lnTo>
                  <a:pt x="4438670" y="4001669"/>
                </a:lnTo>
                <a:lnTo>
                  <a:pt x="4456660" y="4008083"/>
                </a:lnTo>
                <a:lnTo>
                  <a:pt x="4475050" y="4014803"/>
                </a:lnTo>
                <a:lnTo>
                  <a:pt x="4493440" y="4020912"/>
                </a:lnTo>
                <a:lnTo>
                  <a:pt x="4512229" y="4026716"/>
                </a:lnTo>
                <a:lnTo>
                  <a:pt x="4531418" y="4032519"/>
                </a:lnTo>
                <a:lnTo>
                  <a:pt x="4550607" y="4038017"/>
                </a:lnTo>
                <a:lnTo>
                  <a:pt x="4570196" y="4043209"/>
                </a:lnTo>
                <a:lnTo>
                  <a:pt x="4590585" y="4048096"/>
                </a:lnTo>
                <a:lnTo>
                  <a:pt x="4610972" y="4052678"/>
                </a:lnTo>
                <a:lnTo>
                  <a:pt x="4632160" y="4056649"/>
                </a:lnTo>
                <a:lnTo>
                  <a:pt x="4652949" y="4060925"/>
                </a:lnTo>
                <a:lnTo>
                  <a:pt x="4674937" y="4064590"/>
                </a:lnTo>
                <a:lnTo>
                  <a:pt x="4696925" y="4067950"/>
                </a:lnTo>
                <a:lnTo>
                  <a:pt x="4719711" y="4071005"/>
                </a:lnTo>
                <a:lnTo>
                  <a:pt x="4729705" y="4072226"/>
                </a:lnTo>
                <a:lnTo>
                  <a:pt x="4740099" y="4072837"/>
                </a:lnTo>
                <a:lnTo>
                  <a:pt x="4751293" y="4072837"/>
                </a:lnTo>
                <a:lnTo>
                  <a:pt x="4762887" y="4072531"/>
                </a:lnTo>
                <a:lnTo>
                  <a:pt x="4774880" y="4071920"/>
                </a:lnTo>
                <a:lnTo>
                  <a:pt x="4787273" y="4071005"/>
                </a:lnTo>
                <a:lnTo>
                  <a:pt x="4800066" y="4069783"/>
                </a:lnTo>
                <a:lnTo>
                  <a:pt x="4812859" y="4067950"/>
                </a:lnTo>
                <a:lnTo>
                  <a:pt x="4826051" y="4066117"/>
                </a:lnTo>
                <a:lnTo>
                  <a:pt x="4839643" y="4063674"/>
                </a:lnTo>
                <a:lnTo>
                  <a:pt x="4853635" y="4061230"/>
                </a:lnTo>
                <a:lnTo>
                  <a:pt x="4867227" y="4058786"/>
                </a:lnTo>
                <a:lnTo>
                  <a:pt x="4895212" y="4052678"/>
                </a:lnTo>
                <a:lnTo>
                  <a:pt x="4923196" y="4045958"/>
                </a:lnTo>
                <a:lnTo>
                  <a:pt x="4950380" y="4038627"/>
                </a:lnTo>
                <a:lnTo>
                  <a:pt x="4977565" y="4031297"/>
                </a:lnTo>
                <a:lnTo>
                  <a:pt x="5003550" y="4023355"/>
                </a:lnTo>
                <a:lnTo>
                  <a:pt x="5027936" y="4015414"/>
                </a:lnTo>
                <a:lnTo>
                  <a:pt x="5050723" y="4007778"/>
                </a:lnTo>
                <a:lnTo>
                  <a:pt x="5071112" y="4000142"/>
                </a:lnTo>
                <a:lnTo>
                  <a:pt x="5089901" y="3993422"/>
                </a:lnTo>
                <a:lnTo>
                  <a:pt x="5105492" y="3987008"/>
                </a:lnTo>
                <a:lnTo>
                  <a:pt x="5129079" y="3976623"/>
                </a:lnTo>
                <a:lnTo>
                  <a:pt x="5151467" y="3966849"/>
                </a:lnTo>
                <a:lnTo>
                  <a:pt x="5171855" y="3957381"/>
                </a:lnTo>
                <a:lnTo>
                  <a:pt x="5191044" y="3948523"/>
                </a:lnTo>
                <a:lnTo>
                  <a:pt x="5209434" y="3939665"/>
                </a:lnTo>
                <a:lnTo>
                  <a:pt x="5226624" y="3930807"/>
                </a:lnTo>
                <a:lnTo>
                  <a:pt x="5243814" y="3922255"/>
                </a:lnTo>
                <a:lnTo>
                  <a:pt x="5260604" y="3913397"/>
                </a:lnTo>
                <a:lnTo>
                  <a:pt x="5276596" y="3904234"/>
                </a:lnTo>
                <a:lnTo>
                  <a:pt x="5292986" y="3895070"/>
                </a:lnTo>
                <a:lnTo>
                  <a:pt x="5309776" y="3885602"/>
                </a:lnTo>
                <a:lnTo>
                  <a:pt x="5326568" y="3875522"/>
                </a:lnTo>
                <a:lnTo>
                  <a:pt x="5362147" y="3853836"/>
                </a:lnTo>
                <a:lnTo>
                  <a:pt x="5402124" y="3829096"/>
                </a:lnTo>
                <a:lnTo>
                  <a:pt x="5418915" y="3818710"/>
                </a:lnTo>
                <a:lnTo>
                  <a:pt x="5436904" y="3807104"/>
                </a:lnTo>
                <a:lnTo>
                  <a:pt x="5455694" y="3795191"/>
                </a:lnTo>
                <a:lnTo>
                  <a:pt x="5474483" y="3782668"/>
                </a:lnTo>
                <a:lnTo>
                  <a:pt x="5512861" y="3757012"/>
                </a:lnTo>
                <a:lnTo>
                  <a:pt x="5551639" y="3729522"/>
                </a:lnTo>
                <a:lnTo>
                  <a:pt x="5590017" y="3702338"/>
                </a:lnTo>
                <a:lnTo>
                  <a:pt x="5626797" y="3675153"/>
                </a:lnTo>
                <a:lnTo>
                  <a:pt x="5661577" y="3648885"/>
                </a:lnTo>
                <a:lnTo>
                  <a:pt x="5693159" y="3624451"/>
                </a:lnTo>
                <a:lnTo>
                  <a:pt x="5703953" y="3615898"/>
                </a:lnTo>
                <a:lnTo>
                  <a:pt x="5715946" y="3607956"/>
                </a:lnTo>
                <a:lnTo>
                  <a:pt x="5728339" y="3600015"/>
                </a:lnTo>
                <a:lnTo>
                  <a:pt x="5741132" y="3591462"/>
                </a:lnTo>
                <a:lnTo>
                  <a:pt x="5753924" y="3582910"/>
                </a:lnTo>
                <a:lnTo>
                  <a:pt x="5766717" y="3574053"/>
                </a:lnTo>
                <a:lnTo>
                  <a:pt x="5779510" y="3564584"/>
                </a:lnTo>
                <a:lnTo>
                  <a:pt x="5791904" y="3554809"/>
                </a:lnTo>
                <a:lnTo>
                  <a:pt x="6377971" y="3045946"/>
                </a:lnTo>
                <a:lnTo>
                  <a:pt x="6403956" y="3020594"/>
                </a:lnTo>
                <a:lnTo>
                  <a:pt x="6431540" y="2994327"/>
                </a:lnTo>
                <a:lnTo>
                  <a:pt x="6459924" y="2968058"/>
                </a:lnTo>
                <a:lnTo>
                  <a:pt x="6487909" y="2941791"/>
                </a:lnTo>
                <a:lnTo>
                  <a:pt x="6516293" y="2915218"/>
                </a:lnTo>
                <a:lnTo>
                  <a:pt x="6544677" y="2888339"/>
                </a:lnTo>
                <a:lnTo>
                  <a:pt x="6572261" y="2861459"/>
                </a:lnTo>
                <a:lnTo>
                  <a:pt x="6598645" y="2834886"/>
                </a:lnTo>
                <a:lnTo>
                  <a:pt x="6626230" y="2806175"/>
                </a:lnTo>
                <a:lnTo>
                  <a:pt x="6653814" y="2778380"/>
                </a:lnTo>
                <a:lnTo>
                  <a:pt x="6680200" y="2751196"/>
                </a:lnTo>
                <a:lnTo>
                  <a:pt x="6706584" y="2724012"/>
                </a:lnTo>
                <a:lnTo>
                  <a:pt x="6732569" y="2697439"/>
                </a:lnTo>
                <a:lnTo>
                  <a:pt x="6758555" y="2670865"/>
                </a:lnTo>
                <a:lnTo>
                  <a:pt x="6784140" y="2644597"/>
                </a:lnTo>
                <a:lnTo>
                  <a:pt x="6809326" y="2618329"/>
                </a:lnTo>
                <a:lnTo>
                  <a:pt x="6834912" y="2591756"/>
                </a:lnTo>
                <a:lnTo>
                  <a:pt x="6860097" y="2564877"/>
                </a:lnTo>
                <a:lnTo>
                  <a:pt x="6885682" y="2537998"/>
                </a:lnTo>
                <a:lnTo>
                  <a:pt x="6911268" y="2510203"/>
                </a:lnTo>
                <a:lnTo>
                  <a:pt x="6937253" y="2482408"/>
                </a:lnTo>
                <a:lnTo>
                  <a:pt x="6963238" y="2453391"/>
                </a:lnTo>
                <a:lnTo>
                  <a:pt x="6990024" y="2423763"/>
                </a:lnTo>
                <a:lnTo>
                  <a:pt x="7016409" y="2393524"/>
                </a:lnTo>
                <a:lnTo>
                  <a:pt x="7041994" y="2364814"/>
                </a:lnTo>
                <a:lnTo>
                  <a:pt x="7066780" y="2335797"/>
                </a:lnTo>
                <a:lnTo>
                  <a:pt x="7091166" y="2306780"/>
                </a:lnTo>
                <a:lnTo>
                  <a:pt x="7115952" y="2277763"/>
                </a:lnTo>
                <a:lnTo>
                  <a:pt x="7139938" y="2248441"/>
                </a:lnTo>
                <a:lnTo>
                  <a:pt x="7164325" y="2219118"/>
                </a:lnTo>
                <a:lnTo>
                  <a:pt x="7188711" y="2189490"/>
                </a:lnTo>
                <a:lnTo>
                  <a:pt x="7213098" y="2159558"/>
                </a:lnTo>
                <a:lnTo>
                  <a:pt x="7237083" y="2131152"/>
                </a:lnTo>
                <a:lnTo>
                  <a:pt x="7260270" y="2101830"/>
                </a:lnTo>
                <a:lnTo>
                  <a:pt x="7283856" y="2072202"/>
                </a:lnTo>
                <a:lnTo>
                  <a:pt x="7306644" y="2042574"/>
                </a:lnTo>
                <a:lnTo>
                  <a:pt x="7329432" y="2012640"/>
                </a:lnTo>
                <a:lnTo>
                  <a:pt x="7352218" y="1982402"/>
                </a:lnTo>
                <a:lnTo>
                  <a:pt x="7375005" y="1952164"/>
                </a:lnTo>
                <a:lnTo>
                  <a:pt x="7397793" y="1921314"/>
                </a:lnTo>
                <a:lnTo>
                  <a:pt x="7420179" y="1890159"/>
                </a:lnTo>
                <a:lnTo>
                  <a:pt x="7442567" y="1859004"/>
                </a:lnTo>
                <a:lnTo>
                  <a:pt x="7464555" y="1828154"/>
                </a:lnTo>
                <a:lnTo>
                  <a:pt x="7486543" y="1796694"/>
                </a:lnTo>
                <a:lnTo>
                  <a:pt x="7508130" y="1765233"/>
                </a:lnTo>
                <a:lnTo>
                  <a:pt x="7529718" y="1733163"/>
                </a:lnTo>
                <a:lnTo>
                  <a:pt x="7551306" y="1701396"/>
                </a:lnTo>
                <a:lnTo>
                  <a:pt x="7572494" y="1669631"/>
                </a:lnTo>
                <a:lnTo>
                  <a:pt x="7586885" y="1647639"/>
                </a:lnTo>
                <a:lnTo>
                  <a:pt x="7602077" y="1624731"/>
                </a:lnTo>
                <a:lnTo>
                  <a:pt x="7617268" y="1601212"/>
                </a:lnTo>
                <a:lnTo>
                  <a:pt x="7632860" y="1577082"/>
                </a:lnTo>
                <a:lnTo>
                  <a:pt x="7647651" y="1552341"/>
                </a:lnTo>
                <a:lnTo>
                  <a:pt x="7663242" y="1526990"/>
                </a:lnTo>
                <a:lnTo>
                  <a:pt x="7678834" y="1501944"/>
                </a:lnTo>
                <a:lnTo>
                  <a:pt x="7694424" y="1476287"/>
                </a:lnTo>
                <a:lnTo>
                  <a:pt x="7709616" y="1450936"/>
                </a:lnTo>
                <a:lnTo>
                  <a:pt x="7725207" y="1424973"/>
                </a:lnTo>
                <a:lnTo>
                  <a:pt x="7739599" y="1399621"/>
                </a:lnTo>
                <a:lnTo>
                  <a:pt x="7754390" y="1374270"/>
                </a:lnTo>
                <a:lnTo>
                  <a:pt x="7768783" y="1349529"/>
                </a:lnTo>
                <a:lnTo>
                  <a:pt x="7782374" y="1325093"/>
                </a:lnTo>
                <a:lnTo>
                  <a:pt x="7795567" y="1300964"/>
                </a:lnTo>
                <a:lnTo>
                  <a:pt x="7808359" y="1277445"/>
                </a:lnTo>
                <a:lnTo>
                  <a:pt x="7816754" y="1261867"/>
                </a:lnTo>
                <a:lnTo>
                  <a:pt x="7826749" y="1245069"/>
                </a:lnTo>
                <a:lnTo>
                  <a:pt x="7836743" y="1227658"/>
                </a:lnTo>
                <a:lnTo>
                  <a:pt x="7847137" y="1209332"/>
                </a:lnTo>
                <a:lnTo>
                  <a:pt x="7857532" y="1191616"/>
                </a:lnTo>
                <a:lnTo>
                  <a:pt x="7867126" y="1173901"/>
                </a:lnTo>
                <a:lnTo>
                  <a:pt x="7871124" y="1165348"/>
                </a:lnTo>
                <a:lnTo>
                  <a:pt x="7874723" y="1157101"/>
                </a:lnTo>
                <a:lnTo>
                  <a:pt x="7878320" y="1148854"/>
                </a:lnTo>
                <a:lnTo>
                  <a:pt x="7881119" y="1141524"/>
                </a:lnTo>
                <a:lnTo>
                  <a:pt x="7887914" y="1132056"/>
                </a:lnTo>
                <a:lnTo>
                  <a:pt x="7894710" y="1121976"/>
                </a:lnTo>
                <a:lnTo>
                  <a:pt x="7901107" y="1110980"/>
                </a:lnTo>
                <a:lnTo>
                  <a:pt x="7907503" y="1099373"/>
                </a:lnTo>
                <a:lnTo>
                  <a:pt x="7913501" y="1087461"/>
                </a:lnTo>
                <a:lnTo>
                  <a:pt x="7919497" y="1075549"/>
                </a:lnTo>
                <a:lnTo>
                  <a:pt x="7925493" y="1064247"/>
                </a:lnTo>
                <a:lnTo>
                  <a:pt x="7931090" y="1053863"/>
                </a:lnTo>
                <a:lnTo>
                  <a:pt x="7966270" y="990331"/>
                </a:lnTo>
                <a:lnTo>
                  <a:pt x="8001450" y="925578"/>
                </a:lnTo>
                <a:lnTo>
                  <a:pt x="8036231" y="860519"/>
                </a:lnTo>
                <a:lnTo>
                  <a:pt x="8070211" y="794849"/>
                </a:lnTo>
                <a:lnTo>
                  <a:pt x="8087002" y="762167"/>
                </a:lnTo>
                <a:lnTo>
                  <a:pt x="8103792" y="728874"/>
                </a:lnTo>
                <a:lnTo>
                  <a:pt x="8120582" y="695581"/>
                </a:lnTo>
                <a:lnTo>
                  <a:pt x="8136574" y="661982"/>
                </a:lnTo>
                <a:lnTo>
                  <a:pt x="8152565" y="628995"/>
                </a:lnTo>
                <a:lnTo>
                  <a:pt x="8168555" y="595397"/>
                </a:lnTo>
                <a:lnTo>
                  <a:pt x="8184147" y="561798"/>
                </a:lnTo>
                <a:lnTo>
                  <a:pt x="8198938" y="528200"/>
                </a:lnTo>
                <a:lnTo>
                  <a:pt x="8214129" y="494296"/>
                </a:lnTo>
                <a:lnTo>
                  <a:pt x="8228921" y="460392"/>
                </a:lnTo>
                <a:lnTo>
                  <a:pt x="8242914" y="426488"/>
                </a:lnTo>
                <a:lnTo>
                  <a:pt x="8257305" y="392584"/>
                </a:lnTo>
                <a:lnTo>
                  <a:pt x="8270898" y="358680"/>
                </a:lnTo>
                <a:lnTo>
                  <a:pt x="8284090" y="324776"/>
                </a:lnTo>
                <a:lnTo>
                  <a:pt x="8296883" y="290567"/>
                </a:lnTo>
                <a:lnTo>
                  <a:pt x="8309276" y="256663"/>
                </a:lnTo>
                <a:lnTo>
                  <a:pt x="8321668" y="222453"/>
                </a:lnTo>
                <a:lnTo>
                  <a:pt x="8333262" y="188550"/>
                </a:lnTo>
                <a:lnTo>
                  <a:pt x="8344456" y="154341"/>
                </a:lnTo>
                <a:lnTo>
                  <a:pt x="8355250" y="120437"/>
                </a:lnTo>
                <a:lnTo>
                  <a:pt x="8365244" y="86228"/>
                </a:lnTo>
                <a:lnTo>
                  <a:pt x="8374839" y="52018"/>
                </a:lnTo>
                <a:lnTo>
                  <a:pt x="8384033" y="18114"/>
                </a:lnTo>
                <a:lnTo>
                  <a:pt x="8388649" y="0"/>
                </a:lnTo>
                <a:lnTo>
                  <a:pt x="9580296" y="0"/>
                </a:lnTo>
                <a:lnTo>
                  <a:pt x="9572082" y="20490"/>
                </a:lnTo>
                <a:lnTo>
                  <a:pt x="9552230" y="67254"/>
                </a:lnTo>
                <a:lnTo>
                  <a:pt x="9532931" y="114019"/>
                </a:lnTo>
                <a:lnTo>
                  <a:pt x="9512528" y="160783"/>
                </a:lnTo>
                <a:lnTo>
                  <a:pt x="9491575" y="207549"/>
                </a:lnTo>
                <a:lnTo>
                  <a:pt x="9471172" y="253892"/>
                </a:lnTo>
                <a:lnTo>
                  <a:pt x="9449666" y="300235"/>
                </a:lnTo>
                <a:lnTo>
                  <a:pt x="9427610" y="346578"/>
                </a:lnTo>
                <a:lnTo>
                  <a:pt x="9405553" y="392079"/>
                </a:lnTo>
                <a:lnTo>
                  <a:pt x="9383496" y="438423"/>
                </a:lnTo>
                <a:lnTo>
                  <a:pt x="9360337" y="484345"/>
                </a:lnTo>
                <a:lnTo>
                  <a:pt x="9337177" y="530267"/>
                </a:lnTo>
                <a:lnTo>
                  <a:pt x="9314018" y="575346"/>
                </a:lnTo>
                <a:lnTo>
                  <a:pt x="9267147" y="665927"/>
                </a:lnTo>
                <a:lnTo>
                  <a:pt x="9219173" y="755664"/>
                </a:lnTo>
                <a:lnTo>
                  <a:pt x="9170648" y="844981"/>
                </a:lnTo>
                <a:lnTo>
                  <a:pt x="9122123" y="932612"/>
                </a:lnTo>
                <a:lnTo>
                  <a:pt x="9114403" y="946936"/>
                </a:lnTo>
                <a:lnTo>
                  <a:pt x="9106131" y="962525"/>
                </a:lnTo>
                <a:lnTo>
                  <a:pt x="9097861" y="978955"/>
                </a:lnTo>
                <a:lnTo>
                  <a:pt x="9089590" y="995387"/>
                </a:lnTo>
                <a:lnTo>
                  <a:pt x="9080767" y="1011396"/>
                </a:lnTo>
                <a:lnTo>
                  <a:pt x="9071944" y="1026562"/>
                </a:lnTo>
                <a:lnTo>
                  <a:pt x="9062570" y="1040466"/>
                </a:lnTo>
                <a:lnTo>
                  <a:pt x="9053195" y="1053526"/>
                </a:lnTo>
                <a:lnTo>
                  <a:pt x="9049336" y="1063637"/>
                </a:lnTo>
                <a:lnTo>
                  <a:pt x="9044372" y="1075013"/>
                </a:lnTo>
                <a:lnTo>
                  <a:pt x="9039410" y="1086388"/>
                </a:lnTo>
                <a:lnTo>
                  <a:pt x="9033896" y="1098184"/>
                </a:lnTo>
                <a:lnTo>
                  <a:pt x="9020662" y="1122620"/>
                </a:lnTo>
                <a:lnTo>
                  <a:pt x="9006325" y="1147056"/>
                </a:lnTo>
                <a:lnTo>
                  <a:pt x="8991988" y="1172333"/>
                </a:lnTo>
                <a:lnTo>
                  <a:pt x="8978202" y="1196348"/>
                </a:lnTo>
                <a:lnTo>
                  <a:pt x="8964417" y="1219520"/>
                </a:lnTo>
                <a:lnTo>
                  <a:pt x="8952837" y="1241006"/>
                </a:lnTo>
                <a:lnTo>
                  <a:pt x="8935192" y="1273447"/>
                </a:lnTo>
                <a:lnTo>
                  <a:pt x="8916995" y="1306730"/>
                </a:lnTo>
                <a:lnTo>
                  <a:pt x="8898246" y="1340434"/>
                </a:lnTo>
                <a:lnTo>
                  <a:pt x="8878396" y="1374560"/>
                </a:lnTo>
                <a:lnTo>
                  <a:pt x="8857993" y="1409528"/>
                </a:lnTo>
                <a:lnTo>
                  <a:pt x="8838142" y="1444496"/>
                </a:lnTo>
                <a:lnTo>
                  <a:pt x="8816637" y="1480306"/>
                </a:lnTo>
                <a:lnTo>
                  <a:pt x="8795682" y="1515276"/>
                </a:lnTo>
                <a:lnTo>
                  <a:pt x="8774177" y="1550664"/>
                </a:lnTo>
                <a:lnTo>
                  <a:pt x="8752671" y="1585211"/>
                </a:lnTo>
                <a:lnTo>
                  <a:pt x="8731167" y="1620180"/>
                </a:lnTo>
                <a:lnTo>
                  <a:pt x="8710764" y="1654305"/>
                </a:lnTo>
                <a:lnTo>
                  <a:pt x="8689258" y="1687588"/>
                </a:lnTo>
                <a:lnTo>
                  <a:pt x="8668304" y="1720029"/>
                </a:lnTo>
                <a:lnTo>
                  <a:pt x="8647351" y="1751627"/>
                </a:lnTo>
                <a:lnTo>
                  <a:pt x="8627499" y="1781960"/>
                </a:lnTo>
                <a:lnTo>
                  <a:pt x="8598274" y="1825776"/>
                </a:lnTo>
                <a:lnTo>
                  <a:pt x="8568498" y="1869592"/>
                </a:lnTo>
                <a:lnTo>
                  <a:pt x="8538721" y="1913828"/>
                </a:lnTo>
                <a:lnTo>
                  <a:pt x="8508944" y="1957223"/>
                </a:lnTo>
                <a:lnTo>
                  <a:pt x="8478616" y="2000617"/>
                </a:lnTo>
                <a:lnTo>
                  <a:pt x="8448288" y="2043169"/>
                </a:lnTo>
                <a:lnTo>
                  <a:pt x="8417408" y="2086142"/>
                </a:lnTo>
                <a:lnTo>
                  <a:pt x="8386528" y="2129115"/>
                </a:lnTo>
                <a:lnTo>
                  <a:pt x="8355097" y="2171666"/>
                </a:lnTo>
                <a:lnTo>
                  <a:pt x="8323667" y="2213375"/>
                </a:lnTo>
                <a:lnTo>
                  <a:pt x="8292236" y="2255084"/>
                </a:lnTo>
                <a:lnTo>
                  <a:pt x="8260805" y="2296372"/>
                </a:lnTo>
                <a:lnTo>
                  <a:pt x="8229374" y="2337238"/>
                </a:lnTo>
                <a:lnTo>
                  <a:pt x="8196841" y="2378105"/>
                </a:lnTo>
                <a:lnTo>
                  <a:pt x="8164858" y="2418550"/>
                </a:lnTo>
                <a:lnTo>
                  <a:pt x="8131773" y="2457732"/>
                </a:lnTo>
                <a:lnTo>
                  <a:pt x="8098136" y="2499020"/>
                </a:lnTo>
                <a:lnTo>
                  <a:pt x="8064500" y="2539886"/>
                </a:lnTo>
                <a:lnTo>
                  <a:pt x="8030863" y="2580331"/>
                </a:lnTo>
                <a:lnTo>
                  <a:pt x="7997778" y="2620776"/>
                </a:lnTo>
                <a:lnTo>
                  <a:pt x="7963590" y="2660800"/>
                </a:lnTo>
                <a:lnTo>
                  <a:pt x="7929953" y="2700824"/>
                </a:lnTo>
                <a:lnTo>
                  <a:pt x="7895766" y="2740848"/>
                </a:lnTo>
                <a:lnTo>
                  <a:pt x="7860474" y="2780450"/>
                </a:lnTo>
                <a:lnTo>
                  <a:pt x="7824080" y="2822159"/>
                </a:lnTo>
                <a:lnTo>
                  <a:pt x="7787135" y="2863025"/>
                </a:lnTo>
                <a:lnTo>
                  <a:pt x="7751293" y="2903049"/>
                </a:lnTo>
                <a:lnTo>
                  <a:pt x="7715450" y="2941388"/>
                </a:lnTo>
                <a:lnTo>
                  <a:pt x="7680160" y="2979726"/>
                </a:lnTo>
                <a:lnTo>
                  <a:pt x="7644868" y="3016801"/>
                </a:lnTo>
                <a:lnTo>
                  <a:pt x="7610130" y="3053876"/>
                </a:lnTo>
                <a:lnTo>
                  <a:pt x="7574839" y="3090529"/>
                </a:lnTo>
                <a:lnTo>
                  <a:pt x="7540099" y="3126762"/>
                </a:lnTo>
                <a:lnTo>
                  <a:pt x="7504808" y="3162994"/>
                </a:lnTo>
                <a:lnTo>
                  <a:pt x="7468966" y="3199647"/>
                </a:lnTo>
                <a:lnTo>
                  <a:pt x="7433124" y="3236301"/>
                </a:lnTo>
                <a:lnTo>
                  <a:pt x="7396729" y="3273797"/>
                </a:lnTo>
                <a:lnTo>
                  <a:pt x="7360336" y="3311293"/>
                </a:lnTo>
                <a:lnTo>
                  <a:pt x="7322288" y="3349631"/>
                </a:lnTo>
                <a:lnTo>
                  <a:pt x="7284240" y="3389234"/>
                </a:lnTo>
                <a:lnTo>
                  <a:pt x="7247847" y="3425887"/>
                </a:lnTo>
                <a:lnTo>
                  <a:pt x="7209798" y="3462962"/>
                </a:lnTo>
                <a:lnTo>
                  <a:pt x="7170647" y="3500037"/>
                </a:lnTo>
                <a:lnTo>
                  <a:pt x="7131496" y="3536690"/>
                </a:lnTo>
                <a:lnTo>
                  <a:pt x="7092898" y="3572922"/>
                </a:lnTo>
                <a:lnTo>
                  <a:pt x="7053747" y="3609154"/>
                </a:lnTo>
                <a:lnTo>
                  <a:pt x="7015698" y="3645387"/>
                </a:lnTo>
                <a:lnTo>
                  <a:pt x="6979856" y="3680355"/>
                </a:lnTo>
                <a:lnTo>
                  <a:pt x="6171475" y="4382247"/>
                </a:lnTo>
                <a:lnTo>
                  <a:pt x="6154380" y="4395729"/>
                </a:lnTo>
                <a:lnTo>
                  <a:pt x="6136735" y="4408789"/>
                </a:lnTo>
                <a:lnTo>
                  <a:pt x="6119090" y="4421007"/>
                </a:lnTo>
                <a:lnTo>
                  <a:pt x="6101444" y="4432803"/>
                </a:lnTo>
                <a:lnTo>
                  <a:pt x="6083799" y="4444599"/>
                </a:lnTo>
                <a:lnTo>
                  <a:pt x="6066705" y="4455554"/>
                </a:lnTo>
                <a:lnTo>
                  <a:pt x="6050163" y="4466508"/>
                </a:lnTo>
                <a:lnTo>
                  <a:pt x="6035274" y="4478304"/>
                </a:lnTo>
                <a:lnTo>
                  <a:pt x="5991711" y="4512008"/>
                </a:lnTo>
                <a:lnTo>
                  <a:pt x="5943739" y="4548240"/>
                </a:lnTo>
                <a:lnTo>
                  <a:pt x="5893008" y="4585736"/>
                </a:lnTo>
                <a:lnTo>
                  <a:pt x="5840071" y="4623232"/>
                </a:lnTo>
                <a:lnTo>
                  <a:pt x="5786584" y="4661150"/>
                </a:lnTo>
                <a:lnTo>
                  <a:pt x="5733647" y="4696539"/>
                </a:lnTo>
                <a:lnTo>
                  <a:pt x="5707730" y="4713813"/>
                </a:lnTo>
                <a:lnTo>
                  <a:pt x="5681814" y="4730244"/>
                </a:lnTo>
                <a:lnTo>
                  <a:pt x="5657000" y="4746253"/>
                </a:lnTo>
                <a:lnTo>
                  <a:pt x="5633841" y="4760578"/>
                </a:lnTo>
                <a:lnTo>
                  <a:pt x="5578698" y="4794704"/>
                </a:lnTo>
                <a:lnTo>
                  <a:pt x="5529622" y="4824616"/>
                </a:lnTo>
                <a:lnTo>
                  <a:pt x="5506463" y="4838519"/>
                </a:lnTo>
                <a:lnTo>
                  <a:pt x="5483302" y="4851579"/>
                </a:lnTo>
                <a:lnTo>
                  <a:pt x="5460694" y="4864219"/>
                </a:lnTo>
                <a:lnTo>
                  <a:pt x="5438637" y="4876858"/>
                </a:lnTo>
                <a:lnTo>
                  <a:pt x="5415478" y="4889075"/>
                </a:lnTo>
                <a:lnTo>
                  <a:pt x="5391767" y="4900872"/>
                </a:lnTo>
                <a:lnTo>
                  <a:pt x="5368056" y="4913090"/>
                </a:lnTo>
                <a:lnTo>
                  <a:pt x="5342691" y="4925307"/>
                </a:lnTo>
                <a:lnTo>
                  <a:pt x="5316223" y="4937525"/>
                </a:lnTo>
                <a:lnTo>
                  <a:pt x="5288100" y="4950586"/>
                </a:lnTo>
                <a:lnTo>
                  <a:pt x="5257220" y="4964067"/>
                </a:lnTo>
                <a:lnTo>
                  <a:pt x="5224687" y="4978392"/>
                </a:lnTo>
                <a:lnTo>
                  <a:pt x="5203181" y="4987239"/>
                </a:lnTo>
                <a:lnTo>
                  <a:pt x="5177264" y="4996508"/>
                </a:lnTo>
                <a:lnTo>
                  <a:pt x="5149142" y="5007040"/>
                </a:lnTo>
                <a:lnTo>
                  <a:pt x="5117712" y="5017573"/>
                </a:lnTo>
                <a:lnTo>
                  <a:pt x="5084075" y="5028527"/>
                </a:lnTo>
                <a:lnTo>
                  <a:pt x="5048232" y="5039480"/>
                </a:lnTo>
                <a:lnTo>
                  <a:pt x="5010735" y="5049592"/>
                </a:lnTo>
                <a:lnTo>
                  <a:pt x="4973239" y="5059704"/>
                </a:lnTo>
                <a:lnTo>
                  <a:pt x="4934640" y="5068972"/>
                </a:lnTo>
                <a:lnTo>
                  <a:pt x="4896040" y="5077398"/>
                </a:lnTo>
                <a:lnTo>
                  <a:pt x="4877292" y="5080768"/>
                </a:lnTo>
                <a:lnTo>
                  <a:pt x="4857992" y="5084138"/>
                </a:lnTo>
                <a:lnTo>
                  <a:pt x="4839243" y="5087509"/>
                </a:lnTo>
                <a:lnTo>
                  <a:pt x="4821048" y="5090037"/>
                </a:lnTo>
                <a:lnTo>
                  <a:pt x="4803401" y="5092565"/>
                </a:lnTo>
                <a:lnTo>
                  <a:pt x="4785756" y="5094250"/>
                </a:lnTo>
                <a:lnTo>
                  <a:pt x="4768663" y="5095514"/>
                </a:lnTo>
                <a:lnTo>
                  <a:pt x="4752120" y="5096357"/>
                </a:lnTo>
                <a:lnTo>
                  <a:pt x="4736128" y="5096778"/>
                </a:lnTo>
                <a:lnTo>
                  <a:pt x="4720689" y="5096778"/>
                </a:lnTo>
                <a:lnTo>
                  <a:pt x="4706351" y="5095936"/>
                </a:lnTo>
                <a:lnTo>
                  <a:pt x="4692566" y="5094250"/>
                </a:lnTo>
                <a:lnTo>
                  <a:pt x="4661135" y="5090037"/>
                </a:lnTo>
                <a:lnTo>
                  <a:pt x="4630807" y="5085402"/>
                </a:lnTo>
                <a:lnTo>
                  <a:pt x="4600480" y="5080347"/>
                </a:lnTo>
                <a:lnTo>
                  <a:pt x="4571805" y="5074449"/>
                </a:lnTo>
                <a:lnTo>
                  <a:pt x="4542580" y="5068972"/>
                </a:lnTo>
                <a:lnTo>
                  <a:pt x="4514459" y="5062653"/>
                </a:lnTo>
                <a:lnTo>
                  <a:pt x="4486336" y="5055912"/>
                </a:lnTo>
                <a:lnTo>
                  <a:pt x="4459316" y="5048749"/>
                </a:lnTo>
                <a:lnTo>
                  <a:pt x="4432848" y="5041166"/>
                </a:lnTo>
                <a:lnTo>
                  <a:pt x="4406380" y="5033161"/>
                </a:lnTo>
                <a:lnTo>
                  <a:pt x="4380463" y="5025157"/>
                </a:lnTo>
                <a:lnTo>
                  <a:pt x="4355097" y="5016731"/>
                </a:lnTo>
                <a:lnTo>
                  <a:pt x="4329732" y="5007461"/>
                </a:lnTo>
                <a:lnTo>
                  <a:pt x="4304918" y="4998614"/>
                </a:lnTo>
                <a:lnTo>
                  <a:pt x="4280655" y="4988924"/>
                </a:lnTo>
                <a:lnTo>
                  <a:pt x="4256393" y="4979235"/>
                </a:lnTo>
                <a:lnTo>
                  <a:pt x="4232130" y="4969123"/>
                </a:lnTo>
                <a:lnTo>
                  <a:pt x="4208971" y="4958590"/>
                </a:lnTo>
                <a:lnTo>
                  <a:pt x="4185259" y="4947637"/>
                </a:lnTo>
                <a:lnTo>
                  <a:pt x="4162100" y="4936682"/>
                </a:lnTo>
                <a:lnTo>
                  <a:pt x="4139492" y="4925728"/>
                </a:lnTo>
                <a:lnTo>
                  <a:pt x="4116332" y="4913932"/>
                </a:lnTo>
                <a:lnTo>
                  <a:pt x="4093173" y="4902557"/>
                </a:lnTo>
                <a:lnTo>
                  <a:pt x="4070565" y="4890339"/>
                </a:lnTo>
                <a:lnTo>
                  <a:pt x="4025899" y="4866325"/>
                </a:lnTo>
                <a:lnTo>
                  <a:pt x="3980132" y="4840625"/>
                </a:lnTo>
                <a:lnTo>
                  <a:pt x="3935467" y="4814926"/>
                </a:lnTo>
                <a:lnTo>
                  <a:pt x="3890250" y="4788384"/>
                </a:lnTo>
                <a:lnTo>
                  <a:pt x="3865988" y="4773638"/>
                </a:lnTo>
                <a:lnTo>
                  <a:pt x="3842828" y="4759314"/>
                </a:lnTo>
                <a:lnTo>
                  <a:pt x="3831248" y="4751731"/>
                </a:lnTo>
                <a:lnTo>
                  <a:pt x="3820771" y="4743725"/>
                </a:lnTo>
                <a:lnTo>
                  <a:pt x="3809742" y="4735721"/>
                </a:lnTo>
                <a:lnTo>
                  <a:pt x="3799817" y="4726873"/>
                </a:lnTo>
                <a:lnTo>
                  <a:pt x="3790994" y="4722239"/>
                </a:lnTo>
                <a:lnTo>
                  <a:pt x="3775555" y="4711706"/>
                </a:lnTo>
                <a:lnTo>
                  <a:pt x="3754050" y="4696961"/>
                </a:lnTo>
                <a:lnTo>
                  <a:pt x="3727581" y="4678003"/>
                </a:lnTo>
                <a:lnTo>
                  <a:pt x="3696702" y="4656094"/>
                </a:lnTo>
                <a:lnTo>
                  <a:pt x="3662514" y="4631658"/>
                </a:lnTo>
                <a:lnTo>
                  <a:pt x="3626120" y="4605117"/>
                </a:lnTo>
                <a:lnTo>
                  <a:pt x="3589174" y="4577732"/>
                </a:lnTo>
                <a:lnTo>
                  <a:pt x="3551678" y="4549926"/>
                </a:lnTo>
                <a:lnTo>
                  <a:pt x="3514734" y="4522119"/>
                </a:lnTo>
                <a:lnTo>
                  <a:pt x="3478891" y="4495578"/>
                </a:lnTo>
                <a:lnTo>
                  <a:pt x="3445806" y="4471142"/>
                </a:lnTo>
                <a:lnTo>
                  <a:pt x="3416029" y="4448391"/>
                </a:lnTo>
                <a:lnTo>
                  <a:pt x="3390112" y="4428590"/>
                </a:lnTo>
                <a:lnTo>
                  <a:pt x="3369710" y="4413002"/>
                </a:lnTo>
                <a:lnTo>
                  <a:pt x="3355925" y="4401627"/>
                </a:lnTo>
                <a:lnTo>
                  <a:pt x="3338279" y="4387724"/>
                </a:lnTo>
                <a:lnTo>
                  <a:pt x="3320082" y="4373821"/>
                </a:lnTo>
                <a:lnTo>
                  <a:pt x="3303539" y="4360339"/>
                </a:lnTo>
                <a:lnTo>
                  <a:pt x="3286445" y="4346858"/>
                </a:lnTo>
                <a:lnTo>
                  <a:pt x="3269351" y="4333375"/>
                </a:lnTo>
                <a:lnTo>
                  <a:pt x="3251706" y="4319473"/>
                </a:lnTo>
                <a:lnTo>
                  <a:pt x="3234060" y="4305991"/>
                </a:lnTo>
                <a:lnTo>
                  <a:pt x="3215312" y="4292088"/>
                </a:lnTo>
                <a:lnTo>
                  <a:pt x="3112197" y="4203614"/>
                </a:lnTo>
                <a:lnTo>
                  <a:pt x="3101168" y="4194767"/>
                </a:lnTo>
                <a:lnTo>
                  <a:pt x="3093999" y="4188869"/>
                </a:lnTo>
                <a:lnTo>
                  <a:pt x="3087383" y="4183812"/>
                </a:lnTo>
                <a:lnTo>
                  <a:pt x="3078560" y="4174965"/>
                </a:lnTo>
                <a:lnTo>
                  <a:pt x="3062017" y="4159799"/>
                </a:lnTo>
                <a:lnTo>
                  <a:pt x="3041615" y="4140418"/>
                </a:lnTo>
                <a:lnTo>
                  <a:pt x="3017352" y="4118932"/>
                </a:lnTo>
                <a:lnTo>
                  <a:pt x="2990333" y="4095339"/>
                </a:lnTo>
                <a:lnTo>
                  <a:pt x="2960556" y="4070060"/>
                </a:lnTo>
                <a:lnTo>
                  <a:pt x="2930228" y="4043519"/>
                </a:lnTo>
                <a:lnTo>
                  <a:pt x="2898797" y="4016134"/>
                </a:lnTo>
                <a:lnTo>
                  <a:pt x="2866815" y="3988328"/>
                </a:lnTo>
                <a:lnTo>
                  <a:pt x="2835935" y="3960943"/>
                </a:lnTo>
                <a:lnTo>
                  <a:pt x="2805607" y="3934823"/>
                </a:lnTo>
                <a:lnTo>
                  <a:pt x="2777485" y="3909544"/>
                </a:lnTo>
                <a:lnTo>
                  <a:pt x="2751568" y="3886373"/>
                </a:lnTo>
                <a:lnTo>
                  <a:pt x="2728960" y="3864886"/>
                </a:lnTo>
                <a:lnTo>
                  <a:pt x="2710763" y="3846770"/>
                </a:lnTo>
                <a:lnTo>
                  <a:pt x="2703043" y="3839186"/>
                </a:lnTo>
                <a:lnTo>
                  <a:pt x="2696426" y="3832024"/>
                </a:lnTo>
                <a:lnTo>
                  <a:pt x="2691463" y="3825705"/>
                </a:lnTo>
                <a:lnTo>
                  <a:pt x="2687603" y="3820228"/>
                </a:lnTo>
                <a:lnTo>
                  <a:pt x="2680986" y="3815594"/>
                </a:lnTo>
                <a:lnTo>
                  <a:pt x="2671061" y="3807588"/>
                </a:lnTo>
                <a:lnTo>
                  <a:pt x="2658929" y="3797056"/>
                </a:lnTo>
                <a:lnTo>
                  <a:pt x="2644593" y="3783996"/>
                </a:lnTo>
                <a:lnTo>
                  <a:pt x="2609302" y="3751134"/>
                </a:lnTo>
                <a:lnTo>
                  <a:pt x="2566291" y="3710689"/>
                </a:lnTo>
                <a:lnTo>
                  <a:pt x="2517766" y="3663924"/>
                </a:lnTo>
                <a:lnTo>
                  <a:pt x="2464830" y="3612946"/>
                </a:lnTo>
                <a:lnTo>
                  <a:pt x="2409136" y="3558598"/>
                </a:lnTo>
                <a:lnTo>
                  <a:pt x="2352341" y="3502564"/>
                </a:lnTo>
                <a:lnTo>
                  <a:pt x="2296096" y="3446532"/>
                </a:lnTo>
                <a:lnTo>
                  <a:pt x="2241506" y="3391761"/>
                </a:lnTo>
                <a:lnTo>
                  <a:pt x="2189672" y="3339942"/>
                </a:lnTo>
                <a:lnTo>
                  <a:pt x="2142801" y="3292334"/>
                </a:lnTo>
                <a:lnTo>
                  <a:pt x="2103098" y="3251047"/>
                </a:lnTo>
                <a:lnTo>
                  <a:pt x="2071116" y="3216500"/>
                </a:lnTo>
                <a:lnTo>
                  <a:pt x="2057882" y="3202596"/>
                </a:lnTo>
                <a:lnTo>
                  <a:pt x="2047406" y="3191221"/>
                </a:lnTo>
                <a:lnTo>
                  <a:pt x="2040788" y="3182374"/>
                </a:lnTo>
                <a:lnTo>
                  <a:pt x="2035825" y="3176055"/>
                </a:lnTo>
                <a:lnTo>
                  <a:pt x="2020936" y="3162151"/>
                </a:lnTo>
                <a:lnTo>
                  <a:pt x="1999431" y="3140244"/>
                </a:lnTo>
                <a:lnTo>
                  <a:pt x="1972411" y="3111595"/>
                </a:lnTo>
                <a:lnTo>
                  <a:pt x="1940982" y="3077891"/>
                </a:lnTo>
                <a:lnTo>
                  <a:pt x="1905689" y="3039131"/>
                </a:lnTo>
                <a:lnTo>
                  <a:pt x="1867642" y="2998264"/>
                </a:lnTo>
                <a:lnTo>
                  <a:pt x="1828491" y="2954449"/>
                </a:lnTo>
                <a:lnTo>
                  <a:pt x="1788789" y="2910212"/>
                </a:lnTo>
                <a:lnTo>
                  <a:pt x="1749087" y="2865553"/>
                </a:lnTo>
                <a:lnTo>
                  <a:pt x="1711038" y="2822159"/>
                </a:lnTo>
                <a:lnTo>
                  <a:pt x="1675196" y="2781293"/>
                </a:lnTo>
                <a:lnTo>
                  <a:pt x="1643214" y="2743797"/>
                </a:lnTo>
                <a:lnTo>
                  <a:pt x="1616194" y="2710935"/>
                </a:lnTo>
                <a:lnTo>
                  <a:pt x="1593587" y="2683551"/>
                </a:lnTo>
                <a:lnTo>
                  <a:pt x="1584764" y="2671754"/>
                </a:lnTo>
                <a:lnTo>
                  <a:pt x="1578146" y="2662906"/>
                </a:lnTo>
                <a:lnTo>
                  <a:pt x="1573184" y="2654902"/>
                </a:lnTo>
                <a:lnTo>
                  <a:pt x="1569875" y="2649846"/>
                </a:lnTo>
                <a:lnTo>
                  <a:pt x="1564361" y="2645633"/>
                </a:lnTo>
                <a:lnTo>
                  <a:pt x="1556640" y="2637628"/>
                </a:lnTo>
                <a:lnTo>
                  <a:pt x="1547267" y="2627096"/>
                </a:lnTo>
                <a:lnTo>
                  <a:pt x="1535135" y="2613614"/>
                </a:lnTo>
                <a:lnTo>
                  <a:pt x="1507013" y="2579489"/>
                </a:lnTo>
                <a:lnTo>
                  <a:pt x="1471171" y="2536094"/>
                </a:lnTo>
                <a:lnTo>
                  <a:pt x="1430918" y="2485537"/>
                </a:lnTo>
                <a:lnTo>
                  <a:pt x="1387355" y="2429504"/>
                </a:lnTo>
                <a:lnTo>
                  <a:pt x="1341587" y="2369679"/>
                </a:lnTo>
                <a:lnTo>
                  <a:pt x="1293614" y="2306905"/>
                </a:lnTo>
                <a:lnTo>
                  <a:pt x="1246192" y="2243709"/>
                </a:lnTo>
                <a:lnTo>
                  <a:pt x="1199322" y="2181777"/>
                </a:lnTo>
                <a:lnTo>
                  <a:pt x="1155759" y="2121953"/>
                </a:lnTo>
                <a:lnTo>
                  <a:pt x="1115505" y="2066340"/>
                </a:lnTo>
                <a:lnTo>
                  <a:pt x="1079663" y="2016205"/>
                </a:lnTo>
                <a:lnTo>
                  <a:pt x="1050438" y="1974075"/>
                </a:lnTo>
                <a:lnTo>
                  <a:pt x="1037755" y="1955959"/>
                </a:lnTo>
                <a:lnTo>
                  <a:pt x="1028381" y="1940792"/>
                </a:lnTo>
                <a:lnTo>
                  <a:pt x="1020109" y="1927731"/>
                </a:lnTo>
                <a:lnTo>
                  <a:pt x="1014595" y="1917620"/>
                </a:lnTo>
                <a:lnTo>
                  <a:pt x="1002464" y="1902453"/>
                </a:lnTo>
                <a:lnTo>
                  <a:pt x="990333" y="1887286"/>
                </a:lnTo>
                <a:lnTo>
                  <a:pt x="978753" y="1870856"/>
                </a:lnTo>
                <a:lnTo>
                  <a:pt x="966622" y="1854003"/>
                </a:lnTo>
                <a:lnTo>
                  <a:pt x="944014" y="1818613"/>
                </a:lnTo>
                <a:lnTo>
                  <a:pt x="921405" y="1781960"/>
                </a:lnTo>
                <a:lnTo>
                  <a:pt x="898798" y="1745307"/>
                </a:lnTo>
                <a:lnTo>
                  <a:pt x="876741" y="1708654"/>
                </a:lnTo>
                <a:lnTo>
                  <a:pt x="855787" y="1673686"/>
                </a:lnTo>
                <a:lnTo>
                  <a:pt x="834281" y="1640403"/>
                </a:lnTo>
                <a:lnTo>
                  <a:pt x="822701" y="1623129"/>
                </a:lnTo>
                <a:lnTo>
                  <a:pt x="812224" y="1605434"/>
                </a:lnTo>
                <a:lnTo>
                  <a:pt x="801197" y="1587739"/>
                </a:lnTo>
                <a:lnTo>
                  <a:pt x="791270" y="1570045"/>
                </a:lnTo>
                <a:lnTo>
                  <a:pt x="780242" y="1552771"/>
                </a:lnTo>
                <a:lnTo>
                  <a:pt x="770317" y="1534655"/>
                </a:lnTo>
                <a:lnTo>
                  <a:pt x="760390" y="1516960"/>
                </a:lnTo>
                <a:lnTo>
                  <a:pt x="749363" y="1499687"/>
                </a:lnTo>
                <a:lnTo>
                  <a:pt x="739988" y="1484099"/>
                </a:lnTo>
                <a:lnTo>
                  <a:pt x="728960" y="1466825"/>
                </a:lnTo>
                <a:lnTo>
                  <a:pt x="717380" y="1447446"/>
                </a:lnTo>
                <a:lnTo>
                  <a:pt x="705249" y="1427223"/>
                </a:lnTo>
                <a:lnTo>
                  <a:pt x="693117" y="1407421"/>
                </a:lnTo>
                <a:lnTo>
                  <a:pt x="683192" y="1388041"/>
                </a:lnTo>
                <a:lnTo>
                  <a:pt x="674370" y="1369925"/>
                </a:lnTo>
                <a:lnTo>
                  <a:pt x="667752" y="1354337"/>
                </a:lnTo>
                <a:lnTo>
                  <a:pt x="653967" y="1334115"/>
                </a:lnTo>
                <a:lnTo>
                  <a:pt x="640733" y="1311364"/>
                </a:lnTo>
                <a:lnTo>
                  <a:pt x="626947" y="1287349"/>
                </a:lnTo>
                <a:lnTo>
                  <a:pt x="613713" y="1262493"/>
                </a:lnTo>
                <a:lnTo>
                  <a:pt x="600479" y="1236793"/>
                </a:lnTo>
                <a:lnTo>
                  <a:pt x="587796" y="1211936"/>
                </a:lnTo>
                <a:lnTo>
                  <a:pt x="576217" y="1187501"/>
                </a:lnTo>
                <a:lnTo>
                  <a:pt x="564085" y="1165593"/>
                </a:lnTo>
                <a:lnTo>
                  <a:pt x="553056" y="1144949"/>
                </a:lnTo>
                <a:lnTo>
                  <a:pt x="538720" y="1116722"/>
                </a:lnTo>
                <a:lnTo>
                  <a:pt x="521075" y="1083017"/>
                </a:lnTo>
                <a:lnTo>
                  <a:pt x="500120" y="1044679"/>
                </a:lnTo>
                <a:lnTo>
                  <a:pt x="478063" y="1001706"/>
                </a:lnTo>
                <a:lnTo>
                  <a:pt x="453802" y="955784"/>
                </a:lnTo>
                <a:lnTo>
                  <a:pt x="428987" y="908597"/>
                </a:lnTo>
                <a:lnTo>
                  <a:pt x="403621" y="860990"/>
                </a:lnTo>
                <a:lnTo>
                  <a:pt x="379360" y="812962"/>
                </a:lnTo>
                <a:lnTo>
                  <a:pt x="355098" y="766618"/>
                </a:lnTo>
                <a:lnTo>
                  <a:pt x="333041" y="723224"/>
                </a:lnTo>
                <a:lnTo>
                  <a:pt x="312638" y="683621"/>
                </a:lnTo>
                <a:lnTo>
                  <a:pt x="295544" y="648232"/>
                </a:lnTo>
                <a:lnTo>
                  <a:pt x="281758" y="618741"/>
                </a:lnTo>
                <a:lnTo>
                  <a:pt x="271833" y="596833"/>
                </a:lnTo>
                <a:lnTo>
                  <a:pt x="266318" y="582088"/>
                </a:lnTo>
                <a:lnTo>
                  <a:pt x="261908" y="575346"/>
                </a:lnTo>
                <a:lnTo>
                  <a:pt x="254739" y="564392"/>
                </a:lnTo>
                <a:lnTo>
                  <a:pt x="245916" y="549226"/>
                </a:lnTo>
                <a:lnTo>
                  <a:pt x="236542" y="530688"/>
                </a:lnTo>
                <a:lnTo>
                  <a:pt x="213934" y="485187"/>
                </a:lnTo>
                <a:lnTo>
                  <a:pt x="189120" y="434210"/>
                </a:lnTo>
                <a:lnTo>
                  <a:pt x="165409" y="381546"/>
                </a:lnTo>
                <a:lnTo>
                  <a:pt x="142248" y="333097"/>
                </a:lnTo>
                <a:lnTo>
                  <a:pt x="124052" y="293073"/>
                </a:lnTo>
                <a:lnTo>
                  <a:pt x="113024" y="266952"/>
                </a:lnTo>
                <a:lnTo>
                  <a:pt x="84350" y="201650"/>
                </a:lnTo>
                <a:lnTo>
                  <a:pt x="56779" y="137612"/>
                </a:lnTo>
                <a:lnTo>
                  <a:pt x="30311" y="73995"/>
                </a:lnTo>
                <a:lnTo>
                  <a:pt x="4394" y="10799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26840637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918F4FDA-EC7E-4696-802F-54A6C942E47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-1"/>
            <a:ext cx="6096000" cy="3428997"/>
          </a:xfrm>
          <a:prstGeom prst="rect">
            <a:avLst/>
          </a:prstGeom>
        </p:spPr>
        <p:txBody>
          <a:bodyPr lIns="91413" tIns="45707" rIns="91413" bIns="45707"/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xmlns="" id="{1994F3BE-AA53-469D-82A2-642782CDAF5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9007"/>
            <a:ext cx="6096000" cy="3428997"/>
          </a:xfrm>
          <a:prstGeom prst="rect">
            <a:avLst/>
          </a:prstGeom>
        </p:spPr>
        <p:txBody>
          <a:bodyPr lIns="91413" tIns="45707" rIns="91413" bIns="45707"/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63593065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C5A7326F-90F2-4CE6-B21C-83CD4C5A3B4A}"/>
              </a:ext>
            </a:extLst>
          </p:cNvPr>
          <p:cNvSpPr/>
          <p:nvPr userDrawn="1"/>
        </p:nvSpPr>
        <p:spPr>
          <a:xfrm>
            <a:off x="2" y="0"/>
            <a:ext cx="5171607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3" tIns="45707" rIns="91413" bIns="45707" rtlCol="0" anchor="ctr"/>
          <a:lstStyle/>
          <a:p>
            <a:pPr algn="ctr"/>
            <a:endParaRPr lang="en-US" sz="180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xmlns="" id="{208B9D14-B54E-4207-8F06-450688E5213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533833" y="-907025"/>
            <a:ext cx="3893575" cy="2020528"/>
          </a:xfrm>
          <a:custGeom>
            <a:avLst/>
            <a:gdLst>
              <a:gd name="connsiteX0" fmla="*/ 44048 w 3893574"/>
              <a:gd name="connsiteY0" fmla="*/ 0 h 2020528"/>
              <a:gd name="connsiteX1" fmla="*/ 3849526 w 3893574"/>
              <a:gd name="connsiteY1" fmla="*/ 0 h 2020528"/>
              <a:gd name="connsiteX2" fmla="*/ 3893574 w 3893574"/>
              <a:gd name="connsiteY2" fmla="*/ 44048 h 2020528"/>
              <a:gd name="connsiteX3" fmla="*/ 3893574 w 3893574"/>
              <a:gd name="connsiteY3" fmla="*/ 1976480 h 2020528"/>
              <a:gd name="connsiteX4" fmla="*/ 3849526 w 3893574"/>
              <a:gd name="connsiteY4" fmla="*/ 2020528 h 2020528"/>
              <a:gd name="connsiteX5" fmla="*/ 44048 w 3893574"/>
              <a:gd name="connsiteY5" fmla="*/ 2020528 h 2020528"/>
              <a:gd name="connsiteX6" fmla="*/ 0 w 3893574"/>
              <a:gd name="connsiteY6" fmla="*/ 1976480 h 2020528"/>
              <a:gd name="connsiteX7" fmla="*/ 0 w 3893574"/>
              <a:gd name="connsiteY7" fmla="*/ 44048 h 2020528"/>
              <a:gd name="connsiteX8" fmla="*/ 44048 w 3893574"/>
              <a:gd name="connsiteY8" fmla="*/ 0 h 2020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93574" h="2020528">
                <a:moveTo>
                  <a:pt x="44048" y="0"/>
                </a:moveTo>
                <a:lnTo>
                  <a:pt x="3849526" y="0"/>
                </a:lnTo>
                <a:cubicBezTo>
                  <a:pt x="3873853" y="0"/>
                  <a:pt x="3893574" y="19721"/>
                  <a:pt x="3893574" y="44048"/>
                </a:cubicBezTo>
                <a:lnTo>
                  <a:pt x="3893574" y="1976480"/>
                </a:lnTo>
                <a:cubicBezTo>
                  <a:pt x="3893574" y="2000807"/>
                  <a:pt x="3873853" y="2020528"/>
                  <a:pt x="3849526" y="2020528"/>
                </a:cubicBezTo>
                <a:lnTo>
                  <a:pt x="44048" y="2020528"/>
                </a:lnTo>
                <a:cubicBezTo>
                  <a:pt x="19721" y="2020528"/>
                  <a:pt x="0" y="2000807"/>
                  <a:pt x="0" y="1976480"/>
                </a:cubicBezTo>
                <a:lnTo>
                  <a:pt x="0" y="44048"/>
                </a:lnTo>
                <a:cubicBezTo>
                  <a:pt x="0" y="19721"/>
                  <a:pt x="19721" y="0"/>
                  <a:pt x="44048" y="0"/>
                </a:cubicBezTo>
                <a:close/>
              </a:path>
            </a:pathLst>
          </a:custGeom>
          <a:noFill/>
          <a:effectLst>
            <a:outerShdw blurRad="1066800" dist="736600" dir="5400000" sx="85000" sy="85000" algn="t" rotWithShape="0">
              <a:prstClr val="black">
                <a:alpha val="40000"/>
              </a:prstClr>
            </a:outerShdw>
          </a:effectLst>
        </p:spPr>
        <p:txBody>
          <a:bodyPr wrap="square" lIns="91413" tIns="45707" rIns="91413" bIns="45707" anchor="b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="" id="{FB21AEC5-9383-420A-B4D2-1FC524291BE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33833" y="5744497"/>
            <a:ext cx="3893575" cy="2020528"/>
          </a:xfrm>
          <a:custGeom>
            <a:avLst/>
            <a:gdLst>
              <a:gd name="connsiteX0" fmla="*/ 44048 w 3893574"/>
              <a:gd name="connsiteY0" fmla="*/ 0 h 2020528"/>
              <a:gd name="connsiteX1" fmla="*/ 3849526 w 3893574"/>
              <a:gd name="connsiteY1" fmla="*/ 0 h 2020528"/>
              <a:gd name="connsiteX2" fmla="*/ 3893574 w 3893574"/>
              <a:gd name="connsiteY2" fmla="*/ 44048 h 2020528"/>
              <a:gd name="connsiteX3" fmla="*/ 3893574 w 3893574"/>
              <a:gd name="connsiteY3" fmla="*/ 1976480 h 2020528"/>
              <a:gd name="connsiteX4" fmla="*/ 3849526 w 3893574"/>
              <a:gd name="connsiteY4" fmla="*/ 2020528 h 2020528"/>
              <a:gd name="connsiteX5" fmla="*/ 44048 w 3893574"/>
              <a:gd name="connsiteY5" fmla="*/ 2020528 h 2020528"/>
              <a:gd name="connsiteX6" fmla="*/ 0 w 3893574"/>
              <a:gd name="connsiteY6" fmla="*/ 1976480 h 2020528"/>
              <a:gd name="connsiteX7" fmla="*/ 0 w 3893574"/>
              <a:gd name="connsiteY7" fmla="*/ 44048 h 2020528"/>
              <a:gd name="connsiteX8" fmla="*/ 44048 w 3893574"/>
              <a:gd name="connsiteY8" fmla="*/ 0 h 2020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93574" h="2020528">
                <a:moveTo>
                  <a:pt x="44048" y="0"/>
                </a:moveTo>
                <a:lnTo>
                  <a:pt x="3849526" y="0"/>
                </a:lnTo>
                <a:cubicBezTo>
                  <a:pt x="3873853" y="0"/>
                  <a:pt x="3893574" y="19721"/>
                  <a:pt x="3893574" y="44048"/>
                </a:cubicBezTo>
                <a:lnTo>
                  <a:pt x="3893574" y="1976480"/>
                </a:lnTo>
                <a:cubicBezTo>
                  <a:pt x="3893574" y="2000807"/>
                  <a:pt x="3873853" y="2020528"/>
                  <a:pt x="3849526" y="2020528"/>
                </a:cubicBezTo>
                <a:lnTo>
                  <a:pt x="44048" y="2020528"/>
                </a:lnTo>
                <a:cubicBezTo>
                  <a:pt x="19721" y="2020528"/>
                  <a:pt x="0" y="2000807"/>
                  <a:pt x="0" y="1976480"/>
                </a:cubicBezTo>
                <a:lnTo>
                  <a:pt x="0" y="44048"/>
                </a:lnTo>
                <a:cubicBezTo>
                  <a:pt x="0" y="19721"/>
                  <a:pt x="19721" y="0"/>
                  <a:pt x="44048" y="0"/>
                </a:cubicBezTo>
                <a:close/>
              </a:path>
            </a:pathLst>
          </a:custGeom>
          <a:noFill/>
          <a:effectLst>
            <a:outerShdw blurRad="1066800" dist="736600" dir="5400000" sx="85000" sy="85000" algn="t" rotWithShape="0">
              <a:prstClr val="black">
                <a:alpha val="40000"/>
              </a:prstClr>
            </a:outerShdw>
          </a:effectLst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A45AF888-4FA0-442B-9915-D956BCBB3A6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533833" y="3527323"/>
            <a:ext cx="3893575" cy="2020528"/>
          </a:xfrm>
          <a:custGeom>
            <a:avLst/>
            <a:gdLst>
              <a:gd name="connsiteX0" fmla="*/ 44048 w 3893574"/>
              <a:gd name="connsiteY0" fmla="*/ 0 h 2020528"/>
              <a:gd name="connsiteX1" fmla="*/ 3849526 w 3893574"/>
              <a:gd name="connsiteY1" fmla="*/ 0 h 2020528"/>
              <a:gd name="connsiteX2" fmla="*/ 3893574 w 3893574"/>
              <a:gd name="connsiteY2" fmla="*/ 44048 h 2020528"/>
              <a:gd name="connsiteX3" fmla="*/ 3893574 w 3893574"/>
              <a:gd name="connsiteY3" fmla="*/ 1976480 h 2020528"/>
              <a:gd name="connsiteX4" fmla="*/ 3849526 w 3893574"/>
              <a:gd name="connsiteY4" fmla="*/ 2020528 h 2020528"/>
              <a:gd name="connsiteX5" fmla="*/ 44048 w 3893574"/>
              <a:gd name="connsiteY5" fmla="*/ 2020528 h 2020528"/>
              <a:gd name="connsiteX6" fmla="*/ 0 w 3893574"/>
              <a:gd name="connsiteY6" fmla="*/ 1976480 h 2020528"/>
              <a:gd name="connsiteX7" fmla="*/ 0 w 3893574"/>
              <a:gd name="connsiteY7" fmla="*/ 44048 h 2020528"/>
              <a:gd name="connsiteX8" fmla="*/ 44048 w 3893574"/>
              <a:gd name="connsiteY8" fmla="*/ 0 h 2020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93574" h="2020528">
                <a:moveTo>
                  <a:pt x="44048" y="0"/>
                </a:moveTo>
                <a:lnTo>
                  <a:pt x="3849526" y="0"/>
                </a:lnTo>
                <a:cubicBezTo>
                  <a:pt x="3873853" y="0"/>
                  <a:pt x="3893574" y="19721"/>
                  <a:pt x="3893574" y="44048"/>
                </a:cubicBezTo>
                <a:lnTo>
                  <a:pt x="3893574" y="1976480"/>
                </a:lnTo>
                <a:cubicBezTo>
                  <a:pt x="3893574" y="2000807"/>
                  <a:pt x="3873853" y="2020528"/>
                  <a:pt x="3849526" y="2020528"/>
                </a:cubicBezTo>
                <a:lnTo>
                  <a:pt x="44048" y="2020528"/>
                </a:lnTo>
                <a:cubicBezTo>
                  <a:pt x="19721" y="2020528"/>
                  <a:pt x="0" y="2000807"/>
                  <a:pt x="0" y="1976480"/>
                </a:cubicBezTo>
                <a:lnTo>
                  <a:pt x="0" y="44048"/>
                </a:lnTo>
                <a:cubicBezTo>
                  <a:pt x="0" y="19721"/>
                  <a:pt x="19721" y="0"/>
                  <a:pt x="44048" y="0"/>
                </a:cubicBezTo>
                <a:close/>
              </a:path>
            </a:pathLst>
          </a:custGeom>
          <a:noFill/>
          <a:effectLst>
            <a:outerShdw blurRad="1066800" dist="736600" dir="5400000" sx="85000" sy="85000" algn="t" rotWithShape="0">
              <a:prstClr val="black">
                <a:alpha val="40000"/>
              </a:prstClr>
            </a:outerShdw>
          </a:effectLst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19641216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B24C2CAC-FDC6-4229-A8D4-AF911581DB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" y="6"/>
            <a:ext cx="12191999" cy="3538633"/>
          </a:xfrm>
          <a:custGeom>
            <a:avLst/>
            <a:gdLst>
              <a:gd name="connsiteX0" fmla="*/ 0 w 12191999"/>
              <a:gd name="connsiteY0" fmla="*/ 0 h 3538633"/>
              <a:gd name="connsiteX1" fmla="*/ 12191999 w 12191999"/>
              <a:gd name="connsiteY1" fmla="*/ 0 h 3538633"/>
              <a:gd name="connsiteX2" fmla="*/ 12191999 w 12191999"/>
              <a:gd name="connsiteY2" fmla="*/ 3312250 h 3538633"/>
              <a:gd name="connsiteX3" fmla="*/ 11327602 w 12191999"/>
              <a:gd name="connsiteY3" fmla="*/ 3374383 h 3538633"/>
              <a:gd name="connsiteX4" fmla="*/ 6095999 w 12191999"/>
              <a:gd name="connsiteY4" fmla="*/ 3538633 h 3538633"/>
              <a:gd name="connsiteX5" fmla="*/ 864396 w 12191999"/>
              <a:gd name="connsiteY5" fmla="*/ 3374383 h 3538633"/>
              <a:gd name="connsiteX6" fmla="*/ 0 w 12191999"/>
              <a:gd name="connsiteY6" fmla="*/ 3312251 h 3538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538633">
                <a:moveTo>
                  <a:pt x="0" y="0"/>
                </a:moveTo>
                <a:lnTo>
                  <a:pt x="12191999" y="0"/>
                </a:lnTo>
                <a:lnTo>
                  <a:pt x="12191999" y="3312250"/>
                </a:lnTo>
                <a:lnTo>
                  <a:pt x="11327602" y="3374383"/>
                </a:lnTo>
                <a:cubicBezTo>
                  <a:pt x="9637747" y="3482077"/>
                  <a:pt x="7888080" y="3538633"/>
                  <a:pt x="6095999" y="3538633"/>
                </a:cubicBezTo>
                <a:cubicBezTo>
                  <a:pt x="4303918" y="3538633"/>
                  <a:pt x="2554251" y="3482077"/>
                  <a:pt x="864396" y="3374383"/>
                </a:cubicBezTo>
                <a:lnTo>
                  <a:pt x="0" y="3312251"/>
                </a:lnTo>
                <a:close/>
              </a:path>
            </a:pathLst>
          </a:custGeom>
        </p:spPr>
        <p:txBody>
          <a:bodyPr wrap="square" lIns="91413" tIns="45707" rIns="91413" bIns="45707">
            <a:noAutofit/>
          </a:bodyPr>
          <a:lstStyle>
            <a:lvl1pPr marL="0" marR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0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51885402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AutoShape 2" descr="blob:https://web.whatsapp.com/9fb14721-1da8-4c20-abb5-d78e34f425f5"/>
          <p:cNvSpPr>
            <a:spLocks noChangeAspect="1" noChangeArrowheads="1"/>
          </p:cNvSpPr>
          <p:nvPr userDrawn="1"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063552" y="2136070"/>
            <a:ext cx="8327301" cy="2609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171521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0" cap="none"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55808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98B285C1-D8A8-4E98-B28C-1FD972D8EC54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776624" y="5949337"/>
            <a:ext cx="1415376" cy="908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733966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86A43902-8CF0-42E7-A298-EB1F145469EA}" type="datetime1">
              <a:rPr lang="en-US" smtClean="0"/>
              <a:pPr/>
              <a:t>2/25/2022</a:t>
            </a:fld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655808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98B285C1-D8A8-4E98-B28C-1FD972D8EC54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776624" y="5949336"/>
            <a:ext cx="1415376" cy="908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6910751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 bwMode="gray">
          <a:xfrm>
            <a:off x="11258608" y="6402389"/>
            <a:ext cx="486833" cy="366712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>
              <a:defRPr/>
            </a:pPr>
            <a:fld id="{C86FD1D7-28AC-451C-8E0E-10F87208A76F}" type="slidenum">
              <a:rPr lang="en-GB" sz="1133" b="1" smtClean="0">
                <a:solidFill>
                  <a:prstClr val="black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en-GB" sz="1133" b="1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609600" y="793275"/>
            <a:ext cx="10800000" cy="62864"/>
            <a:chOff x="521460" y="771510"/>
            <a:chExt cx="7386262" cy="47148"/>
          </a:xfrm>
        </p:grpSpPr>
        <p:pic>
          <p:nvPicPr>
            <p:cNvPr id="6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" name="Straight Connector 6"/>
            <p:cNvCxnSpPr/>
            <p:nvPr/>
          </p:nvCxnSpPr>
          <p:spPr>
            <a:xfrm>
              <a:off x="521460" y="818658"/>
              <a:ext cx="738626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2E0908D-DDDD-489F-BEE8-89FBE2A59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11263748" y="-11400"/>
            <a:ext cx="916675" cy="82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 idx="4294967295"/>
          </p:nvPr>
        </p:nvSpPr>
        <p:spPr>
          <a:xfrm>
            <a:off x="239349" y="288561"/>
            <a:ext cx="11283951" cy="399827"/>
          </a:xfrm>
          <a:noFill/>
        </p:spPr>
        <p:txBody>
          <a:bodyPr vert="horz" wrap="square" lIns="91157" tIns="45580" rIns="91157" bIns="45580" rtlCol="0" anchor="b">
            <a:spAutoFit/>
          </a:bodyPr>
          <a:lstStyle/>
          <a:p>
            <a:pPr marL="109195" defTabSz="911400" eaLnBrk="1" hangingPunct="1"/>
            <a:r>
              <a:rPr lang="en-IN" sz="2000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Kattupalli Port Location and Hinterland </a:t>
            </a:r>
          </a:p>
        </p:txBody>
      </p:sp>
    </p:spTree>
    <p:extLst>
      <p:ext uri="{BB962C8B-B14F-4D97-AF65-F5344CB8AC3E}">
        <p14:creationId xmlns:p14="http://schemas.microsoft.com/office/powerpoint/2010/main" xmlns="" val="21430183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57200" y="2125980"/>
            <a:ext cx="51816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914400" y="3840480"/>
            <a:ext cx="42672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1D8BD707-D9CF-40AE-B4C6-C98DA3205C09}" type="datetimeFigureOut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2/25/2022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B6F15528-21DE-4FAA-801E-634DDDAF4B2B}" type="slidenum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‹#›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92017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1D4B4AB-B102-4B52-9298-4FDE1139D9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1019"/>
            <a:ext cx="12192000" cy="68559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38602"/>
            <a:ext cx="10363200" cy="1362075"/>
          </a:xfrm>
        </p:spPr>
        <p:txBody>
          <a:bodyPr anchor="t">
            <a:normAutofit/>
          </a:bodyPr>
          <a:lstStyle>
            <a:lvl1pPr algn="l">
              <a:defRPr sz="3733" b="0" cap="none" baseline="0">
                <a:solidFill>
                  <a:schemeClr val="bg1"/>
                </a:solidFill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7446AA89-70C2-4CE4-A7FB-E2B4B3913F75}"/>
              </a:ext>
            </a:extLst>
          </p:cNvPr>
          <p:cNvSpPr/>
          <p:nvPr userDrawn="1"/>
        </p:nvSpPr>
        <p:spPr>
          <a:xfrm>
            <a:off x="4055728" y="308585"/>
            <a:ext cx="4080544" cy="3355304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3200" dirty="0">
              <a:solidFill>
                <a:prstClr val="white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E41FA2B8-9B1E-4195-BEDA-B69F6883B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xmlns="" id="{FC33AF80-915C-4734-BCB1-E0C94F442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658351" y="6576977"/>
            <a:ext cx="6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Adani Regular" panose="02000503000000020004" pitchFamily="2" charset="0"/>
              </a:defRPr>
            </a:lvl1pPr>
          </a:lstStyle>
          <a:p>
            <a:endParaRPr lang="en-IN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8E1B017C-5D5A-4974-9F15-6FD4BBE9CAA4}"/>
              </a:ext>
            </a:extLst>
          </p:cNvPr>
          <p:cNvCxnSpPr/>
          <p:nvPr userDrawn="1"/>
        </p:nvCxnSpPr>
        <p:spPr>
          <a:xfrm>
            <a:off x="11707664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805809" y="1243454"/>
            <a:ext cx="1607379" cy="109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681639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0636" y="450700"/>
            <a:ext cx="3247437" cy="455959"/>
          </a:xfrm>
        </p:spPr>
        <p:txBody>
          <a:bodyPr lIns="0" tIns="0" rIns="0" bIns="0"/>
          <a:lstStyle>
            <a:lvl1pPr>
              <a:defRPr sz="2963" b="0" i="0">
                <a:solidFill>
                  <a:schemeClr val="bg1"/>
                </a:solidFill>
                <a:latin typeface="Lucida Sans Unicode"/>
                <a:cs typeface="Lucida Sans Unicod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49788" y="1566116"/>
            <a:ext cx="4996424" cy="114006"/>
          </a:xfrm>
        </p:spPr>
        <p:txBody>
          <a:bodyPr lIns="0" tIns="0" rIns="0" bIns="0"/>
          <a:lstStyle>
            <a:lvl1pPr>
              <a:defRPr sz="741" b="0" i="0">
                <a:solidFill>
                  <a:srgbClr val="58595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1D8BD707-D9CF-40AE-B4C6-C98DA3205C09}" type="datetimeFigureOut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2/25/2022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B6F15528-21DE-4FAA-801E-634DDDAF4B2B}" type="slidenum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‹#›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4263224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0636" y="450700"/>
            <a:ext cx="3247437" cy="455959"/>
          </a:xfrm>
        </p:spPr>
        <p:txBody>
          <a:bodyPr lIns="0" tIns="0" rIns="0" bIns="0"/>
          <a:lstStyle>
            <a:lvl1pPr>
              <a:defRPr sz="2963" b="0" i="0">
                <a:solidFill>
                  <a:schemeClr val="bg1"/>
                </a:solidFill>
                <a:latin typeface="Lucida Sans Unicode"/>
                <a:cs typeface="Lucida Sans Unicod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304800" y="1577340"/>
            <a:ext cx="26517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3139440" y="1577340"/>
            <a:ext cx="26517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1D8BD707-D9CF-40AE-B4C6-C98DA3205C09}" type="datetimeFigureOut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2/25/2022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B6F15528-21DE-4FAA-801E-634DDDAF4B2B}" type="slidenum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‹#›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606103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0636" y="450700"/>
            <a:ext cx="3247437" cy="455959"/>
          </a:xfrm>
        </p:spPr>
        <p:txBody>
          <a:bodyPr lIns="0" tIns="0" rIns="0" bIns="0"/>
          <a:lstStyle>
            <a:lvl1pPr>
              <a:defRPr sz="2963" b="0" i="0">
                <a:solidFill>
                  <a:schemeClr val="bg1"/>
                </a:solidFill>
                <a:latin typeface="Lucida Sans Unicode"/>
                <a:cs typeface="Lucida Sans Unicod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1D8BD707-D9CF-40AE-B4C6-C98DA3205C09}" type="datetimeFigureOut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2/25/2022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B6F15528-21DE-4FAA-801E-634DDDAF4B2B}" type="slidenum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‹#›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420464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1D8BD707-D9CF-40AE-B4C6-C98DA3205C09}" type="datetimeFigureOut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2/25/2022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B6F15528-21DE-4FAA-801E-634DDDAF4B2B}" type="slidenum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‹#›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82014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06901"/>
            <a:ext cx="10363200" cy="729430"/>
          </a:xfrm>
        </p:spPr>
        <p:txBody>
          <a:bodyPr anchor="t"/>
          <a:lstStyle>
            <a:lvl1pPr algn="l">
              <a:defRPr sz="4740" b="0" cap="none"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042186"/>
            <a:ext cx="10363200" cy="364715"/>
          </a:xfrm>
        </p:spPr>
        <p:txBody>
          <a:bodyPr anchor="b"/>
          <a:lstStyle>
            <a:lvl1pPr marL="0" indent="0">
              <a:buNone/>
              <a:defRPr sz="2370">
                <a:solidFill>
                  <a:schemeClr val="tx1">
                    <a:tint val="75000"/>
                  </a:schemeClr>
                </a:solidFill>
              </a:defRPr>
            </a:lvl1pPr>
            <a:lvl2pPr marL="54183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2pPr>
            <a:lvl3pPr marL="1083674" indent="0">
              <a:buNone/>
              <a:defRPr sz="1896">
                <a:solidFill>
                  <a:schemeClr val="tx1">
                    <a:tint val="75000"/>
                  </a:schemeClr>
                </a:solidFill>
              </a:defRPr>
            </a:lvl3pPr>
            <a:lvl4pPr marL="1625511" indent="0">
              <a:buNone/>
              <a:defRPr sz="1659">
                <a:solidFill>
                  <a:schemeClr val="tx1">
                    <a:tint val="75000"/>
                  </a:schemeClr>
                </a:solidFill>
              </a:defRPr>
            </a:lvl4pPr>
            <a:lvl5pPr marL="2167347" indent="0">
              <a:buNone/>
              <a:defRPr sz="1659">
                <a:solidFill>
                  <a:schemeClr val="tx1">
                    <a:tint val="75000"/>
                  </a:schemeClr>
                </a:solidFill>
              </a:defRPr>
            </a:lvl5pPr>
            <a:lvl6pPr marL="2709184" indent="0">
              <a:buNone/>
              <a:defRPr sz="1659">
                <a:solidFill>
                  <a:schemeClr val="tx1">
                    <a:tint val="75000"/>
                  </a:schemeClr>
                </a:solidFill>
              </a:defRPr>
            </a:lvl6pPr>
            <a:lvl7pPr marL="3251021" indent="0">
              <a:buNone/>
              <a:defRPr sz="1659">
                <a:solidFill>
                  <a:schemeClr val="tx1">
                    <a:tint val="75000"/>
                  </a:schemeClr>
                </a:solidFill>
              </a:defRPr>
            </a:lvl7pPr>
            <a:lvl8pPr marL="3792858" indent="0">
              <a:buNone/>
              <a:defRPr sz="1659">
                <a:solidFill>
                  <a:schemeClr val="tx1">
                    <a:tint val="75000"/>
                  </a:schemeClr>
                </a:solidFill>
              </a:defRPr>
            </a:lvl8pPr>
            <a:lvl9pPr marL="4334695" indent="0">
              <a:buNone/>
              <a:defRPr sz="165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04800" y="6377941"/>
            <a:ext cx="1402080" cy="205121"/>
          </a:xfrm>
        </p:spPr>
        <p:txBody>
          <a:bodyPr/>
          <a:lstStyle/>
          <a:p>
            <a:pPr defTabSz="677296"/>
            <a:fld id="{C9D75DF4-3AC0-4064-B920-C01CE0353AA3}" type="datetimeFigureOut">
              <a:rPr lang="en-IN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25-02-2022</a:t>
            </a:fld>
            <a:endParaRPr lang="en-IN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89120" y="6377941"/>
            <a:ext cx="1402080" cy="205121"/>
          </a:xfrm>
        </p:spPr>
        <p:txBody>
          <a:bodyPr/>
          <a:lstStyle/>
          <a:p>
            <a:pPr defTabSz="677296"/>
            <a:fld id="{98B285C1-D8A8-4E98-B28C-1FD972D8EC54}" type="slidenum">
              <a:rPr lang="en-IN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‹#›</a:t>
            </a:fld>
            <a:endParaRPr lang="en-IN" sz="1333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158AE5DB-BCB3-4843-83CB-CA7F9B3030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176342" y="5996305"/>
            <a:ext cx="971228" cy="861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038728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882B46E-A4EC-4A78-BEF5-04B547B906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1019"/>
            <a:ext cx="12192000" cy="68559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038602"/>
            <a:ext cx="10363200" cy="1362075"/>
          </a:xfrm>
        </p:spPr>
        <p:txBody>
          <a:bodyPr anchor="t">
            <a:normAutofit/>
          </a:bodyPr>
          <a:lstStyle>
            <a:lvl1pPr algn="l">
              <a:defRPr sz="3733" b="0" cap="none" baseline="0">
                <a:solidFill>
                  <a:schemeClr val="bg1"/>
                </a:solidFill>
                <a:latin typeface="Adani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4D5E706-4FA3-4FB3-9380-1288EC5071AA}"/>
              </a:ext>
            </a:extLst>
          </p:cNvPr>
          <p:cNvSpPr/>
          <p:nvPr userDrawn="1"/>
        </p:nvSpPr>
        <p:spPr>
          <a:xfrm>
            <a:off x="4055728" y="308585"/>
            <a:ext cx="4080544" cy="3355304"/>
          </a:xfrm>
          <a:prstGeom prst="rect">
            <a:avLst/>
          </a:prstGeom>
          <a:solidFill>
            <a:srgbClr val="F1F1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3200" dirty="0">
              <a:solidFill>
                <a:prstClr val="white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0B740F8-765A-402B-AA79-BD526D220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6912" y="6576977"/>
            <a:ext cx="157094" cy="138499"/>
          </a:xfrm>
        </p:spPr>
        <p:txBody>
          <a:bodyPr wrap="none" lIns="0" tIns="0" rIns="0" bIns="0">
            <a:spAutoFit/>
          </a:bodyPr>
          <a:lstStyle>
            <a:lvl1pPr algn="ctr">
              <a:defRPr sz="900"/>
            </a:lvl1pPr>
          </a:lstStyle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oter Placeholder 7">
            <a:extLst>
              <a:ext uri="{FF2B5EF4-FFF2-40B4-BE49-F238E27FC236}">
                <a16:creationId xmlns:a16="http://schemas.microsoft.com/office/drawing/2014/main" xmlns="" id="{6BAAD4A8-F54F-4EFF-91FA-8768FCAC5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658351" y="6576977"/>
            <a:ext cx="65" cy="1384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algn="r">
              <a:defRPr sz="900">
                <a:solidFill>
                  <a:schemeClr val="bg1">
                    <a:lumMod val="50000"/>
                  </a:schemeClr>
                </a:solidFill>
                <a:latin typeface="Adani Regular" panose="02000503000000020004" pitchFamily="2" charset="0"/>
              </a:defRPr>
            </a:lvl1pPr>
          </a:lstStyle>
          <a:p>
            <a:endParaRPr lang="en-IN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29820271-ACD7-4B57-98A2-E05BDBC4A689}"/>
              </a:ext>
            </a:extLst>
          </p:cNvPr>
          <p:cNvCxnSpPr/>
          <p:nvPr userDrawn="1"/>
        </p:nvCxnSpPr>
        <p:spPr>
          <a:xfrm>
            <a:off x="11707664" y="6538224"/>
            <a:ext cx="0" cy="21600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adani renewables logo">
            <a:extLst>
              <a:ext uri="{FF2B5EF4-FFF2-40B4-BE49-F238E27FC236}">
                <a16:creationId xmlns:a16="http://schemas.microsoft.com/office/drawing/2014/main" xmlns="" id="{69DB92D6-103F-4962-855B-E9B494341E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078772" y="1257102"/>
            <a:ext cx="1607379" cy="109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857020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idx="1"/>
          </p:nvPr>
        </p:nvSpPr>
        <p:spPr>
          <a:xfrm>
            <a:off x="575264" y="1988810"/>
            <a:ext cx="10363200" cy="1500187"/>
          </a:xfrm>
        </p:spPr>
        <p:txBody>
          <a:bodyPr>
            <a:normAutofit/>
          </a:bodyPr>
          <a:lstStyle>
            <a:lvl1pPr marL="0" indent="0" algn="l">
              <a:buNone/>
              <a:defRPr sz="4267">
                <a:latin typeface="Adani Medium" pitchFamily="2" charset="0"/>
              </a:defRPr>
            </a:lvl1pPr>
          </a:lstStyle>
          <a:p>
            <a:endParaRPr lang="en-IN" dirty="0">
              <a:solidFill>
                <a:srgbClr val="000000"/>
              </a:solidFill>
            </a:endParaRPr>
          </a:p>
          <a:p>
            <a:r>
              <a:rPr lang="en-IN" dirty="0">
                <a:solidFill>
                  <a:srgbClr val="000000"/>
                </a:solidFill>
              </a:rPr>
              <a:t>Adani Regular, 20 font, Black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695280" y="2918755"/>
            <a:ext cx="10561408" cy="60959"/>
            <a:chOff x="582897" y="3201834"/>
            <a:chExt cx="7921056" cy="45719"/>
          </a:xfrm>
        </p:grpSpPr>
        <p:pic>
          <p:nvPicPr>
            <p:cNvPr id="11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2897" y="3201834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2" name="Straight Connector 11"/>
            <p:cNvCxnSpPr/>
            <p:nvPr/>
          </p:nvCxnSpPr>
          <p:spPr>
            <a:xfrm>
              <a:off x="582897" y="3246601"/>
              <a:ext cx="7921056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993829" y="14721"/>
            <a:ext cx="1198171" cy="95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52802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3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19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  <a:latin typeface="Adani Regular" pitchFamily="2" charset="0"/>
              </a:defRPr>
            </a:lvl1pPr>
          </a:lstStyle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55808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dani Regular" pitchFamily="2" charset="0"/>
              </a:defRPr>
            </a:lvl1pPr>
          </a:lstStyle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49162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</p:sldLayoutIdLst>
  <p:hf hdr="0" ftr="0" dt="0"/>
  <p:txStyles>
    <p:titleStyle>
      <a:lvl1pPr algn="l" defTabSz="1219140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Adani Medium" pitchFamily="2" charset="0"/>
          <a:ea typeface="+mj-ea"/>
          <a:cs typeface="+mj-cs"/>
        </a:defRPr>
      </a:lvl1pPr>
    </p:titleStyle>
    <p:bodyStyle>
      <a:lvl1pPr marL="457178" indent="-457178" algn="l" defTabSz="121914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Adani Regular" pitchFamily="2" charset="0"/>
          <a:ea typeface="+mn-ea"/>
          <a:cs typeface="+mn-cs"/>
        </a:defRPr>
      </a:lvl1pPr>
      <a:lvl2pPr marL="990550" indent="-380981" algn="l" defTabSz="121914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Adani Regular" pitchFamily="2" charset="0"/>
          <a:ea typeface="+mn-ea"/>
          <a:cs typeface="+mn-cs"/>
        </a:defRPr>
      </a:lvl2pPr>
      <a:lvl3pPr marL="1523925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dani Regular" pitchFamily="2" charset="0"/>
          <a:ea typeface="+mn-ea"/>
          <a:cs typeface="+mn-cs"/>
        </a:defRPr>
      </a:lvl3pPr>
      <a:lvl4pPr marL="2133493" indent="-304784" algn="l" defTabSz="121914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Adani Regular" pitchFamily="2" charset="0"/>
          <a:ea typeface="+mn-ea"/>
          <a:cs typeface="+mn-cs"/>
        </a:defRPr>
      </a:lvl4pPr>
      <a:lvl5pPr marL="2743062" indent="-304784" algn="l" defTabSz="121914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Adani Regular" pitchFamily="2" charset="0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2979" y="155583"/>
            <a:ext cx="11283951" cy="862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2979" y="1273177"/>
            <a:ext cx="11283951" cy="4745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28" name="Picture 4" descr="adani_logo_rgb_master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33930" y="6488127"/>
            <a:ext cx="823383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Picture Placeholder 8"/>
          <p:cNvSpPr>
            <a:spLocks noGrp="1"/>
          </p:cNvSpPr>
          <p:nvPr/>
        </p:nvSpPr>
        <p:spPr>
          <a:xfrm>
            <a:off x="0" y="982663"/>
            <a:ext cx="12192000" cy="73025"/>
          </a:xfrm>
          <a:prstGeom prst="rect">
            <a:avLst/>
          </a:prstGeom>
          <a:blipFill>
            <a:blip r:embed="rId9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a:blipFill>
        </p:spPr>
        <p:txBody>
          <a:bodyPr lIns="0" tIns="0" rIns="0" bIns="0" anchor="b">
            <a:normAutofit fontScale="250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150"/>
              </a:spcBef>
              <a:buFontTx/>
              <a:buNone/>
              <a:defRPr sz="2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150"/>
              </a:spcBef>
              <a:buFontTx/>
              <a:buNone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dani Regular" pitchFamily="2" charset="0"/>
              <a:buChar char="–"/>
              <a:tabLst>
                <a:tab pos="269875" algn="l"/>
              </a:tabLst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dani Regular" pitchFamily="2" charset="0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GB" sz="3067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 bwMode="gray">
          <a:xfrm>
            <a:off x="11258608" y="6402389"/>
            <a:ext cx="486833" cy="366712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>
              <a:defRPr/>
            </a:pPr>
            <a:fld id="{84089CF1-2ED5-494E-B6C4-2C3D2C54B2FD}" type="slidenum">
              <a:rPr lang="en-GB" sz="1133" b="1" smtClean="0">
                <a:solidFill>
                  <a:prstClr val="black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en-GB" sz="1133" b="1" dirty="0">
              <a:solidFill>
                <a:prstClr val="black"/>
              </a:solidFill>
              <a:cs typeface="Arial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168452" y="6396131"/>
            <a:ext cx="11855096" cy="1588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069687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GB" sz="2667" b="1" kern="1200" dirty="0">
          <a:solidFill>
            <a:schemeClr val="tx2"/>
          </a:solidFill>
          <a:latin typeface="+mn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dani Regular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dani Regular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dani Regular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dani Regular" pitchFamily="2" charset="0"/>
        </a:defRPr>
      </a:lvl5pPr>
      <a:lvl6pPr marL="609585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dani Regular" pitchFamily="2" charset="0"/>
        </a:defRPr>
      </a:lvl6pPr>
      <a:lvl7pPr marL="121917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dani Regular" pitchFamily="2" charset="0"/>
        </a:defRPr>
      </a:lvl7pPr>
      <a:lvl8pPr marL="1828754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dani Regular" pitchFamily="2" charset="0"/>
        </a:defRPr>
      </a:lvl8pPr>
      <a:lvl9pPr marL="2438339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dani Regular" pitchFamily="2" charset="0"/>
        </a:defRPr>
      </a:lvl9pPr>
    </p:titleStyle>
    <p:bodyStyle>
      <a:lvl1pPr marL="457189" indent="-457189" algn="l" rtl="0" eaLnBrk="0" fontAlgn="base" hangingPunct="0">
        <a:spcBef>
          <a:spcPts val="1533"/>
        </a:spcBef>
        <a:spcAft>
          <a:spcPct val="0"/>
        </a:spcAft>
        <a:defRPr lang="en-US" sz="1867" kern="1200" dirty="0">
          <a:solidFill>
            <a:schemeClr val="tx1"/>
          </a:solidFill>
          <a:latin typeface="+mj-lt"/>
          <a:ea typeface="+mn-ea"/>
          <a:cs typeface="+mn-cs"/>
        </a:defRPr>
      </a:lvl1pPr>
      <a:lvl2pPr marL="990575" indent="-380990" algn="l" rtl="0" eaLnBrk="0" fontAlgn="base" hangingPunct="0">
        <a:spcBef>
          <a:spcPts val="1533"/>
        </a:spcBef>
        <a:spcAft>
          <a:spcPct val="0"/>
        </a:spcAft>
        <a:defRPr lang="en-US" sz="1867" kern="1200" dirty="0">
          <a:solidFill>
            <a:schemeClr val="tx1"/>
          </a:solidFill>
          <a:latin typeface="+mj-lt"/>
          <a:ea typeface="+mn-ea"/>
          <a:cs typeface="+mn-cs"/>
        </a:defRPr>
      </a:lvl2pPr>
      <a:lvl3pPr marL="287859" indent="-287859" algn="l" rtl="0" eaLnBrk="0" fontAlgn="base" hangingPunct="0">
        <a:spcBef>
          <a:spcPts val="533"/>
        </a:spcBef>
        <a:spcAft>
          <a:spcPct val="0"/>
        </a:spcAft>
        <a:buFont typeface="Arial" pitchFamily="34" charset="0"/>
        <a:buChar char="•"/>
        <a:defRPr lang="en-US" sz="1867" kern="1200" dirty="0">
          <a:solidFill>
            <a:schemeClr val="tx1"/>
          </a:solidFill>
          <a:latin typeface="+mj-lt"/>
          <a:ea typeface="+mn-ea"/>
          <a:cs typeface="+mn-cs"/>
        </a:defRPr>
      </a:lvl3pPr>
      <a:lvl4pPr marL="575719" indent="-287859" algn="l" rtl="0" eaLnBrk="0" fontAlgn="base" hangingPunct="0">
        <a:spcBef>
          <a:spcPts val="267"/>
        </a:spcBef>
        <a:spcAft>
          <a:spcPct val="0"/>
        </a:spcAft>
        <a:buFont typeface="Adani Regular" pitchFamily="2" charset="0"/>
        <a:buChar char="–"/>
        <a:tabLst>
          <a:tab pos="359824" algn="l"/>
        </a:tabLst>
        <a:defRPr lang="en-US" sz="1867" kern="1200" dirty="0">
          <a:solidFill>
            <a:schemeClr val="tx1"/>
          </a:solidFill>
          <a:latin typeface="+mj-lt"/>
          <a:ea typeface="+mn-ea"/>
          <a:cs typeface="+mn-cs"/>
        </a:defRPr>
      </a:lvl4pPr>
      <a:lvl5pPr marL="863578" indent="-287859" algn="l" rtl="0" eaLnBrk="0" fontAlgn="base" hangingPunct="0">
        <a:spcBef>
          <a:spcPts val="267"/>
        </a:spcBef>
        <a:spcAft>
          <a:spcPct val="0"/>
        </a:spcAft>
        <a:buFont typeface="Adani Regular" pitchFamily="2" charset="0"/>
        <a:buChar char="–"/>
        <a:defRPr lang="en-GB" sz="1867" kern="1200" dirty="0">
          <a:solidFill>
            <a:schemeClr val="tx1"/>
          </a:solidFill>
          <a:latin typeface="+mj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3848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  <p:sldLayoutId id="2147483745" r:id="rId28"/>
    <p:sldLayoutId id="2147483746" r:id="rId29"/>
    <p:sldLayoutId id="2147483747" r:id="rId30"/>
    <p:sldLayoutId id="2147483748" r:id="rId31"/>
  </p:sldLayoutIdLst>
  <p:transition spd="slow">
    <p:fade/>
  </p:transition>
  <p:txStyles>
    <p:titleStyle>
      <a:lvl1pPr algn="l" defTabSz="91410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25" indent="-228525" algn="l" defTabSz="91410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78" indent="-228525" algn="l" defTabSz="91410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630" indent="-228525" algn="l" defTabSz="91410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680" indent="-228525" algn="l" defTabSz="91410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31" indent="-228525" algn="l" defTabSz="91410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784" indent="-228525" algn="l" defTabSz="91410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35" indent="-228525" algn="l" defTabSz="91410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5" indent="-228525" algn="l" defTabSz="91410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8" indent="-228525" algn="l" defTabSz="91410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1" algn="l" defTabSz="914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4" algn="l" defTabSz="914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5" algn="l" defTabSz="914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05" algn="l" defTabSz="914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8" algn="l" defTabSz="914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10" algn="l" defTabSz="914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0" algn="l" defTabSz="914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1" algn="l" defTabSz="9141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0636" y="450700"/>
            <a:ext cx="3247437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0" i="0">
                <a:solidFill>
                  <a:schemeClr val="bg1"/>
                </a:solidFill>
                <a:latin typeface="Lucida Sans Unicode"/>
                <a:cs typeface="Lucida Sans Unicod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49788" y="1566116"/>
            <a:ext cx="499642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rgbClr val="58595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072640" y="6377941"/>
            <a:ext cx="1950720" cy="2051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04800" y="6377941"/>
            <a:ext cx="1402080" cy="2051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1D8BD707-D9CF-40AE-B4C6-C98DA3205C09}" type="datetimeFigureOut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2/25/2022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389120" y="6377941"/>
            <a:ext cx="1402080" cy="2051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7296"/>
            <a:fld id="{B6F15528-21DE-4FAA-801E-634DDDAF4B2B}" type="slidenum">
              <a:rPr lang="en-US" sz="1333" smtClean="0">
                <a:solidFill>
                  <a:prstClr val="black">
                    <a:tint val="75000"/>
                  </a:prstClr>
                </a:solidFill>
              </a:rPr>
              <a:pPr defTabSz="677296"/>
              <a:t>‹#›</a:t>
            </a:fld>
            <a:endParaRPr lang="en-US" sz="133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10569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38648">
        <a:defRPr>
          <a:latin typeface="+mn-lt"/>
          <a:ea typeface="+mn-ea"/>
          <a:cs typeface="+mn-cs"/>
        </a:defRPr>
      </a:lvl2pPr>
      <a:lvl3pPr marL="677296">
        <a:defRPr>
          <a:latin typeface="+mn-lt"/>
          <a:ea typeface="+mn-ea"/>
          <a:cs typeface="+mn-cs"/>
        </a:defRPr>
      </a:lvl3pPr>
      <a:lvl4pPr marL="1015944">
        <a:defRPr>
          <a:latin typeface="+mn-lt"/>
          <a:ea typeface="+mn-ea"/>
          <a:cs typeface="+mn-cs"/>
        </a:defRPr>
      </a:lvl4pPr>
      <a:lvl5pPr marL="1354592">
        <a:defRPr>
          <a:latin typeface="+mn-lt"/>
          <a:ea typeface="+mn-ea"/>
          <a:cs typeface="+mn-cs"/>
        </a:defRPr>
      </a:lvl5pPr>
      <a:lvl6pPr marL="1693240">
        <a:defRPr>
          <a:latin typeface="+mn-lt"/>
          <a:ea typeface="+mn-ea"/>
          <a:cs typeface="+mn-cs"/>
        </a:defRPr>
      </a:lvl6pPr>
      <a:lvl7pPr marL="2031888">
        <a:defRPr>
          <a:latin typeface="+mn-lt"/>
          <a:ea typeface="+mn-ea"/>
          <a:cs typeface="+mn-cs"/>
        </a:defRPr>
      </a:lvl7pPr>
      <a:lvl8pPr marL="2370536">
        <a:defRPr>
          <a:latin typeface="+mn-lt"/>
          <a:ea typeface="+mn-ea"/>
          <a:cs typeface="+mn-cs"/>
        </a:defRPr>
      </a:lvl8pPr>
      <a:lvl9pPr marL="2709184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38648">
        <a:defRPr>
          <a:latin typeface="+mn-lt"/>
          <a:ea typeface="+mn-ea"/>
          <a:cs typeface="+mn-cs"/>
        </a:defRPr>
      </a:lvl2pPr>
      <a:lvl3pPr marL="677296">
        <a:defRPr>
          <a:latin typeface="+mn-lt"/>
          <a:ea typeface="+mn-ea"/>
          <a:cs typeface="+mn-cs"/>
        </a:defRPr>
      </a:lvl3pPr>
      <a:lvl4pPr marL="1015944">
        <a:defRPr>
          <a:latin typeface="+mn-lt"/>
          <a:ea typeface="+mn-ea"/>
          <a:cs typeface="+mn-cs"/>
        </a:defRPr>
      </a:lvl4pPr>
      <a:lvl5pPr marL="1354592">
        <a:defRPr>
          <a:latin typeface="+mn-lt"/>
          <a:ea typeface="+mn-ea"/>
          <a:cs typeface="+mn-cs"/>
        </a:defRPr>
      </a:lvl5pPr>
      <a:lvl6pPr marL="1693240">
        <a:defRPr>
          <a:latin typeface="+mn-lt"/>
          <a:ea typeface="+mn-ea"/>
          <a:cs typeface="+mn-cs"/>
        </a:defRPr>
      </a:lvl6pPr>
      <a:lvl7pPr marL="2031888">
        <a:defRPr>
          <a:latin typeface="+mn-lt"/>
          <a:ea typeface="+mn-ea"/>
          <a:cs typeface="+mn-cs"/>
        </a:defRPr>
      </a:lvl7pPr>
      <a:lvl8pPr marL="2370536">
        <a:defRPr>
          <a:latin typeface="+mn-lt"/>
          <a:ea typeface="+mn-ea"/>
          <a:cs typeface="+mn-cs"/>
        </a:defRPr>
      </a:lvl8pPr>
      <a:lvl9pPr marL="2709184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2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41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gif"/><Relationship Id="rId1" Type="http://schemas.openxmlformats.org/officeDocument/2006/relationships/slideLayout" Target="../slideLayouts/slideLayout3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32.svg"/><Relationship Id="rId7" Type="http://schemas.openxmlformats.org/officeDocument/2006/relationships/image" Target="../media/image34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3.png"/><Relationship Id="rId5" Type="http://schemas.openxmlformats.org/officeDocument/2006/relationships/image" Target="../media/image34.svg"/><Relationship Id="rId10" Type="http://schemas.openxmlformats.org/officeDocument/2006/relationships/image" Target="../media/image39.svg"/><Relationship Id="rId4" Type="http://schemas.openxmlformats.org/officeDocument/2006/relationships/image" Target="../media/image32.png"/><Relationship Id="rId9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2" name="object 52"/>
          <p:cNvSpPr/>
          <p:nvPr/>
        </p:nvSpPr>
        <p:spPr>
          <a:xfrm>
            <a:off x="11111371" y="587643"/>
            <a:ext cx="798407" cy="27259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77296"/>
            <a:endParaRPr sz="1333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11227266" y="931470"/>
            <a:ext cx="566608" cy="26058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77296"/>
            <a:endParaRPr sz="1333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451556" y="5348111"/>
            <a:ext cx="5274844" cy="6773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77296"/>
            <a:r>
              <a:rPr lang="en-US" sz="2074" dirty="0">
                <a:solidFill>
                  <a:prstClr val="white"/>
                </a:solidFill>
                <a:latin typeface="Adani Bold" panose="02000503000000020004" pitchFamily="2" charset="0"/>
              </a:rPr>
              <a:t>Adani Ports and Special Economic Zone Limited – Infrastructure &amp; Performance Compendium</a:t>
            </a:r>
          </a:p>
          <a:p>
            <a:pPr defTabSz="677296"/>
            <a:endParaRPr lang="en-US" sz="2074" dirty="0">
              <a:solidFill>
                <a:prstClr val="white"/>
              </a:solidFill>
              <a:latin typeface="Adani Bold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15750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508000" y="260931"/>
            <a:ext cx="11283949" cy="86177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2000" b="1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9pPr>
          </a:lstStyle>
          <a:p>
            <a:r>
              <a:rPr lang="en-US" dirty="0" err="1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Ennore</a:t>
            </a:r>
            <a:r>
              <a:rPr lang="en-US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 Container Terminal Infrastructure – Phase 1 </a:t>
            </a:r>
            <a:endParaRPr lang="en-IN" dirty="0">
              <a:solidFill>
                <a:srgbClr val="0070C0"/>
              </a:solidFill>
              <a:latin typeface="Adani Regular" panose="02000503000000020004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>
          <a:xfrm>
            <a:off x="11334814" y="6263506"/>
            <a:ext cx="403204" cy="17440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32054546"/>
              </p:ext>
            </p:extLst>
          </p:nvPr>
        </p:nvGraphicFramePr>
        <p:xfrm>
          <a:off x="609599" y="1123190"/>
          <a:ext cx="6830549" cy="4642611"/>
        </p:xfrm>
        <a:graphic>
          <a:graphicData uri="http://schemas.openxmlformats.org/drawingml/2006/table">
            <a:tbl>
              <a:tblPr/>
              <a:tblGrid>
                <a:gridCol w="26244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2061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978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latin typeface="Adani Regular" pitchFamily="2" charset="0"/>
                          <a:cs typeface="Arial" pitchFamily="34" charset="0"/>
                        </a:rPr>
                        <a:t>Particulars 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latin typeface="Adani Regular" pitchFamily="2" charset="0"/>
                          <a:cs typeface="Arial" pitchFamily="34" charset="0"/>
                        </a:rPr>
                        <a:t>Detail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36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Quay Length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latin typeface="Adani Regular" pitchFamily="2" charset="0"/>
                          <a:cs typeface="Arial" pitchFamily="34" charset="0"/>
                        </a:rPr>
                        <a:t>1 Berth, 400 M 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362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Draft 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/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latin typeface="Adani Regular" pitchFamily="2" charset="0"/>
                          <a:cs typeface="Arial" pitchFamily="34" charset="0"/>
                        </a:rPr>
                        <a:t>15 Meters 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63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Capacit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800,000 </a:t>
                      </a:r>
                      <a:r>
                        <a:rPr lang="en-US" sz="1400" b="0" i="0" u="none" strike="noStrike" kern="1200" baseline="0" dirty="0" err="1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Teus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latin typeface="Adani Regular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90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Ground Slot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4000 Teu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27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Reefer Plug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marR="0" indent="-2603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v"/>
                        <a:tabLst/>
                        <a:defRPr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150 plugs, expandable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593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Quay Crane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marR="0" indent="-2603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v"/>
                        <a:tabLst/>
                        <a:defRPr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4 Post Panamax cranes</a:t>
                      </a:r>
                    </a:p>
                    <a:p>
                      <a:pPr marL="9525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05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Rubber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Tyr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 Gantry Crane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12 </a:t>
                      </a:r>
                      <a:r>
                        <a:rPr lang="en-US" sz="1400" b="0" i="0" u="none" strike="noStrike" kern="1200" dirty="0" err="1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nos</a:t>
                      </a: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 of electric RTGCs for yard operations. 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pic>
        <p:nvPicPr>
          <p:cNvPr id="11" name="Content Placeholder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728182" y="3632201"/>
            <a:ext cx="3974801" cy="2438400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9" name="Picture 2" descr="D:\Crane Photos\SITE PHOTOS\IMG20170311122342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620000" y="1110029"/>
            <a:ext cx="4267200" cy="242057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  <a:reflection blurRad="12700" stA="0" endPos="28000" dist="5000" dir="5400000" sy="-100000" algn="bl" rotWithShape="0"/>
          </a:effectLst>
        </p:spPr>
      </p:pic>
      <p:pic>
        <p:nvPicPr>
          <p:cNvPr id="10" name="Picture 2" descr="D:\Crane Photos\SITE PHOTOS\IMG20170311121434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620000" y="3632199"/>
            <a:ext cx="4267200" cy="24384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xmlns="" val="18043097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547838" y="1184376"/>
            <a:ext cx="11283951" cy="4745039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ts val="1150"/>
              </a:spcBef>
              <a:spcAft>
                <a:spcPct val="0"/>
              </a:spcAft>
              <a:defRPr lang="en-US" sz="14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ts val="1150"/>
              </a:spcBef>
              <a:spcAft>
                <a:spcPct val="0"/>
              </a:spcAft>
              <a:defRPr lang="en-US" sz="14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215900" indent="-215900" algn="l" rtl="0" eaLnBrk="0" fontAlgn="base" hangingPunct="0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431800" indent="-215900" algn="l" rtl="0" eaLnBrk="0" fontAlgn="base" hangingPunct="0">
              <a:spcBef>
                <a:spcPts val="200"/>
              </a:spcBef>
              <a:spcAft>
                <a:spcPct val="0"/>
              </a:spcAft>
              <a:buFont typeface="Adani Regular" pitchFamily="2" charset="0"/>
              <a:buChar char="–"/>
              <a:tabLst>
                <a:tab pos="269875" algn="l"/>
              </a:tabLst>
              <a:defRPr lang="en-US" sz="14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647700" indent="-215900" algn="l" rtl="0" eaLnBrk="0" fontAlgn="base" hangingPunct="0">
              <a:spcBef>
                <a:spcPts val="200"/>
              </a:spcBef>
              <a:spcAft>
                <a:spcPct val="0"/>
              </a:spcAft>
              <a:buFont typeface="Adani Regular" pitchFamily="2" charset="0"/>
              <a:buChar char="–"/>
              <a:defRPr lang="en-GB" sz="14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89" indent="-457189" defTabSz="1219170">
              <a:spcBef>
                <a:spcPts val="1533"/>
              </a:spcBef>
              <a:buFont typeface="Arial" panose="020B0604020202020204" pitchFamily="34" charset="0"/>
              <a:buChar char="•"/>
            </a:pPr>
            <a:r>
              <a:rPr lang="en-IN" dirty="0">
                <a:solidFill>
                  <a:prstClr val="black"/>
                </a:solidFill>
                <a:latin typeface="Adani Regular"/>
              </a:rPr>
              <a:t>Excellent road connectivity to national &amp; state highways</a:t>
            </a:r>
          </a:p>
          <a:p>
            <a:pPr marL="457189" indent="-457189" defTabSz="1219170">
              <a:spcBef>
                <a:spcPts val="1533"/>
              </a:spcBef>
              <a:buFont typeface="Arial" panose="020B0604020202020204" pitchFamily="34" charset="0"/>
              <a:buChar char="•"/>
            </a:pPr>
            <a:r>
              <a:rPr lang="en-IN" dirty="0">
                <a:solidFill>
                  <a:prstClr val="black"/>
                </a:solidFill>
                <a:latin typeface="Adani Regular"/>
              </a:rPr>
              <a:t>Congestion free approach roads.</a:t>
            </a:r>
          </a:p>
          <a:p>
            <a:pPr marL="457189" indent="-457189" defTabSz="1219170">
              <a:spcBef>
                <a:spcPts val="1533"/>
              </a:spcBef>
              <a:buFont typeface="Arial" panose="020B0604020202020204" pitchFamily="34" charset="0"/>
              <a:buChar char="•"/>
            </a:pPr>
            <a:r>
              <a:rPr lang="en-IN" dirty="0">
                <a:solidFill>
                  <a:prstClr val="black"/>
                </a:solidFill>
                <a:latin typeface="Adani Regular"/>
              </a:rPr>
              <a:t>8 Lanes Port Gate complex for smooth Inward/Outward movement of Containers. </a:t>
            </a:r>
          </a:p>
          <a:p>
            <a:pPr marL="457189" indent="-457189" defTabSz="1219170">
              <a:spcBef>
                <a:spcPts val="1533"/>
              </a:spcBef>
              <a:buFont typeface="Arial" panose="020B0604020202020204" pitchFamily="34" charset="0"/>
              <a:buChar char="•"/>
            </a:pPr>
            <a:r>
              <a:rPr lang="en-IN" dirty="0">
                <a:solidFill>
                  <a:prstClr val="black"/>
                </a:solidFill>
                <a:latin typeface="Adani Regular"/>
              </a:rPr>
              <a:t>Connected to all 29 CFSs in Chennai for Imports &amp; Exports. </a:t>
            </a:r>
          </a:p>
          <a:p>
            <a:pPr marL="457189" indent="-457189" defTabSz="1219170">
              <a:spcBef>
                <a:spcPts val="1533"/>
              </a:spcBef>
              <a:buFont typeface="Arial" panose="020B0604020202020204" pitchFamily="34" charset="0"/>
              <a:buChar char="•"/>
            </a:pPr>
            <a:r>
              <a:rPr lang="en-IN" dirty="0">
                <a:solidFill>
                  <a:prstClr val="black"/>
                </a:solidFill>
                <a:latin typeface="Adani Regular"/>
              </a:rPr>
              <a:t>Close proximity to CFSs: 60% CFSs are within 20 KM. </a:t>
            </a:r>
          </a:p>
          <a:p>
            <a:pPr marL="457189" indent="-457189" defTabSz="1219170">
              <a:spcBef>
                <a:spcPts val="1533"/>
              </a:spcBef>
              <a:buFont typeface="Arial" panose="020B0604020202020204" pitchFamily="34" charset="0"/>
              <a:buChar char="•"/>
            </a:pPr>
            <a:r>
              <a:rPr lang="en-IN" dirty="0">
                <a:solidFill>
                  <a:prstClr val="black"/>
                </a:solidFill>
                <a:latin typeface="Adani Regular"/>
              </a:rPr>
              <a:t>Direct Delivery from Terminal for ACP Clients</a:t>
            </a:r>
          </a:p>
          <a:p>
            <a:pPr marL="457189" indent="-457189" defTabSz="1219170">
              <a:spcBef>
                <a:spcPts val="1533"/>
              </a:spcBef>
              <a:buFont typeface="Arial" panose="020B0604020202020204" pitchFamily="34" charset="0"/>
              <a:buChar char="•"/>
            </a:pPr>
            <a:r>
              <a:rPr lang="en-IN" dirty="0">
                <a:solidFill>
                  <a:prstClr val="black"/>
                </a:solidFill>
                <a:latin typeface="Adani Regular"/>
              </a:rPr>
              <a:t>Close Proximity to Industrial clusters </a:t>
            </a:r>
          </a:p>
          <a:p>
            <a:pPr marL="457189" indent="-457189" defTabSz="1219170">
              <a:spcBef>
                <a:spcPts val="1533"/>
              </a:spcBef>
              <a:buFont typeface="Arial" panose="020B0604020202020204" pitchFamily="34" charset="0"/>
              <a:buChar char="•"/>
            </a:pPr>
            <a:r>
              <a:rPr lang="en-IN" dirty="0">
                <a:solidFill>
                  <a:prstClr val="black"/>
                </a:solidFill>
                <a:latin typeface="Adani Regular"/>
              </a:rPr>
              <a:t>24 X 7 Customer service desk 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547838" y="322892"/>
            <a:ext cx="11283951" cy="861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2000" b="1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dani Regular" pitchFamily="2" charset="0"/>
              </a:defRPr>
            </a:lvl9pPr>
          </a:lstStyle>
          <a:p>
            <a:pPr defTabSz="1219170"/>
            <a:r>
              <a:rPr lang="en-IN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Kattupalli &amp; </a:t>
            </a:r>
            <a:r>
              <a:rPr lang="en-IN" dirty="0" err="1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Ennore</a:t>
            </a:r>
            <a:r>
              <a:rPr lang="en-IN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 Hinterland Connectivity and Benefits</a:t>
            </a:r>
          </a:p>
        </p:txBody>
      </p:sp>
    </p:spTree>
    <p:extLst>
      <p:ext uri="{BB962C8B-B14F-4D97-AF65-F5344CB8AC3E}">
        <p14:creationId xmlns:p14="http://schemas.microsoft.com/office/powerpoint/2010/main" xmlns="" val="28265257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07E07F9E-9EDF-4317-9D23-18BD4B774A7C}"/>
              </a:ext>
            </a:extLst>
          </p:cNvPr>
          <p:cNvSpPr txBox="1">
            <a:spLocks/>
          </p:cNvSpPr>
          <p:nvPr/>
        </p:nvSpPr>
        <p:spPr>
          <a:xfrm>
            <a:off x="779784" y="3164331"/>
            <a:ext cx="695514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b="1" dirty="0">
                <a:solidFill>
                  <a:srgbClr val="0070C0"/>
                </a:solidFill>
                <a:latin typeface="Adani Regular"/>
              </a:rPr>
              <a:t>Krishnapatnam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dani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145420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30012672\Desktop\Latest PPT\PPT for shanghai\India Map\India map with states name - Copy.gif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3703" b="2854"/>
          <a:stretch/>
        </p:blipFill>
        <p:spPr bwMode="auto">
          <a:xfrm>
            <a:off x="5566612" y="1105933"/>
            <a:ext cx="5839326" cy="495798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99567" y="279998"/>
            <a:ext cx="11283951" cy="863600"/>
          </a:xfrm>
        </p:spPr>
        <p:txBody>
          <a:bodyPr/>
          <a:lstStyle/>
          <a:p>
            <a:r>
              <a:rPr lang="en-IN" sz="2000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Krishnapatnam Port Location and Hinterland </a:t>
            </a:r>
          </a:p>
        </p:txBody>
      </p:sp>
      <p:sp>
        <p:nvSpPr>
          <p:cNvPr id="8" name="Oval 7"/>
          <p:cNvSpPr/>
          <p:nvPr/>
        </p:nvSpPr>
        <p:spPr>
          <a:xfrm>
            <a:off x="7571874" y="3192380"/>
            <a:ext cx="956976" cy="110929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/>
          </a:p>
        </p:txBody>
      </p:sp>
      <p:sp>
        <p:nvSpPr>
          <p:cNvPr id="9" name="Rectangle 8"/>
          <p:cNvSpPr/>
          <p:nvPr/>
        </p:nvSpPr>
        <p:spPr>
          <a:xfrm>
            <a:off x="599567" y="1547928"/>
            <a:ext cx="484586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 defTabSz="685595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Adani Regular" panose="02000503000000020004" pitchFamily="2" charset="0"/>
              </a:rPr>
              <a:t>Located 180 KMs North of Chennai on National Highway 16 </a:t>
            </a:r>
          </a:p>
          <a:p>
            <a:pPr marL="214313" indent="-214313" defTabSz="685595">
              <a:buFont typeface="Arial" panose="020B0604020202020204" pitchFamily="34" charset="0"/>
              <a:buChar char="•"/>
            </a:pPr>
            <a:endParaRPr lang="en-US" sz="1600" dirty="0">
              <a:solidFill>
                <a:prstClr val="black"/>
              </a:solidFill>
              <a:latin typeface="Adani Regular" panose="02000503000000020004" pitchFamily="2" charset="0"/>
            </a:endParaRPr>
          </a:p>
          <a:p>
            <a:pPr marL="214313" indent="-214313" defTabSz="685595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Adani Regular" panose="02000503000000020004" pitchFamily="2" charset="0"/>
              </a:rPr>
              <a:t>Natural gateway port for South Andhra, </a:t>
            </a:r>
          </a:p>
          <a:p>
            <a:pPr defTabSz="685595"/>
            <a:r>
              <a:rPr lang="en-US" sz="1600" dirty="0">
                <a:solidFill>
                  <a:prstClr val="black"/>
                </a:solidFill>
                <a:latin typeface="Adani Regular" panose="02000503000000020004" pitchFamily="2" charset="0"/>
              </a:rPr>
              <a:t>    South </a:t>
            </a:r>
            <a:r>
              <a:rPr lang="en-US" sz="1600" dirty="0" err="1">
                <a:solidFill>
                  <a:prstClr val="black"/>
                </a:solidFill>
                <a:latin typeface="Adani Regular" panose="02000503000000020004" pitchFamily="2" charset="0"/>
              </a:rPr>
              <a:t>Telengana</a:t>
            </a:r>
            <a:endParaRPr lang="en-US" sz="1600" dirty="0">
              <a:solidFill>
                <a:prstClr val="black"/>
              </a:solidFill>
              <a:latin typeface="Adani Regular" panose="02000503000000020004" pitchFamily="2" charset="0"/>
            </a:endParaRPr>
          </a:p>
          <a:p>
            <a:pPr defTabSz="685595"/>
            <a:endParaRPr lang="en-US" sz="1600" dirty="0">
              <a:solidFill>
                <a:prstClr val="black"/>
              </a:solidFill>
              <a:latin typeface="Adani Regular" panose="02000503000000020004" pitchFamily="2" charset="0"/>
            </a:endParaRPr>
          </a:p>
          <a:p>
            <a:pPr marL="285750" indent="-285750" defTabSz="685595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prstClr val="black"/>
                </a:solidFill>
                <a:latin typeface="Adani Regular" panose="02000503000000020004" pitchFamily="2" charset="0"/>
              </a:rPr>
              <a:t>On-dock rail expands hinterland reach to Bengaluru, Hyderabad and Central India markets</a:t>
            </a:r>
          </a:p>
          <a:p>
            <a:endParaRPr lang="en-IN" sz="1600" dirty="0"/>
          </a:p>
        </p:txBody>
      </p:sp>
      <p:sp>
        <p:nvSpPr>
          <p:cNvPr id="5" name="Oval 4"/>
          <p:cNvSpPr/>
          <p:nvPr/>
        </p:nvSpPr>
        <p:spPr>
          <a:xfrm>
            <a:off x="8478050" y="3894401"/>
            <a:ext cx="101600" cy="60959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/>
          </a:p>
        </p:txBody>
      </p:sp>
      <p:sp>
        <p:nvSpPr>
          <p:cNvPr id="6" name="TextBox 5"/>
          <p:cNvSpPr txBox="1"/>
          <p:nvPr/>
        </p:nvSpPr>
        <p:spPr>
          <a:xfrm>
            <a:off x="8579650" y="3761507"/>
            <a:ext cx="264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 dirty="0">
                <a:solidFill>
                  <a:srgbClr val="FF0000"/>
                </a:solidFill>
              </a:rPr>
              <a:t>Krishnapatnam</a:t>
            </a:r>
          </a:p>
        </p:txBody>
      </p:sp>
    </p:spTree>
    <p:extLst>
      <p:ext uri="{BB962C8B-B14F-4D97-AF65-F5344CB8AC3E}">
        <p14:creationId xmlns:p14="http://schemas.microsoft.com/office/powerpoint/2010/main" xmlns="" val="31362545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54069" y="353909"/>
            <a:ext cx="11283949" cy="399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157" tIns="45580" rIns="91157" bIns="45580" numCol="1" rtlCol="0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109195" defTabSz="911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C0"/>
                </a:solidFill>
                <a:latin typeface="Adani Regular" panose="02000503000000020004" pitchFamily="2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5pPr>
            <a:lvl6pPr marL="609585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6pPr>
            <a:lvl7pPr marL="121917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7pPr>
            <a:lvl8pPr marL="1828754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8pPr>
            <a:lvl9pPr marL="2438339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9pPr>
          </a:lstStyle>
          <a:p>
            <a:r>
              <a:rPr lang="en-US" dirty="0"/>
              <a:t>Krishnapatnam Container Terminal Infrastructure</a:t>
            </a:r>
            <a:endParaRPr lang="en-IN" dirty="0"/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>
          <a:xfrm>
            <a:off x="11334814" y="6263506"/>
            <a:ext cx="403204" cy="17440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endParaRPr lang="en-GB" sz="2400" dirty="0">
              <a:solidFill>
                <a:prstClr val="black"/>
              </a:solidFill>
              <a:latin typeface="Adani Regular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16385811"/>
              </p:ext>
            </p:extLst>
          </p:nvPr>
        </p:nvGraphicFramePr>
        <p:xfrm>
          <a:off x="609608" y="1017164"/>
          <a:ext cx="10764980" cy="4898099"/>
        </p:xfrm>
        <a:graphic>
          <a:graphicData uri="http://schemas.openxmlformats.org/drawingml/2006/table">
            <a:tbl>
              <a:tblPr/>
              <a:tblGrid>
                <a:gridCol w="41360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6288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129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latin typeface="Adani Regular" pitchFamily="2" charset="0"/>
                          <a:cs typeface="Arial" pitchFamily="34" charset="0"/>
                        </a:rPr>
                        <a:t>Particulars 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latin typeface="Adani Regular" pitchFamily="2" charset="0"/>
                          <a:cs typeface="Arial" pitchFamily="34" charset="0"/>
                        </a:rPr>
                        <a:t>Detail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9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Quay Length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latin typeface="Adani Regular" pitchFamily="2" charset="0"/>
                          <a:cs typeface="Arial" pitchFamily="34" charset="0"/>
                        </a:rPr>
                        <a:t>2 Berths, 650 M 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79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Capacit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1.2 Million </a:t>
                      </a:r>
                      <a:r>
                        <a:rPr lang="en-US" sz="1400" b="0" i="0" u="none" strike="noStrike" kern="1200" dirty="0" err="1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Teus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latin typeface="Adani Regular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68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Ground Slot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4600 Teu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989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Reefer Plug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marR="0" indent="-2603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v"/>
                        <a:tabLst/>
                        <a:defRPr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200 plugs, expandable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037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Quay Crane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marR="0" indent="-2603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v"/>
                        <a:tabLst/>
                        <a:defRPr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5 Post Panamax cranes</a:t>
                      </a:r>
                    </a:p>
                    <a:p>
                      <a:pPr marL="9525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9222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Rubber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Tyred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 Gantry Crane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9 </a:t>
                      </a:r>
                      <a:r>
                        <a:rPr lang="en-US" sz="1400" b="0" i="0" u="none" strike="noStrike" kern="1200" dirty="0" err="1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nos</a:t>
                      </a: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 of electric RTGCs for yard operations. 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609600" y="793275"/>
            <a:ext cx="10800000" cy="62864"/>
            <a:chOff x="521460" y="771510"/>
            <a:chExt cx="7386262" cy="47148"/>
          </a:xfrm>
        </p:grpSpPr>
        <p:pic>
          <p:nvPicPr>
            <p:cNvPr id="10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" name="Straight Connector 12"/>
            <p:cNvCxnSpPr/>
            <p:nvPr/>
          </p:nvCxnSpPr>
          <p:spPr>
            <a:xfrm>
              <a:off x="521460" y="818658"/>
              <a:ext cx="738626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2E0908D-DDDD-489F-BEE8-89FBE2A5980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11263748" y="-11400"/>
            <a:ext cx="916675" cy="82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</p:spTree>
    <p:extLst>
      <p:ext uri="{BB962C8B-B14F-4D97-AF65-F5344CB8AC3E}">
        <p14:creationId xmlns:p14="http://schemas.microsoft.com/office/powerpoint/2010/main" xmlns="" val="24417768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4"/>
          <p:cNvSpPr>
            <a:spLocks noGrp="1"/>
          </p:cNvSpPr>
          <p:nvPr>
            <p:ph type="title"/>
          </p:nvPr>
        </p:nvSpPr>
        <p:spPr>
          <a:xfrm>
            <a:off x="424656" y="380246"/>
            <a:ext cx="10296000" cy="399827"/>
          </a:xfrm>
          <a:noFill/>
        </p:spPr>
        <p:txBody>
          <a:bodyPr vert="horz" wrap="square" lIns="91157" tIns="45580" rIns="91157" bIns="45580" rtlCol="0" anchor="b">
            <a:spAutoFit/>
          </a:bodyPr>
          <a:lstStyle/>
          <a:p>
            <a:pPr marL="109195" defTabSz="911400"/>
            <a:r>
              <a:rPr lang="en-US" sz="2000" b="1" dirty="0">
                <a:solidFill>
                  <a:srgbClr val="0070C0"/>
                </a:solidFill>
                <a:ea typeface="+mn-ea"/>
                <a:cs typeface="+mn-cs"/>
              </a:rPr>
              <a:t>Expanding Container Traffic at APSEZ on East Coas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74AECF3E-48BD-48A9-9AF3-79E5CA99285D}"/>
              </a:ext>
            </a:extLst>
          </p:cNvPr>
          <p:cNvSpPr txBox="1"/>
          <p:nvPr/>
        </p:nvSpPr>
        <p:spPr>
          <a:xfrm>
            <a:off x="3702316" y="132539"/>
            <a:ext cx="60983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dirty="0"/>
          </a:p>
        </p:txBody>
      </p:sp>
      <p:graphicFrame>
        <p:nvGraphicFramePr>
          <p:cNvPr id="29" name="Chart 28"/>
          <p:cNvGraphicFramePr/>
          <p:nvPr>
            <p:extLst>
              <p:ext uri="{D42A27DB-BD31-4B8C-83A1-F6EECF244321}">
                <p14:modId xmlns:p14="http://schemas.microsoft.com/office/powerpoint/2010/main" xmlns="" val="2488708354"/>
              </p:ext>
            </p:extLst>
          </p:nvPr>
        </p:nvGraphicFramePr>
        <p:xfrm>
          <a:off x="424656" y="1027779"/>
          <a:ext cx="5928018" cy="4843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705293" y="6011394"/>
            <a:ext cx="349807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>
                <a:latin typeface="Adani Regular" panose="02000503000000020004" pitchFamily="2" charset="0"/>
              </a:rPr>
              <a:t>Ennore</a:t>
            </a:r>
            <a:r>
              <a:rPr lang="en-US" sz="800" dirty="0">
                <a:latin typeface="Adani Regular" panose="02000503000000020004" pitchFamily="2" charset="0"/>
              </a:rPr>
              <a:t> commenced from Oct FY19, </a:t>
            </a:r>
            <a:r>
              <a:rPr lang="en-US" sz="800" dirty="0" err="1">
                <a:latin typeface="Adani Regular" panose="02000503000000020004" pitchFamily="2" charset="0"/>
              </a:rPr>
              <a:t>Krishnapatnam</a:t>
            </a:r>
            <a:r>
              <a:rPr lang="en-US" sz="800" dirty="0">
                <a:latin typeface="Adani Regular" panose="02000503000000020004" pitchFamily="2" charset="0"/>
              </a:rPr>
              <a:t> acquired in FY21</a:t>
            </a:r>
            <a:endParaRPr lang="en-GB" sz="800" dirty="0">
              <a:latin typeface="Adani Regular" panose="02000503000000020004" pitchFamily="2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6737236" y="1571782"/>
            <a:ext cx="0" cy="369221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154232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07E07F9E-9EDF-4317-9D23-18BD4B774A7C}"/>
              </a:ext>
            </a:extLst>
          </p:cNvPr>
          <p:cNvSpPr txBox="1">
            <a:spLocks/>
          </p:cNvSpPr>
          <p:nvPr/>
        </p:nvSpPr>
        <p:spPr>
          <a:xfrm>
            <a:off x="779784" y="3164331"/>
            <a:ext cx="695514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dani Regular"/>
                <a:ea typeface="+mn-ea"/>
                <a:cs typeface="+mn-cs"/>
              </a:rPr>
              <a:t>Gangavaram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dani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40696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85676" y="282618"/>
            <a:ext cx="11283951" cy="863600"/>
          </a:xfrm>
        </p:spPr>
        <p:txBody>
          <a:bodyPr/>
          <a:lstStyle/>
          <a:p>
            <a:r>
              <a:rPr lang="en-IN" sz="2000" dirty="0" err="1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Gangavaram</a:t>
            </a:r>
            <a:r>
              <a:rPr lang="en-IN" sz="2000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 Port Location and Hinterland </a:t>
            </a:r>
          </a:p>
        </p:txBody>
      </p:sp>
      <p:sp>
        <p:nvSpPr>
          <p:cNvPr id="9" name="Rectangle 8"/>
          <p:cNvSpPr/>
          <p:nvPr/>
        </p:nvSpPr>
        <p:spPr>
          <a:xfrm>
            <a:off x="585676" y="1608485"/>
            <a:ext cx="5136215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Adani Regular" panose="02000503000000020004" pitchFamily="2" charset="0"/>
              </a:rPr>
              <a:t>Located south of </a:t>
            </a:r>
            <a:r>
              <a:rPr lang="en-US" sz="1600" dirty="0" err="1">
                <a:latin typeface="Adani Regular" panose="02000503000000020004" pitchFamily="2" charset="0"/>
              </a:rPr>
              <a:t>Vizag</a:t>
            </a:r>
            <a:r>
              <a:rPr lang="en-US" sz="1600" dirty="0">
                <a:latin typeface="Adani Regular" panose="02000503000000020004" pitchFamily="2" charset="0"/>
              </a:rPr>
              <a:t> City, </a:t>
            </a:r>
            <a:r>
              <a:rPr lang="en-US" sz="1600" dirty="0" err="1">
                <a:latin typeface="Adani Regular" panose="02000503000000020004" pitchFamily="2" charset="0"/>
              </a:rPr>
              <a:t>Gangavaram</a:t>
            </a:r>
            <a:r>
              <a:rPr lang="en-US" sz="1600" dirty="0">
                <a:latin typeface="Adani Regular" panose="02000503000000020004" pitchFamily="2" charset="0"/>
              </a:rPr>
              <a:t> port is a deep draft all weather port developed on BOOT concession with Govt. of Andhra Pradesh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Adani Regular" panose="02000503000000020004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Adani Regular" panose="02000503000000020004" pitchFamily="2" charset="0"/>
              </a:rPr>
              <a:t>Falls under  jurisdiction of </a:t>
            </a:r>
            <a:r>
              <a:rPr lang="en-US" sz="1600" dirty="0" err="1">
                <a:latin typeface="Adani Regular" panose="02000503000000020004" pitchFamily="2" charset="0"/>
              </a:rPr>
              <a:t>Vizag</a:t>
            </a:r>
            <a:r>
              <a:rPr lang="en-US" sz="1600" dirty="0">
                <a:latin typeface="Adani Regular" panose="02000503000000020004" pitchFamily="2" charset="0"/>
              </a:rPr>
              <a:t> custom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Adani Regular" panose="02000503000000020004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Adani Regular" panose="02000503000000020004" pitchFamily="2" charset="0"/>
              </a:rPr>
              <a:t>Ideally located to cater to the hinterlands of Andhra Pradesh, Orissa, Chhattisgarh and Nepa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Adani Regular" panose="02000503000000020004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Adani Regular" panose="02000503000000020004" pitchFamily="2" charset="0"/>
              </a:rPr>
              <a:t>Port is equipped with huge back up area for future expansion  (Total Port area is ~2800 acres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Adani Regular" panose="02000503000000020004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latin typeface="Adani Regular" panose="02000503000000020004" pitchFamily="2" charset="0"/>
              </a:rPr>
              <a:t>All operations under single authority (marine and terminal)</a:t>
            </a:r>
          </a:p>
          <a:p>
            <a:endParaRPr lang="en-IN" sz="1600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615" b="15873"/>
          <a:stretch/>
        </p:blipFill>
        <p:spPr>
          <a:xfrm>
            <a:off x="6241774" y="1146218"/>
            <a:ext cx="5032513" cy="4956408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sp>
        <p:nvSpPr>
          <p:cNvPr id="18" name="TextBox 17"/>
          <p:cNvSpPr txBox="1"/>
          <p:nvPr/>
        </p:nvSpPr>
        <p:spPr>
          <a:xfrm>
            <a:off x="9607826" y="4483240"/>
            <a:ext cx="685800" cy="261610"/>
          </a:xfrm>
          <a:prstGeom prst="rect">
            <a:avLst/>
          </a:prstGeom>
          <a:solidFill>
            <a:srgbClr val="F79646">
              <a:lumMod val="75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5.4 NM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4239" t="55896" r="6615" b="26077"/>
          <a:stretch/>
        </p:blipFill>
        <p:spPr>
          <a:xfrm>
            <a:off x="9143999" y="5923722"/>
            <a:ext cx="2091569" cy="17890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1718700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367625" y="335006"/>
            <a:ext cx="11283949" cy="399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157" tIns="45580" rIns="91157" bIns="45580" numCol="1" rtlCol="0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109195" defTabSz="911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C0"/>
                </a:solidFill>
                <a:latin typeface="Adani Regular" panose="02000503000000020004" pitchFamily="2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5pPr>
            <a:lvl6pPr marL="609585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6pPr>
            <a:lvl7pPr marL="121917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7pPr>
            <a:lvl8pPr marL="1828754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8pPr>
            <a:lvl9pPr marL="2438339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9pPr>
          </a:lstStyle>
          <a:p>
            <a:r>
              <a:rPr lang="en-US" dirty="0" err="1"/>
              <a:t>Gangavaram</a:t>
            </a:r>
            <a:r>
              <a:rPr lang="en-US" dirty="0"/>
              <a:t> Container Terminal Infrastructure (Phase 1)</a:t>
            </a:r>
            <a:endParaRPr lang="en-IN" dirty="0"/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>
          <a:xfrm>
            <a:off x="11334814" y="6263506"/>
            <a:ext cx="403204" cy="17440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endParaRPr lang="en-GB" sz="2400" dirty="0">
              <a:solidFill>
                <a:prstClr val="black"/>
              </a:solidFill>
              <a:latin typeface="Adani Regular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80984531"/>
              </p:ext>
            </p:extLst>
          </p:nvPr>
        </p:nvGraphicFramePr>
        <p:xfrm>
          <a:off x="609608" y="1017164"/>
          <a:ext cx="10764980" cy="4906559"/>
        </p:xfrm>
        <a:graphic>
          <a:graphicData uri="http://schemas.openxmlformats.org/drawingml/2006/table">
            <a:tbl>
              <a:tblPr/>
              <a:tblGrid>
                <a:gridCol w="41360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6288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592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latin typeface="Adani Regular" pitchFamily="2" charset="0"/>
                          <a:cs typeface="Arial" pitchFamily="34" charset="0"/>
                        </a:rPr>
                        <a:t>Particulars 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latin typeface="Adani Regular" pitchFamily="2" charset="0"/>
                          <a:cs typeface="Arial" pitchFamily="34" charset="0"/>
                        </a:rPr>
                        <a:t>Detail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72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u="none" strike="noStrike" dirty="0">
                          <a:latin typeface="Adani Regular" panose="02000503000000020004" pitchFamily="2" charset="0"/>
                        </a:rPr>
                        <a:t>Quay Length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u="none" strike="noStrike" dirty="0">
                          <a:latin typeface="Adani Regular" panose="02000503000000020004" pitchFamily="2" charset="0"/>
                        </a:rPr>
                        <a:t>1 Berth, 337 M 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728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latin typeface="Adani Regular" panose="02000503000000020004" pitchFamily="2" charset="0"/>
                        </a:rPr>
                        <a:t>Draft 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/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u="none" strike="noStrike" dirty="0">
                          <a:latin typeface="Adani Regular" panose="02000503000000020004" pitchFamily="2" charset="0"/>
                        </a:rPr>
                        <a:t>15 Meters 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53360690"/>
                  </a:ext>
                </a:extLst>
              </a:tr>
              <a:tr h="4372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u="none" strike="noStrike" baseline="0" dirty="0">
                          <a:latin typeface="Adani Regular" panose="02000503000000020004" pitchFamily="2" charset="0"/>
                        </a:rPr>
                        <a:t>Capacity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u="none" strike="noStrike" kern="1200" dirty="0">
                          <a:latin typeface="Adani Regular" panose="02000503000000020004" pitchFamily="2" charset="0"/>
                        </a:rPr>
                        <a:t>500,000 </a:t>
                      </a:r>
                      <a:r>
                        <a:rPr lang="en-US" sz="1400" u="none" strike="noStrike" kern="1200" baseline="0" dirty="0">
                          <a:latin typeface="Adani Regular" panose="02000503000000020004" pitchFamily="2" charset="0"/>
                        </a:rPr>
                        <a:t>TEUs / annum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latin typeface="Adani Regular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099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u="none" strike="noStrike" dirty="0">
                          <a:latin typeface="Adani Regular" panose="02000503000000020004" pitchFamily="2" charset="0"/>
                        </a:rPr>
                        <a:t>Ground Slots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u="none" strike="noStrike" kern="1200" dirty="0">
                          <a:latin typeface="Adani Regular" panose="02000503000000020004" pitchFamily="2" charset="0"/>
                        </a:rPr>
                        <a:t>3350 Teus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latin typeface="Adani Regular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377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u="none" strike="noStrike" dirty="0">
                          <a:latin typeface="Adani Regular" panose="02000503000000020004" pitchFamily="2" charset="0"/>
                        </a:rPr>
                        <a:t>Reefer Plugs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marR="0" indent="-2603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v"/>
                        <a:tabLst/>
                        <a:defRPr/>
                      </a:pPr>
                      <a:r>
                        <a:rPr lang="en-US" sz="1400" u="none" strike="noStrike" kern="1200" dirty="0">
                          <a:latin typeface="Adani Regular" panose="02000503000000020004" pitchFamily="2" charset="0"/>
                        </a:rPr>
                        <a:t>350 plugs, expandable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latin typeface="Adani Regular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9462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u="none" strike="noStrike" dirty="0">
                          <a:latin typeface="Adani Regular" panose="02000503000000020004" pitchFamily="2" charset="0"/>
                        </a:rPr>
                        <a:t>Quay Cranes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marR="0" indent="-2603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v"/>
                        <a:tabLst/>
                        <a:defRPr/>
                      </a:pPr>
                      <a:r>
                        <a:rPr lang="en-US" sz="1400" u="none" strike="noStrike" kern="1200" dirty="0">
                          <a:latin typeface="Adani Regular" panose="02000503000000020004" pitchFamily="2" charset="0"/>
                        </a:rPr>
                        <a:t>3 Post Panamax cranes</a:t>
                      </a:r>
                      <a:r>
                        <a:rPr lang="en-US" sz="1400" u="none" strike="noStrike" kern="1200" baseline="0" dirty="0">
                          <a:latin typeface="Adani Regular" panose="02000503000000020004" pitchFamily="2" charset="0"/>
                        </a:rPr>
                        <a:t> </a:t>
                      </a:r>
                      <a:r>
                        <a:rPr lang="en-US" sz="1400" u="none" strike="noStrike" kern="1200" dirty="0">
                          <a:latin typeface="Adani Regular" panose="02000503000000020004" pitchFamily="2" charset="0"/>
                        </a:rPr>
                        <a:t> </a:t>
                      </a:r>
                    </a:p>
                    <a:p>
                      <a:pPr marL="9525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u="none" strike="noStrike" kern="1200" dirty="0">
                          <a:latin typeface="Adani Regular" panose="02000503000000020004" pitchFamily="2" charset="0"/>
                        </a:rPr>
                        <a:t>(22 across / 62 m outreach)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latin typeface="Adani Regular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8415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u="none" strike="noStrike" dirty="0">
                          <a:latin typeface="Adani Regular" panose="02000503000000020004" pitchFamily="2" charset="0"/>
                        </a:rPr>
                        <a:t>Rubber </a:t>
                      </a:r>
                      <a:r>
                        <a:rPr lang="en-US" sz="1400" u="none" strike="noStrike" dirty="0" err="1">
                          <a:latin typeface="Adani Regular" panose="02000503000000020004" pitchFamily="2" charset="0"/>
                        </a:rPr>
                        <a:t>Tyre</a:t>
                      </a:r>
                      <a:r>
                        <a:rPr lang="en-US" sz="1400" u="none" strike="noStrike" dirty="0">
                          <a:latin typeface="Adani Regular" panose="02000503000000020004" pitchFamily="2" charset="0"/>
                        </a:rPr>
                        <a:t> Gantry Cranes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u="none" strike="noStrike" kern="1200" dirty="0">
                          <a:latin typeface="Adani Regular" panose="02000503000000020004" pitchFamily="2" charset="0"/>
                        </a:rPr>
                        <a:t>9 electric RTGCs for yard operations. </a:t>
                      </a:r>
                      <a:endParaRPr lang="en-US" sz="1400" b="0" i="0" u="none" strike="noStrike" kern="1200" dirty="0">
                        <a:solidFill>
                          <a:schemeClr val="bg1"/>
                        </a:solidFill>
                        <a:latin typeface="Adani Regular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3781" marR="3781" marT="3791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609600" y="793275"/>
            <a:ext cx="10800000" cy="62864"/>
            <a:chOff x="521460" y="771510"/>
            <a:chExt cx="7386262" cy="47148"/>
          </a:xfrm>
        </p:grpSpPr>
        <p:pic>
          <p:nvPicPr>
            <p:cNvPr id="10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" name="Straight Connector 12"/>
            <p:cNvCxnSpPr/>
            <p:nvPr/>
          </p:nvCxnSpPr>
          <p:spPr>
            <a:xfrm>
              <a:off x="521460" y="818658"/>
              <a:ext cx="738626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2E0908D-DDDD-489F-BEE8-89FBE2A5980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11263748" y="-11400"/>
            <a:ext cx="916675" cy="82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609600" y="6078840"/>
            <a:ext cx="822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*Phase 1 – expected to be commissioned by June 2022. </a:t>
            </a:r>
          </a:p>
        </p:txBody>
      </p:sp>
    </p:spTree>
    <p:extLst>
      <p:ext uri="{BB962C8B-B14F-4D97-AF65-F5344CB8AC3E}">
        <p14:creationId xmlns:p14="http://schemas.microsoft.com/office/powerpoint/2010/main" xmlns="" val="14481951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33982" y="384665"/>
            <a:ext cx="11283951" cy="863600"/>
          </a:xfrm>
        </p:spPr>
        <p:txBody>
          <a:bodyPr/>
          <a:lstStyle/>
          <a:p>
            <a:r>
              <a:rPr lang="en-IN" sz="2000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Connectivity &amp; Support Infrastructure </a:t>
            </a:r>
          </a:p>
        </p:txBody>
      </p:sp>
      <p:sp>
        <p:nvSpPr>
          <p:cNvPr id="9" name="Rectangle 8"/>
          <p:cNvSpPr/>
          <p:nvPr/>
        </p:nvSpPr>
        <p:spPr>
          <a:xfrm>
            <a:off x="478565" y="990600"/>
            <a:ext cx="11339368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eamless Road connectivity by a 4 lane expressway of 3.8 </a:t>
            </a:r>
            <a:r>
              <a:rPr lang="en-US" sz="1600" dirty="0" err="1"/>
              <a:t>kms</a:t>
            </a:r>
            <a:r>
              <a:rPr lang="en-US" sz="1600" dirty="0"/>
              <a:t> connecting the port with the National Highway of Chennai – Kolkat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ailway connectivity has been established connecting the port to the main broad gauge national network of "Chennai-Visakhapatnam-Howrah" rail corrido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tainer Scann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edicated on-dock Rail connectivity for container carg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n-dock CFS with warehousing facilit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n–dock empty depot with MNR ope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POS (terminal operating system) in line with other Adani terminals  </a:t>
            </a:r>
          </a:p>
          <a:p>
            <a:endParaRPr lang="en-IN" sz="1600" dirty="0"/>
          </a:p>
        </p:txBody>
      </p:sp>
    </p:spTree>
    <p:extLst>
      <p:ext uri="{BB962C8B-B14F-4D97-AF65-F5344CB8AC3E}">
        <p14:creationId xmlns:p14="http://schemas.microsoft.com/office/powerpoint/2010/main" xmlns="" val="14409400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4"/>
          <p:cNvSpPr>
            <a:spLocks noGrp="1"/>
          </p:cNvSpPr>
          <p:nvPr>
            <p:ph type="title"/>
          </p:nvPr>
        </p:nvSpPr>
        <p:spPr>
          <a:xfrm>
            <a:off x="565761" y="421811"/>
            <a:ext cx="10296000" cy="399827"/>
          </a:xfrm>
          <a:noFill/>
        </p:spPr>
        <p:txBody>
          <a:bodyPr vert="horz" wrap="square" lIns="91157" tIns="45580" rIns="91157" bIns="45580" rtlCol="0" anchor="b">
            <a:spAutoFit/>
          </a:bodyPr>
          <a:lstStyle/>
          <a:p>
            <a:r>
              <a:rPr lang="en-US" sz="2000" b="1" spc="-15" dirty="0">
                <a:solidFill>
                  <a:srgbClr val="006DB7"/>
                </a:solidFill>
                <a:latin typeface="Adani Regular" panose="02000503000000020004" pitchFamily="2" charset="0"/>
              </a:rPr>
              <a:t>Adani :</a:t>
            </a:r>
            <a:r>
              <a:rPr lang="en-US" sz="2000" spc="-76" dirty="0">
                <a:solidFill>
                  <a:srgbClr val="006DB7"/>
                </a:solidFill>
                <a:latin typeface="Adani Regular" panose="02000503000000020004" pitchFamily="2" charset="0"/>
              </a:rPr>
              <a:t> </a:t>
            </a:r>
            <a:r>
              <a:rPr lang="en-US" sz="2000" spc="15" dirty="0">
                <a:solidFill>
                  <a:srgbClr val="006DB7"/>
                </a:solidFill>
                <a:latin typeface="Adani Regular" panose="02000503000000020004" pitchFamily="2" charset="0"/>
              </a:rPr>
              <a:t>Leadership across infrastructure sector</a:t>
            </a:r>
            <a:endParaRPr lang="en-US" sz="2000" dirty="0">
              <a:solidFill>
                <a:srgbClr val="006DB7"/>
              </a:solidFill>
              <a:latin typeface="Adani Regular" panose="02000503000000020004" pitchFamily="2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xmlns="" id="{60492561-ED3A-4F43-957A-48620A423BA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7131" y="973225"/>
            <a:ext cx="4513509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400">
                <a:latin typeface="Adani Medium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We are India’s…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xmlns="" id="{0AD62C13-A836-4B18-8128-BBEE3E9C1F78}"/>
              </a:ext>
            </a:extLst>
          </p:cNvPr>
          <p:cNvSpPr txBox="1"/>
          <p:nvPr/>
        </p:nvSpPr>
        <p:spPr>
          <a:xfrm>
            <a:off x="9015432" y="1910100"/>
            <a:ext cx="2916000" cy="1800493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prstDash val="sysDot"/>
          </a:ln>
        </p:spPr>
        <p:txBody>
          <a:bodyPr wrap="square" rtlCol="0">
            <a:sp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182563" marR="0" lvl="1" indent="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Courage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: </a:t>
            </a: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e shall believe in our employees and other stakeholder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182563" marR="0" lvl="1" indent="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Trus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: </a:t>
            </a: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e shall embrace new ideas and business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182563" marR="0" lvl="1" indent="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Commitmen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: </a:t>
            </a: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e shall stand by our promises and adhere to high standards of busines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xmlns="" id="{41DAEC43-A38A-450E-B836-2A833F320567}"/>
              </a:ext>
            </a:extLst>
          </p:cNvPr>
          <p:cNvSpPr txBox="1"/>
          <p:nvPr/>
        </p:nvSpPr>
        <p:spPr>
          <a:xfrm>
            <a:off x="7557931" y="3975998"/>
            <a:ext cx="2196000" cy="1738938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prstDash val="sysDot"/>
          </a:ln>
        </p:spPr>
        <p:txBody>
          <a:bodyPr wrap="square" rtlCol="0">
            <a:sp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182563" marR="0" lvl="1" indent="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P -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assion</a:t>
            </a:r>
          </a:p>
          <a:p>
            <a:pPr marL="182563" marR="0" lvl="1" indent="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R -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ults</a:t>
            </a:r>
          </a:p>
          <a:p>
            <a:pPr marL="182563" marR="0" lvl="1" indent="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I  -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tegration</a:t>
            </a:r>
          </a:p>
          <a:p>
            <a:pPr marL="182563" marR="0" lvl="1" indent="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D -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dication</a:t>
            </a:r>
          </a:p>
          <a:p>
            <a:pPr marL="182563" marR="0" lvl="1" indent="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E –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ntrepreneurship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xmlns="" id="{B3F06FB1-5F15-4A0D-AD25-42A810B8A2B6}"/>
              </a:ext>
            </a:extLst>
          </p:cNvPr>
          <p:cNvSpPr txBox="1"/>
          <p:nvPr/>
        </p:nvSpPr>
        <p:spPr>
          <a:xfrm>
            <a:off x="5343381" y="1898506"/>
            <a:ext cx="2916000" cy="1800493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prstDash val="sysDot"/>
          </a:ln>
        </p:spPr>
        <p:txBody>
          <a:bodyPr wrap="square" rtlCol="0">
            <a:spAutoFit/>
          </a:bodyPr>
          <a:lstStyle/>
          <a:p>
            <a:pPr marL="0" marR="0" lvl="1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182563" marR="0" lvl="1" indent="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o be the globally admired leader in integrated infrastructure businesses with a deep commitment to nation building</a:t>
            </a:r>
          </a:p>
          <a:p>
            <a:pPr marL="182563" marR="0" lvl="1" indent="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e shall be known for the scale of our ambition, speed of execution and quality of operation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xmlns="" id="{72C1A358-9158-4708-87A0-4DD25A7EC02D}"/>
              </a:ext>
            </a:extLst>
          </p:cNvPr>
          <p:cNvSpPr txBox="1"/>
          <p:nvPr/>
        </p:nvSpPr>
        <p:spPr>
          <a:xfrm>
            <a:off x="5190980" y="1757700"/>
            <a:ext cx="1295400" cy="307777"/>
          </a:xfrm>
          <a:prstGeom prst="rect">
            <a:avLst/>
          </a:prstGeom>
          <a:solidFill>
            <a:sysClr val="window" lastClr="FFFFFF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Vision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xmlns="" id="{B686BDBC-04B5-4241-A6E6-77DEAA936FC0}"/>
              </a:ext>
            </a:extLst>
          </p:cNvPr>
          <p:cNvSpPr txBox="1"/>
          <p:nvPr/>
        </p:nvSpPr>
        <p:spPr>
          <a:xfrm>
            <a:off x="8786834" y="1755244"/>
            <a:ext cx="1295400" cy="307777"/>
          </a:xfrm>
          <a:prstGeom prst="rect">
            <a:avLst/>
          </a:prstGeom>
          <a:solidFill>
            <a:sysClr val="window" lastClr="FFFFFF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Values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xmlns="" id="{01B2CC57-BBF0-4D5B-A9FB-593CF8710322}"/>
              </a:ext>
            </a:extLst>
          </p:cNvPr>
          <p:cNvSpPr txBox="1"/>
          <p:nvPr/>
        </p:nvSpPr>
        <p:spPr>
          <a:xfrm>
            <a:off x="7405531" y="3823598"/>
            <a:ext cx="1295400" cy="307777"/>
          </a:xfrm>
          <a:prstGeom prst="rect">
            <a:avLst/>
          </a:prstGeom>
          <a:solidFill>
            <a:sysClr val="window" lastClr="FFFFFF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dani Medium" pitchFamily="2" charset="0"/>
              </a:rPr>
              <a:t>Culture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xmlns="" id="{93682025-1E5A-49FD-8AF5-1FA58F5AF01A}"/>
              </a:ext>
            </a:extLst>
          </p:cNvPr>
          <p:cNvSpPr/>
          <p:nvPr/>
        </p:nvSpPr>
        <p:spPr>
          <a:xfrm>
            <a:off x="5120640" y="973225"/>
            <a:ext cx="56388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prstClr val="black"/>
                </a:solidFill>
                <a:latin typeface="Adani Medium" pitchFamily="2" charset="0"/>
              </a:rPr>
              <a:t>…passionately driven by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BD38508C-80FC-4D69-AC93-1132F5B30766}"/>
              </a:ext>
            </a:extLst>
          </p:cNvPr>
          <p:cNvGrpSpPr>
            <a:grpSpLocks noChangeAspect="1"/>
          </p:cNvGrpSpPr>
          <p:nvPr/>
        </p:nvGrpSpPr>
        <p:grpSpPr>
          <a:xfrm>
            <a:off x="260568" y="1467667"/>
            <a:ext cx="4704872" cy="4556382"/>
            <a:chOff x="140217" y="1566143"/>
            <a:chExt cx="4279791" cy="4148792"/>
          </a:xfrm>
        </p:grpSpPr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xmlns="" id="{4BABC113-D6DE-401F-9125-3CA80F4B781C}"/>
                </a:ext>
              </a:extLst>
            </p:cNvPr>
            <p:cNvSpPr/>
            <p:nvPr/>
          </p:nvSpPr>
          <p:spPr>
            <a:xfrm>
              <a:off x="1464177" y="2891262"/>
              <a:ext cx="1658347" cy="1499404"/>
            </a:xfrm>
            <a:custGeom>
              <a:avLst/>
              <a:gdLst>
                <a:gd name="connsiteX0" fmla="*/ 0 w 1658347"/>
                <a:gd name="connsiteY0" fmla="*/ 749702 h 1499404"/>
                <a:gd name="connsiteX1" fmla="*/ 428380 w 1658347"/>
                <a:gd name="connsiteY1" fmla="*/ 0 h 1499404"/>
                <a:gd name="connsiteX2" fmla="*/ 1229967 w 1658347"/>
                <a:gd name="connsiteY2" fmla="*/ 0 h 1499404"/>
                <a:gd name="connsiteX3" fmla="*/ 1658347 w 1658347"/>
                <a:gd name="connsiteY3" fmla="*/ 749702 h 1499404"/>
                <a:gd name="connsiteX4" fmla="*/ 1229967 w 1658347"/>
                <a:gd name="connsiteY4" fmla="*/ 1499404 h 1499404"/>
                <a:gd name="connsiteX5" fmla="*/ 428380 w 1658347"/>
                <a:gd name="connsiteY5" fmla="*/ 1499404 h 1499404"/>
                <a:gd name="connsiteX6" fmla="*/ 0 w 1658347"/>
                <a:gd name="connsiteY6" fmla="*/ 749702 h 149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8347" h="1499404">
                  <a:moveTo>
                    <a:pt x="0" y="749702"/>
                  </a:moveTo>
                  <a:lnTo>
                    <a:pt x="428380" y="0"/>
                  </a:lnTo>
                  <a:lnTo>
                    <a:pt x="1229967" y="0"/>
                  </a:lnTo>
                  <a:lnTo>
                    <a:pt x="1658347" y="749702"/>
                  </a:lnTo>
                  <a:lnTo>
                    <a:pt x="1229967" y="1499404"/>
                  </a:lnTo>
                  <a:lnTo>
                    <a:pt x="428380" y="1499404"/>
                  </a:lnTo>
                  <a:lnTo>
                    <a:pt x="0" y="749702"/>
                  </a:lnTo>
                  <a:close/>
                </a:path>
              </a:pathLst>
            </a:custGeom>
            <a:gradFill rotWithShape="1">
              <a:gsLst>
                <a:gs pos="0">
                  <a:srgbClr val="8064A2">
                    <a:alpha val="80000"/>
                    <a:hueOff val="0"/>
                    <a:satOff val="0"/>
                    <a:lumOff val="0"/>
                    <a:alphaOff val="0"/>
                    <a:tint val="50000"/>
                    <a:satMod val="300000"/>
                  </a:srgbClr>
                </a:gs>
                <a:gs pos="35000">
                  <a:srgbClr val="8064A2">
                    <a:alpha val="80000"/>
                    <a:hueOff val="0"/>
                    <a:satOff val="0"/>
                    <a:lumOff val="0"/>
                    <a:alphaOff val="0"/>
                    <a:tint val="37000"/>
                    <a:satMod val="300000"/>
                  </a:srgbClr>
                </a:gs>
                <a:gs pos="100000">
                  <a:srgbClr val="8064A2">
                    <a:alpha val="80000"/>
                    <a:hueOff val="0"/>
                    <a:satOff val="0"/>
                    <a:lumOff val="0"/>
                    <a:alphaOff val="0"/>
                    <a:tint val="15000"/>
                    <a:satMod val="350000"/>
                  </a:srgbClr>
                </a:gs>
              </a:gsLst>
              <a:lin ang="16200000" scaled="1"/>
            </a:gra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txBody>
            <a:bodyPr spcFirstLastPara="0" vert="horz" wrap="square" lIns="180000" tIns="252000" rIns="180000" bIns="252000" numCol="1" spcCol="1270" anchor="ctr" anchorCtr="0">
              <a:noAutofit/>
            </a:bodyPr>
            <a:lstStyle/>
            <a:p>
              <a:pPr marL="0" marR="0" lvl="0" indent="0" algn="ctr" defTabSz="7112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rowth with Goodness</a:t>
              </a:r>
            </a:p>
          </p:txBody>
        </p:sp>
        <p:sp>
          <p:nvSpPr>
            <p:cNvPr id="218" name="Hexagon 217">
              <a:extLst>
                <a:ext uri="{FF2B5EF4-FFF2-40B4-BE49-F238E27FC236}">
                  <a16:creationId xmlns:a16="http://schemas.microsoft.com/office/drawing/2014/main" xmlns="" id="{B94385C1-0090-465B-8143-5741210D6404}"/>
                </a:ext>
              </a:extLst>
            </p:cNvPr>
            <p:cNvSpPr/>
            <p:nvPr/>
          </p:nvSpPr>
          <p:spPr>
            <a:xfrm>
              <a:off x="2674057" y="2306040"/>
              <a:ext cx="641844" cy="553034"/>
            </a:xfrm>
            <a:prstGeom prst="hexagon">
              <a:avLst>
                <a:gd name="adj" fmla="val 28900"/>
                <a:gd name="vf" fmla="val 115470"/>
              </a:avLst>
            </a:prstGeom>
            <a:blipFill rotWithShape="0">
              <a:blip r:embed="rId4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19" name="Hexagon 218">
              <a:extLst>
                <a:ext uri="{FF2B5EF4-FFF2-40B4-BE49-F238E27FC236}">
                  <a16:creationId xmlns:a16="http://schemas.microsoft.com/office/drawing/2014/main" xmlns="" id="{CFA5BF44-B372-4E0B-A1D7-ABD07101CB1E}"/>
                </a:ext>
              </a:extLst>
            </p:cNvPr>
            <p:cNvSpPr/>
            <p:nvPr/>
          </p:nvSpPr>
          <p:spPr>
            <a:xfrm>
              <a:off x="3268924" y="3350747"/>
              <a:ext cx="641844" cy="553034"/>
            </a:xfrm>
            <a:prstGeom prst="hexagon">
              <a:avLst>
                <a:gd name="adj" fmla="val 28900"/>
                <a:gd name="vf" fmla="val 115470"/>
              </a:avLst>
            </a:prstGeom>
            <a:solidFill>
              <a:srgbClr val="8064A2">
                <a:tint val="40000"/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xmlns="" id="{DBA739B1-0572-4B1E-9CB6-DDA252DB1C7F}"/>
                </a:ext>
              </a:extLst>
            </p:cNvPr>
            <p:cNvSpPr/>
            <p:nvPr/>
          </p:nvSpPr>
          <p:spPr>
            <a:xfrm>
              <a:off x="2894992" y="2307947"/>
              <a:ext cx="1394092" cy="1206054"/>
            </a:xfrm>
            <a:custGeom>
              <a:avLst/>
              <a:gdLst>
                <a:gd name="connsiteX0" fmla="*/ 0 w 1394092"/>
                <a:gd name="connsiteY0" fmla="*/ 603027 h 1206054"/>
                <a:gd name="connsiteX1" fmla="*/ 344570 w 1394092"/>
                <a:gd name="connsiteY1" fmla="*/ 0 h 1206054"/>
                <a:gd name="connsiteX2" fmla="*/ 1049522 w 1394092"/>
                <a:gd name="connsiteY2" fmla="*/ 0 h 1206054"/>
                <a:gd name="connsiteX3" fmla="*/ 1394092 w 1394092"/>
                <a:gd name="connsiteY3" fmla="*/ 603027 h 1206054"/>
                <a:gd name="connsiteX4" fmla="*/ 1049522 w 1394092"/>
                <a:gd name="connsiteY4" fmla="*/ 1206054 h 1206054"/>
                <a:gd name="connsiteX5" fmla="*/ 344570 w 1394092"/>
                <a:gd name="connsiteY5" fmla="*/ 1206054 h 1206054"/>
                <a:gd name="connsiteX6" fmla="*/ 0 w 1394092"/>
                <a:gd name="connsiteY6" fmla="*/ 603027 h 1206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4092" h="1206054">
                  <a:moveTo>
                    <a:pt x="0" y="603027"/>
                  </a:moveTo>
                  <a:lnTo>
                    <a:pt x="344570" y="0"/>
                  </a:lnTo>
                  <a:lnTo>
                    <a:pt x="1049522" y="0"/>
                  </a:lnTo>
                  <a:lnTo>
                    <a:pt x="1394092" y="603027"/>
                  </a:lnTo>
                  <a:lnTo>
                    <a:pt x="1049522" y="1206054"/>
                  </a:lnTo>
                  <a:lnTo>
                    <a:pt x="344570" y="1206054"/>
                  </a:lnTo>
                  <a:lnTo>
                    <a:pt x="0" y="603027"/>
                  </a:lnTo>
                  <a:close/>
                </a:path>
              </a:pathLst>
            </a:custGeom>
            <a:gradFill rotWithShape="1">
              <a:gsLst>
                <a:gs pos="0">
                  <a:srgbClr val="8064A2">
                    <a:alpha val="90000"/>
                    <a:hueOff val="0"/>
                    <a:satOff val="0"/>
                    <a:lumOff val="0"/>
                    <a:alphaOff val="-8000"/>
                    <a:tint val="50000"/>
                    <a:satMod val="300000"/>
                  </a:srgbClr>
                </a:gs>
                <a:gs pos="35000">
                  <a:srgbClr val="8064A2">
                    <a:alpha val="90000"/>
                    <a:hueOff val="0"/>
                    <a:satOff val="0"/>
                    <a:lumOff val="0"/>
                    <a:alphaOff val="-8000"/>
                    <a:tint val="37000"/>
                    <a:satMod val="300000"/>
                  </a:srgbClr>
                </a:gs>
                <a:gs pos="100000">
                  <a:srgbClr val="8064A2">
                    <a:alpha val="90000"/>
                    <a:hueOff val="0"/>
                    <a:satOff val="0"/>
                    <a:lumOff val="0"/>
                    <a:alphaOff val="-8000"/>
                    <a:tint val="15000"/>
                    <a:satMod val="350000"/>
                  </a:srgbClr>
                </a:gs>
              </a:gsLst>
              <a:lin ang="16200000" scaled="1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txBody>
            <a:bodyPr spcFirstLastPara="0" vert="horz" wrap="square" lIns="248811" tIns="217649" rIns="248811" bIns="217649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Hexagon 220">
              <a:extLst>
                <a:ext uri="{FF2B5EF4-FFF2-40B4-BE49-F238E27FC236}">
                  <a16:creationId xmlns:a16="http://schemas.microsoft.com/office/drawing/2014/main" xmlns="" id="{3B24D374-45AF-4AF3-B8C3-BCB077699938}"/>
                </a:ext>
              </a:extLst>
            </p:cNvPr>
            <p:cNvSpPr/>
            <p:nvPr/>
          </p:nvSpPr>
          <p:spPr>
            <a:xfrm>
              <a:off x="2674058" y="4474389"/>
              <a:ext cx="641844" cy="553034"/>
            </a:xfrm>
            <a:prstGeom prst="hexagon">
              <a:avLst>
                <a:gd name="adj" fmla="val 28900"/>
                <a:gd name="vf" fmla="val 115470"/>
              </a:avLst>
            </a:prstGeom>
            <a:solidFill>
              <a:srgbClr val="8064A2">
                <a:tint val="40000"/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xmlns="" id="{815B28E4-B638-4CAE-A295-BAE7F8EA1944}"/>
                </a:ext>
              </a:extLst>
            </p:cNvPr>
            <p:cNvSpPr/>
            <p:nvPr/>
          </p:nvSpPr>
          <p:spPr>
            <a:xfrm>
              <a:off x="2894992" y="3766247"/>
              <a:ext cx="1394092" cy="1206054"/>
            </a:xfrm>
            <a:custGeom>
              <a:avLst/>
              <a:gdLst>
                <a:gd name="connsiteX0" fmla="*/ 0 w 1394092"/>
                <a:gd name="connsiteY0" fmla="*/ 603027 h 1206054"/>
                <a:gd name="connsiteX1" fmla="*/ 344570 w 1394092"/>
                <a:gd name="connsiteY1" fmla="*/ 0 h 1206054"/>
                <a:gd name="connsiteX2" fmla="*/ 1049522 w 1394092"/>
                <a:gd name="connsiteY2" fmla="*/ 0 h 1206054"/>
                <a:gd name="connsiteX3" fmla="*/ 1394092 w 1394092"/>
                <a:gd name="connsiteY3" fmla="*/ 603027 h 1206054"/>
                <a:gd name="connsiteX4" fmla="*/ 1049522 w 1394092"/>
                <a:gd name="connsiteY4" fmla="*/ 1206054 h 1206054"/>
                <a:gd name="connsiteX5" fmla="*/ 344570 w 1394092"/>
                <a:gd name="connsiteY5" fmla="*/ 1206054 h 1206054"/>
                <a:gd name="connsiteX6" fmla="*/ 0 w 1394092"/>
                <a:gd name="connsiteY6" fmla="*/ 603027 h 1206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4092" h="1206054">
                  <a:moveTo>
                    <a:pt x="0" y="603027"/>
                  </a:moveTo>
                  <a:lnTo>
                    <a:pt x="344570" y="0"/>
                  </a:lnTo>
                  <a:lnTo>
                    <a:pt x="1049522" y="0"/>
                  </a:lnTo>
                  <a:lnTo>
                    <a:pt x="1394092" y="603027"/>
                  </a:lnTo>
                  <a:lnTo>
                    <a:pt x="1049522" y="1206054"/>
                  </a:lnTo>
                  <a:lnTo>
                    <a:pt x="344570" y="1206054"/>
                  </a:lnTo>
                  <a:lnTo>
                    <a:pt x="0" y="603027"/>
                  </a:lnTo>
                  <a:close/>
                </a:path>
              </a:pathLst>
            </a:custGeom>
            <a:gradFill rotWithShape="1">
              <a:gsLst>
                <a:gs pos="0">
                  <a:srgbClr val="8064A2">
                    <a:alpha val="90000"/>
                    <a:hueOff val="0"/>
                    <a:satOff val="0"/>
                    <a:lumOff val="0"/>
                    <a:alphaOff val="-16000"/>
                    <a:tint val="50000"/>
                    <a:satMod val="300000"/>
                  </a:srgbClr>
                </a:gs>
                <a:gs pos="35000">
                  <a:srgbClr val="8064A2">
                    <a:alpha val="90000"/>
                    <a:hueOff val="0"/>
                    <a:satOff val="0"/>
                    <a:lumOff val="0"/>
                    <a:alphaOff val="-16000"/>
                    <a:tint val="37000"/>
                    <a:satMod val="300000"/>
                  </a:srgbClr>
                </a:gs>
                <a:gs pos="100000">
                  <a:srgbClr val="8064A2">
                    <a:alpha val="90000"/>
                    <a:hueOff val="0"/>
                    <a:satOff val="0"/>
                    <a:lumOff val="0"/>
                    <a:alphaOff val="-16000"/>
                    <a:tint val="15000"/>
                    <a:satMod val="350000"/>
                  </a:srgbClr>
                </a:gs>
              </a:gsLst>
              <a:lin ang="16200000" scaled="1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txBody>
            <a:bodyPr spcFirstLastPara="0" vert="horz" wrap="square" lIns="246271" tIns="215109" rIns="246271" bIns="215109" numCol="1" spcCol="1270" anchor="ctr" anchorCtr="0">
              <a:noAutofit/>
            </a:bodyPr>
            <a:lstStyle/>
            <a:p>
              <a:pPr marL="0" marR="0" lvl="0" indent="0" algn="ctr" defTabSz="533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Hexagon 222">
              <a:extLst>
                <a:ext uri="{FF2B5EF4-FFF2-40B4-BE49-F238E27FC236}">
                  <a16:creationId xmlns:a16="http://schemas.microsoft.com/office/drawing/2014/main" xmlns="" id="{B7137CE1-D7DB-410D-8FB3-474F568F1208}"/>
                </a:ext>
              </a:extLst>
            </p:cNvPr>
            <p:cNvSpPr/>
            <p:nvPr/>
          </p:nvSpPr>
          <p:spPr>
            <a:xfrm>
              <a:off x="1352129" y="4474387"/>
              <a:ext cx="641844" cy="553034"/>
            </a:xfrm>
            <a:prstGeom prst="hexagon">
              <a:avLst>
                <a:gd name="adj" fmla="val 28900"/>
                <a:gd name="vf" fmla="val 115470"/>
              </a:avLst>
            </a:prstGeom>
            <a:blipFill rotWithShape="0">
              <a:blip r:embed="rId5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xmlns="" id="{F6AC8265-38B7-436B-B787-108FAE21155C}"/>
                </a:ext>
              </a:extLst>
            </p:cNvPr>
            <p:cNvSpPr/>
            <p:nvPr/>
          </p:nvSpPr>
          <p:spPr>
            <a:xfrm>
              <a:off x="1616447" y="4508881"/>
              <a:ext cx="1394092" cy="1206054"/>
            </a:xfrm>
            <a:custGeom>
              <a:avLst/>
              <a:gdLst>
                <a:gd name="connsiteX0" fmla="*/ 0 w 1394092"/>
                <a:gd name="connsiteY0" fmla="*/ 603027 h 1206054"/>
                <a:gd name="connsiteX1" fmla="*/ 344570 w 1394092"/>
                <a:gd name="connsiteY1" fmla="*/ 0 h 1206054"/>
                <a:gd name="connsiteX2" fmla="*/ 1049522 w 1394092"/>
                <a:gd name="connsiteY2" fmla="*/ 0 h 1206054"/>
                <a:gd name="connsiteX3" fmla="*/ 1394092 w 1394092"/>
                <a:gd name="connsiteY3" fmla="*/ 603027 h 1206054"/>
                <a:gd name="connsiteX4" fmla="*/ 1049522 w 1394092"/>
                <a:gd name="connsiteY4" fmla="*/ 1206054 h 1206054"/>
                <a:gd name="connsiteX5" fmla="*/ 344570 w 1394092"/>
                <a:gd name="connsiteY5" fmla="*/ 1206054 h 1206054"/>
                <a:gd name="connsiteX6" fmla="*/ 0 w 1394092"/>
                <a:gd name="connsiteY6" fmla="*/ 603027 h 1206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4092" h="1206054">
                  <a:moveTo>
                    <a:pt x="0" y="603027"/>
                  </a:moveTo>
                  <a:lnTo>
                    <a:pt x="344570" y="0"/>
                  </a:lnTo>
                  <a:lnTo>
                    <a:pt x="1049522" y="0"/>
                  </a:lnTo>
                  <a:lnTo>
                    <a:pt x="1394092" y="603027"/>
                  </a:lnTo>
                  <a:lnTo>
                    <a:pt x="1049522" y="1206054"/>
                  </a:lnTo>
                  <a:lnTo>
                    <a:pt x="344570" y="1206054"/>
                  </a:lnTo>
                  <a:lnTo>
                    <a:pt x="0" y="603027"/>
                  </a:lnTo>
                  <a:close/>
                </a:path>
              </a:pathLst>
            </a:custGeom>
            <a:gradFill rotWithShape="1">
              <a:gsLst>
                <a:gs pos="0">
                  <a:srgbClr val="8064A2">
                    <a:alpha val="90000"/>
                    <a:hueOff val="0"/>
                    <a:satOff val="0"/>
                    <a:lumOff val="0"/>
                    <a:alphaOff val="-24000"/>
                    <a:tint val="50000"/>
                    <a:satMod val="300000"/>
                  </a:srgbClr>
                </a:gs>
                <a:gs pos="35000">
                  <a:srgbClr val="8064A2">
                    <a:alpha val="90000"/>
                    <a:hueOff val="0"/>
                    <a:satOff val="0"/>
                    <a:lumOff val="0"/>
                    <a:alphaOff val="-24000"/>
                    <a:tint val="37000"/>
                    <a:satMod val="300000"/>
                  </a:srgbClr>
                </a:gs>
                <a:gs pos="100000">
                  <a:srgbClr val="8064A2">
                    <a:alpha val="90000"/>
                    <a:hueOff val="0"/>
                    <a:satOff val="0"/>
                    <a:lumOff val="0"/>
                    <a:alphaOff val="-24000"/>
                    <a:tint val="15000"/>
                    <a:satMod val="350000"/>
                  </a:srgbClr>
                </a:gs>
              </a:gsLst>
              <a:lin ang="16200000" scaled="1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txBody>
            <a:bodyPr spcFirstLastPara="0" vert="horz" wrap="square" lIns="248811" tIns="217649" rIns="248811" bIns="217649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Hexagon 224">
              <a:extLst>
                <a:ext uri="{FF2B5EF4-FFF2-40B4-BE49-F238E27FC236}">
                  <a16:creationId xmlns:a16="http://schemas.microsoft.com/office/drawing/2014/main" xmlns="" id="{FA37E24D-0BD1-48BC-A809-FCAF2A76394F}"/>
                </a:ext>
              </a:extLst>
            </p:cNvPr>
            <p:cNvSpPr/>
            <p:nvPr/>
          </p:nvSpPr>
          <p:spPr>
            <a:xfrm>
              <a:off x="1339831" y="2234788"/>
              <a:ext cx="641844" cy="553034"/>
            </a:xfrm>
            <a:prstGeom prst="hexagon">
              <a:avLst>
                <a:gd name="adj" fmla="val 28900"/>
                <a:gd name="vf" fmla="val 115470"/>
              </a:avLst>
            </a:prstGeom>
            <a:blipFill rotWithShape="0">
              <a:blip r:embed="rId6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34" name="TextBox 233">
              <a:extLst>
                <a:ext uri="{FF2B5EF4-FFF2-40B4-BE49-F238E27FC236}">
                  <a16:creationId xmlns:a16="http://schemas.microsoft.com/office/drawing/2014/main" xmlns="" id="{D3F11A04-E4CC-49AA-A688-EC695CF6E3DA}"/>
                </a:ext>
              </a:extLst>
            </p:cNvPr>
            <p:cNvSpPr txBox="1"/>
            <p:nvPr/>
          </p:nvSpPr>
          <p:spPr>
            <a:xfrm>
              <a:off x="2728008" y="3772302"/>
              <a:ext cx="1692000" cy="98085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Largest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ivat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Thermal Power Produce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(14 GW)</a:t>
              </a:r>
              <a:endParaRPr kumimoji="0" lang="en-IN" sz="1400" b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5" name="Hexagon 234">
              <a:extLst>
                <a:ext uri="{FF2B5EF4-FFF2-40B4-BE49-F238E27FC236}">
                  <a16:creationId xmlns:a16="http://schemas.microsoft.com/office/drawing/2014/main" xmlns="" id="{A4C5AAC3-CEFA-4115-8A64-AEF7685792C2}"/>
                </a:ext>
              </a:extLst>
            </p:cNvPr>
            <p:cNvSpPr/>
            <p:nvPr/>
          </p:nvSpPr>
          <p:spPr>
            <a:xfrm>
              <a:off x="716037" y="3364570"/>
              <a:ext cx="641844" cy="553034"/>
            </a:xfrm>
            <a:prstGeom prst="hexagon">
              <a:avLst>
                <a:gd name="adj" fmla="val 28900"/>
                <a:gd name="vf" fmla="val 115470"/>
              </a:avLst>
            </a:prstGeom>
            <a:blipFill rotWithShape="0">
              <a:blip r:embed="rId5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sp>
        <p:sp>
          <p:nvSpPr>
            <p:cNvPr id="236" name="TextBox 235">
              <a:extLst>
                <a:ext uri="{FF2B5EF4-FFF2-40B4-BE49-F238E27FC236}">
                  <a16:creationId xmlns:a16="http://schemas.microsoft.com/office/drawing/2014/main" xmlns="" id="{9C920317-791C-42AD-A4D6-77086C275E8D}"/>
                </a:ext>
              </a:extLst>
            </p:cNvPr>
            <p:cNvSpPr txBox="1"/>
            <p:nvPr/>
          </p:nvSpPr>
          <p:spPr>
            <a:xfrm>
              <a:off x="1462067" y="4674294"/>
              <a:ext cx="1692000" cy="8219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Largest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irport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operato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(8 Airports)</a:t>
              </a:r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xmlns="" id="{0E9EDEFB-203F-4D30-9C35-F7A67818AA8D}"/>
                </a:ext>
              </a:extLst>
            </p:cNvPr>
            <p:cNvSpPr/>
            <p:nvPr/>
          </p:nvSpPr>
          <p:spPr>
            <a:xfrm>
              <a:off x="331967" y="2306287"/>
              <a:ext cx="1394092" cy="1206054"/>
            </a:xfrm>
            <a:custGeom>
              <a:avLst/>
              <a:gdLst>
                <a:gd name="connsiteX0" fmla="*/ 0 w 1394092"/>
                <a:gd name="connsiteY0" fmla="*/ 603027 h 1206054"/>
                <a:gd name="connsiteX1" fmla="*/ 344570 w 1394092"/>
                <a:gd name="connsiteY1" fmla="*/ 0 h 1206054"/>
                <a:gd name="connsiteX2" fmla="*/ 1049522 w 1394092"/>
                <a:gd name="connsiteY2" fmla="*/ 0 h 1206054"/>
                <a:gd name="connsiteX3" fmla="*/ 1394092 w 1394092"/>
                <a:gd name="connsiteY3" fmla="*/ 603027 h 1206054"/>
                <a:gd name="connsiteX4" fmla="*/ 1049522 w 1394092"/>
                <a:gd name="connsiteY4" fmla="*/ 1206054 h 1206054"/>
                <a:gd name="connsiteX5" fmla="*/ 344570 w 1394092"/>
                <a:gd name="connsiteY5" fmla="*/ 1206054 h 1206054"/>
                <a:gd name="connsiteX6" fmla="*/ 0 w 1394092"/>
                <a:gd name="connsiteY6" fmla="*/ 603027 h 1206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4092" h="1206054">
                  <a:moveTo>
                    <a:pt x="0" y="603027"/>
                  </a:moveTo>
                  <a:lnTo>
                    <a:pt x="344570" y="0"/>
                  </a:lnTo>
                  <a:lnTo>
                    <a:pt x="1049522" y="0"/>
                  </a:lnTo>
                  <a:lnTo>
                    <a:pt x="1394092" y="603027"/>
                  </a:lnTo>
                  <a:lnTo>
                    <a:pt x="1049522" y="1206054"/>
                  </a:lnTo>
                  <a:lnTo>
                    <a:pt x="344570" y="1206054"/>
                  </a:lnTo>
                  <a:lnTo>
                    <a:pt x="0" y="603027"/>
                  </a:lnTo>
                  <a:close/>
                </a:path>
              </a:pathLst>
            </a:custGeom>
            <a:gradFill rotWithShape="1">
              <a:gsLst>
                <a:gs pos="0">
                  <a:srgbClr val="8064A2">
                    <a:alpha val="90000"/>
                    <a:hueOff val="0"/>
                    <a:satOff val="0"/>
                    <a:lumOff val="0"/>
                    <a:alphaOff val="-40000"/>
                    <a:tint val="50000"/>
                    <a:satMod val="300000"/>
                  </a:srgbClr>
                </a:gs>
                <a:gs pos="35000">
                  <a:srgbClr val="8064A2">
                    <a:alpha val="90000"/>
                    <a:hueOff val="0"/>
                    <a:satOff val="0"/>
                    <a:lumOff val="0"/>
                    <a:alphaOff val="-40000"/>
                    <a:tint val="37000"/>
                    <a:satMod val="300000"/>
                  </a:srgbClr>
                </a:gs>
                <a:gs pos="100000">
                  <a:srgbClr val="8064A2">
                    <a:alpha val="90000"/>
                    <a:hueOff val="0"/>
                    <a:satOff val="0"/>
                    <a:lumOff val="0"/>
                    <a:alphaOff val="-40000"/>
                    <a:tint val="15000"/>
                    <a:satMod val="350000"/>
                  </a:srgbClr>
                </a:gs>
              </a:gsLst>
              <a:lin ang="16200000" scaled="1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txBody>
            <a:bodyPr spcFirstLastPara="0" vert="horz" wrap="square" lIns="248811" tIns="217649" rIns="248811" bIns="217649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xmlns="" id="{EB0848CF-98CF-4CA3-A2F5-65308EC47620}"/>
                </a:ext>
              </a:extLst>
            </p:cNvPr>
            <p:cNvSpPr txBox="1"/>
            <p:nvPr/>
          </p:nvSpPr>
          <p:spPr>
            <a:xfrm>
              <a:off x="140217" y="2578729"/>
              <a:ext cx="1692000" cy="6344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Largest CGD^  operato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( 71 districts)</a:t>
              </a:r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xmlns="" id="{4A64C431-C301-45A2-8A87-5AE77D9BD176}"/>
                </a:ext>
              </a:extLst>
            </p:cNvPr>
            <p:cNvSpPr/>
            <p:nvPr/>
          </p:nvSpPr>
          <p:spPr>
            <a:xfrm>
              <a:off x="1616447" y="1566143"/>
              <a:ext cx="1394092" cy="1206054"/>
            </a:xfrm>
            <a:custGeom>
              <a:avLst/>
              <a:gdLst>
                <a:gd name="connsiteX0" fmla="*/ 0 w 1394092"/>
                <a:gd name="connsiteY0" fmla="*/ 603027 h 1206054"/>
                <a:gd name="connsiteX1" fmla="*/ 344570 w 1394092"/>
                <a:gd name="connsiteY1" fmla="*/ 0 h 1206054"/>
                <a:gd name="connsiteX2" fmla="*/ 1049522 w 1394092"/>
                <a:gd name="connsiteY2" fmla="*/ 0 h 1206054"/>
                <a:gd name="connsiteX3" fmla="*/ 1394092 w 1394092"/>
                <a:gd name="connsiteY3" fmla="*/ 603027 h 1206054"/>
                <a:gd name="connsiteX4" fmla="*/ 1049522 w 1394092"/>
                <a:gd name="connsiteY4" fmla="*/ 1206054 h 1206054"/>
                <a:gd name="connsiteX5" fmla="*/ 344570 w 1394092"/>
                <a:gd name="connsiteY5" fmla="*/ 1206054 h 1206054"/>
                <a:gd name="connsiteX6" fmla="*/ 0 w 1394092"/>
                <a:gd name="connsiteY6" fmla="*/ 603027 h 1206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4092" h="1206054">
                  <a:moveTo>
                    <a:pt x="0" y="603027"/>
                  </a:moveTo>
                  <a:lnTo>
                    <a:pt x="344570" y="0"/>
                  </a:lnTo>
                  <a:lnTo>
                    <a:pt x="1049522" y="0"/>
                  </a:lnTo>
                  <a:lnTo>
                    <a:pt x="1394092" y="603027"/>
                  </a:lnTo>
                  <a:lnTo>
                    <a:pt x="1049522" y="1206054"/>
                  </a:lnTo>
                  <a:lnTo>
                    <a:pt x="344570" y="1206054"/>
                  </a:lnTo>
                  <a:lnTo>
                    <a:pt x="0" y="603027"/>
                  </a:lnTo>
                  <a:close/>
                </a:path>
              </a:pathLst>
            </a:custGeom>
            <a:gradFill rotWithShape="1">
              <a:gsLst>
                <a:gs pos="0">
                  <a:srgbClr val="8064A2">
                    <a:alpha val="90000"/>
                    <a:hueOff val="0"/>
                    <a:satOff val="0"/>
                    <a:lumOff val="0"/>
                    <a:alphaOff val="0"/>
                    <a:tint val="50000"/>
                    <a:satMod val="300000"/>
                  </a:srgbClr>
                </a:gs>
                <a:gs pos="35000">
                  <a:srgbClr val="8064A2">
                    <a:alpha val="90000"/>
                    <a:hueOff val="0"/>
                    <a:satOff val="0"/>
                    <a:lumOff val="0"/>
                    <a:alphaOff val="0"/>
                    <a:tint val="37000"/>
                    <a:satMod val="300000"/>
                  </a:srgbClr>
                </a:gs>
                <a:gs pos="100000">
                  <a:srgbClr val="8064A2">
                    <a:alpha val="90000"/>
                    <a:hueOff val="0"/>
                    <a:satOff val="0"/>
                    <a:lumOff val="0"/>
                    <a:alphaOff val="0"/>
                    <a:tint val="15000"/>
                    <a:satMod val="350000"/>
                  </a:srgbClr>
                </a:gs>
              </a:gsLst>
              <a:lin ang="16200000" scaled="1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txBody>
            <a:bodyPr spcFirstLastPara="0" vert="horz" wrap="square" lIns="247541" tIns="216379" rIns="247541" bIns="216379" numCol="1" spcCol="1270" anchor="ctr" anchorCtr="0">
              <a:noAutofit/>
            </a:bodyPr>
            <a:lstStyle/>
            <a:p>
              <a:pPr marL="0" marR="0" lvl="0" indent="0" algn="ctr" defTabSz="5778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xmlns="" id="{DE231D3C-AA48-4BAC-8AB0-AC21FCE88BA5}"/>
                </a:ext>
              </a:extLst>
            </p:cNvPr>
            <p:cNvSpPr txBox="1"/>
            <p:nvPr/>
          </p:nvSpPr>
          <p:spPr>
            <a:xfrm>
              <a:off x="2728008" y="2446468"/>
              <a:ext cx="1692000" cy="994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Largest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Containe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ort operato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( 36% Market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hare)</a:t>
              </a:r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xmlns="" id="{BF49843C-6089-48E2-9325-BC1EAC5B8A85}"/>
                </a:ext>
              </a:extLst>
            </p:cNvPr>
            <p:cNvSpPr/>
            <p:nvPr/>
          </p:nvSpPr>
          <p:spPr>
            <a:xfrm>
              <a:off x="331967" y="3767077"/>
              <a:ext cx="1394092" cy="1206054"/>
            </a:xfrm>
            <a:custGeom>
              <a:avLst/>
              <a:gdLst>
                <a:gd name="connsiteX0" fmla="*/ 0 w 1394092"/>
                <a:gd name="connsiteY0" fmla="*/ 603027 h 1206054"/>
                <a:gd name="connsiteX1" fmla="*/ 344570 w 1394092"/>
                <a:gd name="connsiteY1" fmla="*/ 0 h 1206054"/>
                <a:gd name="connsiteX2" fmla="*/ 1049522 w 1394092"/>
                <a:gd name="connsiteY2" fmla="*/ 0 h 1206054"/>
                <a:gd name="connsiteX3" fmla="*/ 1394092 w 1394092"/>
                <a:gd name="connsiteY3" fmla="*/ 603027 h 1206054"/>
                <a:gd name="connsiteX4" fmla="*/ 1049522 w 1394092"/>
                <a:gd name="connsiteY4" fmla="*/ 1206054 h 1206054"/>
                <a:gd name="connsiteX5" fmla="*/ 344570 w 1394092"/>
                <a:gd name="connsiteY5" fmla="*/ 1206054 h 1206054"/>
                <a:gd name="connsiteX6" fmla="*/ 0 w 1394092"/>
                <a:gd name="connsiteY6" fmla="*/ 603027 h 1206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4092" h="1206054">
                  <a:moveTo>
                    <a:pt x="0" y="603027"/>
                  </a:moveTo>
                  <a:lnTo>
                    <a:pt x="344570" y="0"/>
                  </a:lnTo>
                  <a:lnTo>
                    <a:pt x="1049522" y="0"/>
                  </a:lnTo>
                  <a:lnTo>
                    <a:pt x="1394092" y="603027"/>
                  </a:lnTo>
                  <a:lnTo>
                    <a:pt x="1049522" y="1206054"/>
                  </a:lnTo>
                  <a:lnTo>
                    <a:pt x="344570" y="1206054"/>
                  </a:lnTo>
                  <a:lnTo>
                    <a:pt x="0" y="603027"/>
                  </a:lnTo>
                  <a:close/>
                </a:path>
              </a:pathLst>
            </a:custGeom>
            <a:gradFill rotWithShape="1">
              <a:gsLst>
                <a:gs pos="0">
                  <a:srgbClr val="8064A2">
                    <a:alpha val="90000"/>
                    <a:hueOff val="0"/>
                    <a:satOff val="0"/>
                    <a:lumOff val="0"/>
                    <a:alphaOff val="-32000"/>
                    <a:tint val="50000"/>
                    <a:satMod val="300000"/>
                  </a:srgbClr>
                </a:gs>
                <a:gs pos="35000">
                  <a:srgbClr val="8064A2">
                    <a:alpha val="90000"/>
                    <a:hueOff val="0"/>
                    <a:satOff val="0"/>
                    <a:lumOff val="0"/>
                    <a:alphaOff val="-32000"/>
                    <a:tint val="37000"/>
                    <a:satMod val="300000"/>
                  </a:srgbClr>
                </a:gs>
                <a:gs pos="100000">
                  <a:srgbClr val="8064A2">
                    <a:alpha val="90000"/>
                    <a:hueOff val="0"/>
                    <a:satOff val="0"/>
                    <a:lumOff val="0"/>
                    <a:alphaOff val="-32000"/>
                    <a:tint val="15000"/>
                    <a:satMod val="350000"/>
                  </a:srgbClr>
                </a:gs>
              </a:gsLst>
              <a:lin ang="16200000" scaled="1"/>
            </a:gradFill>
            <a:ln>
              <a:noFill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txBody>
            <a:bodyPr spcFirstLastPara="0" vert="horz" wrap="square" lIns="248811" tIns="217649" rIns="248811" bIns="217649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xmlns="" id="{3AC6EC72-FD32-49B3-B7C3-18E2DA332C3A}"/>
                </a:ext>
              </a:extLst>
            </p:cNvPr>
            <p:cNvSpPr txBox="1"/>
            <p:nvPr/>
          </p:nvSpPr>
          <p:spPr>
            <a:xfrm>
              <a:off x="170966" y="4066176"/>
              <a:ext cx="1692000" cy="6344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Largest Sola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Cell Manufacture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(1.5 GW)</a:t>
              </a:r>
              <a:endParaRPr kumimoji="0" lang="en-IN" sz="1400" b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3" name="TextBox 242">
              <a:extLst>
                <a:ext uri="{FF2B5EF4-FFF2-40B4-BE49-F238E27FC236}">
                  <a16:creationId xmlns:a16="http://schemas.microsoft.com/office/drawing/2014/main" xmlns="" id="{3179651E-83DB-45AD-B3C4-E8EEA1582A13}"/>
                </a:ext>
              </a:extLst>
            </p:cNvPr>
            <p:cNvSpPr txBox="1"/>
            <p:nvPr/>
          </p:nvSpPr>
          <p:spPr>
            <a:xfrm>
              <a:off x="1442876" y="1699236"/>
              <a:ext cx="1692000" cy="84213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5778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Largest </a:t>
              </a:r>
            </a:p>
            <a:p>
              <a:pPr marL="0" marR="0" lvl="0" indent="0" algn="ctr" defTabSz="5778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rivate Port </a:t>
              </a:r>
            </a:p>
            <a:p>
              <a:pPr marL="0" marR="0" lvl="0" indent="0" algn="ctr" defTabSz="5778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200" b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(562 MMTPA Capacity)</a:t>
              </a:r>
              <a:endParaRPr kumimoji="0" lang="en-IN" sz="1400" b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44" name="Rounded Rectangle 93">
            <a:extLst>
              <a:ext uri="{FF2B5EF4-FFF2-40B4-BE49-F238E27FC236}">
                <a16:creationId xmlns:a16="http://schemas.microsoft.com/office/drawing/2014/main" xmlns="" id="{EB36CB56-EBA0-4FA3-B453-205F67E8A193}"/>
              </a:ext>
            </a:extLst>
          </p:cNvPr>
          <p:cNvSpPr/>
          <p:nvPr/>
        </p:nvSpPr>
        <p:spPr>
          <a:xfrm>
            <a:off x="986217" y="6100889"/>
            <a:ext cx="10369350" cy="260527"/>
          </a:xfrm>
          <a:prstGeom prst="roundRect">
            <a:avLst/>
          </a:prstGeom>
          <a:gradFill>
            <a:gsLst>
              <a:gs pos="0">
                <a:srgbClr val="BD1E6D"/>
              </a:gs>
              <a:gs pos="62000">
                <a:srgbClr val="7030A0"/>
              </a:gs>
              <a:gs pos="43000">
                <a:srgbClr val="7030A0"/>
              </a:gs>
              <a:gs pos="82000">
                <a:srgbClr val="0070C0"/>
              </a:gs>
            </a:gsLst>
            <a:lin ang="10800000" scaled="0"/>
          </a:gradFill>
        </p:spPr>
        <p:txBody>
          <a:bodyPr vert="horz" wrap="square" lIns="0" tIns="19839" rIns="0" bIns="0" rtlCol="0">
            <a:spAutoFit/>
          </a:bodyPr>
          <a:lstStyle/>
          <a:p>
            <a:pPr marL="7661" algn="ctr" defTabSz="905556">
              <a:spcBef>
                <a:spcPts val="2400"/>
              </a:spcBef>
              <a:spcAft>
                <a:spcPts val="2400"/>
              </a:spcAft>
            </a:pPr>
            <a:r>
              <a:rPr lang="en-US" sz="1400" kern="0" spc="-9" dirty="0">
                <a:solidFill>
                  <a:srgbClr val="FFFFFF"/>
                </a:solidFill>
                <a:latin typeface="Adani Regular" panose="02000503000000020004" pitchFamily="2" charset="0"/>
                <a:cs typeface="Arial"/>
              </a:rPr>
              <a:t>Unparalleled and Unmatched growth journey in the last two decades across infrastructure domains</a:t>
            </a:r>
          </a:p>
        </p:txBody>
      </p:sp>
      <p:sp>
        <p:nvSpPr>
          <p:cNvPr id="33" name="object 45">
            <a:extLst>
              <a:ext uri="{FF2B5EF4-FFF2-40B4-BE49-F238E27FC236}">
                <a16:creationId xmlns:a16="http://schemas.microsoft.com/office/drawing/2014/main" xmlns="" id="{FB6DEC19-C2DA-4542-A710-AC439E278BB9}"/>
              </a:ext>
            </a:extLst>
          </p:cNvPr>
          <p:cNvSpPr txBox="1"/>
          <p:nvPr/>
        </p:nvSpPr>
        <p:spPr>
          <a:xfrm>
            <a:off x="1049992" y="6474696"/>
            <a:ext cx="7311903" cy="130363"/>
          </a:xfrm>
          <a:prstGeom prst="rect">
            <a:avLst/>
          </a:prstGeom>
        </p:spPr>
        <p:txBody>
          <a:bodyPr vert="horz" wrap="square" lIns="0" tIns="7182" rIns="0" bIns="0" rtlCol="0">
            <a:spAutoFit/>
          </a:bodyPr>
          <a:lstStyle>
            <a:defPPr>
              <a:defRPr lang="en-US"/>
            </a:defPPr>
            <a:lvl1pPr marL="5746" defTabSz="679184">
              <a:spcBef>
                <a:spcPts val="57"/>
              </a:spcBef>
              <a:defRPr sz="700" b="1" spc="9">
                <a:solidFill>
                  <a:srgbClr val="58595B"/>
                </a:solidFill>
                <a:latin typeface="Adani Bold" panose="02000503000000020004" pitchFamily="2" charset="0"/>
                <a:cs typeface="Arial"/>
              </a:defRPr>
            </a:lvl1pPr>
          </a:lstStyle>
          <a:p>
            <a:r>
              <a:rPr lang="en-US" sz="800" b="0" dirty="0">
                <a:solidFill>
                  <a:prstClr val="black">
                    <a:lumMod val="50000"/>
                    <a:lumOff val="50000"/>
                  </a:prstClr>
                </a:solidFill>
                <a:latin typeface="Adani Regular" panose="02000503000000020004" pitchFamily="2" charset="0"/>
              </a:rPr>
              <a:t>^- CGD- City Gas Distribution</a:t>
            </a:r>
            <a:endParaRPr sz="800" b="0" dirty="0">
              <a:solidFill>
                <a:prstClr val="black">
                  <a:lumMod val="50000"/>
                  <a:lumOff val="50000"/>
                </a:prstClr>
              </a:solidFill>
              <a:latin typeface="Adani Regular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13722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07E07F9E-9EDF-4317-9D23-18BD4B774A7C}"/>
              </a:ext>
            </a:extLst>
          </p:cNvPr>
          <p:cNvSpPr txBox="1">
            <a:spLocks/>
          </p:cNvSpPr>
          <p:nvPr/>
        </p:nvSpPr>
        <p:spPr>
          <a:xfrm>
            <a:off x="779784" y="3164331"/>
            <a:ext cx="695514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dani Regular"/>
                <a:ea typeface="+mn-ea"/>
                <a:cs typeface="+mn-cs"/>
              </a:rPr>
              <a:t>Other Upcoming</a:t>
            </a:r>
            <a:r>
              <a:rPr kumimoji="0" lang="en-US" sz="2000" b="1" i="0" u="none" strike="noStrike" kern="1200" cap="none" spc="0" normalizeH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dani Regular"/>
                <a:ea typeface="+mn-ea"/>
                <a:cs typeface="+mn-cs"/>
              </a:rPr>
              <a:t> Terminals in Indi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dani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810537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30012672\Desktop\Latest PPT\PPT for shanghai\India Map\India map with states name - Copy (2).gif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603" t="2289" r="1510"/>
          <a:stretch/>
        </p:blipFill>
        <p:spPr bwMode="auto">
          <a:xfrm>
            <a:off x="5181600" y="1299411"/>
            <a:ext cx="6176212" cy="507061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57224" y="317031"/>
            <a:ext cx="11283951" cy="863600"/>
          </a:xfrm>
        </p:spPr>
        <p:txBody>
          <a:bodyPr/>
          <a:lstStyle/>
          <a:p>
            <a:r>
              <a:rPr lang="en-IN" sz="2000" dirty="0" err="1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Dhamra</a:t>
            </a:r>
            <a:r>
              <a:rPr lang="en-IN" sz="2000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 Port Location and Hinterland </a:t>
            </a:r>
          </a:p>
        </p:txBody>
      </p:sp>
      <p:sp>
        <p:nvSpPr>
          <p:cNvPr id="8" name="Oval 7"/>
          <p:cNvSpPr/>
          <p:nvPr/>
        </p:nvSpPr>
        <p:spPr>
          <a:xfrm rot="1610063">
            <a:off x="7781896" y="3884881"/>
            <a:ext cx="1951873" cy="235402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/>
          </a:p>
        </p:txBody>
      </p:sp>
      <p:sp>
        <p:nvSpPr>
          <p:cNvPr id="9" name="Rectangle 8"/>
          <p:cNvSpPr/>
          <p:nvPr/>
        </p:nvSpPr>
        <p:spPr>
          <a:xfrm>
            <a:off x="657224" y="1966694"/>
            <a:ext cx="405771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IN" sz="1600" dirty="0"/>
              <a:t>Located 120 nautical miles south of Kolkata Por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IN" sz="1600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IN" sz="1600" dirty="0"/>
              <a:t>Natural Gateway port for Orissa, Chhattisgarh, Jharkhand and West Bengal due to close proximity.</a:t>
            </a:r>
          </a:p>
          <a:p>
            <a:endParaRPr lang="en-IN" sz="1600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IN" sz="1600" dirty="0"/>
              <a:t>Ideal port to serve as an alternate to Kolkata port grappling with draft limitation and congestion</a:t>
            </a:r>
          </a:p>
          <a:p>
            <a:endParaRPr lang="en-IN" sz="2000" dirty="0"/>
          </a:p>
        </p:txBody>
      </p:sp>
      <p:sp>
        <p:nvSpPr>
          <p:cNvPr id="5" name="Oval 4"/>
          <p:cNvSpPr/>
          <p:nvPr/>
        </p:nvSpPr>
        <p:spPr>
          <a:xfrm>
            <a:off x="9149350" y="5779704"/>
            <a:ext cx="101600" cy="60959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/>
          </a:p>
        </p:txBody>
      </p:sp>
      <p:sp>
        <p:nvSpPr>
          <p:cNvPr id="6" name="TextBox 5"/>
          <p:cNvSpPr txBox="1"/>
          <p:nvPr/>
        </p:nvSpPr>
        <p:spPr>
          <a:xfrm>
            <a:off x="9336503" y="5686774"/>
            <a:ext cx="1422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 dirty="0" err="1">
                <a:solidFill>
                  <a:srgbClr val="FF0000"/>
                </a:solidFill>
              </a:rPr>
              <a:t>Dhamra</a:t>
            </a:r>
            <a:endParaRPr lang="en-IN" sz="1400" b="1" dirty="0">
              <a:solidFill>
                <a:srgbClr val="FF0000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6299200" y="5908042"/>
            <a:ext cx="101600" cy="6095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/>
          </a:p>
        </p:txBody>
      </p:sp>
    </p:spTree>
    <p:extLst>
      <p:ext uri="{BB962C8B-B14F-4D97-AF65-F5344CB8AC3E}">
        <p14:creationId xmlns:p14="http://schemas.microsoft.com/office/powerpoint/2010/main" xmlns="" val="17793917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57224" y="317031"/>
            <a:ext cx="11283951" cy="863600"/>
          </a:xfrm>
        </p:spPr>
        <p:txBody>
          <a:bodyPr/>
          <a:lstStyle/>
          <a:p>
            <a:r>
              <a:rPr lang="en-IN" sz="2000" dirty="0" err="1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Dhamra</a:t>
            </a:r>
            <a:r>
              <a:rPr lang="en-IN" sz="2000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 to be a Bay of Bengal Hub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224" y="1276962"/>
            <a:ext cx="5785605" cy="477358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952515" y="1524455"/>
            <a:ext cx="463230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/>
              <a:t>Upcoming </a:t>
            </a:r>
            <a:r>
              <a:rPr lang="en-US" sz="1400" dirty="0" err="1"/>
              <a:t>Gangavaram</a:t>
            </a:r>
            <a:r>
              <a:rPr lang="en-US" sz="1400" dirty="0"/>
              <a:t> container terminal will serve North Andhra and Odisha markets and will also connect Nepal by rail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 err="1"/>
              <a:t>Dhamra</a:t>
            </a:r>
            <a:r>
              <a:rPr lang="en-US" sz="1400" dirty="0"/>
              <a:t> container terminal is poised to be a hub in the Bay of Bengal considering the natural draft and the infrastructure we are planning to build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 err="1"/>
              <a:t>Dhamra</a:t>
            </a:r>
            <a:r>
              <a:rPr lang="en-US" sz="1400" dirty="0"/>
              <a:t> can serve ports in the region by feeder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 err="1"/>
              <a:t>Dhamra</a:t>
            </a:r>
            <a:r>
              <a:rPr lang="en-US" sz="1400" dirty="0"/>
              <a:t> has the potential to be a transshipment hub on the East Coast of India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4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 err="1"/>
              <a:t>Dhamra</a:t>
            </a:r>
            <a:r>
              <a:rPr lang="en-US" sz="1400" dirty="0"/>
              <a:t> is also positioned to serve Odisha and Nepal hinterlands</a:t>
            </a:r>
          </a:p>
        </p:txBody>
      </p:sp>
    </p:spTree>
    <p:extLst>
      <p:ext uri="{BB962C8B-B14F-4D97-AF65-F5344CB8AC3E}">
        <p14:creationId xmlns:p14="http://schemas.microsoft.com/office/powerpoint/2010/main" xmlns="" val="34084320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xmlns="" id="{2E52BF2F-C163-4CB3-B0D4-03CBE3E0C8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188" y="1792799"/>
            <a:ext cx="4355585" cy="980381"/>
          </a:xfrm>
        </p:spPr>
        <p:txBody>
          <a:bodyPr>
            <a:normAutofit/>
          </a:bodyPr>
          <a:lstStyle/>
          <a:p>
            <a:pPr algn="ctr"/>
            <a:r>
              <a:rPr lang="en-US" sz="2400" dirty="0"/>
              <a:t>Thank You</a:t>
            </a:r>
            <a:endParaRPr lang="en-IN" sz="2400" dirty="0"/>
          </a:p>
        </p:txBody>
      </p:sp>
    </p:spTree>
    <p:extLst>
      <p:ext uri="{BB962C8B-B14F-4D97-AF65-F5344CB8AC3E}">
        <p14:creationId xmlns:p14="http://schemas.microsoft.com/office/powerpoint/2010/main" xmlns="" val="922016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07E07F9E-9EDF-4317-9D23-18BD4B774A7C}"/>
              </a:ext>
            </a:extLst>
          </p:cNvPr>
          <p:cNvSpPr txBox="1">
            <a:spLocks/>
          </p:cNvSpPr>
          <p:nvPr/>
        </p:nvSpPr>
        <p:spPr>
          <a:xfrm>
            <a:off x="779784" y="3164331"/>
            <a:ext cx="695514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US" sz="2000" b="1">
                <a:solidFill>
                  <a:srgbClr val="0070C0"/>
                </a:solidFill>
              </a:rPr>
              <a:t>Adani Ports- Transformative &amp; Sustainable Journey  </a:t>
            </a:r>
            <a:endParaRPr lang="en-US" sz="20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67225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4"/>
          <p:cNvSpPr txBox="1">
            <a:spLocks/>
          </p:cNvSpPr>
          <p:nvPr/>
        </p:nvSpPr>
        <p:spPr>
          <a:xfrm>
            <a:off x="399655" y="431272"/>
            <a:ext cx="10296000" cy="399827"/>
          </a:xfrm>
          <a:prstGeom prst="rect">
            <a:avLst/>
          </a:prstGeom>
          <a:noFill/>
        </p:spPr>
        <p:txBody>
          <a:bodyPr vert="horz" wrap="square" lIns="91157" tIns="45580" rIns="91157" bIns="45580" rtlCol="0" anchor="b">
            <a:spAutoFit/>
          </a:bodyPr>
          <a:lstStyle>
            <a:lvl1pPr algn="l" defTabSz="121914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Adani Regular" panose="02000503000000020004" pitchFamily="2" charset="0"/>
                <a:ea typeface="+mj-ea"/>
                <a:cs typeface="+mj-cs"/>
              </a:defRPr>
            </a:lvl1pPr>
          </a:lstStyle>
          <a:p>
            <a:pPr marL="109195" defTabSz="911400"/>
            <a:r>
              <a:rPr lang="en-US" sz="2000" b="1" dirty="0">
                <a:solidFill>
                  <a:srgbClr val="0070C0"/>
                </a:solidFill>
              </a:rPr>
              <a:t>APSEZ : </a:t>
            </a:r>
            <a:r>
              <a:rPr lang="en-US" sz="2000" dirty="0">
                <a:solidFill>
                  <a:srgbClr val="0070C0"/>
                </a:solidFill>
              </a:rPr>
              <a:t>Harnessing synergy with Logistic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0" name="Pentagon 99">
            <a:extLst>
              <a:ext uri="{FF2B5EF4-FFF2-40B4-BE49-F238E27FC236}">
                <a16:creationId xmlns:a16="http://schemas.microsoft.com/office/drawing/2014/main" xmlns="" id="{FC6A9EAF-5009-45AD-B84E-846AAFEF585B}"/>
              </a:ext>
            </a:extLst>
          </p:cNvPr>
          <p:cNvSpPr/>
          <p:nvPr/>
        </p:nvSpPr>
        <p:spPr>
          <a:xfrm>
            <a:off x="10312701" y="5599482"/>
            <a:ext cx="1080000" cy="396000"/>
          </a:xfrm>
          <a:prstGeom prst="homePlate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en-US" sz="1200" dirty="0">
                <a:solidFill>
                  <a:schemeClr val="tx1"/>
                </a:solidFill>
              </a:rPr>
              <a:t>Air Freight Station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8CE41805-EE07-4A89-8301-919DB9F96F89}"/>
              </a:ext>
            </a:extLst>
          </p:cNvPr>
          <p:cNvSpPr txBox="1"/>
          <p:nvPr/>
        </p:nvSpPr>
        <p:spPr>
          <a:xfrm rot="16200000">
            <a:off x="43456" y="5498787"/>
            <a:ext cx="1063474" cy="2518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sz="1400" b="1">
                <a:gradFill>
                  <a:gsLst>
                    <a:gs pos="0">
                      <a:srgbClr val="2F81D2">
                        <a:lumMod val="99000"/>
                      </a:srgbClr>
                    </a:gs>
                    <a:gs pos="90000">
                      <a:srgbClr val="57499E"/>
                    </a:gs>
                  </a:gsLst>
                  <a:lin ang="600000" scaled="0"/>
                </a:gradFill>
              </a:defRPr>
            </a:lvl1pPr>
          </a:lstStyle>
          <a:p>
            <a:pPr>
              <a:defRPr/>
            </a:pPr>
            <a:r>
              <a:rPr lang="en-US" sz="18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Journey</a:t>
            </a:r>
            <a:endParaRPr lang="en-IN" sz="1800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4" name="Rounded Rectangle 176">
            <a:extLst>
              <a:ext uri="{FF2B5EF4-FFF2-40B4-BE49-F238E27FC236}">
                <a16:creationId xmlns:a16="http://schemas.microsoft.com/office/drawing/2014/main" xmlns="" id="{B72E942F-3081-4A75-9BA8-3B8F028E7B84}"/>
              </a:ext>
            </a:extLst>
          </p:cNvPr>
          <p:cNvSpPr/>
          <p:nvPr/>
        </p:nvSpPr>
        <p:spPr>
          <a:xfrm>
            <a:off x="1144197" y="5207619"/>
            <a:ext cx="647398" cy="229636"/>
          </a:xfrm>
          <a:prstGeom prst="roundRect">
            <a:avLst>
              <a:gd name="adj" fmla="val 14255"/>
            </a:avLst>
          </a:prstGeom>
          <a:noFill/>
          <a:ln w="19050" cap="flat" cmpd="sng" algn="ctr">
            <a:gradFill flip="none" rotWithShape="1">
              <a:gsLst>
                <a:gs pos="0">
                  <a:srgbClr val="922B82"/>
                </a:gs>
                <a:gs pos="100000">
                  <a:srgbClr val="2469AF"/>
                </a:gs>
              </a:gsLst>
              <a:lin ang="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50" b="1" i="0" u="none" strike="noStrike" kern="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dani Regular"/>
                <a:ea typeface="Adani" charset="0"/>
                <a:cs typeface="Adani" charset="0"/>
              </a:rPr>
              <a:t>2007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ani Regular"/>
            </a:endParaRPr>
          </a:p>
        </p:txBody>
      </p:sp>
      <p:sp>
        <p:nvSpPr>
          <p:cNvPr id="75" name="Rounded Rectangle 177">
            <a:extLst>
              <a:ext uri="{FF2B5EF4-FFF2-40B4-BE49-F238E27FC236}">
                <a16:creationId xmlns:a16="http://schemas.microsoft.com/office/drawing/2014/main" xmlns="" id="{DC05996F-3ABE-45CE-8314-AA934D538509}"/>
              </a:ext>
            </a:extLst>
          </p:cNvPr>
          <p:cNvSpPr/>
          <p:nvPr/>
        </p:nvSpPr>
        <p:spPr>
          <a:xfrm>
            <a:off x="2484883" y="5221553"/>
            <a:ext cx="647398" cy="229636"/>
          </a:xfrm>
          <a:prstGeom prst="roundRect">
            <a:avLst>
              <a:gd name="adj" fmla="val 14255"/>
            </a:avLst>
          </a:prstGeom>
          <a:noFill/>
          <a:ln w="19050" cap="flat" cmpd="sng" algn="ctr">
            <a:gradFill flip="none" rotWithShape="1">
              <a:gsLst>
                <a:gs pos="0">
                  <a:srgbClr val="922B82"/>
                </a:gs>
                <a:gs pos="100000">
                  <a:srgbClr val="2469AF"/>
                </a:gs>
              </a:gsLst>
              <a:lin ang="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50" b="1" i="0" u="none" strike="noStrike" kern="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dani Regular"/>
                <a:ea typeface="Adani" charset="0"/>
                <a:cs typeface="Adani" charset="0"/>
              </a:rPr>
              <a:t>2007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ani Regular"/>
            </a:endParaRPr>
          </a:p>
        </p:txBody>
      </p:sp>
      <p:sp>
        <p:nvSpPr>
          <p:cNvPr id="76" name="Rounded Rectangle 178">
            <a:extLst>
              <a:ext uri="{FF2B5EF4-FFF2-40B4-BE49-F238E27FC236}">
                <a16:creationId xmlns:a16="http://schemas.microsoft.com/office/drawing/2014/main" xmlns="" id="{35124042-4DD9-4619-AEBD-EE20C0F0357B}"/>
              </a:ext>
            </a:extLst>
          </p:cNvPr>
          <p:cNvSpPr/>
          <p:nvPr/>
        </p:nvSpPr>
        <p:spPr>
          <a:xfrm>
            <a:off x="3825569" y="5221553"/>
            <a:ext cx="647398" cy="229636"/>
          </a:xfrm>
          <a:prstGeom prst="roundRect">
            <a:avLst>
              <a:gd name="adj" fmla="val 14255"/>
            </a:avLst>
          </a:prstGeom>
          <a:noFill/>
          <a:ln w="19050" cap="flat" cmpd="sng" algn="ctr">
            <a:gradFill flip="none" rotWithShape="1">
              <a:gsLst>
                <a:gs pos="0">
                  <a:srgbClr val="922B82"/>
                </a:gs>
                <a:gs pos="100000">
                  <a:srgbClr val="2469AF"/>
                </a:gs>
              </a:gsLst>
              <a:lin ang="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50" b="1" i="0" u="none" strike="noStrike" kern="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dani Regular"/>
                <a:ea typeface="Adani" charset="0"/>
                <a:cs typeface="Adani" charset="0"/>
              </a:rPr>
              <a:t>2008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ani Regular"/>
            </a:endParaRPr>
          </a:p>
        </p:txBody>
      </p:sp>
      <p:sp>
        <p:nvSpPr>
          <p:cNvPr id="77" name="Rounded Rectangle 179">
            <a:extLst>
              <a:ext uri="{FF2B5EF4-FFF2-40B4-BE49-F238E27FC236}">
                <a16:creationId xmlns:a16="http://schemas.microsoft.com/office/drawing/2014/main" xmlns="" id="{31506AF3-E943-40BE-968D-5B88F7CAD17B}"/>
              </a:ext>
            </a:extLst>
          </p:cNvPr>
          <p:cNvSpPr/>
          <p:nvPr/>
        </p:nvSpPr>
        <p:spPr>
          <a:xfrm>
            <a:off x="5166255" y="5223728"/>
            <a:ext cx="647398" cy="229636"/>
          </a:xfrm>
          <a:prstGeom prst="roundRect">
            <a:avLst>
              <a:gd name="adj" fmla="val 14255"/>
            </a:avLst>
          </a:prstGeom>
          <a:noFill/>
          <a:ln w="19050" cap="flat" cmpd="sng" algn="ctr">
            <a:gradFill flip="none" rotWithShape="1">
              <a:gsLst>
                <a:gs pos="0">
                  <a:srgbClr val="922B82"/>
                </a:gs>
                <a:gs pos="100000">
                  <a:srgbClr val="2469AF"/>
                </a:gs>
              </a:gsLst>
              <a:lin ang="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50" b="1" i="0" u="none" strike="noStrike" kern="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dani Regular"/>
                <a:ea typeface="Adani" charset="0"/>
                <a:cs typeface="Adani" charset="0"/>
              </a:rPr>
              <a:t>2018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ani Regular"/>
            </a:endParaRPr>
          </a:p>
        </p:txBody>
      </p:sp>
      <p:sp>
        <p:nvSpPr>
          <p:cNvPr id="78" name="Rounded Rectangle 190">
            <a:extLst>
              <a:ext uri="{FF2B5EF4-FFF2-40B4-BE49-F238E27FC236}">
                <a16:creationId xmlns:a16="http://schemas.microsoft.com/office/drawing/2014/main" xmlns="" id="{DE6FA018-28F3-4B7F-B2C7-9545A8F77E22}"/>
              </a:ext>
            </a:extLst>
          </p:cNvPr>
          <p:cNvSpPr/>
          <p:nvPr/>
        </p:nvSpPr>
        <p:spPr>
          <a:xfrm>
            <a:off x="6506941" y="5231011"/>
            <a:ext cx="647398" cy="229636"/>
          </a:xfrm>
          <a:prstGeom prst="roundRect">
            <a:avLst>
              <a:gd name="adj" fmla="val 14255"/>
            </a:avLst>
          </a:prstGeom>
          <a:noFill/>
          <a:ln w="19050" cap="flat" cmpd="sng" algn="ctr">
            <a:gradFill flip="none" rotWithShape="1">
              <a:gsLst>
                <a:gs pos="0">
                  <a:srgbClr val="922B82"/>
                </a:gs>
                <a:gs pos="100000">
                  <a:srgbClr val="2469AF"/>
                </a:gs>
              </a:gsLst>
              <a:lin ang="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50" b="1" i="0" u="none" strike="noStrike" kern="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dani Regular"/>
                <a:ea typeface="Adani" charset="0"/>
                <a:cs typeface="Adani" charset="0"/>
              </a:rPr>
              <a:t>2019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ani Regular"/>
            </a:endParaRPr>
          </a:p>
        </p:txBody>
      </p:sp>
      <p:sp>
        <p:nvSpPr>
          <p:cNvPr id="79" name="Rounded Rectangle 192">
            <a:extLst>
              <a:ext uri="{FF2B5EF4-FFF2-40B4-BE49-F238E27FC236}">
                <a16:creationId xmlns:a16="http://schemas.microsoft.com/office/drawing/2014/main" xmlns="" id="{8B01439F-7421-46D9-8825-298BB466FEDA}"/>
              </a:ext>
            </a:extLst>
          </p:cNvPr>
          <p:cNvSpPr/>
          <p:nvPr/>
        </p:nvSpPr>
        <p:spPr>
          <a:xfrm>
            <a:off x="7847627" y="5229727"/>
            <a:ext cx="647398" cy="229636"/>
          </a:xfrm>
          <a:prstGeom prst="roundRect">
            <a:avLst>
              <a:gd name="adj" fmla="val 14255"/>
            </a:avLst>
          </a:prstGeom>
          <a:noFill/>
          <a:ln w="19050" cap="flat" cmpd="sng" algn="ctr">
            <a:gradFill flip="none" rotWithShape="1">
              <a:gsLst>
                <a:gs pos="0">
                  <a:srgbClr val="922B82"/>
                </a:gs>
                <a:gs pos="100000">
                  <a:srgbClr val="2469AF"/>
                </a:gs>
              </a:gsLst>
              <a:lin ang="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50" b="1" i="0" u="none" strike="noStrike" kern="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dani Regular"/>
                <a:ea typeface="Adani" charset="0"/>
                <a:cs typeface="Adani" charset="0"/>
              </a:rPr>
              <a:t>2019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ani Regular"/>
            </a:endParaRPr>
          </a:p>
        </p:txBody>
      </p:sp>
      <p:sp>
        <p:nvSpPr>
          <p:cNvPr id="80" name="Rounded Rectangle 193">
            <a:extLst>
              <a:ext uri="{FF2B5EF4-FFF2-40B4-BE49-F238E27FC236}">
                <a16:creationId xmlns:a16="http://schemas.microsoft.com/office/drawing/2014/main" xmlns="" id="{095D9253-48D0-464E-AD02-8ECF76D84C7A}"/>
              </a:ext>
            </a:extLst>
          </p:cNvPr>
          <p:cNvSpPr/>
          <p:nvPr/>
        </p:nvSpPr>
        <p:spPr>
          <a:xfrm>
            <a:off x="9188313" y="5223728"/>
            <a:ext cx="647398" cy="229636"/>
          </a:xfrm>
          <a:prstGeom prst="roundRect">
            <a:avLst>
              <a:gd name="adj" fmla="val 14255"/>
            </a:avLst>
          </a:prstGeom>
          <a:noFill/>
          <a:ln w="19050" cap="flat" cmpd="sng" algn="ctr">
            <a:gradFill flip="none" rotWithShape="1">
              <a:gsLst>
                <a:gs pos="0">
                  <a:srgbClr val="922B82"/>
                </a:gs>
                <a:gs pos="100000">
                  <a:srgbClr val="2469AF"/>
                </a:gs>
              </a:gsLst>
              <a:lin ang="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50" b="1" i="0" u="none" strike="noStrike" kern="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dani Regular"/>
                <a:ea typeface="Adani" charset="0"/>
                <a:cs typeface="Adani" charset="0"/>
              </a:rPr>
              <a:t>2020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ani Regular"/>
            </a:endParaRPr>
          </a:p>
        </p:txBody>
      </p:sp>
      <p:sp>
        <p:nvSpPr>
          <p:cNvPr id="81" name="Rounded Rectangle 194">
            <a:extLst>
              <a:ext uri="{FF2B5EF4-FFF2-40B4-BE49-F238E27FC236}">
                <a16:creationId xmlns:a16="http://schemas.microsoft.com/office/drawing/2014/main" xmlns="" id="{888714D7-33DA-4CD3-9897-FE63D4E68F15}"/>
              </a:ext>
            </a:extLst>
          </p:cNvPr>
          <p:cNvSpPr/>
          <p:nvPr/>
        </p:nvSpPr>
        <p:spPr>
          <a:xfrm>
            <a:off x="10529002" y="5221553"/>
            <a:ext cx="647398" cy="229636"/>
          </a:xfrm>
          <a:prstGeom prst="roundRect">
            <a:avLst>
              <a:gd name="adj" fmla="val 14255"/>
            </a:avLst>
          </a:prstGeom>
          <a:solidFill>
            <a:schemeClr val="accent3">
              <a:lumMod val="20000"/>
              <a:lumOff val="80000"/>
            </a:schemeClr>
          </a:solidFill>
          <a:ln w="19050" cap="flat" cmpd="sng" algn="ctr">
            <a:gradFill flip="none" rotWithShape="1">
              <a:gsLst>
                <a:gs pos="0">
                  <a:srgbClr val="922B82"/>
                </a:gs>
                <a:gs pos="100000">
                  <a:srgbClr val="2469AF"/>
                </a:gs>
              </a:gsLst>
              <a:lin ang="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50" b="1" i="0" u="none" strike="noStrike" kern="0" cap="none" spc="-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dani Regular"/>
                <a:ea typeface="Adani" charset="0"/>
                <a:cs typeface="Adani" charset="0"/>
              </a:rPr>
              <a:t>2021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dani Regular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6CF4AAD7-892C-4909-840E-9BC7163DB602}"/>
              </a:ext>
            </a:extLst>
          </p:cNvPr>
          <p:cNvSpPr txBox="1"/>
          <p:nvPr/>
        </p:nvSpPr>
        <p:spPr>
          <a:xfrm>
            <a:off x="7467578" y="964073"/>
            <a:ext cx="113635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IN" sz="12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Creating Value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xmlns="" id="{9A3258C8-784E-4123-8261-3332393209E5}"/>
              </a:ext>
            </a:extLst>
          </p:cNvPr>
          <p:cNvGrpSpPr/>
          <p:nvPr/>
        </p:nvGrpSpPr>
        <p:grpSpPr>
          <a:xfrm>
            <a:off x="10069813" y="4041859"/>
            <a:ext cx="1586252" cy="923330"/>
            <a:chOff x="10042265" y="4429750"/>
            <a:chExt cx="1586252" cy="923330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xmlns="" id="{98C7C3AC-A3BE-4488-91FC-ADA3EC832643}"/>
                </a:ext>
              </a:extLst>
            </p:cNvPr>
            <p:cNvSpPr txBox="1"/>
            <p:nvPr/>
          </p:nvSpPr>
          <p:spPr>
            <a:xfrm>
              <a:off x="10083159" y="4429750"/>
              <a:ext cx="154535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solidFill>
                    <a:srgbClr val="53565A"/>
                  </a:solidFill>
                </a:rPr>
                <a:t>Logistics Parks </a:t>
              </a:r>
            </a:p>
            <a:p>
              <a:r>
                <a:rPr lang="en-US" sz="900" dirty="0">
                  <a:solidFill>
                    <a:srgbClr val="53565A"/>
                  </a:solidFill>
                </a:rPr>
                <a:t>EXIM Yard</a:t>
              </a:r>
            </a:p>
            <a:p>
              <a:pPr defTabSz="914076">
                <a:defRPr/>
              </a:pPr>
              <a:r>
                <a:rPr lang="en-US" sz="900" dirty="0">
                  <a:solidFill>
                    <a:srgbClr val="53565A"/>
                  </a:solidFill>
                </a:rPr>
                <a:t>ICD – Partner Facilities and Acceptance Points</a:t>
              </a:r>
            </a:p>
            <a:p>
              <a:pPr defTabSz="914076">
                <a:defRPr/>
              </a:pPr>
              <a:r>
                <a:rPr lang="en-US" sz="900" dirty="0">
                  <a:solidFill>
                    <a:srgbClr val="53565A"/>
                  </a:solidFill>
                </a:rPr>
                <a:t>Network</a:t>
              </a:r>
            </a:p>
            <a:p>
              <a:pPr defTabSz="914076">
                <a:defRPr/>
              </a:pPr>
              <a:r>
                <a:rPr lang="en-US" sz="900" dirty="0">
                  <a:solidFill>
                    <a:srgbClr val="53565A"/>
                  </a:solidFill>
                </a:rPr>
                <a:t>Adani Agri</a:t>
              </a:r>
              <a:endParaRPr lang="en-US" sz="850" dirty="0">
                <a:solidFill>
                  <a:srgbClr val="53565A"/>
                </a:solidFill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xmlns="" id="{5F8A985C-9298-402E-8178-2D6073BDC77C}"/>
                </a:ext>
              </a:extLst>
            </p:cNvPr>
            <p:cNvSpPr/>
            <p:nvPr/>
          </p:nvSpPr>
          <p:spPr>
            <a:xfrm>
              <a:off x="10042265" y="4505695"/>
              <a:ext cx="88516" cy="88516"/>
            </a:xfrm>
            <a:prstGeom prst="ellipse">
              <a:avLst/>
            </a:prstGeom>
            <a:solidFill>
              <a:schemeClr val="accent3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prstClr val="white"/>
                </a:solidFill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xmlns="" id="{4E52CE21-5A92-4ADB-9015-6A0266234ED7}"/>
                </a:ext>
              </a:extLst>
            </p:cNvPr>
            <p:cNvSpPr/>
            <p:nvPr/>
          </p:nvSpPr>
          <p:spPr>
            <a:xfrm>
              <a:off x="10042265" y="4648570"/>
              <a:ext cx="88516" cy="88516"/>
            </a:xfrm>
            <a:prstGeom prst="ellipse">
              <a:avLst/>
            </a:prstGeom>
            <a:solidFill>
              <a:schemeClr val="accent2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prstClr val="white"/>
                </a:solidFill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xmlns="" id="{11548E38-D63C-4784-BD64-FCCA2DFA182C}"/>
                </a:ext>
              </a:extLst>
            </p:cNvPr>
            <p:cNvSpPr/>
            <p:nvPr/>
          </p:nvSpPr>
          <p:spPr>
            <a:xfrm>
              <a:off x="10042265" y="4781920"/>
              <a:ext cx="88516" cy="88516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prstClr val="white"/>
                </a:solidFill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xmlns="" id="{684506D9-B5AE-489B-8DF7-FF41F29ECC6F}"/>
                </a:ext>
              </a:extLst>
            </p:cNvPr>
            <p:cNvSpPr/>
            <p:nvPr/>
          </p:nvSpPr>
          <p:spPr>
            <a:xfrm>
              <a:off x="10042265" y="5056457"/>
              <a:ext cx="88516" cy="88516"/>
            </a:xfrm>
            <a:prstGeom prst="ellipse">
              <a:avLst/>
            </a:prstGeom>
            <a:solidFill>
              <a:schemeClr val="accent4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prstClr val="white"/>
                </a:solidFill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xmlns="" id="{7F7CE8EF-D6AD-4D1B-89B0-B25A2D1B3BF2}"/>
                </a:ext>
              </a:extLst>
            </p:cNvPr>
            <p:cNvSpPr/>
            <p:nvPr/>
          </p:nvSpPr>
          <p:spPr>
            <a:xfrm>
              <a:off x="10042265" y="5189807"/>
              <a:ext cx="88516" cy="88516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xmlns="" id="{BB0A2470-3391-430F-A022-8176B2B77D8E}"/>
              </a:ext>
            </a:extLst>
          </p:cNvPr>
          <p:cNvGrpSpPr/>
          <p:nvPr/>
        </p:nvGrpSpPr>
        <p:grpSpPr>
          <a:xfrm>
            <a:off x="7993927" y="923073"/>
            <a:ext cx="3565209" cy="3993936"/>
            <a:chOff x="8078334" y="1149039"/>
            <a:chExt cx="3565209" cy="3993936"/>
          </a:xfrm>
        </p:grpSpPr>
        <p:grpSp>
          <p:nvGrpSpPr>
            <p:cNvPr id="92" name="Graphic 343">
              <a:extLst>
                <a:ext uri="{FF2B5EF4-FFF2-40B4-BE49-F238E27FC236}">
                  <a16:creationId xmlns:a16="http://schemas.microsoft.com/office/drawing/2014/main" xmlns="" id="{8B30E854-45F2-4015-920D-D4722C961E3C}"/>
                </a:ext>
              </a:extLst>
            </p:cNvPr>
            <p:cNvGrpSpPr/>
            <p:nvPr/>
          </p:nvGrpSpPr>
          <p:grpSpPr>
            <a:xfrm>
              <a:off x="8078334" y="1149039"/>
              <a:ext cx="3565209" cy="3993936"/>
              <a:chOff x="8078334" y="1149039"/>
              <a:chExt cx="3565209" cy="3993936"/>
            </a:xfrm>
            <a:solidFill>
              <a:srgbClr val="D1D3D4"/>
            </a:solidFill>
          </p:grpSpPr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xmlns="" id="{EE85AED4-A3A4-40B7-96F8-C4F86978E9D1}"/>
                  </a:ext>
                </a:extLst>
              </p:cNvPr>
              <p:cNvSpPr/>
              <p:nvPr/>
            </p:nvSpPr>
            <p:spPr>
              <a:xfrm>
                <a:off x="11081535" y="2810885"/>
                <a:ext cx="135388" cy="315905"/>
              </a:xfrm>
              <a:custGeom>
                <a:avLst/>
                <a:gdLst>
                  <a:gd name="connsiteX0" fmla="*/ 129972 w 135387"/>
                  <a:gd name="connsiteY0" fmla="*/ 57032 h 315904"/>
                  <a:gd name="connsiteX1" fmla="*/ 120495 w 135387"/>
                  <a:gd name="connsiteY1" fmla="*/ 55453 h 315904"/>
                  <a:gd name="connsiteX2" fmla="*/ 99285 w 135387"/>
                  <a:gd name="connsiteY2" fmla="*/ 52068 h 315904"/>
                  <a:gd name="connsiteX3" fmla="*/ 87551 w 135387"/>
                  <a:gd name="connsiteY3" fmla="*/ 42591 h 315904"/>
                  <a:gd name="connsiteX4" fmla="*/ 89356 w 135387"/>
                  <a:gd name="connsiteY4" fmla="*/ 18221 h 315904"/>
                  <a:gd name="connsiteX5" fmla="*/ 87551 w 135387"/>
                  <a:gd name="connsiteY5" fmla="*/ 8067 h 315904"/>
                  <a:gd name="connsiteX6" fmla="*/ 83038 w 135387"/>
                  <a:gd name="connsiteY6" fmla="*/ 12355 h 315904"/>
                  <a:gd name="connsiteX7" fmla="*/ 74238 w 135387"/>
                  <a:gd name="connsiteY7" fmla="*/ 14160 h 315904"/>
                  <a:gd name="connsiteX8" fmla="*/ 61150 w 135387"/>
                  <a:gd name="connsiteY8" fmla="*/ 11903 h 315904"/>
                  <a:gd name="connsiteX9" fmla="*/ 53929 w 135387"/>
                  <a:gd name="connsiteY9" fmla="*/ 395 h 315904"/>
                  <a:gd name="connsiteX10" fmla="*/ 49642 w 135387"/>
                  <a:gd name="connsiteY10" fmla="*/ 13483 h 315904"/>
                  <a:gd name="connsiteX11" fmla="*/ 39714 w 135387"/>
                  <a:gd name="connsiteY11" fmla="*/ 30180 h 315904"/>
                  <a:gd name="connsiteX12" fmla="*/ 29334 w 135387"/>
                  <a:gd name="connsiteY12" fmla="*/ 46427 h 315904"/>
                  <a:gd name="connsiteX13" fmla="*/ 20534 w 135387"/>
                  <a:gd name="connsiteY13" fmla="*/ 53873 h 315904"/>
                  <a:gd name="connsiteX14" fmla="*/ 16698 w 135387"/>
                  <a:gd name="connsiteY14" fmla="*/ 42817 h 315904"/>
                  <a:gd name="connsiteX15" fmla="*/ 6093 w 135387"/>
                  <a:gd name="connsiteY15" fmla="*/ 40335 h 315904"/>
                  <a:gd name="connsiteX16" fmla="*/ 3159 w 135387"/>
                  <a:gd name="connsiteY16" fmla="*/ 41688 h 315904"/>
                  <a:gd name="connsiteX17" fmla="*/ 3159 w 135387"/>
                  <a:gd name="connsiteY17" fmla="*/ 41688 h 315904"/>
                  <a:gd name="connsiteX18" fmla="*/ 3836 w 135387"/>
                  <a:gd name="connsiteY18" fmla="*/ 57709 h 315904"/>
                  <a:gd name="connsiteX19" fmla="*/ 4287 w 135387"/>
                  <a:gd name="connsiteY19" fmla="*/ 83207 h 315904"/>
                  <a:gd name="connsiteX20" fmla="*/ 0 w 135387"/>
                  <a:gd name="connsiteY20" fmla="*/ 114346 h 315904"/>
                  <a:gd name="connsiteX21" fmla="*/ 4739 w 135387"/>
                  <a:gd name="connsiteY21" fmla="*/ 113218 h 315904"/>
                  <a:gd name="connsiteX22" fmla="*/ 6995 w 135387"/>
                  <a:gd name="connsiteY22" fmla="*/ 124049 h 315904"/>
                  <a:gd name="connsiteX23" fmla="*/ 24595 w 135387"/>
                  <a:gd name="connsiteY23" fmla="*/ 166471 h 315904"/>
                  <a:gd name="connsiteX24" fmla="*/ 18052 w 135387"/>
                  <a:gd name="connsiteY24" fmla="*/ 169630 h 315904"/>
                  <a:gd name="connsiteX25" fmla="*/ 17826 w 135387"/>
                  <a:gd name="connsiteY25" fmla="*/ 177753 h 315904"/>
                  <a:gd name="connsiteX26" fmla="*/ 37909 w 135387"/>
                  <a:gd name="connsiteY26" fmla="*/ 237775 h 315904"/>
                  <a:gd name="connsiteX27" fmla="*/ 52350 w 135387"/>
                  <a:gd name="connsiteY27" fmla="*/ 272073 h 315904"/>
                  <a:gd name="connsiteX28" fmla="*/ 55735 w 135387"/>
                  <a:gd name="connsiteY28" fmla="*/ 298474 h 315904"/>
                  <a:gd name="connsiteX29" fmla="*/ 61376 w 135387"/>
                  <a:gd name="connsiteY29" fmla="*/ 319684 h 315904"/>
                  <a:gd name="connsiteX30" fmla="*/ 71304 w 135387"/>
                  <a:gd name="connsiteY30" fmla="*/ 334351 h 315904"/>
                  <a:gd name="connsiteX31" fmla="*/ 80330 w 135387"/>
                  <a:gd name="connsiteY31" fmla="*/ 323972 h 315904"/>
                  <a:gd name="connsiteX32" fmla="*/ 88228 w 135387"/>
                  <a:gd name="connsiteY32" fmla="*/ 325777 h 315904"/>
                  <a:gd name="connsiteX33" fmla="*/ 92515 w 135387"/>
                  <a:gd name="connsiteY33" fmla="*/ 330064 h 315904"/>
                  <a:gd name="connsiteX34" fmla="*/ 106731 w 135387"/>
                  <a:gd name="connsiteY34" fmla="*/ 336157 h 315904"/>
                  <a:gd name="connsiteX35" fmla="*/ 116659 w 135387"/>
                  <a:gd name="connsiteY35" fmla="*/ 328710 h 315904"/>
                  <a:gd name="connsiteX36" fmla="*/ 121849 w 135387"/>
                  <a:gd name="connsiteY36" fmla="*/ 314043 h 315904"/>
                  <a:gd name="connsiteX37" fmla="*/ 130875 w 135387"/>
                  <a:gd name="connsiteY37" fmla="*/ 305469 h 315904"/>
                  <a:gd name="connsiteX38" fmla="*/ 129070 w 135387"/>
                  <a:gd name="connsiteY38" fmla="*/ 290802 h 315904"/>
                  <a:gd name="connsiteX39" fmla="*/ 129972 w 135387"/>
                  <a:gd name="connsiteY39" fmla="*/ 278617 h 315904"/>
                  <a:gd name="connsiteX40" fmla="*/ 120495 w 135387"/>
                  <a:gd name="connsiteY40" fmla="*/ 263950 h 315904"/>
                  <a:gd name="connsiteX41" fmla="*/ 118690 w 135387"/>
                  <a:gd name="connsiteY41" fmla="*/ 238452 h 315904"/>
                  <a:gd name="connsiteX42" fmla="*/ 116208 w 135387"/>
                  <a:gd name="connsiteY42" fmla="*/ 207087 h 315904"/>
                  <a:gd name="connsiteX43" fmla="*/ 133131 w 135387"/>
                  <a:gd name="connsiteY43" fmla="*/ 176850 h 315904"/>
                  <a:gd name="connsiteX44" fmla="*/ 132906 w 135387"/>
                  <a:gd name="connsiteY44" fmla="*/ 65156 h 315904"/>
                  <a:gd name="connsiteX45" fmla="*/ 129972 w 135387"/>
                  <a:gd name="connsiteY45" fmla="*/ 57032 h 315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35387" h="315904">
                    <a:moveTo>
                      <a:pt x="129972" y="57032"/>
                    </a:moveTo>
                    <a:cubicBezTo>
                      <a:pt x="126588" y="56355"/>
                      <a:pt x="123654" y="56355"/>
                      <a:pt x="120495" y="55453"/>
                    </a:cubicBezTo>
                    <a:cubicBezTo>
                      <a:pt x="111921" y="53196"/>
                      <a:pt x="108310" y="52519"/>
                      <a:pt x="99285" y="52068"/>
                    </a:cubicBezTo>
                    <a:cubicBezTo>
                      <a:pt x="90258" y="51617"/>
                      <a:pt x="87099" y="49135"/>
                      <a:pt x="87551" y="42591"/>
                    </a:cubicBezTo>
                    <a:cubicBezTo>
                      <a:pt x="88002" y="36047"/>
                      <a:pt x="85746" y="29955"/>
                      <a:pt x="89356" y="18221"/>
                    </a:cubicBezTo>
                    <a:cubicBezTo>
                      <a:pt x="90484" y="14385"/>
                      <a:pt x="89582" y="11001"/>
                      <a:pt x="87551" y="8067"/>
                    </a:cubicBezTo>
                    <a:cubicBezTo>
                      <a:pt x="85971" y="11001"/>
                      <a:pt x="84166" y="12355"/>
                      <a:pt x="83038" y="12355"/>
                    </a:cubicBezTo>
                    <a:cubicBezTo>
                      <a:pt x="81233" y="12355"/>
                      <a:pt x="76720" y="13257"/>
                      <a:pt x="74238" y="14160"/>
                    </a:cubicBezTo>
                    <a:cubicBezTo>
                      <a:pt x="66791" y="17093"/>
                      <a:pt x="64761" y="19575"/>
                      <a:pt x="61150" y="11903"/>
                    </a:cubicBezTo>
                    <a:cubicBezTo>
                      <a:pt x="57314" y="4457"/>
                      <a:pt x="57088" y="-1636"/>
                      <a:pt x="53929" y="395"/>
                    </a:cubicBezTo>
                    <a:cubicBezTo>
                      <a:pt x="50770" y="2200"/>
                      <a:pt x="49868" y="5134"/>
                      <a:pt x="49642" y="13483"/>
                    </a:cubicBezTo>
                    <a:cubicBezTo>
                      <a:pt x="49417" y="21832"/>
                      <a:pt x="45581" y="25442"/>
                      <a:pt x="39714" y="30180"/>
                    </a:cubicBezTo>
                    <a:cubicBezTo>
                      <a:pt x="33847" y="34919"/>
                      <a:pt x="32268" y="38755"/>
                      <a:pt x="29334" y="46427"/>
                    </a:cubicBezTo>
                    <a:cubicBezTo>
                      <a:pt x="26401" y="54325"/>
                      <a:pt x="26175" y="56355"/>
                      <a:pt x="20534" y="53873"/>
                    </a:cubicBezTo>
                    <a:cubicBezTo>
                      <a:pt x="14893" y="51391"/>
                      <a:pt x="16698" y="49812"/>
                      <a:pt x="16698" y="42817"/>
                    </a:cubicBezTo>
                    <a:cubicBezTo>
                      <a:pt x="16698" y="35822"/>
                      <a:pt x="10154" y="37401"/>
                      <a:pt x="6093" y="40335"/>
                    </a:cubicBezTo>
                    <a:cubicBezTo>
                      <a:pt x="4964" y="41237"/>
                      <a:pt x="4062" y="41463"/>
                      <a:pt x="3159" y="41688"/>
                    </a:cubicBezTo>
                    <a:lnTo>
                      <a:pt x="3159" y="41688"/>
                    </a:lnTo>
                    <a:cubicBezTo>
                      <a:pt x="2708" y="46201"/>
                      <a:pt x="2257" y="48006"/>
                      <a:pt x="3836" y="57709"/>
                    </a:cubicBezTo>
                    <a:cubicBezTo>
                      <a:pt x="6093" y="71925"/>
                      <a:pt x="6769" y="74182"/>
                      <a:pt x="4287" y="83207"/>
                    </a:cubicBezTo>
                    <a:cubicBezTo>
                      <a:pt x="2482" y="89751"/>
                      <a:pt x="2031" y="100808"/>
                      <a:pt x="0" y="114346"/>
                    </a:cubicBezTo>
                    <a:cubicBezTo>
                      <a:pt x="1354" y="113895"/>
                      <a:pt x="2934" y="113670"/>
                      <a:pt x="4739" y="113218"/>
                    </a:cubicBezTo>
                    <a:cubicBezTo>
                      <a:pt x="11282" y="112316"/>
                      <a:pt x="8575" y="116603"/>
                      <a:pt x="6995" y="124049"/>
                    </a:cubicBezTo>
                    <a:cubicBezTo>
                      <a:pt x="5416" y="132849"/>
                      <a:pt x="17600" y="163086"/>
                      <a:pt x="24595" y="166471"/>
                    </a:cubicBezTo>
                    <a:cubicBezTo>
                      <a:pt x="22113" y="165343"/>
                      <a:pt x="18954" y="167148"/>
                      <a:pt x="18052" y="169630"/>
                    </a:cubicBezTo>
                    <a:cubicBezTo>
                      <a:pt x="16923" y="172112"/>
                      <a:pt x="17375" y="175045"/>
                      <a:pt x="17826" y="177753"/>
                    </a:cubicBezTo>
                    <a:cubicBezTo>
                      <a:pt x="21662" y="198738"/>
                      <a:pt x="28883" y="218369"/>
                      <a:pt x="37909" y="237775"/>
                    </a:cubicBezTo>
                    <a:cubicBezTo>
                      <a:pt x="42873" y="248380"/>
                      <a:pt x="52350" y="260114"/>
                      <a:pt x="52350" y="272073"/>
                    </a:cubicBezTo>
                    <a:cubicBezTo>
                      <a:pt x="52350" y="285161"/>
                      <a:pt x="55735" y="285161"/>
                      <a:pt x="55735" y="298474"/>
                    </a:cubicBezTo>
                    <a:cubicBezTo>
                      <a:pt x="55735" y="311561"/>
                      <a:pt x="61827" y="311110"/>
                      <a:pt x="61376" y="319684"/>
                    </a:cubicBezTo>
                    <a:cubicBezTo>
                      <a:pt x="60924" y="328259"/>
                      <a:pt x="64309" y="337962"/>
                      <a:pt x="71304" y="334351"/>
                    </a:cubicBezTo>
                    <a:cubicBezTo>
                      <a:pt x="78299" y="330516"/>
                      <a:pt x="76945" y="325777"/>
                      <a:pt x="80330" y="323972"/>
                    </a:cubicBezTo>
                    <a:cubicBezTo>
                      <a:pt x="83715" y="322167"/>
                      <a:pt x="83263" y="324423"/>
                      <a:pt x="88228" y="325777"/>
                    </a:cubicBezTo>
                    <a:cubicBezTo>
                      <a:pt x="93192" y="327131"/>
                      <a:pt x="90484" y="329613"/>
                      <a:pt x="92515" y="330064"/>
                    </a:cubicBezTo>
                    <a:cubicBezTo>
                      <a:pt x="94320" y="330516"/>
                      <a:pt x="99510" y="332998"/>
                      <a:pt x="106731" y="336157"/>
                    </a:cubicBezTo>
                    <a:cubicBezTo>
                      <a:pt x="113726" y="339541"/>
                      <a:pt x="114628" y="333223"/>
                      <a:pt x="116659" y="328710"/>
                    </a:cubicBezTo>
                    <a:cubicBezTo>
                      <a:pt x="118464" y="323972"/>
                      <a:pt x="120946" y="318782"/>
                      <a:pt x="121849" y="314043"/>
                    </a:cubicBezTo>
                    <a:cubicBezTo>
                      <a:pt x="122752" y="309305"/>
                      <a:pt x="126136" y="308402"/>
                      <a:pt x="130875" y="305469"/>
                    </a:cubicBezTo>
                    <a:cubicBezTo>
                      <a:pt x="135614" y="302535"/>
                      <a:pt x="125685" y="295540"/>
                      <a:pt x="129070" y="290802"/>
                    </a:cubicBezTo>
                    <a:cubicBezTo>
                      <a:pt x="132455" y="286063"/>
                      <a:pt x="130875" y="282227"/>
                      <a:pt x="129972" y="278617"/>
                    </a:cubicBezTo>
                    <a:cubicBezTo>
                      <a:pt x="129070" y="274781"/>
                      <a:pt x="125685" y="269140"/>
                      <a:pt x="120495" y="263950"/>
                    </a:cubicBezTo>
                    <a:cubicBezTo>
                      <a:pt x="112372" y="255827"/>
                      <a:pt x="119141" y="247703"/>
                      <a:pt x="118690" y="238452"/>
                    </a:cubicBezTo>
                    <a:cubicBezTo>
                      <a:pt x="118013" y="226718"/>
                      <a:pt x="111018" y="220626"/>
                      <a:pt x="116208" y="207087"/>
                    </a:cubicBezTo>
                    <a:cubicBezTo>
                      <a:pt x="120269" y="196256"/>
                      <a:pt x="127716" y="187005"/>
                      <a:pt x="133131" y="176850"/>
                    </a:cubicBezTo>
                    <a:cubicBezTo>
                      <a:pt x="148250" y="147516"/>
                      <a:pt x="148024" y="94264"/>
                      <a:pt x="132906" y="65156"/>
                    </a:cubicBezTo>
                    <a:cubicBezTo>
                      <a:pt x="131777" y="62674"/>
                      <a:pt x="130649" y="59740"/>
                      <a:pt x="129972" y="57032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xmlns="" id="{C392278F-24EB-4D22-9990-BE6E8E7B34D0}"/>
                  </a:ext>
                </a:extLst>
              </p:cNvPr>
              <p:cNvSpPr/>
              <p:nvPr/>
            </p:nvSpPr>
            <p:spPr>
              <a:xfrm>
                <a:off x="11166879" y="2643046"/>
                <a:ext cx="203082" cy="225646"/>
              </a:xfrm>
              <a:custGeom>
                <a:avLst/>
                <a:gdLst>
                  <a:gd name="connsiteX0" fmla="*/ 202355 w 203081"/>
                  <a:gd name="connsiteY0" fmla="*/ 56765 h 225646"/>
                  <a:gd name="connsiteX1" fmla="*/ 187011 w 203081"/>
                  <a:gd name="connsiteY1" fmla="*/ 42324 h 225646"/>
                  <a:gd name="connsiteX2" fmla="*/ 187913 w 203081"/>
                  <a:gd name="connsiteY2" fmla="*/ 25626 h 225646"/>
                  <a:gd name="connsiteX3" fmla="*/ 188816 w 203081"/>
                  <a:gd name="connsiteY3" fmla="*/ 15472 h 225646"/>
                  <a:gd name="connsiteX4" fmla="*/ 173924 w 203081"/>
                  <a:gd name="connsiteY4" fmla="*/ 8025 h 225646"/>
                  <a:gd name="connsiteX5" fmla="*/ 161287 w 203081"/>
                  <a:gd name="connsiteY5" fmla="*/ 1030 h 225646"/>
                  <a:gd name="connsiteX6" fmla="*/ 126087 w 203081"/>
                  <a:gd name="connsiteY6" fmla="*/ 10959 h 225646"/>
                  <a:gd name="connsiteX7" fmla="*/ 93594 w 203081"/>
                  <a:gd name="connsiteY7" fmla="*/ 10056 h 225646"/>
                  <a:gd name="connsiteX8" fmla="*/ 81860 w 203081"/>
                  <a:gd name="connsiteY8" fmla="*/ 25626 h 225646"/>
                  <a:gd name="connsiteX9" fmla="*/ 73285 w 203081"/>
                  <a:gd name="connsiteY9" fmla="*/ 43001 h 225646"/>
                  <a:gd name="connsiteX10" fmla="*/ 61100 w 203081"/>
                  <a:gd name="connsiteY10" fmla="*/ 52478 h 225646"/>
                  <a:gd name="connsiteX11" fmla="*/ 44177 w 203081"/>
                  <a:gd name="connsiteY11" fmla="*/ 51575 h 225646"/>
                  <a:gd name="connsiteX12" fmla="*/ 34700 w 203081"/>
                  <a:gd name="connsiteY12" fmla="*/ 53155 h 225646"/>
                  <a:gd name="connsiteX13" fmla="*/ 36731 w 203081"/>
                  <a:gd name="connsiteY13" fmla="*/ 50447 h 225646"/>
                  <a:gd name="connsiteX14" fmla="*/ 29736 w 203081"/>
                  <a:gd name="connsiteY14" fmla="*/ 62180 h 225646"/>
                  <a:gd name="connsiteX15" fmla="*/ 25448 w 203081"/>
                  <a:gd name="connsiteY15" fmla="*/ 85422 h 225646"/>
                  <a:gd name="connsiteX16" fmla="*/ 21612 w 203081"/>
                  <a:gd name="connsiteY16" fmla="*/ 99863 h 225646"/>
                  <a:gd name="connsiteX17" fmla="*/ 6043 w 203081"/>
                  <a:gd name="connsiteY17" fmla="*/ 119946 h 225646"/>
                  <a:gd name="connsiteX18" fmla="*/ 4238 w 203081"/>
                  <a:gd name="connsiteY18" fmla="*/ 129874 h 225646"/>
                  <a:gd name="connsiteX19" fmla="*/ 1755 w 203081"/>
                  <a:gd name="connsiteY19" fmla="*/ 145444 h 225646"/>
                  <a:gd name="connsiteX20" fmla="*/ 1755 w 203081"/>
                  <a:gd name="connsiteY20" fmla="*/ 155372 h 225646"/>
                  <a:gd name="connsiteX21" fmla="*/ 5591 w 203081"/>
                  <a:gd name="connsiteY21" fmla="*/ 169137 h 225646"/>
                  <a:gd name="connsiteX22" fmla="*/ 2432 w 203081"/>
                  <a:gd name="connsiteY22" fmla="*/ 176132 h 225646"/>
                  <a:gd name="connsiteX23" fmla="*/ 4238 w 203081"/>
                  <a:gd name="connsiteY23" fmla="*/ 186286 h 225646"/>
                  <a:gd name="connsiteX24" fmla="*/ 2432 w 203081"/>
                  <a:gd name="connsiteY24" fmla="*/ 210656 h 225646"/>
                  <a:gd name="connsiteX25" fmla="*/ 14166 w 203081"/>
                  <a:gd name="connsiteY25" fmla="*/ 220133 h 225646"/>
                  <a:gd name="connsiteX26" fmla="*/ 35377 w 203081"/>
                  <a:gd name="connsiteY26" fmla="*/ 223517 h 225646"/>
                  <a:gd name="connsiteX27" fmla="*/ 44854 w 203081"/>
                  <a:gd name="connsiteY27" fmla="*/ 225097 h 225646"/>
                  <a:gd name="connsiteX28" fmla="*/ 47787 w 203081"/>
                  <a:gd name="connsiteY28" fmla="*/ 216522 h 225646"/>
                  <a:gd name="connsiteX29" fmla="*/ 59295 w 203081"/>
                  <a:gd name="connsiteY29" fmla="*/ 220358 h 225646"/>
                  <a:gd name="connsiteX30" fmla="*/ 69449 w 203081"/>
                  <a:gd name="connsiteY30" fmla="*/ 228030 h 225646"/>
                  <a:gd name="connsiteX31" fmla="*/ 83891 w 203081"/>
                  <a:gd name="connsiteY31" fmla="*/ 223517 h 225646"/>
                  <a:gd name="connsiteX32" fmla="*/ 98332 w 203081"/>
                  <a:gd name="connsiteY32" fmla="*/ 225097 h 225646"/>
                  <a:gd name="connsiteX33" fmla="*/ 131728 w 203081"/>
                  <a:gd name="connsiteY33" fmla="*/ 233671 h 225646"/>
                  <a:gd name="connsiteX34" fmla="*/ 158805 w 203081"/>
                  <a:gd name="connsiteY34" fmla="*/ 216297 h 225646"/>
                  <a:gd name="connsiteX35" fmla="*/ 157902 w 203081"/>
                  <a:gd name="connsiteY35" fmla="*/ 195763 h 225646"/>
                  <a:gd name="connsiteX36" fmla="*/ 173924 w 203081"/>
                  <a:gd name="connsiteY36" fmla="*/ 151536 h 225646"/>
                  <a:gd name="connsiteX37" fmla="*/ 184303 w 203081"/>
                  <a:gd name="connsiteY37" fmla="*/ 124684 h 225646"/>
                  <a:gd name="connsiteX38" fmla="*/ 196488 w 203081"/>
                  <a:gd name="connsiteY38" fmla="*/ 90386 h 225646"/>
                  <a:gd name="connsiteX39" fmla="*/ 202355 w 203081"/>
                  <a:gd name="connsiteY39" fmla="*/ 56765 h 225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203081" h="225646">
                    <a:moveTo>
                      <a:pt x="202355" y="56765"/>
                    </a:moveTo>
                    <a:cubicBezTo>
                      <a:pt x="197391" y="53606"/>
                      <a:pt x="190396" y="49770"/>
                      <a:pt x="187011" y="42324"/>
                    </a:cubicBezTo>
                    <a:cubicBezTo>
                      <a:pt x="183626" y="34877"/>
                      <a:pt x="185431" y="33523"/>
                      <a:pt x="187913" y="25626"/>
                    </a:cubicBezTo>
                    <a:cubicBezTo>
                      <a:pt x="189493" y="20436"/>
                      <a:pt x="188590" y="17277"/>
                      <a:pt x="188816" y="15472"/>
                    </a:cubicBezTo>
                    <a:cubicBezTo>
                      <a:pt x="179113" y="10959"/>
                      <a:pt x="174826" y="12313"/>
                      <a:pt x="173924" y="8025"/>
                    </a:cubicBezTo>
                    <a:cubicBezTo>
                      <a:pt x="173021" y="3287"/>
                      <a:pt x="166026" y="-2354"/>
                      <a:pt x="161287" y="1030"/>
                    </a:cubicBezTo>
                    <a:cubicBezTo>
                      <a:pt x="156549" y="4415"/>
                      <a:pt x="138271" y="11861"/>
                      <a:pt x="126087" y="10959"/>
                    </a:cubicBezTo>
                    <a:cubicBezTo>
                      <a:pt x="113902" y="10056"/>
                      <a:pt x="103071" y="9605"/>
                      <a:pt x="93594" y="10056"/>
                    </a:cubicBezTo>
                    <a:cubicBezTo>
                      <a:pt x="84116" y="10507"/>
                      <a:pt x="81860" y="22241"/>
                      <a:pt x="81860" y="25626"/>
                    </a:cubicBezTo>
                    <a:cubicBezTo>
                      <a:pt x="81860" y="29010"/>
                      <a:pt x="76670" y="37359"/>
                      <a:pt x="73285" y="43001"/>
                    </a:cubicBezTo>
                    <a:cubicBezTo>
                      <a:pt x="69901" y="48642"/>
                      <a:pt x="67644" y="56088"/>
                      <a:pt x="61100" y="52478"/>
                    </a:cubicBezTo>
                    <a:cubicBezTo>
                      <a:pt x="54557" y="48642"/>
                      <a:pt x="54105" y="47739"/>
                      <a:pt x="44177" y="51575"/>
                    </a:cubicBezTo>
                    <a:cubicBezTo>
                      <a:pt x="41695" y="52478"/>
                      <a:pt x="38310" y="52929"/>
                      <a:pt x="34700" y="53155"/>
                    </a:cubicBezTo>
                    <a:cubicBezTo>
                      <a:pt x="35377" y="52252"/>
                      <a:pt x="36054" y="51349"/>
                      <a:pt x="36731" y="50447"/>
                    </a:cubicBezTo>
                    <a:cubicBezTo>
                      <a:pt x="33797" y="54509"/>
                      <a:pt x="30864" y="57442"/>
                      <a:pt x="29736" y="62180"/>
                    </a:cubicBezTo>
                    <a:cubicBezTo>
                      <a:pt x="27930" y="69627"/>
                      <a:pt x="24771" y="79781"/>
                      <a:pt x="25448" y="85422"/>
                    </a:cubicBezTo>
                    <a:cubicBezTo>
                      <a:pt x="26125" y="91063"/>
                      <a:pt x="27254" y="95350"/>
                      <a:pt x="21612" y="99863"/>
                    </a:cubicBezTo>
                    <a:cubicBezTo>
                      <a:pt x="15971" y="104151"/>
                      <a:pt x="7848" y="115433"/>
                      <a:pt x="6043" y="119946"/>
                    </a:cubicBezTo>
                    <a:cubicBezTo>
                      <a:pt x="4238" y="124233"/>
                      <a:pt x="-275" y="123105"/>
                      <a:pt x="4238" y="129874"/>
                    </a:cubicBezTo>
                    <a:cubicBezTo>
                      <a:pt x="8525" y="136869"/>
                      <a:pt x="2884" y="141833"/>
                      <a:pt x="1755" y="145444"/>
                    </a:cubicBezTo>
                    <a:cubicBezTo>
                      <a:pt x="402" y="149280"/>
                      <a:pt x="-1404" y="148603"/>
                      <a:pt x="1755" y="155372"/>
                    </a:cubicBezTo>
                    <a:cubicBezTo>
                      <a:pt x="4914" y="162367"/>
                      <a:pt x="8073" y="161690"/>
                      <a:pt x="5591" y="169137"/>
                    </a:cubicBezTo>
                    <a:cubicBezTo>
                      <a:pt x="4689" y="172070"/>
                      <a:pt x="3561" y="174327"/>
                      <a:pt x="2432" y="176132"/>
                    </a:cubicBezTo>
                    <a:cubicBezTo>
                      <a:pt x="4463" y="179065"/>
                      <a:pt x="5591" y="182450"/>
                      <a:pt x="4238" y="186286"/>
                    </a:cubicBezTo>
                    <a:cubicBezTo>
                      <a:pt x="402" y="198019"/>
                      <a:pt x="2884" y="204112"/>
                      <a:pt x="2432" y="210656"/>
                    </a:cubicBezTo>
                    <a:cubicBezTo>
                      <a:pt x="1981" y="217199"/>
                      <a:pt x="5366" y="219681"/>
                      <a:pt x="14166" y="220133"/>
                    </a:cubicBezTo>
                    <a:cubicBezTo>
                      <a:pt x="23192" y="220584"/>
                      <a:pt x="26802" y="221035"/>
                      <a:pt x="35377" y="223517"/>
                    </a:cubicBezTo>
                    <a:cubicBezTo>
                      <a:pt x="38536" y="224420"/>
                      <a:pt x="41469" y="224420"/>
                      <a:pt x="44854" y="225097"/>
                    </a:cubicBezTo>
                    <a:cubicBezTo>
                      <a:pt x="44177" y="221486"/>
                      <a:pt x="44628" y="218102"/>
                      <a:pt x="47787" y="216522"/>
                    </a:cubicBezTo>
                    <a:cubicBezTo>
                      <a:pt x="51623" y="214492"/>
                      <a:pt x="56136" y="217199"/>
                      <a:pt x="59295" y="220358"/>
                    </a:cubicBezTo>
                    <a:cubicBezTo>
                      <a:pt x="62229" y="223517"/>
                      <a:pt x="65162" y="227353"/>
                      <a:pt x="69449" y="228030"/>
                    </a:cubicBezTo>
                    <a:cubicBezTo>
                      <a:pt x="74413" y="228933"/>
                      <a:pt x="78926" y="224871"/>
                      <a:pt x="83891" y="223517"/>
                    </a:cubicBezTo>
                    <a:cubicBezTo>
                      <a:pt x="88629" y="222389"/>
                      <a:pt x="93594" y="223743"/>
                      <a:pt x="98332" y="225097"/>
                    </a:cubicBezTo>
                    <a:cubicBezTo>
                      <a:pt x="109389" y="228707"/>
                      <a:pt x="120220" y="233446"/>
                      <a:pt x="131728" y="233671"/>
                    </a:cubicBezTo>
                    <a:cubicBezTo>
                      <a:pt x="143236" y="233671"/>
                      <a:pt x="155872" y="227579"/>
                      <a:pt x="158805" y="216297"/>
                    </a:cubicBezTo>
                    <a:cubicBezTo>
                      <a:pt x="160385" y="209527"/>
                      <a:pt x="158354" y="202532"/>
                      <a:pt x="157902" y="195763"/>
                    </a:cubicBezTo>
                    <a:cubicBezTo>
                      <a:pt x="156774" y="183127"/>
                      <a:pt x="169636" y="163721"/>
                      <a:pt x="173924" y="151536"/>
                    </a:cubicBezTo>
                    <a:cubicBezTo>
                      <a:pt x="179113" y="136869"/>
                      <a:pt x="180016" y="133259"/>
                      <a:pt x="184303" y="124684"/>
                    </a:cubicBezTo>
                    <a:cubicBezTo>
                      <a:pt x="188590" y="116110"/>
                      <a:pt x="196488" y="106407"/>
                      <a:pt x="196488" y="90386"/>
                    </a:cubicBezTo>
                    <a:cubicBezTo>
                      <a:pt x="196037" y="74140"/>
                      <a:pt x="207319" y="59698"/>
                      <a:pt x="202355" y="56765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xmlns="" id="{741A731C-94AE-4295-9B11-08E60D661C33}"/>
                  </a:ext>
                </a:extLst>
              </p:cNvPr>
              <p:cNvSpPr/>
              <p:nvPr/>
            </p:nvSpPr>
            <p:spPr>
              <a:xfrm>
                <a:off x="11199534" y="2434903"/>
                <a:ext cx="203082" cy="248211"/>
              </a:xfrm>
              <a:custGeom>
                <a:avLst/>
                <a:gdLst>
                  <a:gd name="connsiteX0" fmla="*/ 213249 w 203081"/>
                  <a:gd name="connsiteY0" fmla="*/ 47160 h 248210"/>
                  <a:gd name="connsiteX1" fmla="*/ 204223 w 203081"/>
                  <a:gd name="connsiteY1" fmla="*/ 20985 h 248210"/>
                  <a:gd name="connsiteX2" fmla="*/ 201515 w 203081"/>
                  <a:gd name="connsiteY2" fmla="*/ 0 h 248210"/>
                  <a:gd name="connsiteX3" fmla="*/ 201515 w 203081"/>
                  <a:gd name="connsiteY3" fmla="*/ 0 h 248210"/>
                  <a:gd name="connsiteX4" fmla="*/ 176017 w 203081"/>
                  <a:gd name="connsiteY4" fmla="*/ 16021 h 248210"/>
                  <a:gd name="connsiteX5" fmla="*/ 159094 w 203081"/>
                  <a:gd name="connsiteY5" fmla="*/ 27980 h 248210"/>
                  <a:gd name="connsiteX6" fmla="*/ 143975 w 203081"/>
                  <a:gd name="connsiteY6" fmla="*/ 42421 h 248210"/>
                  <a:gd name="connsiteX7" fmla="*/ 118252 w 203081"/>
                  <a:gd name="connsiteY7" fmla="*/ 57540 h 248210"/>
                  <a:gd name="connsiteX8" fmla="*/ 106292 w 203081"/>
                  <a:gd name="connsiteY8" fmla="*/ 75140 h 248210"/>
                  <a:gd name="connsiteX9" fmla="*/ 98169 w 203081"/>
                  <a:gd name="connsiteY9" fmla="*/ 82586 h 248210"/>
                  <a:gd name="connsiteX10" fmla="*/ 91174 w 203081"/>
                  <a:gd name="connsiteY10" fmla="*/ 76945 h 248210"/>
                  <a:gd name="connsiteX11" fmla="*/ 77410 w 203081"/>
                  <a:gd name="connsiteY11" fmla="*/ 100864 h 248210"/>
                  <a:gd name="connsiteX12" fmla="*/ 61840 w 203081"/>
                  <a:gd name="connsiteY12" fmla="*/ 121623 h 248210"/>
                  <a:gd name="connsiteX13" fmla="*/ 63194 w 203081"/>
                  <a:gd name="connsiteY13" fmla="*/ 142834 h 248210"/>
                  <a:gd name="connsiteX14" fmla="*/ 69512 w 203081"/>
                  <a:gd name="connsiteY14" fmla="*/ 167204 h 248210"/>
                  <a:gd name="connsiteX15" fmla="*/ 54394 w 203081"/>
                  <a:gd name="connsiteY15" fmla="*/ 181645 h 248210"/>
                  <a:gd name="connsiteX16" fmla="*/ 46947 w 203081"/>
                  <a:gd name="connsiteY16" fmla="*/ 174199 h 248210"/>
                  <a:gd name="connsiteX17" fmla="*/ 23706 w 203081"/>
                  <a:gd name="connsiteY17" fmla="*/ 184127 h 248210"/>
                  <a:gd name="connsiteX18" fmla="*/ 1141 w 203081"/>
                  <a:gd name="connsiteY18" fmla="*/ 215492 h 248210"/>
                  <a:gd name="connsiteX19" fmla="*/ 3623 w 203081"/>
                  <a:gd name="connsiteY19" fmla="*/ 231062 h 248210"/>
                  <a:gd name="connsiteX20" fmla="*/ 9941 w 203081"/>
                  <a:gd name="connsiteY20" fmla="*/ 248662 h 248210"/>
                  <a:gd name="connsiteX21" fmla="*/ 2270 w 203081"/>
                  <a:gd name="connsiteY21" fmla="*/ 261073 h 248210"/>
                  <a:gd name="connsiteX22" fmla="*/ 11747 w 203081"/>
                  <a:gd name="connsiteY22" fmla="*/ 259493 h 248210"/>
                  <a:gd name="connsiteX23" fmla="*/ 28670 w 203081"/>
                  <a:gd name="connsiteY23" fmla="*/ 260396 h 248210"/>
                  <a:gd name="connsiteX24" fmla="*/ 40855 w 203081"/>
                  <a:gd name="connsiteY24" fmla="*/ 250918 h 248210"/>
                  <a:gd name="connsiteX25" fmla="*/ 49430 w 203081"/>
                  <a:gd name="connsiteY25" fmla="*/ 233544 h 248210"/>
                  <a:gd name="connsiteX26" fmla="*/ 61163 w 203081"/>
                  <a:gd name="connsiteY26" fmla="*/ 217974 h 248210"/>
                  <a:gd name="connsiteX27" fmla="*/ 93656 w 203081"/>
                  <a:gd name="connsiteY27" fmla="*/ 218877 h 248210"/>
                  <a:gd name="connsiteX28" fmla="*/ 128857 w 203081"/>
                  <a:gd name="connsiteY28" fmla="*/ 208948 h 248210"/>
                  <a:gd name="connsiteX29" fmla="*/ 141493 w 203081"/>
                  <a:gd name="connsiteY29" fmla="*/ 215943 h 248210"/>
                  <a:gd name="connsiteX30" fmla="*/ 156386 w 203081"/>
                  <a:gd name="connsiteY30" fmla="*/ 223390 h 248210"/>
                  <a:gd name="connsiteX31" fmla="*/ 158191 w 203081"/>
                  <a:gd name="connsiteY31" fmla="*/ 221359 h 248210"/>
                  <a:gd name="connsiteX32" fmla="*/ 175340 w 203081"/>
                  <a:gd name="connsiteY32" fmla="*/ 211882 h 248210"/>
                  <a:gd name="connsiteX33" fmla="*/ 189105 w 203081"/>
                  <a:gd name="connsiteY33" fmla="*/ 198343 h 248210"/>
                  <a:gd name="connsiteX34" fmla="*/ 198807 w 203081"/>
                  <a:gd name="connsiteY34" fmla="*/ 183225 h 248210"/>
                  <a:gd name="connsiteX35" fmla="*/ 199710 w 203081"/>
                  <a:gd name="connsiteY35" fmla="*/ 160434 h 248210"/>
                  <a:gd name="connsiteX36" fmla="*/ 208736 w 203081"/>
                  <a:gd name="connsiteY36" fmla="*/ 138772 h 248210"/>
                  <a:gd name="connsiteX37" fmla="*/ 211669 w 203081"/>
                  <a:gd name="connsiteY37" fmla="*/ 125008 h 248210"/>
                  <a:gd name="connsiteX38" fmla="*/ 204674 w 203081"/>
                  <a:gd name="connsiteY38" fmla="*/ 112146 h 248210"/>
                  <a:gd name="connsiteX39" fmla="*/ 205351 w 203081"/>
                  <a:gd name="connsiteY39" fmla="*/ 95448 h 248210"/>
                  <a:gd name="connsiteX40" fmla="*/ 196776 w 203081"/>
                  <a:gd name="connsiteY40" fmla="*/ 79427 h 248210"/>
                  <a:gd name="connsiteX41" fmla="*/ 204900 w 203081"/>
                  <a:gd name="connsiteY41" fmla="*/ 49642 h 248210"/>
                  <a:gd name="connsiteX42" fmla="*/ 213249 w 203081"/>
                  <a:gd name="connsiteY42" fmla="*/ 47160 h 248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203081" h="248210">
                    <a:moveTo>
                      <a:pt x="213249" y="47160"/>
                    </a:moveTo>
                    <a:cubicBezTo>
                      <a:pt x="210315" y="37006"/>
                      <a:pt x="201515" y="27980"/>
                      <a:pt x="204223" y="20985"/>
                    </a:cubicBezTo>
                    <a:cubicBezTo>
                      <a:pt x="206705" y="14441"/>
                      <a:pt x="205802" y="5641"/>
                      <a:pt x="201515" y="0"/>
                    </a:cubicBezTo>
                    <a:cubicBezTo>
                      <a:pt x="201515" y="0"/>
                      <a:pt x="201515" y="0"/>
                      <a:pt x="201515" y="0"/>
                    </a:cubicBezTo>
                    <a:cubicBezTo>
                      <a:pt x="192489" y="7672"/>
                      <a:pt x="180530" y="15570"/>
                      <a:pt x="176017" y="16021"/>
                    </a:cubicBezTo>
                    <a:cubicBezTo>
                      <a:pt x="169022" y="16698"/>
                      <a:pt x="162253" y="18503"/>
                      <a:pt x="159094" y="27980"/>
                    </a:cubicBezTo>
                    <a:cubicBezTo>
                      <a:pt x="155935" y="37457"/>
                      <a:pt x="150970" y="36780"/>
                      <a:pt x="143975" y="42421"/>
                    </a:cubicBezTo>
                    <a:cubicBezTo>
                      <a:pt x="136980" y="48063"/>
                      <a:pt x="123893" y="52350"/>
                      <a:pt x="118252" y="57540"/>
                    </a:cubicBezTo>
                    <a:cubicBezTo>
                      <a:pt x="112610" y="62504"/>
                      <a:pt x="109451" y="68822"/>
                      <a:pt x="106292" y="75140"/>
                    </a:cubicBezTo>
                    <a:cubicBezTo>
                      <a:pt x="103133" y="81458"/>
                      <a:pt x="102456" y="83940"/>
                      <a:pt x="98169" y="82586"/>
                    </a:cubicBezTo>
                    <a:cubicBezTo>
                      <a:pt x="93882" y="81233"/>
                      <a:pt x="96815" y="69499"/>
                      <a:pt x="91174" y="76945"/>
                    </a:cubicBezTo>
                    <a:cubicBezTo>
                      <a:pt x="85533" y="84392"/>
                      <a:pt x="77410" y="94546"/>
                      <a:pt x="77410" y="100864"/>
                    </a:cubicBezTo>
                    <a:cubicBezTo>
                      <a:pt x="77410" y="107182"/>
                      <a:pt x="63645" y="107859"/>
                      <a:pt x="61840" y="121623"/>
                    </a:cubicBezTo>
                    <a:cubicBezTo>
                      <a:pt x="60035" y="135388"/>
                      <a:pt x="59358" y="135388"/>
                      <a:pt x="63194" y="142834"/>
                    </a:cubicBezTo>
                    <a:cubicBezTo>
                      <a:pt x="67030" y="150280"/>
                      <a:pt x="73799" y="160434"/>
                      <a:pt x="69512" y="167204"/>
                    </a:cubicBezTo>
                    <a:cubicBezTo>
                      <a:pt x="65225" y="174199"/>
                      <a:pt x="59584" y="179840"/>
                      <a:pt x="54394" y="181645"/>
                    </a:cubicBezTo>
                    <a:cubicBezTo>
                      <a:pt x="49430" y="183450"/>
                      <a:pt x="53717" y="174650"/>
                      <a:pt x="46947" y="174199"/>
                    </a:cubicBezTo>
                    <a:cubicBezTo>
                      <a:pt x="39952" y="173522"/>
                      <a:pt x="28670" y="178035"/>
                      <a:pt x="23706" y="184127"/>
                    </a:cubicBezTo>
                    <a:cubicBezTo>
                      <a:pt x="18742" y="190220"/>
                      <a:pt x="2946" y="209174"/>
                      <a:pt x="1141" y="215492"/>
                    </a:cubicBezTo>
                    <a:cubicBezTo>
                      <a:pt x="-664" y="221810"/>
                      <a:pt x="-664" y="224292"/>
                      <a:pt x="3623" y="231062"/>
                    </a:cubicBezTo>
                    <a:cubicBezTo>
                      <a:pt x="7911" y="238057"/>
                      <a:pt x="14229" y="238057"/>
                      <a:pt x="9941" y="248662"/>
                    </a:cubicBezTo>
                    <a:cubicBezTo>
                      <a:pt x="7685" y="254303"/>
                      <a:pt x="4752" y="257913"/>
                      <a:pt x="2270" y="261073"/>
                    </a:cubicBezTo>
                    <a:cubicBezTo>
                      <a:pt x="5880" y="260847"/>
                      <a:pt x="9265" y="260396"/>
                      <a:pt x="11747" y="259493"/>
                    </a:cubicBezTo>
                    <a:cubicBezTo>
                      <a:pt x="21675" y="255657"/>
                      <a:pt x="22127" y="256560"/>
                      <a:pt x="28670" y="260396"/>
                    </a:cubicBezTo>
                    <a:cubicBezTo>
                      <a:pt x="35214" y="264232"/>
                      <a:pt x="37696" y="256560"/>
                      <a:pt x="40855" y="250918"/>
                    </a:cubicBezTo>
                    <a:cubicBezTo>
                      <a:pt x="44240" y="245277"/>
                      <a:pt x="49430" y="236703"/>
                      <a:pt x="49430" y="233544"/>
                    </a:cubicBezTo>
                    <a:cubicBezTo>
                      <a:pt x="49430" y="230159"/>
                      <a:pt x="51686" y="218425"/>
                      <a:pt x="61163" y="217974"/>
                    </a:cubicBezTo>
                    <a:cubicBezTo>
                      <a:pt x="70640" y="217523"/>
                      <a:pt x="81471" y="217974"/>
                      <a:pt x="93656" y="218877"/>
                    </a:cubicBezTo>
                    <a:cubicBezTo>
                      <a:pt x="105841" y="219779"/>
                      <a:pt x="124118" y="212333"/>
                      <a:pt x="128857" y="208948"/>
                    </a:cubicBezTo>
                    <a:cubicBezTo>
                      <a:pt x="133596" y="205564"/>
                      <a:pt x="140591" y="211205"/>
                      <a:pt x="141493" y="215943"/>
                    </a:cubicBezTo>
                    <a:cubicBezTo>
                      <a:pt x="142396" y="220456"/>
                      <a:pt x="146683" y="219102"/>
                      <a:pt x="156386" y="223390"/>
                    </a:cubicBezTo>
                    <a:cubicBezTo>
                      <a:pt x="156611" y="222487"/>
                      <a:pt x="156837" y="221810"/>
                      <a:pt x="158191" y="221359"/>
                    </a:cubicBezTo>
                    <a:cubicBezTo>
                      <a:pt x="162027" y="220005"/>
                      <a:pt x="171730" y="215041"/>
                      <a:pt x="175340" y="211882"/>
                    </a:cubicBezTo>
                    <a:cubicBezTo>
                      <a:pt x="179176" y="208723"/>
                      <a:pt x="183463" y="204661"/>
                      <a:pt x="189105" y="198343"/>
                    </a:cubicBezTo>
                    <a:cubicBezTo>
                      <a:pt x="194746" y="192025"/>
                      <a:pt x="193843" y="189543"/>
                      <a:pt x="198807" y="183225"/>
                    </a:cubicBezTo>
                    <a:cubicBezTo>
                      <a:pt x="203772" y="176907"/>
                      <a:pt x="199710" y="173296"/>
                      <a:pt x="199710" y="160434"/>
                    </a:cubicBezTo>
                    <a:cubicBezTo>
                      <a:pt x="199710" y="147573"/>
                      <a:pt x="204674" y="145993"/>
                      <a:pt x="208736" y="138772"/>
                    </a:cubicBezTo>
                    <a:cubicBezTo>
                      <a:pt x="212797" y="131552"/>
                      <a:pt x="212797" y="129747"/>
                      <a:pt x="211669" y="125008"/>
                    </a:cubicBezTo>
                    <a:cubicBezTo>
                      <a:pt x="210315" y="120269"/>
                      <a:pt x="204449" y="116433"/>
                      <a:pt x="204674" y="112146"/>
                    </a:cubicBezTo>
                    <a:cubicBezTo>
                      <a:pt x="204900" y="107859"/>
                      <a:pt x="206254" y="99510"/>
                      <a:pt x="205351" y="95448"/>
                    </a:cubicBezTo>
                    <a:cubicBezTo>
                      <a:pt x="204449" y="91387"/>
                      <a:pt x="198356" y="88453"/>
                      <a:pt x="196776" y="79427"/>
                    </a:cubicBezTo>
                    <a:cubicBezTo>
                      <a:pt x="195197" y="70402"/>
                      <a:pt x="201515" y="55058"/>
                      <a:pt x="204900" y="49642"/>
                    </a:cubicBezTo>
                    <a:cubicBezTo>
                      <a:pt x="207608" y="46257"/>
                      <a:pt x="210315" y="46709"/>
                      <a:pt x="213249" y="47160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xmlns="" id="{5945804B-58CF-424A-99E2-18AD99B542D4}"/>
                  </a:ext>
                </a:extLst>
              </p:cNvPr>
              <p:cNvSpPr/>
              <p:nvPr/>
            </p:nvSpPr>
            <p:spPr>
              <a:xfrm>
                <a:off x="10954072" y="2093044"/>
                <a:ext cx="676938" cy="383598"/>
              </a:xfrm>
              <a:custGeom>
                <a:avLst/>
                <a:gdLst>
                  <a:gd name="connsiteX0" fmla="*/ 689096 w 676938"/>
                  <a:gd name="connsiteY0" fmla="*/ 153218 h 383598"/>
                  <a:gd name="connsiteX1" fmla="*/ 676009 w 676938"/>
                  <a:gd name="connsiteY1" fmla="*/ 139002 h 383598"/>
                  <a:gd name="connsiteX2" fmla="*/ 660439 w 676938"/>
                  <a:gd name="connsiteY2" fmla="*/ 136069 h 383598"/>
                  <a:gd name="connsiteX3" fmla="*/ 641711 w 676938"/>
                  <a:gd name="connsiteY3" fmla="*/ 134715 h 383598"/>
                  <a:gd name="connsiteX4" fmla="*/ 622530 w 676938"/>
                  <a:gd name="connsiteY4" fmla="*/ 138100 h 383598"/>
                  <a:gd name="connsiteX5" fmla="*/ 595227 w 676938"/>
                  <a:gd name="connsiteY5" fmla="*/ 126366 h 383598"/>
                  <a:gd name="connsiteX6" fmla="*/ 579658 w 676938"/>
                  <a:gd name="connsiteY6" fmla="*/ 134941 h 383598"/>
                  <a:gd name="connsiteX7" fmla="*/ 566119 w 676938"/>
                  <a:gd name="connsiteY7" fmla="*/ 140582 h 383598"/>
                  <a:gd name="connsiteX8" fmla="*/ 560026 w 676938"/>
                  <a:gd name="connsiteY8" fmla="*/ 131556 h 383598"/>
                  <a:gd name="connsiteX9" fmla="*/ 565217 w 676938"/>
                  <a:gd name="connsiteY9" fmla="*/ 115084 h 383598"/>
                  <a:gd name="connsiteX10" fmla="*/ 577401 w 676938"/>
                  <a:gd name="connsiteY10" fmla="*/ 99514 h 383598"/>
                  <a:gd name="connsiteX11" fmla="*/ 583494 w 676938"/>
                  <a:gd name="connsiteY11" fmla="*/ 83493 h 383598"/>
                  <a:gd name="connsiteX12" fmla="*/ 570858 w 676938"/>
                  <a:gd name="connsiteY12" fmla="*/ 64313 h 383598"/>
                  <a:gd name="connsiteX13" fmla="*/ 558221 w 676938"/>
                  <a:gd name="connsiteY13" fmla="*/ 47390 h 383598"/>
                  <a:gd name="connsiteX14" fmla="*/ 546939 w 676938"/>
                  <a:gd name="connsiteY14" fmla="*/ 54836 h 383598"/>
                  <a:gd name="connsiteX15" fmla="*/ 532723 w 676938"/>
                  <a:gd name="connsiteY15" fmla="*/ 62734 h 383598"/>
                  <a:gd name="connsiteX16" fmla="*/ 529339 w 676938"/>
                  <a:gd name="connsiteY16" fmla="*/ 49195 h 383598"/>
                  <a:gd name="connsiteX17" fmla="*/ 536334 w 676938"/>
                  <a:gd name="connsiteY17" fmla="*/ 37462 h 383598"/>
                  <a:gd name="connsiteX18" fmla="*/ 537236 w 676938"/>
                  <a:gd name="connsiteY18" fmla="*/ 20087 h 383598"/>
                  <a:gd name="connsiteX19" fmla="*/ 529339 w 676938"/>
                  <a:gd name="connsiteY19" fmla="*/ 7902 h 383598"/>
                  <a:gd name="connsiteX20" fmla="*/ 516251 w 676938"/>
                  <a:gd name="connsiteY20" fmla="*/ 4 h 383598"/>
                  <a:gd name="connsiteX21" fmla="*/ 486691 w 676938"/>
                  <a:gd name="connsiteY21" fmla="*/ 18282 h 383598"/>
                  <a:gd name="connsiteX22" fmla="*/ 455101 w 676938"/>
                  <a:gd name="connsiteY22" fmla="*/ 38139 h 383598"/>
                  <a:gd name="connsiteX23" fmla="*/ 443819 w 676938"/>
                  <a:gd name="connsiteY23" fmla="*/ 53708 h 383598"/>
                  <a:gd name="connsiteX24" fmla="*/ 435921 w 676938"/>
                  <a:gd name="connsiteY24" fmla="*/ 67247 h 383598"/>
                  <a:gd name="connsiteX25" fmla="*/ 425541 w 676938"/>
                  <a:gd name="connsiteY25" fmla="*/ 63862 h 383598"/>
                  <a:gd name="connsiteX26" fmla="*/ 414259 w 676938"/>
                  <a:gd name="connsiteY26" fmla="*/ 57770 h 383598"/>
                  <a:gd name="connsiteX27" fmla="*/ 392597 w 676938"/>
                  <a:gd name="connsiteY27" fmla="*/ 53031 h 383598"/>
                  <a:gd name="connsiteX28" fmla="*/ 337314 w 676938"/>
                  <a:gd name="connsiteY28" fmla="*/ 43554 h 383598"/>
                  <a:gd name="connsiteX29" fmla="*/ 312042 w 676938"/>
                  <a:gd name="connsiteY29" fmla="*/ 62508 h 383598"/>
                  <a:gd name="connsiteX30" fmla="*/ 245025 w 676938"/>
                  <a:gd name="connsiteY30" fmla="*/ 133812 h 383598"/>
                  <a:gd name="connsiteX31" fmla="*/ 207793 w 676938"/>
                  <a:gd name="connsiteY31" fmla="*/ 141936 h 383598"/>
                  <a:gd name="connsiteX32" fmla="*/ 189290 w 676938"/>
                  <a:gd name="connsiteY32" fmla="*/ 189321 h 383598"/>
                  <a:gd name="connsiteX33" fmla="*/ 129268 w 676938"/>
                  <a:gd name="connsiteY33" fmla="*/ 246861 h 383598"/>
                  <a:gd name="connsiteX34" fmla="*/ 117083 w 676938"/>
                  <a:gd name="connsiteY34" fmla="*/ 259272 h 383598"/>
                  <a:gd name="connsiteX35" fmla="*/ 86621 w 676938"/>
                  <a:gd name="connsiteY35" fmla="*/ 268298 h 383598"/>
                  <a:gd name="connsiteX36" fmla="*/ 74887 w 676938"/>
                  <a:gd name="connsiteY36" fmla="*/ 260851 h 383598"/>
                  <a:gd name="connsiteX37" fmla="*/ 67892 w 676938"/>
                  <a:gd name="connsiteY37" fmla="*/ 264687 h 383598"/>
                  <a:gd name="connsiteX38" fmla="*/ 56159 w 676938"/>
                  <a:gd name="connsiteY38" fmla="*/ 275969 h 383598"/>
                  <a:gd name="connsiteX39" fmla="*/ 36979 w 676938"/>
                  <a:gd name="connsiteY39" fmla="*/ 286349 h 383598"/>
                  <a:gd name="connsiteX40" fmla="*/ 26148 w 676938"/>
                  <a:gd name="connsiteY40" fmla="*/ 277775 h 383598"/>
                  <a:gd name="connsiteX41" fmla="*/ 7419 w 676938"/>
                  <a:gd name="connsiteY41" fmla="*/ 270328 h 383598"/>
                  <a:gd name="connsiteX42" fmla="*/ 7419 w 676938"/>
                  <a:gd name="connsiteY42" fmla="*/ 281611 h 383598"/>
                  <a:gd name="connsiteX43" fmla="*/ 2680 w 676938"/>
                  <a:gd name="connsiteY43" fmla="*/ 291539 h 383598"/>
                  <a:gd name="connsiteX44" fmla="*/ 875 w 676938"/>
                  <a:gd name="connsiteY44" fmla="*/ 303273 h 383598"/>
                  <a:gd name="connsiteX45" fmla="*/ 10352 w 676938"/>
                  <a:gd name="connsiteY45" fmla="*/ 314555 h 383598"/>
                  <a:gd name="connsiteX46" fmla="*/ 20732 w 676938"/>
                  <a:gd name="connsiteY46" fmla="*/ 319294 h 383598"/>
                  <a:gd name="connsiteX47" fmla="*/ 26373 w 676938"/>
                  <a:gd name="connsiteY47" fmla="*/ 317488 h 383598"/>
                  <a:gd name="connsiteX48" fmla="*/ 47133 w 676938"/>
                  <a:gd name="connsiteY48" fmla="*/ 314555 h 383598"/>
                  <a:gd name="connsiteX49" fmla="*/ 58867 w 676938"/>
                  <a:gd name="connsiteY49" fmla="*/ 322001 h 383598"/>
                  <a:gd name="connsiteX50" fmla="*/ 67892 w 676938"/>
                  <a:gd name="connsiteY50" fmla="*/ 340279 h 383598"/>
                  <a:gd name="connsiteX51" fmla="*/ 63605 w 676938"/>
                  <a:gd name="connsiteY51" fmla="*/ 356300 h 383598"/>
                  <a:gd name="connsiteX52" fmla="*/ 67892 w 676938"/>
                  <a:gd name="connsiteY52" fmla="*/ 370515 h 383598"/>
                  <a:gd name="connsiteX53" fmla="*/ 74436 w 676938"/>
                  <a:gd name="connsiteY53" fmla="*/ 386085 h 383598"/>
                  <a:gd name="connsiteX54" fmla="*/ 72631 w 676938"/>
                  <a:gd name="connsiteY54" fmla="*/ 400977 h 383598"/>
                  <a:gd name="connsiteX55" fmla="*/ 70826 w 676938"/>
                  <a:gd name="connsiteY55" fmla="*/ 401429 h 383598"/>
                  <a:gd name="connsiteX56" fmla="*/ 70826 w 676938"/>
                  <a:gd name="connsiteY56" fmla="*/ 401429 h 383598"/>
                  <a:gd name="connsiteX57" fmla="*/ 75339 w 676938"/>
                  <a:gd name="connsiteY57" fmla="*/ 400075 h 383598"/>
                  <a:gd name="connsiteX58" fmla="*/ 75564 w 676938"/>
                  <a:gd name="connsiteY58" fmla="*/ 400075 h 383598"/>
                  <a:gd name="connsiteX59" fmla="*/ 110088 w 676938"/>
                  <a:gd name="connsiteY59" fmla="*/ 386987 h 383598"/>
                  <a:gd name="connsiteX60" fmla="*/ 136489 w 676938"/>
                  <a:gd name="connsiteY60" fmla="*/ 373223 h 383598"/>
                  <a:gd name="connsiteX61" fmla="*/ 167854 w 676938"/>
                  <a:gd name="connsiteY61" fmla="*/ 377059 h 383598"/>
                  <a:gd name="connsiteX62" fmla="*/ 188613 w 676938"/>
                  <a:gd name="connsiteY62" fmla="*/ 383377 h 383598"/>
                  <a:gd name="connsiteX63" fmla="*/ 215465 w 676938"/>
                  <a:gd name="connsiteY63" fmla="*/ 375931 h 383598"/>
                  <a:gd name="connsiteX64" fmla="*/ 240512 w 676938"/>
                  <a:gd name="connsiteY64" fmla="*/ 373449 h 383598"/>
                  <a:gd name="connsiteX65" fmla="*/ 268040 w 676938"/>
                  <a:gd name="connsiteY65" fmla="*/ 363971 h 383598"/>
                  <a:gd name="connsiteX66" fmla="*/ 282482 w 676938"/>
                  <a:gd name="connsiteY66" fmla="*/ 353366 h 383598"/>
                  <a:gd name="connsiteX67" fmla="*/ 289928 w 676938"/>
                  <a:gd name="connsiteY67" fmla="*/ 328996 h 383598"/>
                  <a:gd name="connsiteX68" fmla="*/ 310688 w 676938"/>
                  <a:gd name="connsiteY68" fmla="*/ 305755 h 383598"/>
                  <a:gd name="connsiteX69" fmla="*/ 322647 w 676938"/>
                  <a:gd name="connsiteY69" fmla="*/ 290185 h 383598"/>
                  <a:gd name="connsiteX70" fmla="*/ 318360 w 676938"/>
                  <a:gd name="connsiteY70" fmla="*/ 281385 h 383598"/>
                  <a:gd name="connsiteX71" fmla="*/ 325355 w 676938"/>
                  <a:gd name="connsiteY71" fmla="*/ 275067 h 383598"/>
                  <a:gd name="connsiteX72" fmla="*/ 348596 w 676938"/>
                  <a:gd name="connsiteY72" fmla="*/ 278226 h 383598"/>
                  <a:gd name="connsiteX73" fmla="*/ 380638 w 676938"/>
                  <a:gd name="connsiteY73" fmla="*/ 263785 h 383598"/>
                  <a:gd name="connsiteX74" fmla="*/ 409520 w 676938"/>
                  <a:gd name="connsiteY74" fmla="*/ 249343 h 383598"/>
                  <a:gd name="connsiteX75" fmla="*/ 437726 w 676938"/>
                  <a:gd name="connsiteY75" fmla="*/ 230615 h 383598"/>
                  <a:gd name="connsiteX76" fmla="*/ 454650 w 676938"/>
                  <a:gd name="connsiteY76" fmla="*/ 225650 h 383598"/>
                  <a:gd name="connsiteX77" fmla="*/ 470219 w 676938"/>
                  <a:gd name="connsiteY77" fmla="*/ 226327 h 383598"/>
                  <a:gd name="connsiteX78" fmla="*/ 482179 w 676938"/>
                  <a:gd name="connsiteY78" fmla="*/ 215045 h 383598"/>
                  <a:gd name="connsiteX79" fmla="*/ 488497 w 676938"/>
                  <a:gd name="connsiteY79" fmla="*/ 207599 h 383598"/>
                  <a:gd name="connsiteX80" fmla="*/ 513543 w 676938"/>
                  <a:gd name="connsiteY80" fmla="*/ 206922 h 383598"/>
                  <a:gd name="connsiteX81" fmla="*/ 521667 w 676938"/>
                  <a:gd name="connsiteY81" fmla="*/ 203086 h 383598"/>
                  <a:gd name="connsiteX82" fmla="*/ 516702 w 676938"/>
                  <a:gd name="connsiteY82" fmla="*/ 220009 h 383598"/>
                  <a:gd name="connsiteX83" fmla="*/ 506774 w 676938"/>
                  <a:gd name="connsiteY83" fmla="*/ 235128 h 383598"/>
                  <a:gd name="connsiteX84" fmla="*/ 508579 w 676938"/>
                  <a:gd name="connsiteY84" fmla="*/ 250246 h 383598"/>
                  <a:gd name="connsiteX85" fmla="*/ 512415 w 676938"/>
                  <a:gd name="connsiteY85" fmla="*/ 260174 h 383598"/>
                  <a:gd name="connsiteX86" fmla="*/ 519861 w 676938"/>
                  <a:gd name="connsiteY86" fmla="*/ 268298 h 383598"/>
                  <a:gd name="connsiteX87" fmla="*/ 522344 w 676938"/>
                  <a:gd name="connsiteY87" fmla="*/ 282062 h 383598"/>
                  <a:gd name="connsiteX88" fmla="*/ 529790 w 676938"/>
                  <a:gd name="connsiteY88" fmla="*/ 280257 h 383598"/>
                  <a:gd name="connsiteX89" fmla="*/ 533626 w 676938"/>
                  <a:gd name="connsiteY89" fmla="*/ 276421 h 383598"/>
                  <a:gd name="connsiteX90" fmla="*/ 540621 w 676938"/>
                  <a:gd name="connsiteY90" fmla="*/ 289508 h 383598"/>
                  <a:gd name="connsiteX91" fmla="*/ 528662 w 676938"/>
                  <a:gd name="connsiteY91" fmla="*/ 298308 h 383598"/>
                  <a:gd name="connsiteX92" fmla="*/ 517379 w 676938"/>
                  <a:gd name="connsiteY92" fmla="*/ 301468 h 383598"/>
                  <a:gd name="connsiteX93" fmla="*/ 506774 w 676938"/>
                  <a:gd name="connsiteY93" fmla="*/ 307109 h 383598"/>
                  <a:gd name="connsiteX94" fmla="*/ 492333 w 676938"/>
                  <a:gd name="connsiteY94" fmla="*/ 312073 h 383598"/>
                  <a:gd name="connsiteX95" fmla="*/ 481727 w 676938"/>
                  <a:gd name="connsiteY95" fmla="*/ 309591 h 383598"/>
                  <a:gd name="connsiteX96" fmla="*/ 475409 w 676938"/>
                  <a:gd name="connsiteY96" fmla="*/ 324032 h 383598"/>
                  <a:gd name="connsiteX97" fmla="*/ 459163 w 676938"/>
                  <a:gd name="connsiteY97" fmla="*/ 331478 h 383598"/>
                  <a:gd name="connsiteX98" fmla="*/ 448332 w 676938"/>
                  <a:gd name="connsiteY98" fmla="*/ 342535 h 383598"/>
                  <a:gd name="connsiteX99" fmla="*/ 451039 w 676938"/>
                  <a:gd name="connsiteY99" fmla="*/ 363520 h 383598"/>
                  <a:gd name="connsiteX100" fmla="*/ 460065 w 676938"/>
                  <a:gd name="connsiteY100" fmla="*/ 389695 h 383598"/>
                  <a:gd name="connsiteX101" fmla="*/ 467060 w 676938"/>
                  <a:gd name="connsiteY101" fmla="*/ 389244 h 383598"/>
                  <a:gd name="connsiteX102" fmla="*/ 494138 w 676938"/>
                  <a:gd name="connsiteY102" fmla="*/ 363746 h 383598"/>
                  <a:gd name="connsiteX103" fmla="*/ 553257 w 676938"/>
                  <a:gd name="connsiteY103" fmla="*/ 305529 h 383598"/>
                  <a:gd name="connsiteX104" fmla="*/ 579206 w 676938"/>
                  <a:gd name="connsiteY104" fmla="*/ 290185 h 383598"/>
                  <a:gd name="connsiteX105" fmla="*/ 600417 w 676938"/>
                  <a:gd name="connsiteY105" fmla="*/ 284544 h 383598"/>
                  <a:gd name="connsiteX106" fmla="*/ 626366 w 676938"/>
                  <a:gd name="connsiteY106" fmla="*/ 278452 h 383598"/>
                  <a:gd name="connsiteX107" fmla="*/ 644644 w 676938"/>
                  <a:gd name="connsiteY107" fmla="*/ 290637 h 383598"/>
                  <a:gd name="connsiteX108" fmla="*/ 662019 w 676938"/>
                  <a:gd name="connsiteY108" fmla="*/ 301919 h 383598"/>
                  <a:gd name="connsiteX109" fmla="*/ 670593 w 676938"/>
                  <a:gd name="connsiteY109" fmla="*/ 287703 h 383598"/>
                  <a:gd name="connsiteX110" fmla="*/ 655024 w 676938"/>
                  <a:gd name="connsiteY110" fmla="*/ 271231 h 383598"/>
                  <a:gd name="connsiteX111" fmla="*/ 647126 w 676938"/>
                  <a:gd name="connsiteY111" fmla="*/ 250923 h 383598"/>
                  <a:gd name="connsiteX112" fmla="*/ 648480 w 676938"/>
                  <a:gd name="connsiteY112" fmla="*/ 237384 h 383598"/>
                  <a:gd name="connsiteX113" fmla="*/ 657506 w 676938"/>
                  <a:gd name="connsiteY113" fmla="*/ 223845 h 383598"/>
                  <a:gd name="connsiteX114" fmla="*/ 671044 w 676938"/>
                  <a:gd name="connsiteY114" fmla="*/ 205568 h 383598"/>
                  <a:gd name="connsiteX115" fmla="*/ 682327 w 676938"/>
                  <a:gd name="connsiteY115" fmla="*/ 189998 h 383598"/>
                  <a:gd name="connsiteX116" fmla="*/ 690224 w 676938"/>
                  <a:gd name="connsiteY116" fmla="*/ 169239 h 383598"/>
                  <a:gd name="connsiteX117" fmla="*/ 689096 w 676938"/>
                  <a:gd name="connsiteY117" fmla="*/ 153218 h 383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676938" h="383598">
                    <a:moveTo>
                      <a:pt x="689096" y="153218"/>
                    </a:moveTo>
                    <a:cubicBezTo>
                      <a:pt x="693383" y="142838"/>
                      <a:pt x="684809" y="140582"/>
                      <a:pt x="676009" y="139002"/>
                    </a:cubicBezTo>
                    <a:cubicBezTo>
                      <a:pt x="667208" y="137423"/>
                      <a:pt x="666983" y="137648"/>
                      <a:pt x="660439" y="136069"/>
                    </a:cubicBezTo>
                    <a:cubicBezTo>
                      <a:pt x="653895" y="134489"/>
                      <a:pt x="652541" y="129074"/>
                      <a:pt x="641711" y="134715"/>
                    </a:cubicBezTo>
                    <a:cubicBezTo>
                      <a:pt x="630879" y="140356"/>
                      <a:pt x="628172" y="136971"/>
                      <a:pt x="622530" y="138100"/>
                    </a:cubicBezTo>
                    <a:cubicBezTo>
                      <a:pt x="616889" y="139002"/>
                      <a:pt x="604253" y="128623"/>
                      <a:pt x="595227" y="126366"/>
                    </a:cubicBezTo>
                    <a:cubicBezTo>
                      <a:pt x="586201" y="124110"/>
                      <a:pt x="586201" y="130653"/>
                      <a:pt x="579658" y="134941"/>
                    </a:cubicBezTo>
                    <a:cubicBezTo>
                      <a:pt x="573114" y="139228"/>
                      <a:pt x="570632" y="140582"/>
                      <a:pt x="566119" y="140582"/>
                    </a:cubicBezTo>
                    <a:cubicBezTo>
                      <a:pt x="561606" y="140582"/>
                      <a:pt x="559575" y="137648"/>
                      <a:pt x="560026" y="131556"/>
                    </a:cubicBezTo>
                    <a:cubicBezTo>
                      <a:pt x="560478" y="125464"/>
                      <a:pt x="558673" y="120725"/>
                      <a:pt x="565217" y="115084"/>
                    </a:cubicBezTo>
                    <a:cubicBezTo>
                      <a:pt x="571760" y="109443"/>
                      <a:pt x="572212" y="105155"/>
                      <a:pt x="577401" y="99514"/>
                    </a:cubicBezTo>
                    <a:cubicBezTo>
                      <a:pt x="582591" y="93873"/>
                      <a:pt x="583945" y="90940"/>
                      <a:pt x="583494" y="83493"/>
                    </a:cubicBezTo>
                    <a:cubicBezTo>
                      <a:pt x="583042" y="76047"/>
                      <a:pt x="577401" y="68826"/>
                      <a:pt x="570858" y="64313"/>
                    </a:cubicBezTo>
                    <a:cubicBezTo>
                      <a:pt x="564314" y="59575"/>
                      <a:pt x="566119" y="48744"/>
                      <a:pt x="558221" y="47390"/>
                    </a:cubicBezTo>
                    <a:cubicBezTo>
                      <a:pt x="550324" y="46036"/>
                      <a:pt x="551678" y="49646"/>
                      <a:pt x="546939" y="54836"/>
                    </a:cubicBezTo>
                    <a:cubicBezTo>
                      <a:pt x="542201" y="60026"/>
                      <a:pt x="535657" y="68375"/>
                      <a:pt x="532723" y="62734"/>
                    </a:cubicBezTo>
                    <a:cubicBezTo>
                      <a:pt x="529790" y="57093"/>
                      <a:pt x="531370" y="56642"/>
                      <a:pt x="529339" y="49195"/>
                    </a:cubicBezTo>
                    <a:cubicBezTo>
                      <a:pt x="527533" y="41749"/>
                      <a:pt x="531144" y="43554"/>
                      <a:pt x="536334" y="37462"/>
                    </a:cubicBezTo>
                    <a:cubicBezTo>
                      <a:pt x="541524" y="31369"/>
                      <a:pt x="549421" y="20538"/>
                      <a:pt x="537236" y="20087"/>
                    </a:cubicBezTo>
                    <a:cubicBezTo>
                      <a:pt x="525052" y="19636"/>
                      <a:pt x="534303" y="16251"/>
                      <a:pt x="529339" y="7902"/>
                    </a:cubicBezTo>
                    <a:cubicBezTo>
                      <a:pt x="524374" y="-447"/>
                      <a:pt x="523697" y="4"/>
                      <a:pt x="516251" y="4"/>
                    </a:cubicBezTo>
                    <a:cubicBezTo>
                      <a:pt x="508805" y="4"/>
                      <a:pt x="491882" y="16928"/>
                      <a:pt x="486691" y="18282"/>
                    </a:cubicBezTo>
                    <a:cubicBezTo>
                      <a:pt x="481502" y="19636"/>
                      <a:pt x="459839" y="31820"/>
                      <a:pt x="455101" y="38139"/>
                    </a:cubicBezTo>
                    <a:cubicBezTo>
                      <a:pt x="450362" y="44231"/>
                      <a:pt x="452844" y="51226"/>
                      <a:pt x="443819" y="53708"/>
                    </a:cubicBezTo>
                    <a:cubicBezTo>
                      <a:pt x="434793" y="55965"/>
                      <a:pt x="442014" y="66796"/>
                      <a:pt x="435921" y="67247"/>
                    </a:cubicBezTo>
                    <a:cubicBezTo>
                      <a:pt x="429829" y="67698"/>
                      <a:pt x="430280" y="65893"/>
                      <a:pt x="425541" y="63862"/>
                    </a:cubicBezTo>
                    <a:cubicBezTo>
                      <a:pt x="420803" y="62057"/>
                      <a:pt x="421706" y="62057"/>
                      <a:pt x="414259" y="57770"/>
                    </a:cubicBezTo>
                    <a:cubicBezTo>
                      <a:pt x="406813" y="53482"/>
                      <a:pt x="400043" y="52129"/>
                      <a:pt x="392597" y="53031"/>
                    </a:cubicBezTo>
                    <a:cubicBezTo>
                      <a:pt x="371838" y="55739"/>
                      <a:pt x="356494" y="37687"/>
                      <a:pt x="337314" y="43554"/>
                    </a:cubicBezTo>
                    <a:cubicBezTo>
                      <a:pt x="327160" y="46713"/>
                      <a:pt x="318811" y="54159"/>
                      <a:pt x="312042" y="62508"/>
                    </a:cubicBezTo>
                    <a:cubicBezTo>
                      <a:pt x="290831" y="88232"/>
                      <a:pt x="277292" y="125464"/>
                      <a:pt x="245025" y="133812"/>
                    </a:cubicBezTo>
                    <a:cubicBezTo>
                      <a:pt x="232614" y="136971"/>
                      <a:pt x="218850" y="135166"/>
                      <a:pt x="207793" y="141936"/>
                    </a:cubicBezTo>
                    <a:cubicBezTo>
                      <a:pt x="192675" y="151187"/>
                      <a:pt x="190192" y="171495"/>
                      <a:pt x="189290" y="189321"/>
                    </a:cubicBezTo>
                    <a:cubicBezTo>
                      <a:pt x="158602" y="188644"/>
                      <a:pt x="129945" y="216173"/>
                      <a:pt x="129268" y="246861"/>
                    </a:cubicBezTo>
                    <a:cubicBezTo>
                      <a:pt x="123175" y="247538"/>
                      <a:pt x="117760" y="252954"/>
                      <a:pt x="117083" y="259272"/>
                    </a:cubicBezTo>
                    <a:cubicBezTo>
                      <a:pt x="110991" y="260626"/>
                      <a:pt x="91585" y="269651"/>
                      <a:pt x="86621" y="268298"/>
                    </a:cubicBezTo>
                    <a:cubicBezTo>
                      <a:pt x="82334" y="267395"/>
                      <a:pt x="81431" y="259272"/>
                      <a:pt x="74887" y="260851"/>
                    </a:cubicBezTo>
                    <a:cubicBezTo>
                      <a:pt x="68344" y="262205"/>
                      <a:pt x="74887" y="260851"/>
                      <a:pt x="67892" y="264687"/>
                    </a:cubicBezTo>
                    <a:cubicBezTo>
                      <a:pt x="60897" y="268523"/>
                      <a:pt x="61349" y="275969"/>
                      <a:pt x="56159" y="275969"/>
                    </a:cubicBezTo>
                    <a:cubicBezTo>
                      <a:pt x="50969" y="275969"/>
                      <a:pt x="45328" y="286349"/>
                      <a:pt x="36979" y="286349"/>
                    </a:cubicBezTo>
                    <a:cubicBezTo>
                      <a:pt x="28630" y="286349"/>
                      <a:pt x="33143" y="284544"/>
                      <a:pt x="26148" y="277775"/>
                    </a:cubicBezTo>
                    <a:cubicBezTo>
                      <a:pt x="19153" y="271231"/>
                      <a:pt x="13511" y="268749"/>
                      <a:pt x="7419" y="270328"/>
                    </a:cubicBezTo>
                    <a:cubicBezTo>
                      <a:pt x="1327" y="271682"/>
                      <a:pt x="9676" y="278903"/>
                      <a:pt x="7419" y="281611"/>
                    </a:cubicBezTo>
                    <a:cubicBezTo>
                      <a:pt x="5163" y="284544"/>
                      <a:pt x="6968" y="288606"/>
                      <a:pt x="2680" y="291539"/>
                    </a:cubicBezTo>
                    <a:cubicBezTo>
                      <a:pt x="-1607" y="294473"/>
                      <a:pt x="424" y="297632"/>
                      <a:pt x="875" y="303273"/>
                    </a:cubicBezTo>
                    <a:cubicBezTo>
                      <a:pt x="1327" y="308914"/>
                      <a:pt x="7870" y="314555"/>
                      <a:pt x="10352" y="314555"/>
                    </a:cubicBezTo>
                    <a:cubicBezTo>
                      <a:pt x="12609" y="314555"/>
                      <a:pt x="17799" y="316360"/>
                      <a:pt x="20732" y="319294"/>
                    </a:cubicBezTo>
                    <a:cubicBezTo>
                      <a:pt x="23666" y="322227"/>
                      <a:pt x="21635" y="316360"/>
                      <a:pt x="26373" y="317488"/>
                    </a:cubicBezTo>
                    <a:cubicBezTo>
                      <a:pt x="31112" y="318391"/>
                      <a:pt x="42845" y="315683"/>
                      <a:pt x="47133" y="314555"/>
                    </a:cubicBezTo>
                    <a:cubicBezTo>
                      <a:pt x="51420" y="313652"/>
                      <a:pt x="57964" y="320196"/>
                      <a:pt x="58867" y="322001"/>
                    </a:cubicBezTo>
                    <a:cubicBezTo>
                      <a:pt x="59769" y="323807"/>
                      <a:pt x="67892" y="336217"/>
                      <a:pt x="67892" y="340279"/>
                    </a:cubicBezTo>
                    <a:cubicBezTo>
                      <a:pt x="67892" y="344340"/>
                      <a:pt x="66990" y="350207"/>
                      <a:pt x="63605" y="356300"/>
                    </a:cubicBezTo>
                    <a:cubicBezTo>
                      <a:pt x="60220" y="362392"/>
                      <a:pt x="63605" y="368033"/>
                      <a:pt x="67892" y="370515"/>
                    </a:cubicBezTo>
                    <a:cubicBezTo>
                      <a:pt x="72180" y="372772"/>
                      <a:pt x="73985" y="378413"/>
                      <a:pt x="74436" y="386085"/>
                    </a:cubicBezTo>
                    <a:cubicBezTo>
                      <a:pt x="74887" y="393531"/>
                      <a:pt x="72631" y="400977"/>
                      <a:pt x="72631" y="400977"/>
                    </a:cubicBezTo>
                    <a:cubicBezTo>
                      <a:pt x="71954" y="401203"/>
                      <a:pt x="71277" y="401429"/>
                      <a:pt x="70826" y="401429"/>
                    </a:cubicBezTo>
                    <a:lnTo>
                      <a:pt x="70826" y="401429"/>
                    </a:lnTo>
                    <a:cubicBezTo>
                      <a:pt x="73759" y="401880"/>
                      <a:pt x="75339" y="400075"/>
                      <a:pt x="75339" y="400075"/>
                    </a:cubicBezTo>
                    <a:cubicBezTo>
                      <a:pt x="75339" y="400075"/>
                      <a:pt x="75564" y="400075"/>
                      <a:pt x="75564" y="400075"/>
                    </a:cubicBezTo>
                    <a:cubicBezTo>
                      <a:pt x="91811" y="395111"/>
                      <a:pt x="94970" y="390598"/>
                      <a:pt x="110088" y="386987"/>
                    </a:cubicBezTo>
                    <a:cubicBezTo>
                      <a:pt x="125207" y="383151"/>
                      <a:pt x="128817" y="377510"/>
                      <a:pt x="136489" y="373223"/>
                    </a:cubicBezTo>
                    <a:cubicBezTo>
                      <a:pt x="143935" y="368936"/>
                      <a:pt x="157248" y="374577"/>
                      <a:pt x="167854" y="377059"/>
                    </a:cubicBezTo>
                    <a:cubicBezTo>
                      <a:pt x="178459" y="379541"/>
                      <a:pt x="179136" y="383377"/>
                      <a:pt x="188613" y="383377"/>
                    </a:cubicBezTo>
                    <a:cubicBezTo>
                      <a:pt x="198090" y="383377"/>
                      <a:pt x="204860" y="377059"/>
                      <a:pt x="215465" y="375931"/>
                    </a:cubicBezTo>
                    <a:cubicBezTo>
                      <a:pt x="226070" y="374577"/>
                      <a:pt x="227424" y="373449"/>
                      <a:pt x="240512" y="373449"/>
                    </a:cubicBezTo>
                    <a:cubicBezTo>
                      <a:pt x="253599" y="373449"/>
                      <a:pt x="261722" y="367808"/>
                      <a:pt x="268040" y="363971"/>
                    </a:cubicBezTo>
                    <a:cubicBezTo>
                      <a:pt x="274359" y="360136"/>
                      <a:pt x="281128" y="360812"/>
                      <a:pt x="282482" y="353366"/>
                    </a:cubicBezTo>
                    <a:cubicBezTo>
                      <a:pt x="283836" y="345920"/>
                      <a:pt x="281128" y="337120"/>
                      <a:pt x="289928" y="328996"/>
                    </a:cubicBezTo>
                    <a:cubicBezTo>
                      <a:pt x="298728" y="320873"/>
                      <a:pt x="303015" y="313427"/>
                      <a:pt x="310688" y="305755"/>
                    </a:cubicBezTo>
                    <a:cubicBezTo>
                      <a:pt x="318134" y="298308"/>
                      <a:pt x="320616" y="293119"/>
                      <a:pt x="322647" y="290185"/>
                    </a:cubicBezTo>
                    <a:cubicBezTo>
                      <a:pt x="324452" y="287026"/>
                      <a:pt x="319488" y="285221"/>
                      <a:pt x="318360" y="281385"/>
                    </a:cubicBezTo>
                    <a:cubicBezTo>
                      <a:pt x="317006" y="277549"/>
                      <a:pt x="317683" y="266944"/>
                      <a:pt x="325355" y="275067"/>
                    </a:cubicBezTo>
                    <a:cubicBezTo>
                      <a:pt x="332801" y="283190"/>
                      <a:pt x="336637" y="283190"/>
                      <a:pt x="348596" y="278226"/>
                    </a:cubicBezTo>
                    <a:cubicBezTo>
                      <a:pt x="360555" y="273262"/>
                      <a:pt x="363037" y="271908"/>
                      <a:pt x="380638" y="263785"/>
                    </a:cubicBezTo>
                    <a:cubicBezTo>
                      <a:pt x="398238" y="255661"/>
                      <a:pt x="392597" y="252502"/>
                      <a:pt x="409520" y="249343"/>
                    </a:cubicBezTo>
                    <a:cubicBezTo>
                      <a:pt x="426444" y="246184"/>
                      <a:pt x="427798" y="234225"/>
                      <a:pt x="437726" y="230615"/>
                    </a:cubicBezTo>
                    <a:cubicBezTo>
                      <a:pt x="447655" y="226779"/>
                      <a:pt x="443367" y="224973"/>
                      <a:pt x="454650" y="225650"/>
                    </a:cubicBezTo>
                    <a:cubicBezTo>
                      <a:pt x="465932" y="226327"/>
                      <a:pt x="464578" y="229938"/>
                      <a:pt x="470219" y="226327"/>
                    </a:cubicBezTo>
                    <a:cubicBezTo>
                      <a:pt x="475860" y="222491"/>
                      <a:pt x="478343" y="220686"/>
                      <a:pt x="482179" y="215045"/>
                    </a:cubicBezTo>
                    <a:cubicBezTo>
                      <a:pt x="486014" y="209404"/>
                      <a:pt x="473378" y="208050"/>
                      <a:pt x="488497" y="207599"/>
                    </a:cubicBezTo>
                    <a:cubicBezTo>
                      <a:pt x="503615" y="206922"/>
                      <a:pt x="505420" y="210758"/>
                      <a:pt x="513543" y="206922"/>
                    </a:cubicBezTo>
                    <a:cubicBezTo>
                      <a:pt x="521667" y="203086"/>
                      <a:pt x="510384" y="203763"/>
                      <a:pt x="521667" y="203086"/>
                    </a:cubicBezTo>
                    <a:cubicBezTo>
                      <a:pt x="532949" y="202409"/>
                      <a:pt x="520313" y="214368"/>
                      <a:pt x="516702" y="220009"/>
                    </a:cubicBezTo>
                    <a:cubicBezTo>
                      <a:pt x="513092" y="225650"/>
                      <a:pt x="506097" y="228810"/>
                      <a:pt x="506774" y="235128"/>
                    </a:cubicBezTo>
                    <a:cubicBezTo>
                      <a:pt x="507451" y="241446"/>
                      <a:pt x="510610" y="245733"/>
                      <a:pt x="508579" y="250246"/>
                    </a:cubicBezTo>
                    <a:cubicBezTo>
                      <a:pt x="506774" y="254533"/>
                      <a:pt x="508579" y="255210"/>
                      <a:pt x="512415" y="260174"/>
                    </a:cubicBezTo>
                    <a:cubicBezTo>
                      <a:pt x="516251" y="265138"/>
                      <a:pt x="519410" y="261979"/>
                      <a:pt x="519861" y="268298"/>
                    </a:cubicBezTo>
                    <a:cubicBezTo>
                      <a:pt x="520538" y="274616"/>
                      <a:pt x="520538" y="278903"/>
                      <a:pt x="522344" y="282062"/>
                    </a:cubicBezTo>
                    <a:cubicBezTo>
                      <a:pt x="524149" y="285221"/>
                      <a:pt x="526179" y="283867"/>
                      <a:pt x="529790" y="280257"/>
                    </a:cubicBezTo>
                    <a:cubicBezTo>
                      <a:pt x="533626" y="276421"/>
                      <a:pt x="527985" y="273939"/>
                      <a:pt x="533626" y="276421"/>
                    </a:cubicBezTo>
                    <a:cubicBezTo>
                      <a:pt x="539267" y="278903"/>
                      <a:pt x="544908" y="283867"/>
                      <a:pt x="540621" y="289508"/>
                    </a:cubicBezTo>
                    <a:cubicBezTo>
                      <a:pt x="536334" y="295149"/>
                      <a:pt x="534980" y="296955"/>
                      <a:pt x="528662" y="298308"/>
                    </a:cubicBezTo>
                    <a:cubicBezTo>
                      <a:pt x="522344" y="299662"/>
                      <a:pt x="520538" y="296503"/>
                      <a:pt x="517379" y="301468"/>
                    </a:cubicBezTo>
                    <a:cubicBezTo>
                      <a:pt x="514220" y="306432"/>
                      <a:pt x="514220" y="300114"/>
                      <a:pt x="506774" y="307109"/>
                    </a:cubicBezTo>
                    <a:cubicBezTo>
                      <a:pt x="499328" y="314104"/>
                      <a:pt x="498651" y="313427"/>
                      <a:pt x="492333" y="312073"/>
                    </a:cubicBezTo>
                    <a:cubicBezTo>
                      <a:pt x="486014" y="310719"/>
                      <a:pt x="484209" y="299437"/>
                      <a:pt x="481727" y="309591"/>
                    </a:cubicBezTo>
                    <a:cubicBezTo>
                      <a:pt x="479245" y="319519"/>
                      <a:pt x="479922" y="318391"/>
                      <a:pt x="475409" y="324032"/>
                    </a:cubicBezTo>
                    <a:cubicBezTo>
                      <a:pt x="471122" y="329673"/>
                      <a:pt x="463450" y="324032"/>
                      <a:pt x="459163" y="331478"/>
                    </a:cubicBezTo>
                    <a:cubicBezTo>
                      <a:pt x="457583" y="334186"/>
                      <a:pt x="453296" y="338248"/>
                      <a:pt x="448332" y="342535"/>
                    </a:cubicBezTo>
                    <a:cubicBezTo>
                      <a:pt x="452619" y="348176"/>
                      <a:pt x="453521" y="356751"/>
                      <a:pt x="451039" y="363520"/>
                    </a:cubicBezTo>
                    <a:cubicBezTo>
                      <a:pt x="448332" y="370741"/>
                      <a:pt x="457132" y="379767"/>
                      <a:pt x="460065" y="389695"/>
                    </a:cubicBezTo>
                    <a:cubicBezTo>
                      <a:pt x="462322" y="390146"/>
                      <a:pt x="464578" y="390598"/>
                      <a:pt x="467060" y="389244"/>
                    </a:cubicBezTo>
                    <a:cubicBezTo>
                      <a:pt x="477214" y="384054"/>
                      <a:pt x="486014" y="371869"/>
                      <a:pt x="494138" y="363746"/>
                    </a:cubicBezTo>
                    <a:cubicBezTo>
                      <a:pt x="513769" y="344340"/>
                      <a:pt x="533626" y="324935"/>
                      <a:pt x="553257" y="305529"/>
                    </a:cubicBezTo>
                    <a:cubicBezTo>
                      <a:pt x="560703" y="298083"/>
                      <a:pt x="569729" y="290185"/>
                      <a:pt x="579206" y="290185"/>
                    </a:cubicBezTo>
                    <a:cubicBezTo>
                      <a:pt x="588684" y="290185"/>
                      <a:pt x="593873" y="289283"/>
                      <a:pt x="600417" y="284544"/>
                    </a:cubicBezTo>
                    <a:cubicBezTo>
                      <a:pt x="606961" y="279806"/>
                      <a:pt x="618243" y="277098"/>
                      <a:pt x="626366" y="278452"/>
                    </a:cubicBezTo>
                    <a:cubicBezTo>
                      <a:pt x="634264" y="279806"/>
                      <a:pt x="638552" y="284544"/>
                      <a:pt x="644644" y="290637"/>
                    </a:cubicBezTo>
                    <a:cubicBezTo>
                      <a:pt x="650736" y="296729"/>
                      <a:pt x="650285" y="301016"/>
                      <a:pt x="662019" y="301919"/>
                    </a:cubicBezTo>
                    <a:cubicBezTo>
                      <a:pt x="673752" y="302821"/>
                      <a:pt x="673301" y="294021"/>
                      <a:pt x="670593" y="287703"/>
                    </a:cubicBezTo>
                    <a:cubicBezTo>
                      <a:pt x="667660" y="281611"/>
                      <a:pt x="666306" y="276421"/>
                      <a:pt x="655024" y="271231"/>
                    </a:cubicBezTo>
                    <a:cubicBezTo>
                      <a:pt x="643741" y="266041"/>
                      <a:pt x="647577" y="258143"/>
                      <a:pt x="647126" y="250923"/>
                    </a:cubicBezTo>
                    <a:cubicBezTo>
                      <a:pt x="646675" y="243928"/>
                      <a:pt x="646223" y="241897"/>
                      <a:pt x="648480" y="237384"/>
                    </a:cubicBezTo>
                    <a:cubicBezTo>
                      <a:pt x="650736" y="232645"/>
                      <a:pt x="649382" y="229938"/>
                      <a:pt x="657506" y="223845"/>
                    </a:cubicBezTo>
                    <a:cubicBezTo>
                      <a:pt x="665403" y="217753"/>
                      <a:pt x="663598" y="215271"/>
                      <a:pt x="671044" y="205568"/>
                    </a:cubicBezTo>
                    <a:cubicBezTo>
                      <a:pt x="678491" y="195640"/>
                      <a:pt x="678491" y="198573"/>
                      <a:pt x="682327" y="189998"/>
                    </a:cubicBezTo>
                    <a:cubicBezTo>
                      <a:pt x="686163" y="181424"/>
                      <a:pt x="694963" y="179167"/>
                      <a:pt x="690224" y="169239"/>
                    </a:cubicBezTo>
                    <a:cubicBezTo>
                      <a:pt x="685486" y="159310"/>
                      <a:pt x="684809" y="163598"/>
                      <a:pt x="689096" y="153218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xmlns="" id="{5F88AC9F-648C-4F77-BA51-C3405A6EAA4F}"/>
                  </a:ext>
                </a:extLst>
              </p:cNvPr>
              <p:cNvSpPr/>
              <p:nvPr/>
            </p:nvSpPr>
            <p:spPr>
              <a:xfrm>
                <a:off x="10954072" y="2093044"/>
                <a:ext cx="676938" cy="383598"/>
              </a:xfrm>
              <a:custGeom>
                <a:avLst/>
                <a:gdLst>
                  <a:gd name="connsiteX0" fmla="*/ 689096 w 676938"/>
                  <a:gd name="connsiteY0" fmla="*/ 153218 h 383598"/>
                  <a:gd name="connsiteX1" fmla="*/ 676009 w 676938"/>
                  <a:gd name="connsiteY1" fmla="*/ 139002 h 383598"/>
                  <a:gd name="connsiteX2" fmla="*/ 660439 w 676938"/>
                  <a:gd name="connsiteY2" fmla="*/ 136069 h 383598"/>
                  <a:gd name="connsiteX3" fmla="*/ 641711 w 676938"/>
                  <a:gd name="connsiteY3" fmla="*/ 134715 h 383598"/>
                  <a:gd name="connsiteX4" fmla="*/ 622530 w 676938"/>
                  <a:gd name="connsiteY4" fmla="*/ 138100 h 383598"/>
                  <a:gd name="connsiteX5" fmla="*/ 595227 w 676938"/>
                  <a:gd name="connsiteY5" fmla="*/ 126366 h 383598"/>
                  <a:gd name="connsiteX6" fmla="*/ 579658 w 676938"/>
                  <a:gd name="connsiteY6" fmla="*/ 134941 h 383598"/>
                  <a:gd name="connsiteX7" fmla="*/ 566119 w 676938"/>
                  <a:gd name="connsiteY7" fmla="*/ 140582 h 383598"/>
                  <a:gd name="connsiteX8" fmla="*/ 560026 w 676938"/>
                  <a:gd name="connsiteY8" fmla="*/ 131556 h 383598"/>
                  <a:gd name="connsiteX9" fmla="*/ 565217 w 676938"/>
                  <a:gd name="connsiteY9" fmla="*/ 115084 h 383598"/>
                  <a:gd name="connsiteX10" fmla="*/ 577401 w 676938"/>
                  <a:gd name="connsiteY10" fmla="*/ 99514 h 383598"/>
                  <a:gd name="connsiteX11" fmla="*/ 583494 w 676938"/>
                  <a:gd name="connsiteY11" fmla="*/ 83493 h 383598"/>
                  <a:gd name="connsiteX12" fmla="*/ 570858 w 676938"/>
                  <a:gd name="connsiteY12" fmla="*/ 64313 h 383598"/>
                  <a:gd name="connsiteX13" fmla="*/ 558221 w 676938"/>
                  <a:gd name="connsiteY13" fmla="*/ 47390 h 383598"/>
                  <a:gd name="connsiteX14" fmla="*/ 546939 w 676938"/>
                  <a:gd name="connsiteY14" fmla="*/ 54836 h 383598"/>
                  <a:gd name="connsiteX15" fmla="*/ 532723 w 676938"/>
                  <a:gd name="connsiteY15" fmla="*/ 62734 h 383598"/>
                  <a:gd name="connsiteX16" fmla="*/ 529339 w 676938"/>
                  <a:gd name="connsiteY16" fmla="*/ 49195 h 383598"/>
                  <a:gd name="connsiteX17" fmla="*/ 536334 w 676938"/>
                  <a:gd name="connsiteY17" fmla="*/ 37462 h 383598"/>
                  <a:gd name="connsiteX18" fmla="*/ 537236 w 676938"/>
                  <a:gd name="connsiteY18" fmla="*/ 20087 h 383598"/>
                  <a:gd name="connsiteX19" fmla="*/ 529339 w 676938"/>
                  <a:gd name="connsiteY19" fmla="*/ 7902 h 383598"/>
                  <a:gd name="connsiteX20" fmla="*/ 516251 w 676938"/>
                  <a:gd name="connsiteY20" fmla="*/ 4 h 383598"/>
                  <a:gd name="connsiteX21" fmla="*/ 486691 w 676938"/>
                  <a:gd name="connsiteY21" fmla="*/ 18282 h 383598"/>
                  <a:gd name="connsiteX22" fmla="*/ 455101 w 676938"/>
                  <a:gd name="connsiteY22" fmla="*/ 38139 h 383598"/>
                  <a:gd name="connsiteX23" fmla="*/ 443819 w 676938"/>
                  <a:gd name="connsiteY23" fmla="*/ 53708 h 383598"/>
                  <a:gd name="connsiteX24" fmla="*/ 435921 w 676938"/>
                  <a:gd name="connsiteY24" fmla="*/ 67247 h 383598"/>
                  <a:gd name="connsiteX25" fmla="*/ 425541 w 676938"/>
                  <a:gd name="connsiteY25" fmla="*/ 63862 h 383598"/>
                  <a:gd name="connsiteX26" fmla="*/ 414259 w 676938"/>
                  <a:gd name="connsiteY26" fmla="*/ 57770 h 383598"/>
                  <a:gd name="connsiteX27" fmla="*/ 392597 w 676938"/>
                  <a:gd name="connsiteY27" fmla="*/ 53031 h 383598"/>
                  <a:gd name="connsiteX28" fmla="*/ 337314 w 676938"/>
                  <a:gd name="connsiteY28" fmla="*/ 43554 h 383598"/>
                  <a:gd name="connsiteX29" fmla="*/ 312042 w 676938"/>
                  <a:gd name="connsiteY29" fmla="*/ 62508 h 383598"/>
                  <a:gd name="connsiteX30" fmla="*/ 245025 w 676938"/>
                  <a:gd name="connsiteY30" fmla="*/ 133812 h 383598"/>
                  <a:gd name="connsiteX31" fmla="*/ 207793 w 676938"/>
                  <a:gd name="connsiteY31" fmla="*/ 141936 h 383598"/>
                  <a:gd name="connsiteX32" fmla="*/ 189290 w 676938"/>
                  <a:gd name="connsiteY32" fmla="*/ 189321 h 383598"/>
                  <a:gd name="connsiteX33" fmla="*/ 129268 w 676938"/>
                  <a:gd name="connsiteY33" fmla="*/ 246861 h 383598"/>
                  <a:gd name="connsiteX34" fmla="*/ 117083 w 676938"/>
                  <a:gd name="connsiteY34" fmla="*/ 259272 h 383598"/>
                  <a:gd name="connsiteX35" fmla="*/ 86621 w 676938"/>
                  <a:gd name="connsiteY35" fmla="*/ 268298 h 383598"/>
                  <a:gd name="connsiteX36" fmla="*/ 74887 w 676938"/>
                  <a:gd name="connsiteY36" fmla="*/ 260851 h 383598"/>
                  <a:gd name="connsiteX37" fmla="*/ 67892 w 676938"/>
                  <a:gd name="connsiteY37" fmla="*/ 264687 h 383598"/>
                  <a:gd name="connsiteX38" fmla="*/ 56159 w 676938"/>
                  <a:gd name="connsiteY38" fmla="*/ 275969 h 383598"/>
                  <a:gd name="connsiteX39" fmla="*/ 36979 w 676938"/>
                  <a:gd name="connsiteY39" fmla="*/ 286349 h 383598"/>
                  <a:gd name="connsiteX40" fmla="*/ 26148 w 676938"/>
                  <a:gd name="connsiteY40" fmla="*/ 277775 h 383598"/>
                  <a:gd name="connsiteX41" fmla="*/ 7419 w 676938"/>
                  <a:gd name="connsiteY41" fmla="*/ 270328 h 383598"/>
                  <a:gd name="connsiteX42" fmla="*/ 7419 w 676938"/>
                  <a:gd name="connsiteY42" fmla="*/ 281611 h 383598"/>
                  <a:gd name="connsiteX43" fmla="*/ 2680 w 676938"/>
                  <a:gd name="connsiteY43" fmla="*/ 291539 h 383598"/>
                  <a:gd name="connsiteX44" fmla="*/ 875 w 676938"/>
                  <a:gd name="connsiteY44" fmla="*/ 303273 h 383598"/>
                  <a:gd name="connsiteX45" fmla="*/ 10352 w 676938"/>
                  <a:gd name="connsiteY45" fmla="*/ 314555 h 383598"/>
                  <a:gd name="connsiteX46" fmla="*/ 20732 w 676938"/>
                  <a:gd name="connsiteY46" fmla="*/ 319294 h 383598"/>
                  <a:gd name="connsiteX47" fmla="*/ 26373 w 676938"/>
                  <a:gd name="connsiteY47" fmla="*/ 317488 h 383598"/>
                  <a:gd name="connsiteX48" fmla="*/ 47133 w 676938"/>
                  <a:gd name="connsiteY48" fmla="*/ 314555 h 383598"/>
                  <a:gd name="connsiteX49" fmla="*/ 58867 w 676938"/>
                  <a:gd name="connsiteY49" fmla="*/ 322001 h 383598"/>
                  <a:gd name="connsiteX50" fmla="*/ 67892 w 676938"/>
                  <a:gd name="connsiteY50" fmla="*/ 340279 h 383598"/>
                  <a:gd name="connsiteX51" fmla="*/ 63605 w 676938"/>
                  <a:gd name="connsiteY51" fmla="*/ 356300 h 383598"/>
                  <a:gd name="connsiteX52" fmla="*/ 67892 w 676938"/>
                  <a:gd name="connsiteY52" fmla="*/ 370515 h 383598"/>
                  <a:gd name="connsiteX53" fmla="*/ 74436 w 676938"/>
                  <a:gd name="connsiteY53" fmla="*/ 386085 h 383598"/>
                  <a:gd name="connsiteX54" fmla="*/ 72631 w 676938"/>
                  <a:gd name="connsiteY54" fmla="*/ 400977 h 383598"/>
                  <a:gd name="connsiteX55" fmla="*/ 70826 w 676938"/>
                  <a:gd name="connsiteY55" fmla="*/ 401429 h 383598"/>
                  <a:gd name="connsiteX56" fmla="*/ 70826 w 676938"/>
                  <a:gd name="connsiteY56" fmla="*/ 401429 h 383598"/>
                  <a:gd name="connsiteX57" fmla="*/ 75339 w 676938"/>
                  <a:gd name="connsiteY57" fmla="*/ 400075 h 383598"/>
                  <a:gd name="connsiteX58" fmla="*/ 75564 w 676938"/>
                  <a:gd name="connsiteY58" fmla="*/ 400075 h 383598"/>
                  <a:gd name="connsiteX59" fmla="*/ 110088 w 676938"/>
                  <a:gd name="connsiteY59" fmla="*/ 386987 h 383598"/>
                  <a:gd name="connsiteX60" fmla="*/ 136489 w 676938"/>
                  <a:gd name="connsiteY60" fmla="*/ 373223 h 383598"/>
                  <a:gd name="connsiteX61" fmla="*/ 167854 w 676938"/>
                  <a:gd name="connsiteY61" fmla="*/ 377059 h 383598"/>
                  <a:gd name="connsiteX62" fmla="*/ 188613 w 676938"/>
                  <a:gd name="connsiteY62" fmla="*/ 383377 h 383598"/>
                  <a:gd name="connsiteX63" fmla="*/ 215465 w 676938"/>
                  <a:gd name="connsiteY63" fmla="*/ 375931 h 383598"/>
                  <a:gd name="connsiteX64" fmla="*/ 240512 w 676938"/>
                  <a:gd name="connsiteY64" fmla="*/ 373449 h 383598"/>
                  <a:gd name="connsiteX65" fmla="*/ 268040 w 676938"/>
                  <a:gd name="connsiteY65" fmla="*/ 363971 h 383598"/>
                  <a:gd name="connsiteX66" fmla="*/ 282482 w 676938"/>
                  <a:gd name="connsiteY66" fmla="*/ 353366 h 383598"/>
                  <a:gd name="connsiteX67" fmla="*/ 289928 w 676938"/>
                  <a:gd name="connsiteY67" fmla="*/ 328996 h 383598"/>
                  <a:gd name="connsiteX68" fmla="*/ 310688 w 676938"/>
                  <a:gd name="connsiteY68" fmla="*/ 305755 h 383598"/>
                  <a:gd name="connsiteX69" fmla="*/ 322647 w 676938"/>
                  <a:gd name="connsiteY69" fmla="*/ 290185 h 383598"/>
                  <a:gd name="connsiteX70" fmla="*/ 318360 w 676938"/>
                  <a:gd name="connsiteY70" fmla="*/ 281385 h 383598"/>
                  <a:gd name="connsiteX71" fmla="*/ 325355 w 676938"/>
                  <a:gd name="connsiteY71" fmla="*/ 275067 h 383598"/>
                  <a:gd name="connsiteX72" fmla="*/ 348596 w 676938"/>
                  <a:gd name="connsiteY72" fmla="*/ 278226 h 383598"/>
                  <a:gd name="connsiteX73" fmla="*/ 380638 w 676938"/>
                  <a:gd name="connsiteY73" fmla="*/ 263785 h 383598"/>
                  <a:gd name="connsiteX74" fmla="*/ 409520 w 676938"/>
                  <a:gd name="connsiteY74" fmla="*/ 249343 h 383598"/>
                  <a:gd name="connsiteX75" fmla="*/ 437726 w 676938"/>
                  <a:gd name="connsiteY75" fmla="*/ 230615 h 383598"/>
                  <a:gd name="connsiteX76" fmla="*/ 454650 w 676938"/>
                  <a:gd name="connsiteY76" fmla="*/ 225650 h 383598"/>
                  <a:gd name="connsiteX77" fmla="*/ 470219 w 676938"/>
                  <a:gd name="connsiteY77" fmla="*/ 226327 h 383598"/>
                  <a:gd name="connsiteX78" fmla="*/ 482179 w 676938"/>
                  <a:gd name="connsiteY78" fmla="*/ 215045 h 383598"/>
                  <a:gd name="connsiteX79" fmla="*/ 488497 w 676938"/>
                  <a:gd name="connsiteY79" fmla="*/ 207599 h 383598"/>
                  <a:gd name="connsiteX80" fmla="*/ 513543 w 676938"/>
                  <a:gd name="connsiteY80" fmla="*/ 206922 h 383598"/>
                  <a:gd name="connsiteX81" fmla="*/ 521667 w 676938"/>
                  <a:gd name="connsiteY81" fmla="*/ 203086 h 383598"/>
                  <a:gd name="connsiteX82" fmla="*/ 516702 w 676938"/>
                  <a:gd name="connsiteY82" fmla="*/ 220009 h 383598"/>
                  <a:gd name="connsiteX83" fmla="*/ 506774 w 676938"/>
                  <a:gd name="connsiteY83" fmla="*/ 235128 h 383598"/>
                  <a:gd name="connsiteX84" fmla="*/ 508579 w 676938"/>
                  <a:gd name="connsiteY84" fmla="*/ 250246 h 383598"/>
                  <a:gd name="connsiteX85" fmla="*/ 512415 w 676938"/>
                  <a:gd name="connsiteY85" fmla="*/ 260174 h 383598"/>
                  <a:gd name="connsiteX86" fmla="*/ 519861 w 676938"/>
                  <a:gd name="connsiteY86" fmla="*/ 268298 h 383598"/>
                  <a:gd name="connsiteX87" fmla="*/ 522344 w 676938"/>
                  <a:gd name="connsiteY87" fmla="*/ 282062 h 383598"/>
                  <a:gd name="connsiteX88" fmla="*/ 529790 w 676938"/>
                  <a:gd name="connsiteY88" fmla="*/ 280257 h 383598"/>
                  <a:gd name="connsiteX89" fmla="*/ 533626 w 676938"/>
                  <a:gd name="connsiteY89" fmla="*/ 276421 h 383598"/>
                  <a:gd name="connsiteX90" fmla="*/ 540621 w 676938"/>
                  <a:gd name="connsiteY90" fmla="*/ 289508 h 383598"/>
                  <a:gd name="connsiteX91" fmla="*/ 528662 w 676938"/>
                  <a:gd name="connsiteY91" fmla="*/ 298308 h 383598"/>
                  <a:gd name="connsiteX92" fmla="*/ 517379 w 676938"/>
                  <a:gd name="connsiteY92" fmla="*/ 301468 h 383598"/>
                  <a:gd name="connsiteX93" fmla="*/ 506774 w 676938"/>
                  <a:gd name="connsiteY93" fmla="*/ 307109 h 383598"/>
                  <a:gd name="connsiteX94" fmla="*/ 492333 w 676938"/>
                  <a:gd name="connsiteY94" fmla="*/ 312073 h 383598"/>
                  <a:gd name="connsiteX95" fmla="*/ 481727 w 676938"/>
                  <a:gd name="connsiteY95" fmla="*/ 309591 h 383598"/>
                  <a:gd name="connsiteX96" fmla="*/ 475409 w 676938"/>
                  <a:gd name="connsiteY96" fmla="*/ 324032 h 383598"/>
                  <a:gd name="connsiteX97" fmla="*/ 459163 w 676938"/>
                  <a:gd name="connsiteY97" fmla="*/ 331478 h 383598"/>
                  <a:gd name="connsiteX98" fmla="*/ 448332 w 676938"/>
                  <a:gd name="connsiteY98" fmla="*/ 342535 h 383598"/>
                  <a:gd name="connsiteX99" fmla="*/ 451039 w 676938"/>
                  <a:gd name="connsiteY99" fmla="*/ 363520 h 383598"/>
                  <a:gd name="connsiteX100" fmla="*/ 460065 w 676938"/>
                  <a:gd name="connsiteY100" fmla="*/ 389695 h 383598"/>
                  <a:gd name="connsiteX101" fmla="*/ 467060 w 676938"/>
                  <a:gd name="connsiteY101" fmla="*/ 389244 h 383598"/>
                  <a:gd name="connsiteX102" fmla="*/ 494138 w 676938"/>
                  <a:gd name="connsiteY102" fmla="*/ 363746 h 383598"/>
                  <a:gd name="connsiteX103" fmla="*/ 553257 w 676938"/>
                  <a:gd name="connsiteY103" fmla="*/ 305529 h 383598"/>
                  <a:gd name="connsiteX104" fmla="*/ 579206 w 676938"/>
                  <a:gd name="connsiteY104" fmla="*/ 290185 h 383598"/>
                  <a:gd name="connsiteX105" fmla="*/ 600417 w 676938"/>
                  <a:gd name="connsiteY105" fmla="*/ 284544 h 383598"/>
                  <a:gd name="connsiteX106" fmla="*/ 626366 w 676938"/>
                  <a:gd name="connsiteY106" fmla="*/ 278452 h 383598"/>
                  <a:gd name="connsiteX107" fmla="*/ 644644 w 676938"/>
                  <a:gd name="connsiteY107" fmla="*/ 290637 h 383598"/>
                  <a:gd name="connsiteX108" fmla="*/ 662019 w 676938"/>
                  <a:gd name="connsiteY108" fmla="*/ 301919 h 383598"/>
                  <a:gd name="connsiteX109" fmla="*/ 670593 w 676938"/>
                  <a:gd name="connsiteY109" fmla="*/ 287703 h 383598"/>
                  <a:gd name="connsiteX110" fmla="*/ 655024 w 676938"/>
                  <a:gd name="connsiteY110" fmla="*/ 271231 h 383598"/>
                  <a:gd name="connsiteX111" fmla="*/ 647126 w 676938"/>
                  <a:gd name="connsiteY111" fmla="*/ 250923 h 383598"/>
                  <a:gd name="connsiteX112" fmla="*/ 648480 w 676938"/>
                  <a:gd name="connsiteY112" fmla="*/ 237384 h 383598"/>
                  <a:gd name="connsiteX113" fmla="*/ 657506 w 676938"/>
                  <a:gd name="connsiteY113" fmla="*/ 223845 h 383598"/>
                  <a:gd name="connsiteX114" fmla="*/ 671044 w 676938"/>
                  <a:gd name="connsiteY114" fmla="*/ 205568 h 383598"/>
                  <a:gd name="connsiteX115" fmla="*/ 682327 w 676938"/>
                  <a:gd name="connsiteY115" fmla="*/ 189998 h 383598"/>
                  <a:gd name="connsiteX116" fmla="*/ 690224 w 676938"/>
                  <a:gd name="connsiteY116" fmla="*/ 169239 h 383598"/>
                  <a:gd name="connsiteX117" fmla="*/ 689096 w 676938"/>
                  <a:gd name="connsiteY117" fmla="*/ 153218 h 383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676938" h="383598">
                    <a:moveTo>
                      <a:pt x="689096" y="153218"/>
                    </a:moveTo>
                    <a:cubicBezTo>
                      <a:pt x="693383" y="142838"/>
                      <a:pt x="684809" y="140582"/>
                      <a:pt x="676009" y="139002"/>
                    </a:cubicBezTo>
                    <a:cubicBezTo>
                      <a:pt x="667208" y="137423"/>
                      <a:pt x="666983" y="137648"/>
                      <a:pt x="660439" y="136069"/>
                    </a:cubicBezTo>
                    <a:cubicBezTo>
                      <a:pt x="653895" y="134489"/>
                      <a:pt x="652541" y="129074"/>
                      <a:pt x="641711" y="134715"/>
                    </a:cubicBezTo>
                    <a:cubicBezTo>
                      <a:pt x="630879" y="140356"/>
                      <a:pt x="628172" y="136971"/>
                      <a:pt x="622530" y="138100"/>
                    </a:cubicBezTo>
                    <a:cubicBezTo>
                      <a:pt x="616889" y="139002"/>
                      <a:pt x="604253" y="128623"/>
                      <a:pt x="595227" y="126366"/>
                    </a:cubicBezTo>
                    <a:cubicBezTo>
                      <a:pt x="586201" y="124110"/>
                      <a:pt x="586201" y="130653"/>
                      <a:pt x="579658" y="134941"/>
                    </a:cubicBezTo>
                    <a:cubicBezTo>
                      <a:pt x="573114" y="139228"/>
                      <a:pt x="570632" y="140582"/>
                      <a:pt x="566119" y="140582"/>
                    </a:cubicBezTo>
                    <a:cubicBezTo>
                      <a:pt x="561606" y="140582"/>
                      <a:pt x="559575" y="137648"/>
                      <a:pt x="560026" y="131556"/>
                    </a:cubicBezTo>
                    <a:cubicBezTo>
                      <a:pt x="560478" y="125464"/>
                      <a:pt x="558673" y="120725"/>
                      <a:pt x="565217" y="115084"/>
                    </a:cubicBezTo>
                    <a:cubicBezTo>
                      <a:pt x="571760" y="109443"/>
                      <a:pt x="572212" y="105155"/>
                      <a:pt x="577401" y="99514"/>
                    </a:cubicBezTo>
                    <a:cubicBezTo>
                      <a:pt x="582591" y="93873"/>
                      <a:pt x="583945" y="90940"/>
                      <a:pt x="583494" y="83493"/>
                    </a:cubicBezTo>
                    <a:cubicBezTo>
                      <a:pt x="583042" y="76047"/>
                      <a:pt x="577401" y="68826"/>
                      <a:pt x="570858" y="64313"/>
                    </a:cubicBezTo>
                    <a:cubicBezTo>
                      <a:pt x="564314" y="59575"/>
                      <a:pt x="566119" y="48744"/>
                      <a:pt x="558221" y="47390"/>
                    </a:cubicBezTo>
                    <a:cubicBezTo>
                      <a:pt x="550324" y="46036"/>
                      <a:pt x="551678" y="49646"/>
                      <a:pt x="546939" y="54836"/>
                    </a:cubicBezTo>
                    <a:cubicBezTo>
                      <a:pt x="542201" y="60026"/>
                      <a:pt x="535657" y="68375"/>
                      <a:pt x="532723" y="62734"/>
                    </a:cubicBezTo>
                    <a:cubicBezTo>
                      <a:pt x="529790" y="57093"/>
                      <a:pt x="531370" y="56642"/>
                      <a:pt x="529339" y="49195"/>
                    </a:cubicBezTo>
                    <a:cubicBezTo>
                      <a:pt x="527533" y="41749"/>
                      <a:pt x="531144" y="43554"/>
                      <a:pt x="536334" y="37462"/>
                    </a:cubicBezTo>
                    <a:cubicBezTo>
                      <a:pt x="541524" y="31369"/>
                      <a:pt x="549421" y="20538"/>
                      <a:pt x="537236" y="20087"/>
                    </a:cubicBezTo>
                    <a:cubicBezTo>
                      <a:pt x="525052" y="19636"/>
                      <a:pt x="534303" y="16251"/>
                      <a:pt x="529339" y="7902"/>
                    </a:cubicBezTo>
                    <a:cubicBezTo>
                      <a:pt x="524374" y="-447"/>
                      <a:pt x="523697" y="4"/>
                      <a:pt x="516251" y="4"/>
                    </a:cubicBezTo>
                    <a:cubicBezTo>
                      <a:pt x="508805" y="4"/>
                      <a:pt x="491882" y="16928"/>
                      <a:pt x="486691" y="18282"/>
                    </a:cubicBezTo>
                    <a:cubicBezTo>
                      <a:pt x="481502" y="19636"/>
                      <a:pt x="459839" y="31820"/>
                      <a:pt x="455101" y="38139"/>
                    </a:cubicBezTo>
                    <a:cubicBezTo>
                      <a:pt x="450362" y="44231"/>
                      <a:pt x="452844" y="51226"/>
                      <a:pt x="443819" y="53708"/>
                    </a:cubicBezTo>
                    <a:cubicBezTo>
                      <a:pt x="434793" y="55965"/>
                      <a:pt x="442014" y="66796"/>
                      <a:pt x="435921" y="67247"/>
                    </a:cubicBezTo>
                    <a:cubicBezTo>
                      <a:pt x="429829" y="67698"/>
                      <a:pt x="430280" y="65893"/>
                      <a:pt x="425541" y="63862"/>
                    </a:cubicBezTo>
                    <a:cubicBezTo>
                      <a:pt x="420803" y="62057"/>
                      <a:pt x="421706" y="62057"/>
                      <a:pt x="414259" y="57770"/>
                    </a:cubicBezTo>
                    <a:cubicBezTo>
                      <a:pt x="406813" y="53482"/>
                      <a:pt x="400043" y="52129"/>
                      <a:pt x="392597" y="53031"/>
                    </a:cubicBezTo>
                    <a:cubicBezTo>
                      <a:pt x="371838" y="55739"/>
                      <a:pt x="356494" y="37687"/>
                      <a:pt x="337314" y="43554"/>
                    </a:cubicBezTo>
                    <a:cubicBezTo>
                      <a:pt x="327160" y="46713"/>
                      <a:pt x="318811" y="54159"/>
                      <a:pt x="312042" y="62508"/>
                    </a:cubicBezTo>
                    <a:cubicBezTo>
                      <a:pt x="290831" y="88232"/>
                      <a:pt x="277292" y="125464"/>
                      <a:pt x="245025" y="133812"/>
                    </a:cubicBezTo>
                    <a:cubicBezTo>
                      <a:pt x="232614" y="136971"/>
                      <a:pt x="218850" y="135166"/>
                      <a:pt x="207793" y="141936"/>
                    </a:cubicBezTo>
                    <a:cubicBezTo>
                      <a:pt x="192675" y="151187"/>
                      <a:pt x="190192" y="171495"/>
                      <a:pt x="189290" y="189321"/>
                    </a:cubicBezTo>
                    <a:cubicBezTo>
                      <a:pt x="158602" y="188644"/>
                      <a:pt x="129945" y="216173"/>
                      <a:pt x="129268" y="246861"/>
                    </a:cubicBezTo>
                    <a:cubicBezTo>
                      <a:pt x="123175" y="247538"/>
                      <a:pt x="117760" y="252954"/>
                      <a:pt x="117083" y="259272"/>
                    </a:cubicBezTo>
                    <a:cubicBezTo>
                      <a:pt x="110991" y="260626"/>
                      <a:pt x="91585" y="269651"/>
                      <a:pt x="86621" y="268298"/>
                    </a:cubicBezTo>
                    <a:cubicBezTo>
                      <a:pt x="82334" y="267395"/>
                      <a:pt x="81431" y="259272"/>
                      <a:pt x="74887" y="260851"/>
                    </a:cubicBezTo>
                    <a:cubicBezTo>
                      <a:pt x="68344" y="262205"/>
                      <a:pt x="74887" y="260851"/>
                      <a:pt x="67892" y="264687"/>
                    </a:cubicBezTo>
                    <a:cubicBezTo>
                      <a:pt x="60897" y="268523"/>
                      <a:pt x="61349" y="275969"/>
                      <a:pt x="56159" y="275969"/>
                    </a:cubicBezTo>
                    <a:cubicBezTo>
                      <a:pt x="50969" y="275969"/>
                      <a:pt x="45328" y="286349"/>
                      <a:pt x="36979" y="286349"/>
                    </a:cubicBezTo>
                    <a:cubicBezTo>
                      <a:pt x="28630" y="286349"/>
                      <a:pt x="33143" y="284544"/>
                      <a:pt x="26148" y="277775"/>
                    </a:cubicBezTo>
                    <a:cubicBezTo>
                      <a:pt x="19153" y="271231"/>
                      <a:pt x="13511" y="268749"/>
                      <a:pt x="7419" y="270328"/>
                    </a:cubicBezTo>
                    <a:cubicBezTo>
                      <a:pt x="1327" y="271682"/>
                      <a:pt x="9676" y="278903"/>
                      <a:pt x="7419" y="281611"/>
                    </a:cubicBezTo>
                    <a:cubicBezTo>
                      <a:pt x="5163" y="284544"/>
                      <a:pt x="6968" y="288606"/>
                      <a:pt x="2680" y="291539"/>
                    </a:cubicBezTo>
                    <a:cubicBezTo>
                      <a:pt x="-1607" y="294473"/>
                      <a:pt x="424" y="297632"/>
                      <a:pt x="875" y="303273"/>
                    </a:cubicBezTo>
                    <a:cubicBezTo>
                      <a:pt x="1327" y="308914"/>
                      <a:pt x="7870" y="314555"/>
                      <a:pt x="10352" y="314555"/>
                    </a:cubicBezTo>
                    <a:cubicBezTo>
                      <a:pt x="12609" y="314555"/>
                      <a:pt x="17799" y="316360"/>
                      <a:pt x="20732" y="319294"/>
                    </a:cubicBezTo>
                    <a:cubicBezTo>
                      <a:pt x="23666" y="322227"/>
                      <a:pt x="21635" y="316360"/>
                      <a:pt x="26373" y="317488"/>
                    </a:cubicBezTo>
                    <a:cubicBezTo>
                      <a:pt x="31112" y="318391"/>
                      <a:pt x="42845" y="315683"/>
                      <a:pt x="47133" y="314555"/>
                    </a:cubicBezTo>
                    <a:cubicBezTo>
                      <a:pt x="51420" y="313652"/>
                      <a:pt x="57964" y="320196"/>
                      <a:pt x="58867" y="322001"/>
                    </a:cubicBezTo>
                    <a:cubicBezTo>
                      <a:pt x="59769" y="323807"/>
                      <a:pt x="67892" y="336217"/>
                      <a:pt x="67892" y="340279"/>
                    </a:cubicBezTo>
                    <a:cubicBezTo>
                      <a:pt x="67892" y="344340"/>
                      <a:pt x="66990" y="350207"/>
                      <a:pt x="63605" y="356300"/>
                    </a:cubicBezTo>
                    <a:cubicBezTo>
                      <a:pt x="60220" y="362392"/>
                      <a:pt x="63605" y="368033"/>
                      <a:pt x="67892" y="370515"/>
                    </a:cubicBezTo>
                    <a:cubicBezTo>
                      <a:pt x="72180" y="372772"/>
                      <a:pt x="73985" y="378413"/>
                      <a:pt x="74436" y="386085"/>
                    </a:cubicBezTo>
                    <a:cubicBezTo>
                      <a:pt x="74887" y="393531"/>
                      <a:pt x="72631" y="400977"/>
                      <a:pt x="72631" y="400977"/>
                    </a:cubicBezTo>
                    <a:cubicBezTo>
                      <a:pt x="71954" y="401203"/>
                      <a:pt x="71277" y="401429"/>
                      <a:pt x="70826" y="401429"/>
                    </a:cubicBezTo>
                    <a:lnTo>
                      <a:pt x="70826" y="401429"/>
                    </a:lnTo>
                    <a:cubicBezTo>
                      <a:pt x="73759" y="401880"/>
                      <a:pt x="75339" y="400075"/>
                      <a:pt x="75339" y="400075"/>
                    </a:cubicBezTo>
                    <a:cubicBezTo>
                      <a:pt x="75339" y="400075"/>
                      <a:pt x="75564" y="400075"/>
                      <a:pt x="75564" y="400075"/>
                    </a:cubicBezTo>
                    <a:cubicBezTo>
                      <a:pt x="91811" y="395111"/>
                      <a:pt x="94970" y="390598"/>
                      <a:pt x="110088" y="386987"/>
                    </a:cubicBezTo>
                    <a:cubicBezTo>
                      <a:pt x="125207" y="383151"/>
                      <a:pt x="128817" y="377510"/>
                      <a:pt x="136489" y="373223"/>
                    </a:cubicBezTo>
                    <a:cubicBezTo>
                      <a:pt x="143935" y="368936"/>
                      <a:pt x="157248" y="374577"/>
                      <a:pt x="167854" y="377059"/>
                    </a:cubicBezTo>
                    <a:cubicBezTo>
                      <a:pt x="178459" y="379541"/>
                      <a:pt x="179136" y="383377"/>
                      <a:pt x="188613" y="383377"/>
                    </a:cubicBezTo>
                    <a:cubicBezTo>
                      <a:pt x="198090" y="383377"/>
                      <a:pt x="204860" y="377059"/>
                      <a:pt x="215465" y="375931"/>
                    </a:cubicBezTo>
                    <a:cubicBezTo>
                      <a:pt x="226070" y="374577"/>
                      <a:pt x="227424" y="373449"/>
                      <a:pt x="240512" y="373449"/>
                    </a:cubicBezTo>
                    <a:cubicBezTo>
                      <a:pt x="253599" y="373449"/>
                      <a:pt x="261722" y="367808"/>
                      <a:pt x="268040" y="363971"/>
                    </a:cubicBezTo>
                    <a:cubicBezTo>
                      <a:pt x="274359" y="360136"/>
                      <a:pt x="281128" y="360812"/>
                      <a:pt x="282482" y="353366"/>
                    </a:cubicBezTo>
                    <a:cubicBezTo>
                      <a:pt x="283836" y="345920"/>
                      <a:pt x="281128" y="337120"/>
                      <a:pt x="289928" y="328996"/>
                    </a:cubicBezTo>
                    <a:cubicBezTo>
                      <a:pt x="298728" y="320873"/>
                      <a:pt x="303015" y="313427"/>
                      <a:pt x="310688" y="305755"/>
                    </a:cubicBezTo>
                    <a:cubicBezTo>
                      <a:pt x="318134" y="298308"/>
                      <a:pt x="320616" y="293119"/>
                      <a:pt x="322647" y="290185"/>
                    </a:cubicBezTo>
                    <a:cubicBezTo>
                      <a:pt x="324452" y="287026"/>
                      <a:pt x="319488" y="285221"/>
                      <a:pt x="318360" y="281385"/>
                    </a:cubicBezTo>
                    <a:cubicBezTo>
                      <a:pt x="317006" y="277549"/>
                      <a:pt x="317683" y="266944"/>
                      <a:pt x="325355" y="275067"/>
                    </a:cubicBezTo>
                    <a:cubicBezTo>
                      <a:pt x="332801" y="283190"/>
                      <a:pt x="336637" y="283190"/>
                      <a:pt x="348596" y="278226"/>
                    </a:cubicBezTo>
                    <a:cubicBezTo>
                      <a:pt x="360555" y="273262"/>
                      <a:pt x="363037" y="271908"/>
                      <a:pt x="380638" y="263785"/>
                    </a:cubicBezTo>
                    <a:cubicBezTo>
                      <a:pt x="398238" y="255661"/>
                      <a:pt x="392597" y="252502"/>
                      <a:pt x="409520" y="249343"/>
                    </a:cubicBezTo>
                    <a:cubicBezTo>
                      <a:pt x="426444" y="246184"/>
                      <a:pt x="427798" y="234225"/>
                      <a:pt x="437726" y="230615"/>
                    </a:cubicBezTo>
                    <a:cubicBezTo>
                      <a:pt x="447655" y="226779"/>
                      <a:pt x="443367" y="224973"/>
                      <a:pt x="454650" y="225650"/>
                    </a:cubicBezTo>
                    <a:cubicBezTo>
                      <a:pt x="465932" y="226327"/>
                      <a:pt x="464578" y="229938"/>
                      <a:pt x="470219" y="226327"/>
                    </a:cubicBezTo>
                    <a:cubicBezTo>
                      <a:pt x="475860" y="222491"/>
                      <a:pt x="478343" y="220686"/>
                      <a:pt x="482179" y="215045"/>
                    </a:cubicBezTo>
                    <a:cubicBezTo>
                      <a:pt x="486014" y="209404"/>
                      <a:pt x="473378" y="208050"/>
                      <a:pt x="488497" y="207599"/>
                    </a:cubicBezTo>
                    <a:cubicBezTo>
                      <a:pt x="503615" y="206922"/>
                      <a:pt x="505420" y="210758"/>
                      <a:pt x="513543" y="206922"/>
                    </a:cubicBezTo>
                    <a:cubicBezTo>
                      <a:pt x="521667" y="203086"/>
                      <a:pt x="510384" y="203763"/>
                      <a:pt x="521667" y="203086"/>
                    </a:cubicBezTo>
                    <a:cubicBezTo>
                      <a:pt x="532949" y="202409"/>
                      <a:pt x="520313" y="214368"/>
                      <a:pt x="516702" y="220009"/>
                    </a:cubicBezTo>
                    <a:cubicBezTo>
                      <a:pt x="513092" y="225650"/>
                      <a:pt x="506097" y="228810"/>
                      <a:pt x="506774" y="235128"/>
                    </a:cubicBezTo>
                    <a:cubicBezTo>
                      <a:pt x="507451" y="241446"/>
                      <a:pt x="510610" y="245733"/>
                      <a:pt x="508579" y="250246"/>
                    </a:cubicBezTo>
                    <a:cubicBezTo>
                      <a:pt x="506774" y="254533"/>
                      <a:pt x="508579" y="255210"/>
                      <a:pt x="512415" y="260174"/>
                    </a:cubicBezTo>
                    <a:cubicBezTo>
                      <a:pt x="516251" y="265138"/>
                      <a:pt x="519410" y="261979"/>
                      <a:pt x="519861" y="268298"/>
                    </a:cubicBezTo>
                    <a:cubicBezTo>
                      <a:pt x="520538" y="274616"/>
                      <a:pt x="520538" y="278903"/>
                      <a:pt x="522344" y="282062"/>
                    </a:cubicBezTo>
                    <a:cubicBezTo>
                      <a:pt x="524149" y="285221"/>
                      <a:pt x="526179" y="283867"/>
                      <a:pt x="529790" y="280257"/>
                    </a:cubicBezTo>
                    <a:cubicBezTo>
                      <a:pt x="533626" y="276421"/>
                      <a:pt x="527985" y="273939"/>
                      <a:pt x="533626" y="276421"/>
                    </a:cubicBezTo>
                    <a:cubicBezTo>
                      <a:pt x="539267" y="278903"/>
                      <a:pt x="544908" y="283867"/>
                      <a:pt x="540621" y="289508"/>
                    </a:cubicBezTo>
                    <a:cubicBezTo>
                      <a:pt x="536334" y="295149"/>
                      <a:pt x="534980" y="296955"/>
                      <a:pt x="528662" y="298308"/>
                    </a:cubicBezTo>
                    <a:cubicBezTo>
                      <a:pt x="522344" y="299662"/>
                      <a:pt x="520538" y="296503"/>
                      <a:pt x="517379" y="301468"/>
                    </a:cubicBezTo>
                    <a:cubicBezTo>
                      <a:pt x="514220" y="306432"/>
                      <a:pt x="514220" y="300114"/>
                      <a:pt x="506774" y="307109"/>
                    </a:cubicBezTo>
                    <a:cubicBezTo>
                      <a:pt x="499328" y="314104"/>
                      <a:pt x="498651" y="313427"/>
                      <a:pt x="492333" y="312073"/>
                    </a:cubicBezTo>
                    <a:cubicBezTo>
                      <a:pt x="486014" y="310719"/>
                      <a:pt x="484209" y="299437"/>
                      <a:pt x="481727" y="309591"/>
                    </a:cubicBezTo>
                    <a:cubicBezTo>
                      <a:pt x="479245" y="319519"/>
                      <a:pt x="479922" y="318391"/>
                      <a:pt x="475409" y="324032"/>
                    </a:cubicBezTo>
                    <a:cubicBezTo>
                      <a:pt x="471122" y="329673"/>
                      <a:pt x="463450" y="324032"/>
                      <a:pt x="459163" y="331478"/>
                    </a:cubicBezTo>
                    <a:cubicBezTo>
                      <a:pt x="457583" y="334186"/>
                      <a:pt x="453296" y="338248"/>
                      <a:pt x="448332" y="342535"/>
                    </a:cubicBezTo>
                    <a:cubicBezTo>
                      <a:pt x="452619" y="348176"/>
                      <a:pt x="453521" y="356751"/>
                      <a:pt x="451039" y="363520"/>
                    </a:cubicBezTo>
                    <a:cubicBezTo>
                      <a:pt x="448332" y="370741"/>
                      <a:pt x="457132" y="379767"/>
                      <a:pt x="460065" y="389695"/>
                    </a:cubicBezTo>
                    <a:cubicBezTo>
                      <a:pt x="462322" y="390146"/>
                      <a:pt x="464578" y="390598"/>
                      <a:pt x="467060" y="389244"/>
                    </a:cubicBezTo>
                    <a:cubicBezTo>
                      <a:pt x="477214" y="384054"/>
                      <a:pt x="486014" y="371869"/>
                      <a:pt x="494138" y="363746"/>
                    </a:cubicBezTo>
                    <a:cubicBezTo>
                      <a:pt x="513769" y="344340"/>
                      <a:pt x="533626" y="324935"/>
                      <a:pt x="553257" y="305529"/>
                    </a:cubicBezTo>
                    <a:cubicBezTo>
                      <a:pt x="560703" y="298083"/>
                      <a:pt x="569729" y="290185"/>
                      <a:pt x="579206" y="290185"/>
                    </a:cubicBezTo>
                    <a:cubicBezTo>
                      <a:pt x="588684" y="290185"/>
                      <a:pt x="593873" y="289283"/>
                      <a:pt x="600417" y="284544"/>
                    </a:cubicBezTo>
                    <a:cubicBezTo>
                      <a:pt x="606961" y="279806"/>
                      <a:pt x="618243" y="277098"/>
                      <a:pt x="626366" y="278452"/>
                    </a:cubicBezTo>
                    <a:cubicBezTo>
                      <a:pt x="634264" y="279806"/>
                      <a:pt x="638552" y="284544"/>
                      <a:pt x="644644" y="290637"/>
                    </a:cubicBezTo>
                    <a:cubicBezTo>
                      <a:pt x="650736" y="296729"/>
                      <a:pt x="650285" y="301016"/>
                      <a:pt x="662019" y="301919"/>
                    </a:cubicBezTo>
                    <a:cubicBezTo>
                      <a:pt x="673752" y="302821"/>
                      <a:pt x="673301" y="294021"/>
                      <a:pt x="670593" y="287703"/>
                    </a:cubicBezTo>
                    <a:cubicBezTo>
                      <a:pt x="667660" y="281611"/>
                      <a:pt x="666306" y="276421"/>
                      <a:pt x="655024" y="271231"/>
                    </a:cubicBezTo>
                    <a:cubicBezTo>
                      <a:pt x="643741" y="266041"/>
                      <a:pt x="647577" y="258143"/>
                      <a:pt x="647126" y="250923"/>
                    </a:cubicBezTo>
                    <a:cubicBezTo>
                      <a:pt x="646675" y="243928"/>
                      <a:pt x="646223" y="241897"/>
                      <a:pt x="648480" y="237384"/>
                    </a:cubicBezTo>
                    <a:cubicBezTo>
                      <a:pt x="650736" y="232645"/>
                      <a:pt x="649382" y="229938"/>
                      <a:pt x="657506" y="223845"/>
                    </a:cubicBezTo>
                    <a:cubicBezTo>
                      <a:pt x="665403" y="217753"/>
                      <a:pt x="663598" y="215271"/>
                      <a:pt x="671044" y="205568"/>
                    </a:cubicBezTo>
                    <a:cubicBezTo>
                      <a:pt x="678491" y="195640"/>
                      <a:pt x="678491" y="198573"/>
                      <a:pt x="682327" y="189998"/>
                    </a:cubicBezTo>
                    <a:cubicBezTo>
                      <a:pt x="686163" y="181424"/>
                      <a:pt x="694963" y="179167"/>
                      <a:pt x="690224" y="169239"/>
                    </a:cubicBezTo>
                    <a:cubicBezTo>
                      <a:pt x="685486" y="159310"/>
                      <a:pt x="684809" y="163598"/>
                      <a:pt x="689096" y="153218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xmlns="" id="{10505C41-F0C9-4802-AE96-81C9F74FC7E5}"/>
                  </a:ext>
                </a:extLst>
              </p:cNvPr>
              <p:cNvSpPr/>
              <p:nvPr/>
            </p:nvSpPr>
            <p:spPr>
              <a:xfrm>
                <a:off x="10740358" y="2295426"/>
                <a:ext cx="744632" cy="564115"/>
              </a:xfrm>
              <a:custGeom>
                <a:avLst/>
                <a:gdLst>
                  <a:gd name="connsiteX0" fmla="*/ 745986 w 744632"/>
                  <a:gd name="connsiteY0" fmla="*/ 73363 h 564115"/>
                  <a:gd name="connsiteX1" fmla="*/ 742150 w 744632"/>
                  <a:gd name="connsiteY1" fmla="*/ 77199 h 564115"/>
                  <a:gd name="connsiteX2" fmla="*/ 734704 w 744632"/>
                  <a:gd name="connsiteY2" fmla="*/ 79004 h 564115"/>
                  <a:gd name="connsiteX3" fmla="*/ 732222 w 744632"/>
                  <a:gd name="connsiteY3" fmla="*/ 65239 h 564115"/>
                  <a:gd name="connsiteX4" fmla="*/ 724775 w 744632"/>
                  <a:gd name="connsiteY4" fmla="*/ 57116 h 564115"/>
                  <a:gd name="connsiteX5" fmla="*/ 720939 w 744632"/>
                  <a:gd name="connsiteY5" fmla="*/ 47188 h 564115"/>
                  <a:gd name="connsiteX6" fmla="*/ 719134 w 744632"/>
                  <a:gd name="connsiteY6" fmla="*/ 32069 h 564115"/>
                  <a:gd name="connsiteX7" fmla="*/ 729063 w 744632"/>
                  <a:gd name="connsiteY7" fmla="*/ 16951 h 564115"/>
                  <a:gd name="connsiteX8" fmla="*/ 734027 w 744632"/>
                  <a:gd name="connsiteY8" fmla="*/ 28 h 564115"/>
                  <a:gd name="connsiteX9" fmla="*/ 725904 w 744632"/>
                  <a:gd name="connsiteY9" fmla="*/ 3864 h 564115"/>
                  <a:gd name="connsiteX10" fmla="*/ 700857 w 744632"/>
                  <a:gd name="connsiteY10" fmla="*/ 4541 h 564115"/>
                  <a:gd name="connsiteX11" fmla="*/ 694539 w 744632"/>
                  <a:gd name="connsiteY11" fmla="*/ 11987 h 564115"/>
                  <a:gd name="connsiteX12" fmla="*/ 682580 w 744632"/>
                  <a:gd name="connsiteY12" fmla="*/ 23269 h 564115"/>
                  <a:gd name="connsiteX13" fmla="*/ 667010 w 744632"/>
                  <a:gd name="connsiteY13" fmla="*/ 22592 h 564115"/>
                  <a:gd name="connsiteX14" fmla="*/ 650087 w 744632"/>
                  <a:gd name="connsiteY14" fmla="*/ 27556 h 564115"/>
                  <a:gd name="connsiteX15" fmla="*/ 621881 w 744632"/>
                  <a:gd name="connsiteY15" fmla="*/ 46285 h 564115"/>
                  <a:gd name="connsiteX16" fmla="*/ 592998 w 744632"/>
                  <a:gd name="connsiteY16" fmla="*/ 60726 h 564115"/>
                  <a:gd name="connsiteX17" fmla="*/ 560956 w 744632"/>
                  <a:gd name="connsiteY17" fmla="*/ 75168 h 564115"/>
                  <a:gd name="connsiteX18" fmla="*/ 537715 w 744632"/>
                  <a:gd name="connsiteY18" fmla="*/ 72009 h 564115"/>
                  <a:gd name="connsiteX19" fmla="*/ 530720 w 744632"/>
                  <a:gd name="connsiteY19" fmla="*/ 78327 h 564115"/>
                  <a:gd name="connsiteX20" fmla="*/ 535007 w 744632"/>
                  <a:gd name="connsiteY20" fmla="*/ 87127 h 564115"/>
                  <a:gd name="connsiteX21" fmla="*/ 523048 w 744632"/>
                  <a:gd name="connsiteY21" fmla="*/ 102697 h 564115"/>
                  <a:gd name="connsiteX22" fmla="*/ 502288 w 744632"/>
                  <a:gd name="connsiteY22" fmla="*/ 125938 h 564115"/>
                  <a:gd name="connsiteX23" fmla="*/ 494842 w 744632"/>
                  <a:gd name="connsiteY23" fmla="*/ 150308 h 564115"/>
                  <a:gd name="connsiteX24" fmla="*/ 480400 w 744632"/>
                  <a:gd name="connsiteY24" fmla="*/ 160913 h 564115"/>
                  <a:gd name="connsiteX25" fmla="*/ 452872 w 744632"/>
                  <a:gd name="connsiteY25" fmla="*/ 170390 h 564115"/>
                  <a:gd name="connsiteX26" fmla="*/ 427825 w 744632"/>
                  <a:gd name="connsiteY26" fmla="*/ 172872 h 564115"/>
                  <a:gd name="connsiteX27" fmla="*/ 400973 w 744632"/>
                  <a:gd name="connsiteY27" fmla="*/ 180319 h 564115"/>
                  <a:gd name="connsiteX28" fmla="*/ 380214 w 744632"/>
                  <a:gd name="connsiteY28" fmla="*/ 174001 h 564115"/>
                  <a:gd name="connsiteX29" fmla="*/ 348849 w 744632"/>
                  <a:gd name="connsiteY29" fmla="*/ 170165 h 564115"/>
                  <a:gd name="connsiteX30" fmla="*/ 322448 w 744632"/>
                  <a:gd name="connsiteY30" fmla="*/ 183929 h 564115"/>
                  <a:gd name="connsiteX31" fmla="*/ 287924 w 744632"/>
                  <a:gd name="connsiteY31" fmla="*/ 197017 h 564115"/>
                  <a:gd name="connsiteX32" fmla="*/ 287699 w 744632"/>
                  <a:gd name="connsiteY32" fmla="*/ 197017 h 564115"/>
                  <a:gd name="connsiteX33" fmla="*/ 283186 w 744632"/>
                  <a:gd name="connsiteY33" fmla="*/ 198371 h 564115"/>
                  <a:gd name="connsiteX34" fmla="*/ 262201 w 744632"/>
                  <a:gd name="connsiteY34" fmla="*/ 190699 h 564115"/>
                  <a:gd name="connsiteX35" fmla="*/ 237154 w 744632"/>
                  <a:gd name="connsiteY35" fmla="*/ 206268 h 564115"/>
                  <a:gd name="connsiteX36" fmla="*/ 213236 w 744632"/>
                  <a:gd name="connsiteY36" fmla="*/ 207622 h 564115"/>
                  <a:gd name="connsiteX37" fmla="*/ 198117 w 744632"/>
                  <a:gd name="connsiteY37" fmla="*/ 213940 h 564115"/>
                  <a:gd name="connsiteX38" fmla="*/ 178035 w 744632"/>
                  <a:gd name="connsiteY38" fmla="*/ 206945 h 564115"/>
                  <a:gd name="connsiteX39" fmla="*/ 149152 w 744632"/>
                  <a:gd name="connsiteY39" fmla="*/ 216873 h 564115"/>
                  <a:gd name="connsiteX40" fmla="*/ 124105 w 744632"/>
                  <a:gd name="connsiteY40" fmla="*/ 221161 h 564115"/>
                  <a:gd name="connsiteX41" fmla="*/ 92515 w 744632"/>
                  <a:gd name="connsiteY41" fmla="*/ 218904 h 564115"/>
                  <a:gd name="connsiteX42" fmla="*/ 78976 w 744632"/>
                  <a:gd name="connsiteY42" fmla="*/ 208525 h 564115"/>
                  <a:gd name="connsiteX43" fmla="*/ 65437 w 744632"/>
                  <a:gd name="connsiteY43" fmla="*/ 212812 h 564115"/>
                  <a:gd name="connsiteX44" fmla="*/ 55058 w 744632"/>
                  <a:gd name="connsiteY44" fmla="*/ 227028 h 564115"/>
                  <a:gd name="connsiteX45" fmla="*/ 37683 w 744632"/>
                  <a:gd name="connsiteY45" fmla="*/ 234023 h 564115"/>
                  <a:gd name="connsiteX46" fmla="*/ 16021 w 744632"/>
                  <a:gd name="connsiteY46" fmla="*/ 237407 h 564115"/>
                  <a:gd name="connsiteX47" fmla="*/ 16698 w 744632"/>
                  <a:gd name="connsiteY47" fmla="*/ 242372 h 564115"/>
                  <a:gd name="connsiteX48" fmla="*/ 12862 w 744632"/>
                  <a:gd name="connsiteY48" fmla="*/ 273736 h 564115"/>
                  <a:gd name="connsiteX49" fmla="*/ 2933 w 744632"/>
                  <a:gd name="connsiteY49" fmla="*/ 303747 h 564115"/>
                  <a:gd name="connsiteX50" fmla="*/ 0 w 744632"/>
                  <a:gd name="connsiteY50" fmla="*/ 309614 h 564115"/>
                  <a:gd name="connsiteX51" fmla="*/ 3385 w 744632"/>
                  <a:gd name="connsiteY51" fmla="*/ 310065 h 564115"/>
                  <a:gd name="connsiteX52" fmla="*/ 12410 w 744632"/>
                  <a:gd name="connsiteY52" fmla="*/ 322250 h 564115"/>
                  <a:gd name="connsiteX53" fmla="*/ 22339 w 744632"/>
                  <a:gd name="connsiteY53" fmla="*/ 338722 h 564115"/>
                  <a:gd name="connsiteX54" fmla="*/ 18052 w 744632"/>
                  <a:gd name="connsiteY54" fmla="*/ 357902 h 564115"/>
                  <a:gd name="connsiteX55" fmla="*/ 23242 w 744632"/>
                  <a:gd name="connsiteY55" fmla="*/ 375277 h 564115"/>
                  <a:gd name="connsiteX56" fmla="*/ 27754 w 744632"/>
                  <a:gd name="connsiteY56" fmla="*/ 391749 h 564115"/>
                  <a:gd name="connsiteX57" fmla="*/ 29334 w 744632"/>
                  <a:gd name="connsiteY57" fmla="*/ 391749 h 564115"/>
                  <a:gd name="connsiteX58" fmla="*/ 39262 w 744632"/>
                  <a:gd name="connsiteY58" fmla="*/ 385206 h 564115"/>
                  <a:gd name="connsiteX59" fmla="*/ 34975 w 744632"/>
                  <a:gd name="connsiteY59" fmla="*/ 375728 h 564115"/>
                  <a:gd name="connsiteX60" fmla="*/ 34072 w 744632"/>
                  <a:gd name="connsiteY60" fmla="*/ 364446 h 564115"/>
                  <a:gd name="connsiteX61" fmla="*/ 46709 w 744632"/>
                  <a:gd name="connsiteY61" fmla="*/ 348877 h 564115"/>
                  <a:gd name="connsiteX62" fmla="*/ 61376 w 744632"/>
                  <a:gd name="connsiteY62" fmla="*/ 338497 h 564115"/>
                  <a:gd name="connsiteX63" fmla="*/ 81233 w 744632"/>
                  <a:gd name="connsiteY63" fmla="*/ 332404 h 564115"/>
                  <a:gd name="connsiteX64" fmla="*/ 99510 w 744632"/>
                  <a:gd name="connsiteY64" fmla="*/ 331953 h 564115"/>
                  <a:gd name="connsiteX65" fmla="*/ 103797 w 744632"/>
                  <a:gd name="connsiteY65" fmla="*/ 343235 h 564115"/>
                  <a:gd name="connsiteX66" fmla="*/ 125008 w 744632"/>
                  <a:gd name="connsiteY66" fmla="*/ 337143 h 564115"/>
                  <a:gd name="connsiteX67" fmla="*/ 144188 w 744632"/>
                  <a:gd name="connsiteY67" fmla="*/ 337594 h 564115"/>
                  <a:gd name="connsiteX68" fmla="*/ 162917 w 744632"/>
                  <a:gd name="connsiteY68" fmla="*/ 342333 h 564115"/>
                  <a:gd name="connsiteX69" fmla="*/ 177132 w 744632"/>
                  <a:gd name="connsiteY69" fmla="*/ 341430 h 564115"/>
                  <a:gd name="connsiteX70" fmla="*/ 184127 w 744632"/>
                  <a:gd name="connsiteY70" fmla="*/ 354969 h 564115"/>
                  <a:gd name="connsiteX71" fmla="*/ 192702 w 744632"/>
                  <a:gd name="connsiteY71" fmla="*/ 356323 h 564115"/>
                  <a:gd name="connsiteX72" fmla="*/ 200148 w 744632"/>
                  <a:gd name="connsiteY72" fmla="*/ 344138 h 564115"/>
                  <a:gd name="connsiteX73" fmla="*/ 212333 w 744632"/>
                  <a:gd name="connsiteY73" fmla="*/ 339851 h 564115"/>
                  <a:gd name="connsiteX74" fmla="*/ 221810 w 744632"/>
                  <a:gd name="connsiteY74" fmla="*/ 332404 h 564115"/>
                  <a:gd name="connsiteX75" fmla="*/ 226549 w 744632"/>
                  <a:gd name="connsiteY75" fmla="*/ 318189 h 564115"/>
                  <a:gd name="connsiteX76" fmla="*/ 240764 w 744632"/>
                  <a:gd name="connsiteY76" fmla="*/ 317737 h 564115"/>
                  <a:gd name="connsiteX77" fmla="*/ 252949 w 744632"/>
                  <a:gd name="connsiteY77" fmla="*/ 312999 h 564115"/>
                  <a:gd name="connsiteX78" fmla="*/ 269873 w 744632"/>
                  <a:gd name="connsiteY78" fmla="*/ 308260 h 564115"/>
                  <a:gd name="connsiteX79" fmla="*/ 291083 w 744632"/>
                  <a:gd name="connsiteY79" fmla="*/ 306906 h 564115"/>
                  <a:gd name="connsiteX80" fmla="*/ 309361 w 744632"/>
                  <a:gd name="connsiteY80" fmla="*/ 308711 h 564115"/>
                  <a:gd name="connsiteX81" fmla="*/ 303720 w 744632"/>
                  <a:gd name="connsiteY81" fmla="*/ 321799 h 564115"/>
                  <a:gd name="connsiteX82" fmla="*/ 302817 w 744632"/>
                  <a:gd name="connsiteY82" fmla="*/ 344364 h 564115"/>
                  <a:gd name="connsiteX83" fmla="*/ 311843 w 744632"/>
                  <a:gd name="connsiteY83" fmla="*/ 352261 h 564115"/>
                  <a:gd name="connsiteX84" fmla="*/ 340500 w 744632"/>
                  <a:gd name="connsiteY84" fmla="*/ 349328 h 564115"/>
                  <a:gd name="connsiteX85" fmla="*/ 350880 w 744632"/>
                  <a:gd name="connsiteY85" fmla="*/ 362866 h 564115"/>
                  <a:gd name="connsiteX86" fmla="*/ 367352 w 744632"/>
                  <a:gd name="connsiteY86" fmla="*/ 368056 h 564115"/>
                  <a:gd name="connsiteX87" fmla="*/ 366901 w 744632"/>
                  <a:gd name="connsiteY87" fmla="*/ 385431 h 564115"/>
                  <a:gd name="connsiteX88" fmla="*/ 377732 w 744632"/>
                  <a:gd name="connsiteY88" fmla="*/ 397165 h 564115"/>
                  <a:gd name="connsiteX89" fmla="*/ 378634 w 744632"/>
                  <a:gd name="connsiteY89" fmla="*/ 412283 h 564115"/>
                  <a:gd name="connsiteX90" fmla="*/ 368706 w 744632"/>
                  <a:gd name="connsiteY90" fmla="*/ 424017 h 564115"/>
                  <a:gd name="connsiteX91" fmla="*/ 362162 w 744632"/>
                  <a:gd name="connsiteY91" fmla="*/ 429206 h 564115"/>
                  <a:gd name="connsiteX92" fmla="*/ 345464 w 744632"/>
                  <a:gd name="connsiteY92" fmla="*/ 438007 h 564115"/>
                  <a:gd name="connsiteX93" fmla="*/ 346141 w 744632"/>
                  <a:gd name="connsiteY93" fmla="*/ 439135 h 564115"/>
                  <a:gd name="connsiteX94" fmla="*/ 347946 w 744632"/>
                  <a:gd name="connsiteY94" fmla="*/ 445453 h 564115"/>
                  <a:gd name="connsiteX95" fmla="*/ 355393 w 744632"/>
                  <a:gd name="connsiteY95" fmla="*/ 458541 h 564115"/>
                  <a:gd name="connsiteX96" fmla="*/ 344787 w 744632"/>
                  <a:gd name="connsiteY96" fmla="*/ 465987 h 564115"/>
                  <a:gd name="connsiteX97" fmla="*/ 337566 w 744632"/>
                  <a:gd name="connsiteY97" fmla="*/ 460120 h 564115"/>
                  <a:gd name="connsiteX98" fmla="*/ 328766 w 744632"/>
                  <a:gd name="connsiteY98" fmla="*/ 467341 h 564115"/>
                  <a:gd name="connsiteX99" fmla="*/ 329443 w 744632"/>
                  <a:gd name="connsiteY99" fmla="*/ 478623 h 564115"/>
                  <a:gd name="connsiteX100" fmla="*/ 327864 w 744632"/>
                  <a:gd name="connsiteY100" fmla="*/ 490808 h 564115"/>
                  <a:gd name="connsiteX101" fmla="*/ 330120 w 744632"/>
                  <a:gd name="connsiteY101" fmla="*/ 506152 h 564115"/>
                  <a:gd name="connsiteX102" fmla="*/ 327638 w 744632"/>
                  <a:gd name="connsiteY102" fmla="*/ 515178 h 564115"/>
                  <a:gd name="connsiteX103" fmla="*/ 326510 w 744632"/>
                  <a:gd name="connsiteY103" fmla="*/ 516306 h 564115"/>
                  <a:gd name="connsiteX104" fmla="*/ 331023 w 744632"/>
                  <a:gd name="connsiteY104" fmla="*/ 520142 h 564115"/>
                  <a:gd name="connsiteX105" fmla="*/ 333956 w 744632"/>
                  <a:gd name="connsiteY105" fmla="*/ 534357 h 564115"/>
                  <a:gd name="connsiteX106" fmla="*/ 336438 w 744632"/>
                  <a:gd name="connsiteY106" fmla="*/ 550379 h 564115"/>
                  <a:gd name="connsiteX107" fmla="*/ 347495 w 744632"/>
                  <a:gd name="connsiteY107" fmla="*/ 554440 h 564115"/>
                  <a:gd name="connsiteX108" fmla="*/ 358100 w 744632"/>
                  <a:gd name="connsiteY108" fmla="*/ 556922 h 564115"/>
                  <a:gd name="connsiteX109" fmla="*/ 361936 w 744632"/>
                  <a:gd name="connsiteY109" fmla="*/ 567979 h 564115"/>
                  <a:gd name="connsiteX110" fmla="*/ 370736 w 744632"/>
                  <a:gd name="connsiteY110" fmla="*/ 560533 h 564115"/>
                  <a:gd name="connsiteX111" fmla="*/ 381116 w 744632"/>
                  <a:gd name="connsiteY111" fmla="*/ 544286 h 564115"/>
                  <a:gd name="connsiteX112" fmla="*/ 391045 w 744632"/>
                  <a:gd name="connsiteY112" fmla="*/ 527588 h 564115"/>
                  <a:gd name="connsiteX113" fmla="*/ 395332 w 744632"/>
                  <a:gd name="connsiteY113" fmla="*/ 514501 h 564115"/>
                  <a:gd name="connsiteX114" fmla="*/ 402553 w 744632"/>
                  <a:gd name="connsiteY114" fmla="*/ 526009 h 564115"/>
                  <a:gd name="connsiteX115" fmla="*/ 415640 w 744632"/>
                  <a:gd name="connsiteY115" fmla="*/ 528265 h 564115"/>
                  <a:gd name="connsiteX116" fmla="*/ 424440 w 744632"/>
                  <a:gd name="connsiteY116" fmla="*/ 526460 h 564115"/>
                  <a:gd name="connsiteX117" fmla="*/ 431887 w 744632"/>
                  <a:gd name="connsiteY117" fmla="*/ 515178 h 564115"/>
                  <a:gd name="connsiteX118" fmla="*/ 428051 w 744632"/>
                  <a:gd name="connsiteY118" fmla="*/ 501413 h 564115"/>
                  <a:gd name="connsiteX119" fmla="*/ 428051 w 744632"/>
                  <a:gd name="connsiteY119" fmla="*/ 491485 h 564115"/>
                  <a:gd name="connsiteX120" fmla="*/ 430533 w 744632"/>
                  <a:gd name="connsiteY120" fmla="*/ 475915 h 564115"/>
                  <a:gd name="connsiteX121" fmla="*/ 432338 w 744632"/>
                  <a:gd name="connsiteY121" fmla="*/ 465987 h 564115"/>
                  <a:gd name="connsiteX122" fmla="*/ 447907 w 744632"/>
                  <a:gd name="connsiteY122" fmla="*/ 445904 h 564115"/>
                  <a:gd name="connsiteX123" fmla="*/ 451744 w 744632"/>
                  <a:gd name="connsiteY123" fmla="*/ 431463 h 564115"/>
                  <a:gd name="connsiteX124" fmla="*/ 456031 w 744632"/>
                  <a:gd name="connsiteY124" fmla="*/ 408221 h 564115"/>
                  <a:gd name="connsiteX125" fmla="*/ 468667 w 744632"/>
                  <a:gd name="connsiteY125" fmla="*/ 387011 h 564115"/>
                  <a:gd name="connsiteX126" fmla="*/ 462349 w 744632"/>
                  <a:gd name="connsiteY126" fmla="*/ 369410 h 564115"/>
                  <a:gd name="connsiteX127" fmla="*/ 459867 w 744632"/>
                  <a:gd name="connsiteY127" fmla="*/ 353841 h 564115"/>
                  <a:gd name="connsiteX128" fmla="*/ 482432 w 744632"/>
                  <a:gd name="connsiteY128" fmla="*/ 322476 h 564115"/>
                  <a:gd name="connsiteX129" fmla="*/ 505673 w 744632"/>
                  <a:gd name="connsiteY129" fmla="*/ 312547 h 564115"/>
                  <a:gd name="connsiteX130" fmla="*/ 513119 w 744632"/>
                  <a:gd name="connsiteY130" fmla="*/ 319994 h 564115"/>
                  <a:gd name="connsiteX131" fmla="*/ 528238 w 744632"/>
                  <a:gd name="connsiteY131" fmla="*/ 305552 h 564115"/>
                  <a:gd name="connsiteX132" fmla="*/ 521920 w 744632"/>
                  <a:gd name="connsiteY132" fmla="*/ 281183 h 564115"/>
                  <a:gd name="connsiteX133" fmla="*/ 520565 w 744632"/>
                  <a:gd name="connsiteY133" fmla="*/ 259972 h 564115"/>
                  <a:gd name="connsiteX134" fmla="*/ 536135 w 744632"/>
                  <a:gd name="connsiteY134" fmla="*/ 239212 h 564115"/>
                  <a:gd name="connsiteX135" fmla="*/ 549900 w 744632"/>
                  <a:gd name="connsiteY135" fmla="*/ 215294 h 564115"/>
                  <a:gd name="connsiteX136" fmla="*/ 556895 w 744632"/>
                  <a:gd name="connsiteY136" fmla="*/ 220935 h 564115"/>
                  <a:gd name="connsiteX137" fmla="*/ 565018 w 744632"/>
                  <a:gd name="connsiteY137" fmla="*/ 213489 h 564115"/>
                  <a:gd name="connsiteX138" fmla="*/ 576977 w 744632"/>
                  <a:gd name="connsiteY138" fmla="*/ 195888 h 564115"/>
                  <a:gd name="connsiteX139" fmla="*/ 602701 w 744632"/>
                  <a:gd name="connsiteY139" fmla="*/ 180770 h 564115"/>
                  <a:gd name="connsiteX140" fmla="*/ 617819 w 744632"/>
                  <a:gd name="connsiteY140" fmla="*/ 166329 h 564115"/>
                  <a:gd name="connsiteX141" fmla="*/ 634743 w 744632"/>
                  <a:gd name="connsiteY141" fmla="*/ 154370 h 564115"/>
                  <a:gd name="connsiteX142" fmla="*/ 671072 w 744632"/>
                  <a:gd name="connsiteY142" fmla="*/ 127518 h 564115"/>
                  <a:gd name="connsiteX143" fmla="*/ 687318 w 744632"/>
                  <a:gd name="connsiteY143" fmla="*/ 120071 h 564115"/>
                  <a:gd name="connsiteX144" fmla="*/ 693636 w 744632"/>
                  <a:gd name="connsiteY144" fmla="*/ 105630 h 564115"/>
                  <a:gd name="connsiteX145" fmla="*/ 704241 w 744632"/>
                  <a:gd name="connsiteY145" fmla="*/ 108112 h 564115"/>
                  <a:gd name="connsiteX146" fmla="*/ 718683 w 744632"/>
                  <a:gd name="connsiteY146" fmla="*/ 103148 h 564115"/>
                  <a:gd name="connsiteX147" fmla="*/ 729288 w 744632"/>
                  <a:gd name="connsiteY147" fmla="*/ 97507 h 564115"/>
                  <a:gd name="connsiteX148" fmla="*/ 740570 w 744632"/>
                  <a:gd name="connsiteY148" fmla="*/ 94348 h 564115"/>
                  <a:gd name="connsiteX149" fmla="*/ 752530 w 744632"/>
                  <a:gd name="connsiteY149" fmla="*/ 85547 h 564115"/>
                  <a:gd name="connsiteX150" fmla="*/ 745986 w 744632"/>
                  <a:gd name="connsiteY150" fmla="*/ 73363 h 5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</a:cxnLst>
                <a:rect l="l" t="t" r="r" b="b"/>
                <a:pathLst>
                  <a:path w="744632" h="564115">
                    <a:moveTo>
                      <a:pt x="745986" y="73363"/>
                    </a:moveTo>
                    <a:cubicBezTo>
                      <a:pt x="740345" y="70880"/>
                      <a:pt x="745986" y="73363"/>
                      <a:pt x="742150" y="77199"/>
                    </a:cubicBezTo>
                    <a:cubicBezTo>
                      <a:pt x="738314" y="81035"/>
                      <a:pt x="736509" y="82163"/>
                      <a:pt x="734704" y="79004"/>
                    </a:cubicBezTo>
                    <a:cubicBezTo>
                      <a:pt x="732899" y="75845"/>
                      <a:pt x="732899" y="71557"/>
                      <a:pt x="732222" y="65239"/>
                    </a:cubicBezTo>
                    <a:cubicBezTo>
                      <a:pt x="731545" y="58921"/>
                      <a:pt x="728386" y="62080"/>
                      <a:pt x="724775" y="57116"/>
                    </a:cubicBezTo>
                    <a:cubicBezTo>
                      <a:pt x="720939" y="52152"/>
                      <a:pt x="719134" y="51475"/>
                      <a:pt x="720939" y="47188"/>
                    </a:cubicBezTo>
                    <a:cubicBezTo>
                      <a:pt x="722745" y="42900"/>
                      <a:pt x="719586" y="38387"/>
                      <a:pt x="719134" y="32069"/>
                    </a:cubicBezTo>
                    <a:cubicBezTo>
                      <a:pt x="718457" y="25751"/>
                      <a:pt x="725452" y="22592"/>
                      <a:pt x="729063" y="16951"/>
                    </a:cubicBezTo>
                    <a:cubicBezTo>
                      <a:pt x="732673" y="11310"/>
                      <a:pt x="745309" y="-649"/>
                      <a:pt x="734027" y="28"/>
                    </a:cubicBezTo>
                    <a:cubicBezTo>
                      <a:pt x="722745" y="704"/>
                      <a:pt x="734027" y="28"/>
                      <a:pt x="725904" y="3864"/>
                    </a:cubicBezTo>
                    <a:cubicBezTo>
                      <a:pt x="717780" y="7700"/>
                      <a:pt x="715975" y="3864"/>
                      <a:pt x="700857" y="4541"/>
                    </a:cubicBezTo>
                    <a:cubicBezTo>
                      <a:pt x="685739" y="5217"/>
                      <a:pt x="698375" y="6346"/>
                      <a:pt x="694539" y="11987"/>
                    </a:cubicBezTo>
                    <a:cubicBezTo>
                      <a:pt x="690703" y="17628"/>
                      <a:pt x="688221" y="19433"/>
                      <a:pt x="682580" y="23269"/>
                    </a:cubicBezTo>
                    <a:cubicBezTo>
                      <a:pt x="676938" y="27105"/>
                      <a:pt x="678292" y="23269"/>
                      <a:pt x="667010" y="22592"/>
                    </a:cubicBezTo>
                    <a:cubicBezTo>
                      <a:pt x="655728" y="21915"/>
                      <a:pt x="660015" y="23946"/>
                      <a:pt x="650087" y="27556"/>
                    </a:cubicBezTo>
                    <a:cubicBezTo>
                      <a:pt x="640158" y="31392"/>
                      <a:pt x="638804" y="43126"/>
                      <a:pt x="621881" y="46285"/>
                    </a:cubicBezTo>
                    <a:cubicBezTo>
                      <a:pt x="604957" y="49444"/>
                      <a:pt x="610598" y="52603"/>
                      <a:pt x="592998" y="60726"/>
                    </a:cubicBezTo>
                    <a:cubicBezTo>
                      <a:pt x="575398" y="68850"/>
                      <a:pt x="572916" y="70204"/>
                      <a:pt x="560956" y="75168"/>
                    </a:cubicBezTo>
                    <a:cubicBezTo>
                      <a:pt x="548997" y="80132"/>
                      <a:pt x="545387" y="80132"/>
                      <a:pt x="537715" y="72009"/>
                    </a:cubicBezTo>
                    <a:cubicBezTo>
                      <a:pt x="530268" y="63885"/>
                      <a:pt x="529592" y="74491"/>
                      <a:pt x="530720" y="78327"/>
                    </a:cubicBezTo>
                    <a:cubicBezTo>
                      <a:pt x="532074" y="82163"/>
                      <a:pt x="537038" y="83968"/>
                      <a:pt x="535007" y="87127"/>
                    </a:cubicBezTo>
                    <a:cubicBezTo>
                      <a:pt x="533202" y="90286"/>
                      <a:pt x="530720" y="95250"/>
                      <a:pt x="523048" y="102697"/>
                    </a:cubicBezTo>
                    <a:cubicBezTo>
                      <a:pt x="515601" y="110143"/>
                      <a:pt x="511088" y="117815"/>
                      <a:pt x="502288" y="125938"/>
                    </a:cubicBezTo>
                    <a:cubicBezTo>
                      <a:pt x="493488" y="134061"/>
                      <a:pt x="495970" y="142862"/>
                      <a:pt x="494842" y="150308"/>
                    </a:cubicBezTo>
                    <a:cubicBezTo>
                      <a:pt x="493488" y="157754"/>
                      <a:pt x="486719" y="157303"/>
                      <a:pt x="480400" y="160913"/>
                    </a:cubicBezTo>
                    <a:cubicBezTo>
                      <a:pt x="474082" y="164749"/>
                      <a:pt x="465959" y="170390"/>
                      <a:pt x="452872" y="170390"/>
                    </a:cubicBezTo>
                    <a:cubicBezTo>
                      <a:pt x="439784" y="170390"/>
                      <a:pt x="438430" y="171744"/>
                      <a:pt x="427825" y="172872"/>
                    </a:cubicBezTo>
                    <a:cubicBezTo>
                      <a:pt x="417220" y="174226"/>
                      <a:pt x="410225" y="180319"/>
                      <a:pt x="400973" y="180319"/>
                    </a:cubicBezTo>
                    <a:cubicBezTo>
                      <a:pt x="391496" y="180319"/>
                      <a:pt x="391045" y="176483"/>
                      <a:pt x="380214" y="174001"/>
                    </a:cubicBezTo>
                    <a:cubicBezTo>
                      <a:pt x="369609" y="171519"/>
                      <a:pt x="356295" y="165877"/>
                      <a:pt x="348849" y="170165"/>
                    </a:cubicBezTo>
                    <a:cubicBezTo>
                      <a:pt x="341403" y="174452"/>
                      <a:pt x="337566" y="180093"/>
                      <a:pt x="322448" y="183929"/>
                    </a:cubicBezTo>
                    <a:cubicBezTo>
                      <a:pt x="307330" y="187765"/>
                      <a:pt x="304171" y="192052"/>
                      <a:pt x="287924" y="197017"/>
                    </a:cubicBezTo>
                    <a:cubicBezTo>
                      <a:pt x="287924" y="197017"/>
                      <a:pt x="287699" y="197017"/>
                      <a:pt x="287699" y="197017"/>
                    </a:cubicBezTo>
                    <a:cubicBezTo>
                      <a:pt x="287699" y="197017"/>
                      <a:pt x="286119" y="198822"/>
                      <a:pt x="283186" y="198371"/>
                    </a:cubicBezTo>
                    <a:cubicBezTo>
                      <a:pt x="272806" y="201304"/>
                      <a:pt x="276191" y="197919"/>
                      <a:pt x="262201" y="190699"/>
                    </a:cubicBezTo>
                    <a:cubicBezTo>
                      <a:pt x="246631" y="182575"/>
                      <a:pt x="248436" y="206268"/>
                      <a:pt x="237154" y="206268"/>
                    </a:cubicBezTo>
                    <a:cubicBezTo>
                      <a:pt x="225872" y="206268"/>
                      <a:pt x="220908" y="210104"/>
                      <a:pt x="213236" y="207622"/>
                    </a:cubicBezTo>
                    <a:cubicBezTo>
                      <a:pt x="205789" y="205140"/>
                      <a:pt x="201953" y="208976"/>
                      <a:pt x="198117" y="213940"/>
                    </a:cubicBezTo>
                    <a:cubicBezTo>
                      <a:pt x="194281" y="218904"/>
                      <a:pt x="191122" y="212586"/>
                      <a:pt x="178035" y="206945"/>
                    </a:cubicBezTo>
                    <a:cubicBezTo>
                      <a:pt x="164947" y="201304"/>
                      <a:pt x="166076" y="216873"/>
                      <a:pt x="149152" y="216873"/>
                    </a:cubicBezTo>
                    <a:cubicBezTo>
                      <a:pt x="132229" y="216873"/>
                      <a:pt x="139675" y="217550"/>
                      <a:pt x="124105" y="221161"/>
                    </a:cubicBezTo>
                    <a:cubicBezTo>
                      <a:pt x="108536" y="224997"/>
                      <a:pt x="97253" y="220935"/>
                      <a:pt x="92515" y="218904"/>
                    </a:cubicBezTo>
                    <a:cubicBezTo>
                      <a:pt x="87776" y="217099"/>
                      <a:pt x="85971" y="208525"/>
                      <a:pt x="78976" y="208525"/>
                    </a:cubicBezTo>
                    <a:cubicBezTo>
                      <a:pt x="71981" y="208525"/>
                      <a:pt x="71079" y="209878"/>
                      <a:pt x="65437" y="212812"/>
                    </a:cubicBezTo>
                    <a:cubicBezTo>
                      <a:pt x="59796" y="215745"/>
                      <a:pt x="60699" y="219807"/>
                      <a:pt x="55058" y="227028"/>
                    </a:cubicBezTo>
                    <a:cubicBezTo>
                      <a:pt x="49416" y="234248"/>
                      <a:pt x="48063" y="234023"/>
                      <a:pt x="37683" y="234023"/>
                    </a:cubicBezTo>
                    <a:cubicBezTo>
                      <a:pt x="29560" y="234023"/>
                      <a:pt x="21211" y="236730"/>
                      <a:pt x="16021" y="237407"/>
                    </a:cubicBezTo>
                    <a:cubicBezTo>
                      <a:pt x="16472" y="238987"/>
                      <a:pt x="16698" y="240792"/>
                      <a:pt x="16698" y="242372"/>
                    </a:cubicBezTo>
                    <a:cubicBezTo>
                      <a:pt x="16698" y="256136"/>
                      <a:pt x="12862" y="260649"/>
                      <a:pt x="12862" y="273736"/>
                    </a:cubicBezTo>
                    <a:cubicBezTo>
                      <a:pt x="12862" y="286824"/>
                      <a:pt x="6544" y="296978"/>
                      <a:pt x="2933" y="303747"/>
                    </a:cubicBezTo>
                    <a:cubicBezTo>
                      <a:pt x="1805" y="305778"/>
                      <a:pt x="903" y="307583"/>
                      <a:pt x="0" y="309614"/>
                    </a:cubicBezTo>
                    <a:cubicBezTo>
                      <a:pt x="1354" y="309840"/>
                      <a:pt x="2708" y="310065"/>
                      <a:pt x="3385" y="310065"/>
                    </a:cubicBezTo>
                    <a:cubicBezTo>
                      <a:pt x="6318" y="310065"/>
                      <a:pt x="10380" y="318640"/>
                      <a:pt x="12410" y="322250"/>
                    </a:cubicBezTo>
                    <a:cubicBezTo>
                      <a:pt x="14216" y="326086"/>
                      <a:pt x="22339" y="335338"/>
                      <a:pt x="22339" y="338722"/>
                    </a:cubicBezTo>
                    <a:cubicBezTo>
                      <a:pt x="22339" y="342107"/>
                      <a:pt x="18503" y="354292"/>
                      <a:pt x="18052" y="357902"/>
                    </a:cubicBezTo>
                    <a:cubicBezTo>
                      <a:pt x="17600" y="361738"/>
                      <a:pt x="17149" y="369185"/>
                      <a:pt x="23242" y="375277"/>
                    </a:cubicBezTo>
                    <a:cubicBezTo>
                      <a:pt x="29108" y="381144"/>
                      <a:pt x="27077" y="388590"/>
                      <a:pt x="27754" y="391749"/>
                    </a:cubicBezTo>
                    <a:cubicBezTo>
                      <a:pt x="28206" y="391749"/>
                      <a:pt x="28883" y="391749"/>
                      <a:pt x="29334" y="391749"/>
                    </a:cubicBezTo>
                    <a:cubicBezTo>
                      <a:pt x="38360" y="392201"/>
                      <a:pt x="39262" y="387913"/>
                      <a:pt x="39262" y="385206"/>
                    </a:cubicBezTo>
                    <a:cubicBezTo>
                      <a:pt x="39262" y="382498"/>
                      <a:pt x="37457" y="379564"/>
                      <a:pt x="34975" y="375728"/>
                    </a:cubicBezTo>
                    <a:cubicBezTo>
                      <a:pt x="32719" y="371892"/>
                      <a:pt x="27077" y="369185"/>
                      <a:pt x="34072" y="364446"/>
                    </a:cubicBezTo>
                    <a:cubicBezTo>
                      <a:pt x="41068" y="359707"/>
                      <a:pt x="45355" y="354969"/>
                      <a:pt x="46709" y="348877"/>
                    </a:cubicBezTo>
                    <a:cubicBezTo>
                      <a:pt x="48063" y="342784"/>
                      <a:pt x="52801" y="339399"/>
                      <a:pt x="61376" y="338497"/>
                    </a:cubicBezTo>
                    <a:cubicBezTo>
                      <a:pt x="69950" y="337594"/>
                      <a:pt x="74463" y="332404"/>
                      <a:pt x="81233" y="332404"/>
                    </a:cubicBezTo>
                    <a:cubicBezTo>
                      <a:pt x="87776" y="332404"/>
                      <a:pt x="97253" y="327666"/>
                      <a:pt x="99510" y="331953"/>
                    </a:cubicBezTo>
                    <a:cubicBezTo>
                      <a:pt x="101766" y="336240"/>
                      <a:pt x="97253" y="343687"/>
                      <a:pt x="103797" y="343235"/>
                    </a:cubicBezTo>
                    <a:cubicBezTo>
                      <a:pt x="110341" y="342784"/>
                      <a:pt x="113726" y="335789"/>
                      <a:pt x="125008" y="337143"/>
                    </a:cubicBezTo>
                    <a:cubicBezTo>
                      <a:pt x="136290" y="338497"/>
                      <a:pt x="136742" y="340076"/>
                      <a:pt x="144188" y="337594"/>
                    </a:cubicBezTo>
                    <a:cubicBezTo>
                      <a:pt x="151634" y="335338"/>
                      <a:pt x="159306" y="338045"/>
                      <a:pt x="162917" y="342333"/>
                    </a:cubicBezTo>
                    <a:cubicBezTo>
                      <a:pt x="166752" y="346620"/>
                      <a:pt x="175101" y="344138"/>
                      <a:pt x="177132" y="341430"/>
                    </a:cubicBezTo>
                    <a:cubicBezTo>
                      <a:pt x="178937" y="338497"/>
                      <a:pt x="180066" y="348877"/>
                      <a:pt x="184127" y="354969"/>
                    </a:cubicBezTo>
                    <a:cubicBezTo>
                      <a:pt x="188414" y="361061"/>
                      <a:pt x="189768" y="360159"/>
                      <a:pt x="192702" y="356323"/>
                    </a:cubicBezTo>
                    <a:cubicBezTo>
                      <a:pt x="195635" y="352487"/>
                      <a:pt x="195635" y="344589"/>
                      <a:pt x="200148" y="344138"/>
                    </a:cubicBezTo>
                    <a:cubicBezTo>
                      <a:pt x="204887" y="343687"/>
                      <a:pt x="201502" y="340302"/>
                      <a:pt x="212333" y="339851"/>
                    </a:cubicBezTo>
                    <a:cubicBezTo>
                      <a:pt x="223164" y="339399"/>
                      <a:pt x="217523" y="336917"/>
                      <a:pt x="221810" y="332404"/>
                    </a:cubicBezTo>
                    <a:cubicBezTo>
                      <a:pt x="226098" y="327666"/>
                      <a:pt x="221359" y="321573"/>
                      <a:pt x="226549" y="318189"/>
                    </a:cubicBezTo>
                    <a:cubicBezTo>
                      <a:pt x="231739" y="314804"/>
                      <a:pt x="237380" y="313901"/>
                      <a:pt x="240764" y="317737"/>
                    </a:cubicBezTo>
                    <a:cubicBezTo>
                      <a:pt x="244149" y="321573"/>
                      <a:pt x="250693" y="318189"/>
                      <a:pt x="252949" y="312999"/>
                    </a:cubicBezTo>
                    <a:cubicBezTo>
                      <a:pt x="255206" y="307809"/>
                      <a:pt x="263329" y="305101"/>
                      <a:pt x="269873" y="308260"/>
                    </a:cubicBezTo>
                    <a:cubicBezTo>
                      <a:pt x="276417" y="311645"/>
                      <a:pt x="285894" y="308260"/>
                      <a:pt x="291083" y="306906"/>
                    </a:cubicBezTo>
                    <a:cubicBezTo>
                      <a:pt x="296274" y="305552"/>
                      <a:pt x="310940" y="305552"/>
                      <a:pt x="309361" y="308711"/>
                    </a:cubicBezTo>
                    <a:cubicBezTo>
                      <a:pt x="308007" y="312096"/>
                      <a:pt x="300335" y="316158"/>
                      <a:pt x="303720" y="321799"/>
                    </a:cubicBezTo>
                    <a:cubicBezTo>
                      <a:pt x="307104" y="327440"/>
                      <a:pt x="303720" y="341656"/>
                      <a:pt x="302817" y="344364"/>
                    </a:cubicBezTo>
                    <a:cubicBezTo>
                      <a:pt x="301915" y="347071"/>
                      <a:pt x="306653" y="354292"/>
                      <a:pt x="311843" y="352261"/>
                    </a:cubicBezTo>
                    <a:cubicBezTo>
                      <a:pt x="317033" y="350456"/>
                      <a:pt x="331700" y="340528"/>
                      <a:pt x="340500" y="349328"/>
                    </a:cubicBezTo>
                    <a:cubicBezTo>
                      <a:pt x="349526" y="358354"/>
                      <a:pt x="343885" y="361964"/>
                      <a:pt x="350880" y="362866"/>
                    </a:cubicBezTo>
                    <a:cubicBezTo>
                      <a:pt x="357875" y="363769"/>
                      <a:pt x="368706" y="363318"/>
                      <a:pt x="367352" y="368056"/>
                    </a:cubicBezTo>
                    <a:cubicBezTo>
                      <a:pt x="365998" y="372795"/>
                      <a:pt x="359454" y="380241"/>
                      <a:pt x="366901" y="385431"/>
                    </a:cubicBezTo>
                    <a:cubicBezTo>
                      <a:pt x="374347" y="390621"/>
                      <a:pt x="373895" y="389267"/>
                      <a:pt x="377732" y="397165"/>
                    </a:cubicBezTo>
                    <a:cubicBezTo>
                      <a:pt x="381568" y="405062"/>
                      <a:pt x="379988" y="403709"/>
                      <a:pt x="378634" y="412283"/>
                    </a:cubicBezTo>
                    <a:cubicBezTo>
                      <a:pt x="377280" y="420858"/>
                      <a:pt x="372542" y="422212"/>
                      <a:pt x="368706" y="424017"/>
                    </a:cubicBezTo>
                    <a:cubicBezTo>
                      <a:pt x="364870" y="425822"/>
                      <a:pt x="367352" y="424468"/>
                      <a:pt x="362162" y="429206"/>
                    </a:cubicBezTo>
                    <a:cubicBezTo>
                      <a:pt x="358326" y="432591"/>
                      <a:pt x="352008" y="433042"/>
                      <a:pt x="345464" y="438007"/>
                    </a:cubicBezTo>
                    <a:cubicBezTo>
                      <a:pt x="345916" y="438232"/>
                      <a:pt x="346141" y="438684"/>
                      <a:pt x="346141" y="439135"/>
                    </a:cubicBezTo>
                    <a:cubicBezTo>
                      <a:pt x="346367" y="442068"/>
                      <a:pt x="347721" y="443874"/>
                      <a:pt x="347946" y="445453"/>
                    </a:cubicBezTo>
                    <a:cubicBezTo>
                      <a:pt x="348172" y="447033"/>
                      <a:pt x="355393" y="455156"/>
                      <a:pt x="355393" y="458541"/>
                    </a:cubicBezTo>
                    <a:cubicBezTo>
                      <a:pt x="355393" y="461925"/>
                      <a:pt x="347269" y="463956"/>
                      <a:pt x="344787" y="465987"/>
                    </a:cubicBezTo>
                    <a:cubicBezTo>
                      <a:pt x="342305" y="468243"/>
                      <a:pt x="339823" y="462602"/>
                      <a:pt x="337566" y="460120"/>
                    </a:cubicBezTo>
                    <a:cubicBezTo>
                      <a:pt x="335310" y="457638"/>
                      <a:pt x="329669" y="460346"/>
                      <a:pt x="328766" y="467341"/>
                    </a:cubicBezTo>
                    <a:cubicBezTo>
                      <a:pt x="327864" y="474336"/>
                      <a:pt x="328992" y="475915"/>
                      <a:pt x="329443" y="478623"/>
                    </a:cubicBezTo>
                    <a:cubicBezTo>
                      <a:pt x="329669" y="481556"/>
                      <a:pt x="331248" y="486069"/>
                      <a:pt x="327864" y="490808"/>
                    </a:cubicBezTo>
                    <a:cubicBezTo>
                      <a:pt x="324479" y="495546"/>
                      <a:pt x="329669" y="504572"/>
                      <a:pt x="330120" y="506152"/>
                    </a:cubicBezTo>
                    <a:cubicBezTo>
                      <a:pt x="330346" y="507731"/>
                      <a:pt x="328541" y="514726"/>
                      <a:pt x="327638" y="515178"/>
                    </a:cubicBezTo>
                    <a:cubicBezTo>
                      <a:pt x="327412" y="515403"/>
                      <a:pt x="326961" y="515629"/>
                      <a:pt x="326510" y="516306"/>
                    </a:cubicBezTo>
                    <a:cubicBezTo>
                      <a:pt x="328541" y="517885"/>
                      <a:pt x="330120" y="519239"/>
                      <a:pt x="331023" y="520142"/>
                    </a:cubicBezTo>
                    <a:cubicBezTo>
                      <a:pt x="337566" y="528039"/>
                      <a:pt x="337566" y="524203"/>
                      <a:pt x="333956" y="534357"/>
                    </a:cubicBezTo>
                    <a:cubicBezTo>
                      <a:pt x="330120" y="544286"/>
                      <a:pt x="330571" y="545414"/>
                      <a:pt x="336438" y="550379"/>
                    </a:cubicBezTo>
                    <a:cubicBezTo>
                      <a:pt x="342305" y="555343"/>
                      <a:pt x="343433" y="557373"/>
                      <a:pt x="347495" y="554440"/>
                    </a:cubicBezTo>
                    <a:cubicBezTo>
                      <a:pt x="351557" y="551507"/>
                      <a:pt x="358100" y="550153"/>
                      <a:pt x="358100" y="556922"/>
                    </a:cubicBezTo>
                    <a:cubicBezTo>
                      <a:pt x="358100" y="563917"/>
                      <a:pt x="356295" y="565497"/>
                      <a:pt x="361936" y="567979"/>
                    </a:cubicBezTo>
                    <a:cubicBezTo>
                      <a:pt x="367577" y="570461"/>
                      <a:pt x="367803" y="568204"/>
                      <a:pt x="370736" y="560533"/>
                    </a:cubicBezTo>
                    <a:cubicBezTo>
                      <a:pt x="373670" y="552635"/>
                      <a:pt x="375024" y="549025"/>
                      <a:pt x="381116" y="544286"/>
                    </a:cubicBezTo>
                    <a:cubicBezTo>
                      <a:pt x="386983" y="539547"/>
                      <a:pt x="390819" y="536163"/>
                      <a:pt x="391045" y="527588"/>
                    </a:cubicBezTo>
                    <a:cubicBezTo>
                      <a:pt x="391270" y="519014"/>
                      <a:pt x="392399" y="516306"/>
                      <a:pt x="395332" y="514501"/>
                    </a:cubicBezTo>
                    <a:cubicBezTo>
                      <a:pt x="398491" y="512695"/>
                      <a:pt x="398717" y="518562"/>
                      <a:pt x="402553" y="526009"/>
                    </a:cubicBezTo>
                    <a:cubicBezTo>
                      <a:pt x="406389" y="533455"/>
                      <a:pt x="408194" y="530973"/>
                      <a:pt x="415640" y="528265"/>
                    </a:cubicBezTo>
                    <a:cubicBezTo>
                      <a:pt x="418122" y="527363"/>
                      <a:pt x="422635" y="526460"/>
                      <a:pt x="424440" y="526460"/>
                    </a:cubicBezTo>
                    <a:cubicBezTo>
                      <a:pt x="426246" y="526460"/>
                      <a:pt x="429405" y="522624"/>
                      <a:pt x="431887" y="515178"/>
                    </a:cubicBezTo>
                    <a:cubicBezTo>
                      <a:pt x="434369" y="507731"/>
                      <a:pt x="431210" y="508183"/>
                      <a:pt x="428051" y="501413"/>
                    </a:cubicBezTo>
                    <a:cubicBezTo>
                      <a:pt x="424892" y="494418"/>
                      <a:pt x="426697" y="495095"/>
                      <a:pt x="428051" y="491485"/>
                    </a:cubicBezTo>
                    <a:cubicBezTo>
                      <a:pt x="429405" y="487649"/>
                      <a:pt x="435046" y="482685"/>
                      <a:pt x="430533" y="475915"/>
                    </a:cubicBezTo>
                    <a:cubicBezTo>
                      <a:pt x="426246" y="468920"/>
                      <a:pt x="430533" y="470274"/>
                      <a:pt x="432338" y="465987"/>
                    </a:cubicBezTo>
                    <a:cubicBezTo>
                      <a:pt x="434143" y="461700"/>
                      <a:pt x="442266" y="450417"/>
                      <a:pt x="447907" y="445904"/>
                    </a:cubicBezTo>
                    <a:cubicBezTo>
                      <a:pt x="453549" y="441617"/>
                      <a:pt x="452195" y="437104"/>
                      <a:pt x="451744" y="431463"/>
                    </a:cubicBezTo>
                    <a:cubicBezTo>
                      <a:pt x="451067" y="425822"/>
                      <a:pt x="454226" y="415893"/>
                      <a:pt x="456031" y="408221"/>
                    </a:cubicBezTo>
                    <a:cubicBezTo>
                      <a:pt x="457836" y="400775"/>
                      <a:pt x="464154" y="397616"/>
                      <a:pt x="468667" y="387011"/>
                    </a:cubicBezTo>
                    <a:cubicBezTo>
                      <a:pt x="472954" y="376405"/>
                      <a:pt x="466862" y="376405"/>
                      <a:pt x="462349" y="369410"/>
                    </a:cubicBezTo>
                    <a:cubicBezTo>
                      <a:pt x="458062" y="362415"/>
                      <a:pt x="458062" y="359933"/>
                      <a:pt x="459867" y="353841"/>
                    </a:cubicBezTo>
                    <a:cubicBezTo>
                      <a:pt x="461672" y="347523"/>
                      <a:pt x="477467" y="328794"/>
                      <a:pt x="482432" y="322476"/>
                    </a:cubicBezTo>
                    <a:cubicBezTo>
                      <a:pt x="487395" y="316158"/>
                      <a:pt x="498678" y="311871"/>
                      <a:pt x="505673" y="312547"/>
                    </a:cubicBezTo>
                    <a:cubicBezTo>
                      <a:pt x="512668" y="313224"/>
                      <a:pt x="508155" y="322025"/>
                      <a:pt x="513119" y="319994"/>
                    </a:cubicBezTo>
                    <a:cubicBezTo>
                      <a:pt x="518083" y="318189"/>
                      <a:pt x="523725" y="312547"/>
                      <a:pt x="528238" y="305552"/>
                    </a:cubicBezTo>
                    <a:cubicBezTo>
                      <a:pt x="532525" y="298557"/>
                      <a:pt x="525756" y="288629"/>
                      <a:pt x="521920" y="281183"/>
                    </a:cubicBezTo>
                    <a:cubicBezTo>
                      <a:pt x="518083" y="273736"/>
                      <a:pt x="518761" y="273736"/>
                      <a:pt x="520565" y="259972"/>
                    </a:cubicBezTo>
                    <a:cubicBezTo>
                      <a:pt x="522371" y="246207"/>
                      <a:pt x="536135" y="245531"/>
                      <a:pt x="536135" y="239212"/>
                    </a:cubicBezTo>
                    <a:cubicBezTo>
                      <a:pt x="536135" y="232894"/>
                      <a:pt x="544258" y="222966"/>
                      <a:pt x="549900" y="215294"/>
                    </a:cubicBezTo>
                    <a:cubicBezTo>
                      <a:pt x="555541" y="207848"/>
                      <a:pt x="552382" y="219581"/>
                      <a:pt x="556895" y="220935"/>
                    </a:cubicBezTo>
                    <a:cubicBezTo>
                      <a:pt x="561182" y="222289"/>
                      <a:pt x="561859" y="219581"/>
                      <a:pt x="565018" y="213489"/>
                    </a:cubicBezTo>
                    <a:cubicBezTo>
                      <a:pt x="568177" y="207171"/>
                      <a:pt x="571336" y="200853"/>
                      <a:pt x="576977" y="195888"/>
                    </a:cubicBezTo>
                    <a:cubicBezTo>
                      <a:pt x="582618" y="190924"/>
                      <a:pt x="595706" y="186411"/>
                      <a:pt x="602701" y="180770"/>
                    </a:cubicBezTo>
                    <a:cubicBezTo>
                      <a:pt x="609696" y="175129"/>
                      <a:pt x="614660" y="175806"/>
                      <a:pt x="617819" y="166329"/>
                    </a:cubicBezTo>
                    <a:cubicBezTo>
                      <a:pt x="620978" y="156852"/>
                      <a:pt x="627747" y="155046"/>
                      <a:pt x="634743" y="154370"/>
                    </a:cubicBezTo>
                    <a:cubicBezTo>
                      <a:pt x="641738" y="153693"/>
                      <a:pt x="666784" y="134964"/>
                      <a:pt x="671072" y="127518"/>
                    </a:cubicBezTo>
                    <a:cubicBezTo>
                      <a:pt x="675359" y="120071"/>
                      <a:pt x="683031" y="125712"/>
                      <a:pt x="687318" y="120071"/>
                    </a:cubicBezTo>
                    <a:cubicBezTo>
                      <a:pt x="691605" y="114430"/>
                      <a:pt x="691154" y="115784"/>
                      <a:pt x="693636" y="105630"/>
                    </a:cubicBezTo>
                    <a:cubicBezTo>
                      <a:pt x="696118" y="95702"/>
                      <a:pt x="697923" y="106984"/>
                      <a:pt x="704241" y="108112"/>
                    </a:cubicBezTo>
                    <a:cubicBezTo>
                      <a:pt x="710560" y="109466"/>
                      <a:pt x="711237" y="109917"/>
                      <a:pt x="718683" y="103148"/>
                    </a:cubicBezTo>
                    <a:cubicBezTo>
                      <a:pt x="726129" y="96153"/>
                      <a:pt x="726129" y="102471"/>
                      <a:pt x="729288" y="97507"/>
                    </a:cubicBezTo>
                    <a:cubicBezTo>
                      <a:pt x="732447" y="92542"/>
                      <a:pt x="734252" y="95702"/>
                      <a:pt x="740570" y="94348"/>
                    </a:cubicBezTo>
                    <a:cubicBezTo>
                      <a:pt x="746889" y="92994"/>
                      <a:pt x="748017" y="91189"/>
                      <a:pt x="752530" y="85547"/>
                    </a:cubicBezTo>
                    <a:cubicBezTo>
                      <a:pt x="757268" y="80809"/>
                      <a:pt x="751627" y="75845"/>
                      <a:pt x="745986" y="73363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xmlns="" id="{93207E6D-BCCD-46EF-90EA-ACCE7BB31230}"/>
                  </a:ext>
                </a:extLst>
              </p:cNvPr>
              <p:cNvSpPr/>
              <p:nvPr/>
            </p:nvSpPr>
            <p:spPr>
              <a:xfrm>
                <a:off x="10764743" y="2602890"/>
                <a:ext cx="338469" cy="135388"/>
              </a:xfrm>
              <a:custGeom>
                <a:avLst/>
                <a:gdLst>
                  <a:gd name="connsiteX0" fmla="*/ 353346 w 338469"/>
                  <a:gd name="connsiteY0" fmla="*/ 91280 h 135387"/>
                  <a:gd name="connsiteX1" fmla="*/ 342515 w 338469"/>
                  <a:gd name="connsiteY1" fmla="*/ 79547 h 135387"/>
                  <a:gd name="connsiteX2" fmla="*/ 342966 w 338469"/>
                  <a:gd name="connsiteY2" fmla="*/ 62172 h 135387"/>
                  <a:gd name="connsiteX3" fmla="*/ 326494 w 338469"/>
                  <a:gd name="connsiteY3" fmla="*/ 56982 h 135387"/>
                  <a:gd name="connsiteX4" fmla="*/ 316114 w 338469"/>
                  <a:gd name="connsiteY4" fmla="*/ 43443 h 135387"/>
                  <a:gd name="connsiteX5" fmla="*/ 287457 w 338469"/>
                  <a:gd name="connsiteY5" fmla="*/ 46377 h 135387"/>
                  <a:gd name="connsiteX6" fmla="*/ 278431 w 338469"/>
                  <a:gd name="connsiteY6" fmla="*/ 38479 h 135387"/>
                  <a:gd name="connsiteX7" fmla="*/ 279334 w 338469"/>
                  <a:gd name="connsiteY7" fmla="*/ 15915 h 135387"/>
                  <a:gd name="connsiteX8" fmla="*/ 284975 w 338469"/>
                  <a:gd name="connsiteY8" fmla="*/ 2827 h 135387"/>
                  <a:gd name="connsiteX9" fmla="*/ 266698 w 338469"/>
                  <a:gd name="connsiteY9" fmla="*/ 1022 h 135387"/>
                  <a:gd name="connsiteX10" fmla="*/ 245487 w 338469"/>
                  <a:gd name="connsiteY10" fmla="*/ 2376 h 135387"/>
                  <a:gd name="connsiteX11" fmla="*/ 228563 w 338469"/>
                  <a:gd name="connsiteY11" fmla="*/ 7114 h 135387"/>
                  <a:gd name="connsiteX12" fmla="*/ 216379 w 338469"/>
                  <a:gd name="connsiteY12" fmla="*/ 11853 h 135387"/>
                  <a:gd name="connsiteX13" fmla="*/ 202163 w 338469"/>
                  <a:gd name="connsiteY13" fmla="*/ 12304 h 135387"/>
                  <a:gd name="connsiteX14" fmla="*/ 197424 w 338469"/>
                  <a:gd name="connsiteY14" fmla="*/ 26520 h 135387"/>
                  <a:gd name="connsiteX15" fmla="*/ 187947 w 338469"/>
                  <a:gd name="connsiteY15" fmla="*/ 33966 h 135387"/>
                  <a:gd name="connsiteX16" fmla="*/ 175762 w 338469"/>
                  <a:gd name="connsiteY16" fmla="*/ 38254 h 135387"/>
                  <a:gd name="connsiteX17" fmla="*/ 168316 w 338469"/>
                  <a:gd name="connsiteY17" fmla="*/ 50438 h 135387"/>
                  <a:gd name="connsiteX18" fmla="*/ 159741 w 338469"/>
                  <a:gd name="connsiteY18" fmla="*/ 49085 h 135387"/>
                  <a:gd name="connsiteX19" fmla="*/ 152746 w 338469"/>
                  <a:gd name="connsiteY19" fmla="*/ 35546 h 135387"/>
                  <a:gd name="connsiteX20" fmla="*/ 138531 w 338469"/>
                  <a:gd name="connsiteY20" fmla="*/ 36448 h 135387"/>
                  <a:gd name="connsiteX21" fmla="*/ 119802 w 338469"/>
                  <a:gd name="connsiteY21" fmla="*/ 31710 h 135387"/>
                  <a:gd name="connsiteX22" fmla="*/ 100622 w 338469"/>
                  <a:gd name="connsiteY22" fmla="*/ 31258 h 135387"/>
                  <a:gd name="connsiteX23" fmla="*/ 79411 w 338469"/>
                  <a:gd name="connsiteY23" fmla="*/ 37351 h 135387"/>
                  <a:gd name="connsiteX24" fmla="*/ 75124 w 338469"/>
                  <a:gd name="connsiteY24" fmla="*/ 26069 h 135387"/>
                  <a:gd name="connsiteX25" fmla="*/ 56847 w 338469"/>
                  <a:gd name="connsiteY25" fmla="*/ 26520 h 135387"/>
                  <a:gd name="connsiteX26" fmla="*/ 36990 w 338469"/>
                  <a:gd name="connsiteY26" fmla="*/ 32612 h 135387"/>
                  <a:gd name="connsiteX27" fmla="*/ 22323 w 338469"/>
                  <a:gd name="connsiteY27" fmla="*/ 42992 h 135387"/>
                  <a:gd name="connsiteX28" fmla="*/ 9687 w 338469"/>
                  <a:gd name="connsiteY28" fmla="*/ 58562 h 135387"/>
                  <a:gd name="connsiteX29" fmla="*/ 10589 w 338469"/>
                  <a:gd name="connsiteY29" fmla="*/ 69844 h 135387"/>
                  <a:gd name="connsiteX30" fmla="*/ 14877 w 338469"/>
                  <a:gd name="connsiteY30" fmla="*/ 79321 h 135387"/>
                  <a:gd name="connsiteX31" fmla="*/ 4948 w 338469"/>
                  <a:gd name="connsiteY31" fmla="*/ 85865 h 135387"/>
                  <a:gd name="connsiteX32" fmla="*/ 3369 w 338469"/>
                  <a:gd name="connsiteY32" fmla="*/ 85865 h 135387"/>
                  <a:gd name="connsiteX33" fmla="*/ 3594 w 338469"/>
                  <a:gd name="connsiteY33" fmla="*/ 86542 h 135387"/>
                  <a:gd name="connsiteX34" fmla="*/ 2917 w 338469"/>
                  <a:gd name="connsiteY34" fmla="*/ 100081 h 135387"/>
                  <a:gd name="connsiteX35" fmla="*/ 435 w 338469"/>
                  <a:gd name="connsiteY35" fmla="*/ 115199 h 135387"/>
                  <a:gd name="connsiteX36" fmla="*/ 7656 w 338469"/>
                  <a:gd name="connsiteY36" fmla="*/ 124902 h 135387"/>
                  <a:gd name="connsiteX37" fmla="*/ 27738 w 338469"/>
                  <a:gd name="connsiteY37" fmla="*/ 126481 h 135387"/>
                  <a:gd name="connsiteX38" fmla="*/ 42180 w 338469"/>
                  <a:gd name="connsiteY38" fmla="*/ 131671 h 135387"/>
                  <a:gd name="connsiteX39" fmla="*/ 63391 w 338469"/>
                  <a:gd name="connsiteY39" fmla="*/ 137312 h 135387"/>
                  <a:gd name="connsiteX40" fmla="*/ 88889 w 338469"/>
                  <a:gd name="connsiteY40" fmla="*/ 134830 h 135387"/>
                  <a:gd name="connsiteX41" fmla="*/ 104233 w 338469"/>
                  <a:gd name="connsiteY41" fmla="*/ 128512 h 135387"/>
                  <a:gd name="connsiteX42" fmla="*/ 133792 w 338469"/>
                  <a:gd name="connsiteY42" fmla="*/ 130317 h 135387"/>
                  <a:gd name="connsiteX43" fmla="*/ 151393 w 338469"/>
                  <a:gd name="connsiteY43" fmla="*/ 127835 h 135387"/>
                  <a:gd name="connsiteX44" fmla="*/ 159967 w 338469"/>
                  <a:gd name="connsiteY44" fmla="*/ 123773 h 135387"/>
                  <a:gd name="connsiteX45" fmla="*/ 181629 w 338469"/>
                  <a:gd name="connsiteY45" fmla="*/ 123548 h 135387"/>
                  <a:gd name="connsiteX46" fmla="*/ 200584 w 338469"/>
                  <a:gd name="connsiteY46" fmla="*/ 128286 h 135387"/>
                  <a:gd name="connsiteX47" fmla="*/ 216379 w 338469"/>
                  <a:gd name="connsiteY47" fmla="*/ 129414 h 135387"/>
                  <a:gd name="connsiteX48" fmla="*/ 233302 w 338469"/>
                  <a:gd name="connsiteY48" fmla="*/ 130317 h 135387"/>
                  <a:gd name="connsiteX49" fmla="*/ 243231 w 338469"/>
                  <a:gd name="connsiteY49" fmla="*/ 128963 h 135387"/>
                  <a:gd name="connsiteX50" fmla="*/ 262410 w 338469"/>
                  <a:gd name="connsiteY50" fmla="*/ 119937 h 135387"/>
                  <a:gd name="connsiteX51" fmla="*/ 279785 w 338469"/>
                  <a:gd name="connsiteY51" fmla="*/ 120840 h 135387"/>
                  <a:gd name="connsiteX52" fmla="*/ 294001 w 338469"/>
                  <a:gd name="connsiteY52" fmla="*/ 127835 h 135387"/>
                  <a:gd name="connsiteX53" fmla="*/ 309571 w 338469"/>
                  <a:gd name="connsiteY53" fmla="*/ 132348 h 135387"/>
                  <a:gd name="connsiteX54" fmla="*/ 321078 w 338469"/>
                  <a:gd name="connsiteY54" fmla="*/ 132799 h 135387"/>
                  <a:gd name="connsiteX55" fmla="*/ 337776 w 338469"/>
                  <a:gd name="connsiteY55" fmla="*/ 123999 h 135387"/>
                  <a:gd name="connsiteX56" fmla="*/ 344320 w 338469"/>
                  <a:gd name="connsiteY56" fmla="*/ 118809 h 135387"/>
                  <a:gd name="connsiteX57" fmla="*/ 354249 w 338469"/>
                  <a:gd name="connsiteY57" fmla="*/ 107076 h 135387"/>
                  <a:gd name="connsiteX58" fmla="*/ 353346 w 338469"/>
                  <a:gd name="connsiteY58" fmla="*/ 91280 h 135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338469" h="135387">
                    <a:moveTo>
                      <a:pt x="353346" y="91280"/>
                    </a:moveTo>
                    <a:cubicBezTo>
                      <a:pt x="349510" y="83383"/>
                      <a:pt x="349961" y="84737"/>
                      <a:pt x="342515" y="79547"/>
                    </a:cubicBezTo>
                    <a:cubicBezTo>
                      <a:pt x="335068" y="74357"/>
                      <a:pt x="341612" y="66911"/>
                      <a:pt x="342966" y="62172"/>
                    </a:cubicBezTo>
                    <a:cubicBezTo>
                      <a:pt x="344320" y="57433"/>
                      <a:pt x="333489" y="57885"/>
                      <a:pt x="326494" y="56982"/>
                    </a:cubicBezTo>
                    <a:cubicBezTo>
                      <a:pt x="319499" y="56079"/>
                      <a:pt x="325140" y="52244"/>
                      <a:pt x="316114" y="43443"/>
                    </a:cubicBezTo>
                    <a:cubicBezTo>
                      <a:pt x="307089" y="34417"/>
                      <a:pt x="292647" y="44346"/>
                      <a:pt x="287457" y="46377"/>
                    </a:cubicBezTo>
                    <a:cubicBezTo>
                      <a:pt x="282267" y="48182"/>
                      <a:pt x="277529" y="41187"/>
                      <a:pt x="278431" y="38479"/>
                    </a:cubicBezTo>
                    <a:cubicBezTo>
                      <a:pt x="279334" y="35771"/>
                      <a:pt x="282719" y="21556"/>
                      <a:pt x="279334" y="15915"/>
                    </a:cubicBezTo>
                    <a:cubicBezTo>
                      <a:pt x="275949" y="10273"/>
                      <a:pt x="283621" y="5986"/>
                      <a:pt x="284975" y="2827"/>
                    </a:cubicBezTo>
                    <a:cubicBezTo>
                      <a:pt x="286329" y="-558"/>
                      <a:pt x="271888" y="-558"/>
                      <a:pt x="266698" y="1022"/>
                    </a:cubicBezTo>
                    <a:cubicBezTo>
                      <a:pt x="261508" y="2376"/>
                      <a:pt x="252031" y="5761"/>
                      <a:pt x="245487" y="2376"/>
                    </a:cubicBezTo>
                    <a:cubicBezTo>
                      <a:pt x="238943" y="-1009"/>
                      <a:pt x="230820" y="1925"/>
                      <a:pt x="228563" y="7114"/>
                    </a:cubicBezTo>
                    <a:cubicBezTo>
                      <a:pt x="226307" y="12304"/>
                      <a:pt x="219538" y="15689"/>
                      <a:pt x="216379" y="11853"/>
                    </a:cubicBezTo>
                    <a:cubicBezTo>
                      <a:pt x="212994" y="8017"/>
                      <a:pt x="207353" y="8920"/>
                      <a:pt x="202163" y="12304"/>
                    </a:cubicBezTo>
                    <a:cubicBezTo>
                      <a:pt x="196973" y="15689"/>
                      <a:pt x="201712" y="21781"/>
                      <a:pt x="197424" y="26520"/>
                    </a:cubicBezTo>
                    <a:cubicBezTo>
                      <a:pt x="193137" y="31258"/>
                      <a:pt x="198778" y="33515"/>
                      <a:pt x="187947" y="33966"/>
                    </a:cubicBezTo>
                    <a:cubicBezTo>
                      <a:pt x="177116" y="34417"/>
                      <a:pt x="180501" y="37802"/>
                      <a:pt x="175762" y="38254"/>
                    </a:cubicBezTo>
                    <a:cubicBezTo>
                      <a:pt x="171024" y="38705"/>
                      <a:pt x="171024" y="46828"/>
                      <a:pt x="168316" y="50438"/>
                    </a:cubicBezTo>
                    <a:cubicBezTo>
                      <a:pt x="165383" y="54274"/>
                      <a:pt x="164029" y="55177"/>
                      <a:pt x="159741" y="49085"/>
                    </a:cubicBezTo>
                    <a:cubicBezTo>
                      <a:pt x="155454" y="42992"/>
                      <a:pt x="154552" y="32612"/>
                      <a:pt x="152746" y="35546"/>
                    </a:cubicBezTo>
                    <a:cubicBezTo>
                      <a:pt x="150941" y="38479"/>
                      <a:pt x="142367" y="40736"/>
                      <a:pt x="138531" y="36448"/>
                    </a:cubicBezTo>
                    <a:cubicBezTo>
                      <a:pt x="134695" y="32161"/>
                      <a:pt x="127249" y="29453"/>
                      <a:pt x="119802" y="31710"/>
                    </a:cubicBezTo>
                    <a:cubicBezTo>
                      <a:pt x="112356" y="33966"/>
                      <a:pt x="111905" y="32612"/>
                      <a:pt x="100622" y="31258"/>
                    </a:cubicBezTo>
                    <a:cubicBezTo>
                      <a:pt x="89340" y="29905"/>
                      <a:pt x="85955" y="36900"/>
                      <a:pt x="79411" y="37351"/>
                    </a:cubicBezTo>
                    <a:cubicBezTo>
                      <a:pt x="72868" y="37802"/>
                      <a:pt x="77606" y="30356"/>
                      <a:pt x="75124" y="26069"/>
                    </a:cubicBezTo>
                    <a:cubicBezTo>
                      <a:pt x="72868" y="21781"/>
                      <a:pt x="63391" y="26520"/>
                      <a:pt x="56847" y="26520"/>
                    </a:cubicBezTo>
                    <a:cubicBezTo>
                      <a:pt x="50303" y="26520"/>
                      <a:pt x="45565" y="31710"/>
                      <a:pt x="36990" y="32612"/>
                    </a:cubicBezTo>
                    <a:cubicBezTo>
                      <a:pt x="28415" y="33515"/>
                      <a:pt x="23903" y="36900"/>
                      <a:pt x="22323" y="42992"/>
                    </a:cubicBezTo>
                    <a:cubicBezTo>
                      <a:pt x="20969" y="49085"/>
                      <a:pt x="16682" y="53823"/>
                      <a:pt x="9687" y="58562"/>
                    </a:cubicBezTo>
                    <a:cubicBezTo>
                      <a:pt x="2692" y="63300"/>
                      <a:pt x="8333" y="66008"/>
                      <a:pt x="10589" y="69844"/>
                    </a:cubicBezTo>
                    <a:cubicBezTo>
                      <a:pt x="12846" y="73680"/>
                      <a:pt x="14877" y="76388"/>
                      <a:pt x="14877" y="79321"/>
                    </a:cubicBezTo>
                    <a:cubicBezTo>
                      <a:pt x="14877" y="82255"/>
                      <a:pt x="13974" y="86316"/>
                      <a:pt x="4948" y="85865"/>
                    </a:cubicBezTo>
                    <a:cubicBezTo>
                      <a:pt x="4497" y="85865"/>
                      <a:pt x="3820" y="85865"/>
                      <a:pt x="3369" y="85865"/>
                    </a:cubicBezTo>
                    <a:cubicBezTo>
                      <a:pt x="3369" y="86090"/>
                      <a:pt x="3369" y="86316"/>
                      <a:pt x="3594" y="86542"/>
                    </a:cubicBezTo>
                    <a:cubicBezTo>
                      <a:pt x="4948" y="89475"/>
                      <a:pt x="3820" y="97598"/>
                      <a:pt x="2917" y="100081"/>
                    </a:cubicBezTo>
                    <a:cubicBezTo>
                      <a:pt x="2015" y="102563"/>
                      <a:pt x="-1144" y="109106"/>
                      <a:pt x="435" y="115199"/>
                    </a:cubicBezTo>
                    <a:cubicBezTo>
                      <a:pt x="2015" y="121066"/>
                      <a:pt x="5174" y="124902"/>
                      <a:pt x="7656" y="124902"/>
                    </a:cubicBezTo>
                    <a:cubicBezTo>
                      <a:pt x="10138" y="124902"/>
                      <a:pt x="18713" y="127384"/>
                      <a:pt x="27738" y="126481"/>
                    </a:cubicBezTo>
                    <a:cubicBezTo>
                      <a:pt x="36764" y="125579"/>
                      <a:pt x="30898" y="131671"/>
                      <a:pt x="42180" y="131671"/>
                    </a:cubicBezTo>
                    <a:cubicBezTo>
                      <a:pt x="53462" y="131671"/>
                      <a:pt x="54816" y="133928"/>
                      <a:pt x="63391" y="137312"/>
                    </a:cubicBezTo>
                    <a:cubicBezTo>
                      <a:pt x="71965" y="140697"/>
                      <a:pt x="73996" y="139343"/>
                      <a:pt x="88889" y="134830"/>
                    </a:cubicBezTo>
                    <a:cubicBezTo>
                      <a:pt x="103781" y="130092"/>
                      <a:pt x="96786" y="130543"/>
                      <a:pt x="104233" y="128512"/>
                    </a:cubicBezTo>
                    <a:cubicBezTo>
                      <a:pt x="111453" y="126481"/>
                      <a:pt x="124541" y="127835"/>
                      <a:pt x="133792" y="130317"/>
                    </a:cubicBezTo>
                    <a:cubicBezTo>
                      <a:pt x="143269" y="132799"/>
                      <a:pt x="145300" y="129866"/>
                      <a:pt x="151393" y="127835"/>
                    </a:cubicBezTo>
                    <a:cubicBezTo>
                      <a:pt x="157485" y="125804"/>
                      <a:pt x="155906" y="125579"/>
                      <a:pt x="159967" y="123773"/>
                    </a:cubicBezTo>
                    <a:cubicBezTo>
                      <a:pt x="164029" y="122194"/>
                      <a:pt x="172152" y="123096"/>
                      <a:pt x="181629" y="123548"/>
                    </a:cubicBezTo>
                    <a:cubicBezTo>
                      <a:pt x="191106" y="123999"/>
                      <a:pt x="194717" y="125804"/>
                      <a:pt x="200584" y="128286"/>
                    </a:cubicBezTo>
                    <a:cubicBezTo>
                      <a:pt x="206450" y="130543"/>
                      <a:pt x="207579" y="130317"/>
                      <a:pt x="216379" y="129414"/>
                    </a:cubicBezTo>
                    <a:cubicBezTo>
                      <a:pt x="225179" y="128512"/>
                      <a:pt x="229918" y="132348"/>
                      <a:pt x="233302" y="130317"/>
                    </a:cubicBezTo>
                    <a:cubicBezTo>
                      <a:pt x="236687" y="128512"/>
                      <a:pt x="239395" y="128061"/>
                      <a:pt x="243231" y="128963"/>
                    </a:cubicBezTo>
                    <a:cubicBezTo>
                      <a:pt x="247067" y="129866"/>
                      <a:pt x="255415" y="125579"/>
                      <a:pt x="262410" y="119937"/>
                    </a:cubicBezTo>
                    <a:cubicBezTo>
                      <a:pt x="269406" y="114296"/>
                      <a:pt x="272790" y="120840"/>
                      <a:pt x="279785" y="120840"/>
                    </a:cubicBezTo>
                    <a:cubicBezTo>
                      <a:pt x="286780" y="120840"/>
                      <a:pt x="290616" y="126030"/>
                      <a:pt x="294001" y="127835"/>
                    </a:cubicBezTo>
                    <a:cubicBezTo>
                      <a:pt x="297386" y="129640"/>
                      <a:pt x="304832" y="132348"/>
                      <a:pt x="309571" y="132348"/>
                    </a:cubicBezTo>
                    <a:cubicBezTo>
                      <a:pt x="313407" y="132348"/>
                      <a:pt x="319048" y="131445"/>
                      <a:pt x="321078" y="132799"/>
                    </a:cubicBezTo>
                    <a:cubicBezTo>
                      <a:pt x="327622" y="127835"/>
                      <a:pt x="334166" y="127384"/>
                      <a:pt x="337776" y="123999"/>
                    </a:cubicBezTo>
                    <a:cubicBezTo>
                      <a:pt x="342966" y="119260"/>
                      <a:pt x="340710" y="120614"/>
                      <a:pt x="344320" y="118809"/>
                    </a:cubicBezTo>
                    <a:cubicBezTo>
                      <a:pt x="348156" y="117004"/>
                      <a:pt x="352895" y="115425"/>
                      <a:pt x="354249" y="107076"/>
                    </a:cubicBezTo>
                    <a:cubicBezTo>
                      <a:pt x="355602" y="98727"/>
                      <a:pt x="356956" y="99404"/>
                      <a:pt x="353346" y="91280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xmlns="" id="{5BE713EB-6641-4E3E-A7C9-5CB890F58F8D}"/>
                  </a:ext>
                </a:extLst>
              </p:cNvPr>
              <p:cNvSpPr/>
              <p:nvPr/>
            </p:nvSpPr>
            <p:spPr>
              <a:xfrm>
                <a:off x="9967317" y="2462416"/>
                <a:ext cx="586680" cy="428728"/>
              </a:xfrm>
              <a:custGeom>
                <a:avLst/>
                <a:gdLst>
                  <a:gd name="connsiteX0" fmla="*/ 595458 w 586679"/>
                  <a:gd name="connsiteY0" fmla="*/ 123219 h 428727"/>
                  <a:gd name="connsiteX1" fmla="*/ 582370 w 586679"/>
                  <a:gd name="connsiteY1" fmla="*/ 112839 h 428727"/>
                  <a:gd name="connsiteX2" fmla="*/ 576052 w 586679"/>
                  <a:gd name="connsiteY2" fmla="*/ 112613 h 428727"/>
                  <a:gd name="connsiteX3" fmla="*/ 569057 w 586679"/>
                  <a:gd name="connsiteY3" fmla="*/ 132019 h 428727"/>
                  <a:gd name="connsiteX4" fmla="*/ 562513 w 586679"/>
                  <a:gd name="connsiteY4" fmla="*/ 129085 h 428727"/>
                  <a:gd name="connsiteX5" fmla="*/ 555067 w 586679"/>
                  <a:gd name="connsiteY5" fmla="*/ 121188 h 428727"/>
                  <a:gd name="connsiteX6" fmla="*/ 539949 w 586679"/>
                  <a:gd name="connsiteY6" fmla="*/ 118931 h 428727"/>
                  <a:gd name="connsiteX7" fmla="*/ 535210 w 586679"/>
                  <a:gd name="connsiteY7" fmla="*/ 125475 h 428727"/>
                  <a:gd name="connsiteX8" fmla="*/ 527313 w 586679"/>
                  <a:gd name="connsiteY8" fmla="*/ 131568 h 428727"/>
                  <a:gd name="connsiteX9" fmla="*/ 517384 w 586679"/>
                  <a:gd name="connsiteY9" fmla="*/ 133824 h 428727"/>
                  <a:gd name="connsiteX10" fmla="*/ 505199 w 586679"/>
                  <a:gd name="connsiteY10" fmla="*/ 127280 h 428727"/>
                  <a:gd name="connsiteX11" fmla="*/ 467291 w 586679"/>
                  <a:gd name="connsiteY11" fmla="*/ 130665 h 428727"/>
                  <a:gd name="connsiteX12" fmla="*/ 430510 w 586679"/>
                  <a:gd name="connsiteY12" fmla="*/ 126152 h 428727"/>
                  <a:gd name="connsiteX13" fmla="*/ 380868 w 586679"/>
                  <a:gd name="connsiteY13" fmla="*/ 121639 h 428727"/>
                  <a:gd name="connsiteX14" fmla="*/ 331452 w 586679"/>
                  <a:gd name="connsiteY14" fmla="*/ 110357 h 428727"/>
                  <a:gd name="connsiteX15" fmla="*/ 308661 w 586679"/>
                  <a:gd name="connsiteY15" fmla="*/ 116449 h 428727"/>
                  <a:gd name="connsiteX16" fmla="*/ 288127 w 586679"/>
                  <a:gd name="connsiteY16" fmla="*/ 108326 h 428727"/>
                  <a:gd name="connsiteX17" fmla="*/ 281358 w 586679"/>
                  <a:gd name="connsiteY17" fmla="*/ 82828 h 428727"/>
                  <a:gd name="connsiteX18" fmla="*/ 254055 w 586679"/>
                  <a:gd name="connsiteY18" fmla="*/ 90726 h 428727"/>
                  <a:gd name="connsiteX19" fmla="*/ 203510 w 586679"/>
                  <a:gd name="connsiteY19" fmla="*/ 76510 h 428727"/>
                  <a:gd name="connsiteX20" fmla="*/ 156576 w 586679"/>
                  <a:gd name="connsiteY20" fmla="*/ 62294 h 428727"/>
                  <a:gd name="connsiteX21" fmla="*/ 157478 w 586679"/>
                  <a:gd name="connsiteY21" fmla="*/ 45371 h 428727"/>
                  <a:gd name="connsiteX22" fmla="*/ 152740 w 586679"/>
                  <a:gd name="connsiteY22" fmla="*/ 25514 h 428727"/>
                  <a:gd name="connsiteX23" fmla="*/ 134462 w 586679"/>
                  <a:gd name="connsiteY23" fmla="*/ 15585 h 428727"/>
                  <a:gd name="connsiteX24" fmla="*/ 116185 w 586679"/>
                  <a:gd name="connsiteY24" fmla="*/ 18970 h 428727"/>
                  <a:gd name="connsiteX25" fmla="*/ 104903 w 586679"/>
                  <a:gd name="connsiteY25" fmla="*/ 3401 h 428727"/>
                  <a:gd name="connsiteX26" fmla="*/ 86174 w 586679"/>
                  <a:gd name="connsiteY26" fmla="*/ 4754 h 428727"/>
                  <a:gd name="connsiteX27" fmla="*/ 70605 w 586679"/>
                  <a:gd name="connsiteY27" fmla="*/ 8590 h 428727"/>
                  <a:gd name="connsiteX28" fmla="*/ 55938 w 586679"/>
                  <a:gd name="connsiteY28" fmla="*/ 24160 h 428727"/>
                  <a:gd name="connsiteX29" fmla="*/ 41045 w 586679"/>
                  <a:gd name="connsiteY29" fmla="*/ 11524 h 428727"/>
                  <a:gd name="connsiteX30" fmla="*/ 54358 w 586679"/>
                  <a:gd name="connsiteY30" fmla="*/ 21678 h 428727"/>
                  <a:gd name="connsiteX31" fmla="*/ 61127 w 586679"/>
                  <a:gd name="connsiteY31" fmla="*/ 38827 h 428727"/>
                  <a:gd name="connsiteX32" fmla="*/ 71056 w 586679"/>
                  <a:gd name="connsiteY32" fmla="*/ 56202 h 428727"/>
                  <a:gd name="connsiteX33" fmla="*/ 86174 w 586679"/>
                  <a:gd name="connsiteY33" fmla="*/ 83054 h 428727"/>
                  <a:gd name="connsiteX34" fmla="*/ 101292 w 586679"/>
                  <a:gd name="connsiteY34" fmla="*/ 97721 h 428727"/>
                  <a:gd name="connsiteX35" fmla="*/ 113929 w 586679"/>
                  <a:gd name="connsiteY35" fmla="*/ 108552 h 428727"/>
                  <a:gd name="connsiteX36" fmla="*/ 98810 w 586679"/>
                  <a:gd name="connsiteY36" fmla="*/ 118931 h 428727"/>
                  <a:gd name="connsiteX37" fmla="*/ 88431 w 586679"/>
                  <a:gd name="connsiteY37" fmla="*/ 126829 h 428727"/>
                  <a:gd name="connsiteX38" fmla="*/ 75343 w 586679"/>
                  <a:gd name="connsiteY38" fmla="*/ 135855 h 428727"/>
                  <a:gd name="connsiteX39" fmla="*/ 81887 w 586679"/>
                  <a:gd name="connsiteY39" fmla="*/ 148491 h 428727"/>
                  <a:gd name="connsiteX40" fmla="*/ 103098 w 586679"/>
                  <a:gd name="connsiteY40" fmla="*/ 166768 h 428727"/>
                  <a:gd name="connsiteX41" fmla="*/ 87979 w 586679"/>
                  <a:gd name="connsiteY41" fmla="*/ 172409 h 428727"/>
                  <a:gd name="connsiteX42" fmla="*/ 85046 w 586679"/>
                  <a:gd name="connsiteY42" fmla="*/ 189784 h 428727"/>
                  <a:gd name="connsiteX43" fmla="*/ 102421 w 586679"/>
                  <a:gd name="connsiteY43" fmla="*/ 201969 h 428727"/>
                  <a:gd name="connsiteX44" fmla="*/ 130175 w 586679"/>
                  <a:gd name="connsiteY44" fmla="*/ 216185 h 428727"/>
                  <a:gd name="connsiteX45" fmla="*/ 144391 w 586679"/>
                  <a:gd name="connsiteY45" fmla="*/ 232657 h 428727"/>
                  <a:gd name="connsiteX46" fmla="*/ 127468 w 586679"/>
                  <a:gd name="connsiteY46" fmla="*/ 242585 h 428727"/>
                  <a:gd name="connsiteX47" fmla="*/ 94072 w 586679"/>
                  <a:gd name="connsiteY47" fmla="*/ 246422 h 428727"/>
                  <a:gd name="connsiteX48" fmla="*/ 70153 w 586679"/>
                  <a:gd name="connsiteY48" fmla="*/ 266278 h 428727"/>
                  <a:gd name="connsiteX49" fmla="*/ 34953 w 586679"/>
                  <a:gd name="connsiteY49" fmla="*/ 299223 h 428727"/>
                  <a:gd name="connsiteX50" fmla="*/ 10131 w 586679"/>
                  <a:gd name="connsiteY50" fmla="*/ 315695 h 428727"/>
                  <a:gd name="connsiteX51" fmla="*/ 1557 w 586679"/>
                  <a:gd name="connsiteY51" fmla="*/ 338711 h 428727"/>
                  <a:gd name="connsiteX52" fmla="*/ 10131 w 586679"/>
                  <a:gd name="connsiteY52" fmla="*/ 377296 h 428727"/>
                  <a:gd name="connsiteX53" fmla="*/ 23219 w 586679"/>
                  <a:gd name="connsiteY53" fmla="*/ 403020 h 428727"/>
                  <a:gd name="connsiteX54" fmla="*/ 44881 w 586679"/>
                  <a:gd name="connsiteY54" fmla="*/ 411143 h 428727"/>
                  <a:gd name="connsiteX55" fmla="*/ 79179 w 586679"/>
                  <a:gd name="connsiteY55" fmla="*/ 398507 h 428727"/>
                  <a:gd name="connsiteX56" fmla="*/ 94749 w 586679"/>
                  <a:gd name="connsiteY56" fmla="*/ 396702 h 428727"/>
                  <a:gd name="connsiteX57" fmla="*/ 105129 w 586679"/>
                  <a:gd name="connsiteY57" fmla="*/ 409789 h 428727"/>
                  <a:gd name="connsiteX58" fmla="*/ 119795 w 586679"/>
                  <a:gd name="connsiteY58" fmla="*/ 408887 h 428727"/>
                  <a:gd name="connsiteX59" fmla="*/ 125437 w 586679"/>
                  <a:gd name="connsiteY59" fmla="*/ 420169 h 428727"/>
                  <a:gd name="connsiteX60" fmla="*/ 140555 w 586679"/>
                  <a:gd name="connsiteY60" fmla="*/ 429195 h 428727"/>
                  <a:gd name="connsiteX61" fmla="*/ 154771 w 586679"/>
                  <a:gd name="connsiteY61" fmla="*/ 429195 h 428727"/>
                  <a:gd name="connsiteX62" fmla="*/ 168309 w 586679"/>
                  <a:gd name="connsiteY62" fmla="*/ 421748 h 428727"/>
                  <a:gd name="connsiteX63" fmla="*/ 188166 w 586679"/>
                  <a:gd name="connsiteY63" fmla="*/ 410466 h 428727"/>
                  <a:gd name="connsiteX64" fmla="*/ 198997 w 586679"/>
                  <a:gd name="connsiteY64" fmla="*/ 421748 h 428727"/>
                  <a:gd name="connsiteX65" fmla="*/ 213664 w 586679"/>
                  <a:gd name="connsiteY65" fmla="*/ 423554 h 428727"/>
                  <a:gd name="connsiteX66" fmla="*/ 224947 w 586679"/>
                  <a:gd name="connsiteY66" fmla="*/ 423554 h 428727"/>
                  <a:gd name="connsiteX67" fmla="*/ 238485 w 586679"/>
                  <a:gd name="connsiteY67" fmla="*/ 411369 h 428727"/>
                  <a:gd name="connsiteX68" fmla="*/ 266691 w 586679"/>
                  <a:gd name="connsiteY68" fmla="*/ 398733 h 428727"/>
                  <a:gd name="connsiteX69" fmla="*/ 291512 w 586679"/>
                  <a:gd name="connsiteY69" fmla="*/ 386096 h 428727"/>
                  <a:gd name="connsiteX70" fmla="*/ 300538 w 586679"/>
                  <a:gd name="connsiteY70" fmla="*/ 367368 h 428727"/>
                  <a:gd name="connsiteX71" fmla="*/ 317913 w 586679"/>
                  <a:gd name="connsiteY71" fmla="*/ 366014 h 428727"/>
                  <a:gd name="connsiteX72" fmla="*/ 333031 w 586679"/>
                  <a:gd name="connsiteY72" fmla="*/ 368270 h 428727"/>
                  <a:gd name="connsiteX73" fmla="*/ 346119 w 586679"/>
                  <a:gd name="connsiteY73" fmla="*/ 373460 h 428727"/>
                  <a:gd name="connsiteX74" fmla="*/ 352211 w 586679"/>
                  <a:gd name="connsiteY74" fmla="*/ 385645 h 428727"/>
                  <a:gd name="connsiteX75" fmla="*/ 366427 w 586679"/>
                  <a:gd name="connsiteY75" fmla="*/ 392640 h 428727"/>
                  <a:gd name="connsiteX76" fmla="*/ 381545 w 586679"/>
                  <a:gd name="connsiteY76" fmla="*/ 413400 h 428727"/>
                  <a:gd name="connsiteX77" fmla="*/ 394632 w 586679"/>
                  <a:gd name="connsiteY77" fmla="*/ 415882 h 428727"/>
                  <a:gd name="connsiteX78" fmla="*/ 399371 w 586679"/>
                  <a:gd name="connsiteY78" fmla="*/ 398056 h 428727"/>
                  <a:gd name="connsiteX79" fmla="*/ 409300 w 586679"/>
                  <a:gd name="connsiteY79" fmla="*/ 387450 h 428727"/>
                  <a:gd name="connsiteX80" fmla="*/ 415166 w 586679"/>
                  <a:gd name="connsiteY80" fmla="*/ 389030 h 428727"/>
                  <a:gd name="connsiteX81" fmla="*/ 433669 w 586679"/>
                  <a:gd name="connsiteY81" fmla="*/ 386096 h 428727"/>
                  <a:gd name="connsiteX82" fmla="*/ 448788 w 586679"/>
                  <a:gd name="connsiteY82" fmla="*/ 381358 h 428727"/>
                  <a:gd name="connsiteX83" fmla="*/ 460296 w 586679"/>
                  <a:gd name="connsiteY83" fmla="*/ 378876 h 428727"/>
                  <a:gd name="connsiteX84" fmla="*/ 465937 w 586679"/>
                  <a:gd name="connsiteY84" fmla="*/ 364434 h 428727"/>
                  <a:gd name="connsiteX85" fmla="*/ 472480 w 586679"/>
                  <a:gd name="connsiteY85" fmla="*/ 346608 h 428727"/>
                  <a:gd name="connsiteX86" fmla="*/ 477219 w 586679"/>
                  <a:gd name="connsiteY86" fmla="*/ 325623 h 428727"/>
                  <a:gd name="connsiteX87" fmla="*/ 491886 w 586679"/>
                  <a:gd name="connsiteY87" fmla="*/ 307120 h 428727"/>
                  <a:gd name="connsiteX88" fmla="*/ 500009 w 586679"/>
                  <a:gd name="connsiteY88" fmla="*/ 295838 h 428727"/>
                  <a:gd name="connsiteX89" fmla="*/ 515128 w 586679"/>
                  <a:gd name="connsiteY89" fmla="*/ 292453 h 428727"/>
                  <a:gd name="connsiteX90" fmla="*/ 523251 w 586679"/>
                  <a:gd name="connsiteY90" fmla="*/ 280945 h 428727"/>
                  <a:gd name="connsiteX91" fmla="*/ 533856 w 586679"/>
                  <a:gd name="connsiteY91" fmla="*/ 280268 h 428727"/>
                  <a:gd name="connsiteX92" fmla="*/ 548298 w 586679"/>
                  <a:gd name="connsiteY92" fmla="*/ 287715 h 428727"/>
                  <a:gd name="connsiteX93" fmla="*/ 551457 w 586679"/>
                  <a:gd name="connsiteY93" fmla="*/ 300576 h 428727"/>
                  <a:gd name="connsiteX94" fmla="*/ 552810 w 586679"/>
                  <a:gd name="connsiteY94" fmla="*/ 304638 h 428727"/>
                  <a:gd name="connsiteX95" fmla="*/ 553262 w 586679"/>
                  <a:gd name="connsiteY95" fmla="*/ 275079 h 428727"/>
                  <a:gd name="connsiteX96" fmla="*/ 560257 w 586679"/>
                  <a:gd name="connsiteY96" fmla="*/ 257704 h 428727"/>
                  <a:gd name="connsiteX97" fmla="*/ 573344 w 586679"/>
                  <a:gd name="connsiteY97" fmla="*/ 246422 h 428727"/>
                  <a:gd name="connsiteX98" fmla="*/ 574247 w 586679"/>
                  <a:gd name="connsiteY98" fmla="*/ 228144 h 428727"/>
                  <a:gd name="connsiteX99" fmla="*/ 557323 w 586679"/>
                  <a:gd name="connsiteY99" fmla="*/ 206482 h 428727"/>
                  <a:gd name="connsiteX100" fmla="*/ 550780 w 586679"/>
                  <a:gd name="connsiteY100" fmla="*/ 181661 h 428727"/>
                  <a:gd name="connsiteX101" fmla="*/ 566801 w 586679"/>
                  <a:gd name="connsiteY101" fmla="*/ 168574 h 428727"/>
                  <a:gd name="connsiteX102" fmla="*/ 586432 w 586679"/>
                  <a:gd name="connsiteY102" fmla="*/ 153455 h 428727"/>
                  <a:gd name="connsiteX103" fmla="*/ 595458 w 586679"/>
                  <a:gd name="connsiteY103" fmla="*/ 123219 h 42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586679" h="428727">
                    <a:moveTo>
                      <a:pt x="595458" y="123219"/>
                    </a:moveTo>
                    <a:cubicBezTo>
                      <a:pt x="594555" y="114644"/>
                      <a:pt x="591622" y="111936"/>
                      <a:pt x="582370" y="112839"/>
                    </a:cubicBezTo>
                    <a:cubicBezTo>
                      <a:pt x="580114" y="113065"/>
                      <a:pt x="578083" y="112839"/>
                      <a:pt x="576052" y="112613"/>
                    </a:cubicBezTo>
                    <a:cubicBezTo>
                      <a:pt x="573344" y="119157"/>
                      <a:pt x="570637" y="131793"/>
                      <a:pt x="569057" y="132019"/>
                    </a:cubicBezTo>
                    <a:cubicBezTo>
                      <a:pt x="567252" y="132470"/>
                      <a:pt x="565672" y="131116"/>
                      <a:pt x="562513" y="129085"/>
                    </a:cubicBezTo>
                    <a:cubicBezTo>
                      <a:pt x="559129" y="127280"/>
                      <a:pt x="557775" y="126378"/>
                      <a:pt x="555067" y="121188"/>
                    </a:cubicBezTo>
                    <a:cubicBezTo>
                      <a:pt x="552134" y="115998"/>
                      <a:pt x="548523" y="117803"/>
                      <a:pt x="539949" y="118931"/>
                    </a:cubicBezTo>
                    <a:cubicBezTo>
                      <a:pt x="531374" y="119834"/>
                      <a:pt x="536564" y="121865"/>
                      <a:pt x="535210" y="125475"/>
                    </a:cubicBezTo>
                    <a:cubicBezTo>
                      <a:pt x="533856" y="129311"/>
                      <a:pt x="530923" y="130665"/>
                      <a:pt x="527313" y="131568"/>
                    </a:cubicBezTo>
                    <a:cubicBezTo>
                      <a:pt x="523476" y="132470"/>
                      <a:pt x="523476" y="134501"/>
                      <a:pt x="517384" y="133824"/>
                    </a:cubicBezTo>
                    <a:cubicBezTo>
                      <a:pt x="511292" y="133373"/>
                      <a:pt x="512645" y="127732"/>
                      <a:pt x="505199" y="127280"/>
                    </a:cubicBezTo>
                    <a:cubicBezTo>
                      <a:pt x="483537" y="125926"/>
                      <a:pt x="490532" y="146235"/>
                      <a:pt x="467291" y="130665"/>
                    </a:cubicBezTo>
                    <a:cubicBezTo>
                      <a:pt x="451044" y="119834"/>
                      <a:pt x="450367" y="116901"/>
                      <a:pt x="430510" y="126152"/>
                    </a:cubicBezTo>
                    <a:cubicBezTo>
                      <a:pt x="414941" y="133373"/>
                      <a:pt x="396663" y="128183"/>
                      <a:pt x="380868" y="121639"/>
                    </a:cubicBezTo>
                    <a:cubicBezTo>
                      <a:pt x="365073" y="115095"/>
                      <a:pt x="348375" y="107423"/>
                      <a:pt x="331452" y="110357"/>
                    </a:cubicBezTo>
                    <a:cubicBezTo>
                      <a:pt x="323780" y="111711"/>
                      <a:pt x="316333" y="115321"/>
                      <a:pt x="308661" y="116449"/>
                    </a:cubicBezTo>
                    <a:cubicBezTo>
                      <a:pt x="300764" y="117578"/>
                      <a:pt x="291738" y="115321"/>
                      <a:pt x="288127" y="108326"/>
                    </a:cubicBezTo>
                    <a:cubicBezTo>
                      <a:pt x="284066" y="100203"/>
                      <a:pt x="288353" y="88469"/>
                      <a:pt x="281358" y="82828"/>
                    </a:cubicBezTo>
                    <a:cubicBezTo>
                      <a:pt x="273461" y="76510"/>
                      <a:pt x="262855" y="85536"/>
                      <a:pt x="254055" y="90726"/>
                    </a:cubicBezTo>
                    <a:cubicBezTo>
                      <a:pt x="232844" y="103362"/>
                      <a:pt x="219080" y="88018"/>
                      <a:pt x="203510" y="76510"/>
                    </a:cubicBezTo>
                    <a:cubicBezTo>
                      <a:pt x="188166" y="65228"/>
                      <a:pt x="175304" y="63648"/>
                      <a:pt x="156576" y="62294"/>
                    </a:cubicBezTo>
                    <a:cubicBezTo>
                      <a:pt x="150032" y="61843"/>
                      <a:pt x="156125" y="50561"/>
                      <a:pt x="157478" y="45371"/>
                    </a:cubicBezTo>
                    <a:cubicBezTo>
                      <a:pt x="158832" y="40181"/>
                      <a:pt x="155673" y="30253"/>
                      <a:pt x="152740" y="25514"/>
                    </a:cubicBezTo>
                    <a:cubicBezTo>
                      <a:pt x="149806" y="21227"/>
                      <a:pt x="144165" y="15585"/>
                      <a:pt x="134462" y="15585"/>
                    </a:cubicBezTo>
                    <a:cubicBezTo>
                      <a:pt x="124760" y="15585"/>
                      <a:pt x="123632" y="18970"/>
                      <a:pt x="116185" y="18970"/>
                    </a:cubicBezTo>
                    <a:cubicBezTo>
                      <a:pt x="108739" y="18970"/>
                      <a:pt x="110544" y="8139"/>
                      <a:pt x="104903" y="3401"/>
                    </a:cubicBezTo>
                    <a:cubicBezTo>
                      <a:pt x="99262" y="-1338"/>
                      <a:pt x="91815" y="-1338"/>
                      <a:pt x="86174" y="4754"/>
                    </a:cubicBezTo>
                    <a:cubicBezTo>
                      <a:pt x="80533" y="10847"/>
                      <a:pt x="81436" y="10396"/>
                      <a:pt x="70605" y="8590"/>
                    </a:cubicBezTo>
                    <a:cubicBezTo>
                      <a:pt x="59774" y="6785"/>
                      <a:pt x="57968" y="29801"/>
                      <a:pt x="55938" y="24160"/>
                    </a:cubicBezTo>
                    <a:cubicBezTo>
                      <a:pt x="54358" y="19421"/>
                      <a:pt x="47138" y="15811"/>
                      <a:pt x="41045" y="11524"/>
                    </a:cubicBezTo>
                    <a:cubicBezTo>
                      <a:pt x="46009" y="15134"/>
                      <a:pt x="51650" y="18068"/>
                      <a:pt x="54358" y="21678"/>
                    </a:cubicBezTo>
                    <a:cubicBezTo>
                      <a:pt x="55486" y="30478"/>
                      <a:pt x="59322" y="34991"/>
                      <a:pt x="61127" y="38827"/>
                    </a:cubicBezTo>
                    <a:cubicBezTo>
                      <a:pt x="63384" y="44017"/>
                      <a:pt x="65866" y="50109"/>
                      <a:pt x="71056" y="56202"/>
                    </a:cubicBezTo>
                    <a:cubicBezTo>
                      <a:pt x="76246" y="62294"/>
                      <a:pt x="78051" y="82151"/>
                      <a:pt x="86174" y="83054"/>
                    </a:cubicBezTo>
                    <a:cubicBezTo>
                      <a:pt x="94072" y="83956"/>
                      <a:pt x="97908" y="89146"/>
                      <a:pt x="101292" y="97721"/>
                    </a:cubicBezTo>
                    <a:cubicBezTo>
                      <a:pt x="104677" y="106295"/>
                      <a:pt x="114380" y="103813"/>
                      <a:pt x="113929" y="108552"/>
                    </a:cubicBezTo>
                    <a:cubicBezTo>
                      <a:pt x="113477" y="113290"/>
                      <a:pt x="108739" y="118931"/>
                      <a:pt x="98810" y="118931"/>
                    </a:cubicBezTo>
                    <a:cubicBezTo>
                      <a:pt x="88882" y="118931"/>
                      <a:pt x="92267" y="126378"/>
                      <a:pt x="88431" y="126829"/>
                    </a:cubicBezTo>
                    <a:cubicBezTo>
                      <a:pt x="84595" y="127280"/>
                      <a:pt x="77148" y="130214"/>
                      <a:pt x="75343" y="135855"/>
                    </a:cubicBezTo>
                    <a:cubicBezTo>
                      <a:pt x="73538" y="141496"/>
                      <a:pt x="78277" y="147137"/>
                      <a:pt x="81887" y="148491"/>
                    </a:cubicBezTo>
                    <a:cubicBezTo>
                      <a:pt x="85497" y="149845"/>
                      <a:pt x="104000" y="163609"/>
                      <a:pt x="103098" y="166768"/>
                    </a:cubicBezTo>
                    <a:cubicBezTo>
                      <a:pt x="102195" y="170153"/>
                      <a:pt x="95651" y="170604"/>
                      <a:pt x="87979" y="172409"/>
                    </a:cubicBezTo>
                    <a:cubicBezTo>
                      <a:pt x="80533" y="174215"/>
                      <a:pt x="81436" y="187979"/>
                      <a:pt x="85046" y="189784"/>
                    </a:cubicBezTo>
                    <a:cubicBezTo>
                      <a:pt x="88882" y="191590"/>
                      <a:pt x="97682" y="195877"/>
                      <a:pt x="102421" y="201969"/>
                    </a:cubicBezTo>
                    <a:cubicBezTo>
                      <a:pt x="107159" y="208062"/>
                      <a:pt x="120247" y="214154"/>
                      <a:pt x="130175" y="216185"/>
                    </a:cubicBezTo>
                    <a:cubicBezTo>
                      <a:pt x="140104" y="217990"/>
                      <a:pt x="147099" y="227919"/>
                      <a:pt x="144391" y="232657"/>
                    </a:cubicBezTo>
                    <a:cubicBezTo>
                      <a:pt x="141457" y="237396"/>
                      <a:pt x="140104" y="242585"/>
                      <a:pt x="127468" y="242585"/>
                    </a:cubicBezTo>
                    <a:cubicBezTo>
                      <a:pt x="114831" y="242585"/>
                      <a:pt x="103098" y="241683"/>
                      <a:pt x="94072" y="246422"/>
                    </a:cubicBezTo>
                    <a:cubicBezTo>
                      <a:pt x="85046" y="251160"/>
                      <a:pt x="80984" y="259058"/>
                      <a:pt x="70153" y="266278"/>
                    </a:cubicBezTo>
                    <a:cubicBezTo>
                      <a:pt x="59322" y="273273"/>
                      <a:pt x="40594" y="298320"/>
                      <a:pt x="34953" y="299223"/>
                    </a:cubicBezTo>
                    <a:cubicBezTo>
                      <a:pt x="29311" y="300125"/>
                      <a:pt x="14193" y="309151"/>
                      <a:pt x="10131" y="315695"/>
                    </a:cubicBezTo>
                    <a:cubicBezTo>
                      <a:pt x="5844" y="322238"/>
                      <a:pt x="7198" y="332167"/>
                      <a:pt x="1557" y="338711"/>
                    </a:cubicBezTo>
                    <a:cubicBezTo>
                      <a:pt x="-4084" y="345254"/>
                      <a:pt x="7198" y="368270"/>
                      <a:pt x="10131" y="377296"/>
                    </a:cubicBezTo>
                    <a:cubicBezTo>
                      <a:pt x="12839" y="385871"/>
                      <a:pt x="22091" y="397830"/>
                      <a:pt x="23219" y="403020"/>
                    </a:cubicBezTo>
                    <a:cubicBezTo>
                      <a:pt x="33599" y="405728"/>
                      <a:pt x="39465" y="411143"/>
                      <a:pt x="44881" y="411143"/>
                    </a:cubicBezTo>
                    <a:cubicBezTo>
                      <a:pt x="52327" y="411143"/>
                      <a:pt x="74441" y="403697"/>
                      <a:pt x="79179" y="398507"/>
                    </a:cubicBezTo>
                    <a:cubicBezTo>
                      <a:pt x="83918" y="393317"/>
                      <a:pt x="88656" y="394671"/>
                      <a:pt x="94749" y="396702"/>
                    </a:cubicBezTo>
                    <a:cubicBezTo>
                      <a:pt x="100841" y="398507"/>
                      <a:pt x="99487" y="407984"/>
                      <a:pt x="105129" y="409789"/>
                    </a:cubicBezTo>
                    <a:cubicBezTo>
                      <a:pt x="110770" y="411594"/>
                      <a:pt x="108513" y="407984"/>
                      <a:pt x="119795" y="408887"/>
                    </a:cubicBezTo>
                    <a:cubicBezTo>
                      <a:pt x="131078" y="409789"/>
                      <a:pt x="122729" y="415430"/>
                      <a:pt x="125437" y="420169"/>
                    </a:cubicBezTo>
                    <a:cubicBezTo>
                      <a:pt x="128370" y="424908"/>
                      <a:pt x="134462" y="425359"/>
                      <a:pt x="140555" y="429195"/>
                    </a:cubicBezTo>
                    <a:cubicBezTo>
                      <a:pt x="146647" y="433031"/>
                      <a:pt x="150935" y="436641"/>
                      <a:pt x="154771" y="429195"/>
                    </a:cubicBezTo>
                    <a:cubicBezTo>
                      <a:pt x="158607" y="421748"/>
                      <a:pt x="163797" y="424908"/>
                      <a:pt x="168309" y="421748"/>
                    </a:cubicBezTo>
                    <a:cubicBezTo>
                      <a:pt x="173048" y="418364"/>
                      <a:pt x="182525" y="410015"/>
                      <a:pt x="188166" y="410466"/>
                    </a:cubicBezTo>
                    <a:cubicBezTo>
                      <a:pt x="193808" y="410917"/>
                      <a:pt x="196741" y="417461"/>
                      <a:pt x="198997" y="421748"/>
                    </a:cubicBezTo>
                    <a:cubicBezTo>
                      <a:pt x="201254" y="426036"/>
                      <a:pt x="204187" y="423554"/>
                      <a:pt x="213664" y="423554"/>
                    </a:cubicBezTo>
                    <a:cubicBezTo>
                      <a:pt x="223141" y="423554"/>
                      <a:pt x="221111" y="423554"/>
                      <a:pt x="224947" y="423554"/>
                    </a:cubicBezTo>
                    <a:cubicBezTo>
                      <a:pt x="228783" y="423554"/>
                      <a:pt x="232393" y="416559"/>
                      <a:pt x="238485" y="411369"/>
                    </a:cubicBezTo>
                    <a:cubicBezTo>
                      <a:pt x="244578" y="406179"/>
                      <a:pt x="259696" y="402794"/>
                      <a:pt x="266691" y="398733"/>
                    </a:cubicBezTo>
                    <a:cubicBezTo>
                      <a:pt x="273686" y="394671"/>
                      <a:pt x="287902" y="393092"/>
                      <a:pt x="291512" y="386096"/>
                    </a:cubicBezTo>
                    <a:cubicBezTo>
                      <a:pt x="295348" y="379101"/>
                      <a:pt x="298056" y="371881"/>
                      <a:pt x="300538" y="367368"/>
                    </a:cubicBezTo>
                    <a:cubicBezTo>
                      <a:pt x="302795" y="362629"/>
                      <a:pt x="315656" y="364434"/>
                      <a:pt x="317913" y="366014"/>
                    </a:cubicBezTo>
                    <a:cubicBezTo>
                      <a:pt x="320169" y="367593"/>
                      <a:pt x="328744" y="370301"/>
                      <a:pt x="333031" y="368270"/>
                    </a:cubicBezTo>
                    <a:cubicBezTo>
                      <a:pt x="337318" y="366465"/>
                      <a:pt x="342959" y="370527"/>
                      <a:pt x="346119" y="373460"/>
                    </a:cubicBezTo>
                    <a:cubicBezTo>
                      <a:pt x="349278" y="376394"/>
                      <a:pt x="350857" y="380907"/>
                      <a:pt x="352211" y="385645"/>
                    </a:cubicBezTo>
                    <a:cubicBezTo>
                      <a:pt x="353565" y="390384"/>
                      <a:pt x="360109" y="390384"/>
                      <a:pt x="366427" y="392640"/>
                    </a:cubicBezTo>
                    <a:cubicBezTo>
                      <a:pt x="372519" y="394897"/>
                      <a:pt x="379514" y="410692"/>
                      <a:pt x="381545" y="413400"/>
                    </a:cubicBezTo>
                    <a:cubicBezTo>
                      <a:pt x="383802" y="416333"/>
                      <a:pt x="392827" y="418815"/>
                      <a:pt x="394632" y="415882"/>
                    </a:cubicBezTo>
                    <a:cubicBezTo>
                      <a:pt x="396438" y="412948"/>
                      <a:pt x="399371" y="405276"/>
                      <a:pt x="399371" y="398056"/>
                    </a:cubicBezTo>
                    <a:cubicBezTo>
                      <a:pt x="399371" y="390835"/>
                      <a:pt x="403433" y="392414"/>
                      <a:pt x="409300" y="387450"/>
                    </a:cubicBezTo>
                    <a:cubicBezTo>
                      <a:pt x="415166" y="382486"/>
                      <a:pt x="412233" y="389030"/>
                      <a:pt x="415166" y="389030"/>
                    </a:cubicBezTo>
                    <a:cubicBezTo>
                      <a:pt x="418100" y="389030"/>
                      <a:pt x="428705" y="386096"/>
                      <a:pt x="433669" y="386096"/>
                    </a:cubicBezTo>
                    <a:cubicBezTo>
                      <a:pt x="438634" y="386096"/>
                      <a:pt x="446531" y="386096"/>
                      <a:pt x="448788" y="381358"/>
                    </a:cubicBezTo>
                    <a:cubicBezTo>
                      <a:pt x="451044" y="376619"/>
                      <a:pt x="454654" y="379101"/>
                      <a:pt x="460296" y="378876"/>
                    </a:cubicBezTo>
                    <a:cubicBezTo>
                      <a:pt x="465937" y="378650"/>
                      <a:pt x="466162" y="370978"/>
                      <a:pt x="465937" y="364434"/>
                    </a:cubicBezTo>
                    <a:cubicBezTo>
                      <a:pt x="465711" y="357891"/>
                      <a:pt x="468419" y="353829"/>
                      <a:pt x="472480" y="346608"/>
                    </a:cubicBezTo>
                    <a:cubicBezTo>
                      <a:pt x="476542" y="339388"/>
                      <a:pt x="476316" y="333972"/>
                      <a:pt x="477219" y="325623"/>
                    </a:cubicBezTo>
                    <a:cubicBezTo>
                      <a:pt x="478122" y="317049"/>
                      <a:pt x="488501" y="310505"/>
                      <a:pt x="491886" y="307120"/>
                    </a:cubicBezTo>
                    <a:cubicBezTo>
                      <a:pt x="495271" y="303736"/>
                      <a:pt x="494143" y="299674"/>
                      <a:pt x="500009" y="295838"/>
                    </a:cubicBezTo>
                    <a:cubicBezTo>
                      <a:pt x="505876" y="292002"/>
                      <a:pt x="510615" y="295612"/>
                      <a:pt x="515128" y="292453"/>
                    </a:cubicBezTo>
                    <a:cubicBezTo>
                      <a:pt x="519415" y="289294"/>
                      <a:pt x="520769" y="288392"/>
                      <a:pt x="523251" y="280945"/>
                    </a:cubicBezTo>
                    <a:cubicBezTo>
                      <a:pt x="525733" y="273499"/>
                      <a:pt x="529118" y="279140"/>
                      <a:pt x="533856" y="280268"/>
                    </a:cubicBezTo>
                    <a:cubicBezTo>
                      <a:pt x="538595" y="281622"/>
                      <a:pt x="545139" y="285233"/>
                      <a:pt x="548298" y="287715"/>
                    </a:cubicBezTo>
                    <a:cubicBezTo>
                      <a:pt x="551457" y="290197"/>
                      <a:pt x="551457" y="298094"/>
                      <a:pt x="551457" y="300576"/>
                    </a:cubicBezTo>
                    <a:cubicBezTo>
                      <a:pt x="551457" y="301479"/>
                      <a:pt x="551908" y="302833"/>
                      <a:pt x="552810" y="304638"/>
                    </a:cubicBezTo>
                    <a:cubicBezTo>
                      <a:pt x="567478" y="293807"/>
                      <a:pt x="554841" y="280945"/>
                      <a:pt x="553262" y="275079"/>
                    </a:cubicBezTo>
                    <a:cubicBezTo>
                      <a:pt x="551457" y="268535"/>
                      <a:pt x="554164" y="262442"/>
                      <a:pt x="560257" y="257704"/>
                    </a:cubicBezTo>
                    <a:cubicBezTo>
                      <a:pt x="566349" y="252965"/>
                      <a:pt x="569283" y="247324"/>
                      <a:pt x="573344" y="246422"/>
                    </a:cubicBezTo>
                    <a:cubicBezTo>
                      <a:pt x="577632" y="245519"/>
                      <a:pt x="579437" y="239878"/>
                      <a:pt x="574247" y="228144"/>
                    </a:cubicBezTo>
                    <a:cubicBezTo>
                      <a:pt x="569057" y="216411"/>
                      <a:pt x="563867" y="213477"/>
                      <a:pt x="557323" y="206482"/>
                    </a:cubicBezTo>
                    <a:cubicBezTo>
                      <a:pt x="550780" y="199487"/>
                      <a:pt x="549877" y="186174"/>
                      <a:pt x="550780" y="181661"/>
                    </a:cubicBezTo>
                    <a:cubicBezTo>
                      <a:pt x="551682" y="176922"/>
                      <a:pt x="565898" y="177825"/>
                      <a:pt x="566801" y="168574"/>
                    </a:cubicBezTo>
                    <a:cubicBezTo>
                      <a:pt x="567703" y="159096"/>
                      <a:pt x="580791" y="158194"/>
                      <a:pt x="586432" y="153455"/>
                    </a:cubicBezTo>
                    <a:cubicBezTo>
                      <a:pt x="591847" y="147588"/>
                      <a:pt x="596360" y="131568"/>
                      <a:pt x="595458" y="123219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xmlns="" id="{3EB46373-CC06-429D-B21E-BC6331384E15}"/>
                  </a:ext>
                </a:extLst>
              </p:cNvPr>
              <p:cNvSpPr/>
              <p:nvPr/>
            </p:nvSpPr>
            <p:spPr>
              <a:xfrm>
                <a:off x="9967317" y="2462416"/>
                <a:ext cx="586680" cy="428728"/>
              </a:xfrm>
              <a:custGeom>
                <a:avLst/>
                <a:gdLst>
                  <a:gd name="connsiteX0" fmla="*/ 595458 w 586679"/>
                  <a:gd name="connsiteY0" fmla="*/ 123219 h 428727"/>
                  <a:gd name="connsiteX1" fmla="*/ 582370 w 586679"/>
                  <a:gd name="connsiteY1" fmla="*/ 112839 h 428727"/>
                  <a:gd name="connsiteX2" fmla="*/ 576052 w 586679"/>
                  <a:gd name="connsiteY2" fmla="*/ 112613 h 428727"/>
                  <a:gd name="connsiteX3" fmla="*/ 569057 w 586679"/>
                  <a:gd name="connsiteY3" fmla="*/ 132019 h 428727"/>
                  <a:gd name="connsiteX4" fmla="*/ 562513 w 586679"/>
                  <a:gd name="connsiteY4" fmla="*/ 129085 h 428727"/>
                  <a:gd name="connsiteX5" fmla="*/ 555067 w 586679"/>
                  <a:gd name="connsiteY5" fmla="*/ 121188 h 428727"/>
                  <a:gd name="connsiteX6" fmla="*/ 539949 w 586679"/>
                  <a:gd name="connsiteY6" fmla="*/ 118931 h 428727"/>
                  <a:gd name="connsiteX7" fmla="*/ 535210 w 586679"/>
                  <a:gd name="connsiteY7" fmla="*/ 125475 h 428727"/>
                  <a:gd name="connsiteX8" fmla="*/ 527313 w 586679"/>
                  <a:gd name="connsiteY8" fmla="*/ 131568 h 428727"/>
                  <a:gd name="connsiteX9" fmla="*/ 517384 w 586679"/>
                  <a:gd name="connsiteY9" fmla="*/ 133824 h 428727"/>
                  <a:gd name="connsiteX10" fmla="*/ 505199 w 586679"/>
                  <a:gd name="connsiteY10" fmla="*/ 127280 h 428727"/>
                  <a:gd name="connsiteX11" fmla="*/ 467291 w 586679"/>
                  <a:gd name="connsiteY11" fmla="*/ 130665 h 428727"/>
                  <a:gd name="connsiteX12" fmla="*/ 430510 w 586679"/>
                  <a:gd name="connsiteY12" fmla="*/ 126152 h 428727"/>
                  <a:gd name="connsiteX13" fmla="*/ 380868 w 586679"/>
                  <a:gd name="connsiteY13" fmla="*/ 121639 h 428727"/>
                  <a:gd name="connsiteX14" fmla="*/ 331452 w 586679"/>
                  <a:gd name="connsiteY14" fmla="*/ 110357 h 428727"/>
                  <a:gd name="connsiteX15" fmla="*/ 308661 w 586679"/>
                  <a:gd name="connsiteY15" fmla="*/ 116449 h 428727"/>
                  <a:gd name="connsiteX16" fmla="*/ 288127 w 586679"/>
                  <a:gd name="connsiteY16" fmla="*/ 108326 h 428727"/>
                  <a:gd name="connsiteX17" fmla="*/ 281358 w 586679"/>
                  <a:gd name="connsiteY17" fmla="*/ 82828 h 428727"/>
                  <a:gd name="connsiteX18" fmla="*/ 254055 w 586679"/>
                  <a:gd name="connsiteY18" fmla="*/ 90726 h 428727"/>
                  <a:gd name="connsiteX19" fmla="*/ 203510 w 586679"/>
                  <a:gd name="connsiteY19" fmla="*/ 76510 h 428727"/>
                  <a:gd name="connsiteX20" fmla="*/ 156576 w 586679"/>
                  <a:gd name="connsiteY20" fmla="*/ 62294 h 428727"/>
                  <a:gd name="connsiteX21" fmla="*/ 157478 w 586679"/>
                  <a:gd name="connsiteY21" fmla="*/ 45371 h 428727"/>
                  <a:gd name="connsiteX22" fmla="*/ 152740 w 586679"/>
                  <a:gd name="connsiteY22" fmla="*/ 25514 h 428727"/>
                  <a:gd name="connsiteX23" fmla="*/ 134462 w 586679"/>
                  <a:gd name="connsiteY23" fmla="*/ 15585 h 428727"/>
                  <a:gd name="connsiteX24" fmla="*/ 116185 w 586679"/>
                  <a:gd name="connsiteY24" fmla="*/ 18970 h 428727"/>
                  <a:gd name="connsiteX25" fmla="*/ 104903 w 586679"/>
                  <a:gd name="connsiteY25" fmla="*/ 3401 h 428727"/>
                  <a:gd name="connsiteX26" fmla="*/ 86174 w 586679"/>
                  <a:gd name="connsiteY26" fmla="*/ 4754 h 428727"/>
                  <a:gd name="connsiteX27" fmla="*/ 70605 w 586679"/>
                  <a:gd name="connsiteY27" fmla="*/ 8590 h 428727"/>
                  <a:gd name="connsiteX28" fmla="*/ 55938 w 586679"/>
                  <a:gd name="connsiteY28" fmla="*/ 24160 h 428727"/>
                  <a:gd name="connsiteX29" fmla="*/ 41045 w 586679"/>
                  <a:gd name="connsiteY29" fmla="*/ 11524 h 428727"/>
                  <a:gd name="connsiteX30" fmla="*/ 54358 w 586679"/>
                  <a:gd name="connsiteY30" fmla="*/ 21678 h 428727"/>
                  <a:gd name="connsiteX31" fmla="*/ 61127 w 586679"/>
                  <a:gd name="connsiteY31" fmla="*/ 38827 h 428727"/>
                  <a:gd name="connsiteX32" fmla="*/ 71056 w 586679"/>
                  <a:gd name="connsiteY32" fmla="*/ 56202 h 428727"/>
                  <a:gd name="connsiteX33" fmla="*/ 86174 w 586679"/>
                  <a:gd name="connsiteY33" fmla="*/ 83054 h 428727"/>
                  <a:gd name="connsiteX34" fmla="*/ 101292 w 586679"/>
                  <a:gd name="connsiteY34" fmla="*/ 97721 h 428727"/>
                  <a:gd name="connsiteX35" fmla="*/ 113929 w 586679"/>
                  <a:gd name="connsiteY35" fmla="*/ 108552 h 428727"/>
                  <a:gd name="connsiteX36" fmla="*/ 98810 w 586679"/>
                  <a:gd name="connsiteY36" fmla="*/ 118931 h 428727"/>
                  <a:gd name="connsiteX37" fmla="*/ 88431 w 586679"/>
                  <a:gd name="connsiteY37" fmla="*/ 126829 h 428727"/>
                  <a:gd name="connsiteX38" fmla="*/ 75343 w 586679"/>
                  <a:gd name="connsiteY38" fmla="*/ 135855 h 428727"/>
                  <a:gd name="connsiteX39" fmla="*/ 81887 w 586679"/>
                  <a:gd name="connsiteY39" fmla="*/ 148491 h 428727"/>
                  <a:gd name="connsiteX40" fmla="*/ 103098 w 586679"/>
                  <a:gd name="connsiteY40" fmla="*/ 166768 h 428727"/>
                  <a:gd name="connsiteX41" fmla="*/ 87979 w 586679"/>
                  <a:gd name="connsiteY41" fmla="*/ 172409 h 428727"/>
                  <a:gd name="connsiteX42" fmla="*/ 85046 w 586679"/>
                  <a:gd name="connsiteY42" fmla="*/ 189784 h 428727"/>
                  <a:gd name="connsiteX43" fmla="*/ 102421 w 586679"/>
                  <a:gd name="connsiteY43" fmla="*/ 201969 h 428727"/>
                  <a:gd name="connsiteX44" fmla="*/ 130175 w 586679"/>
                  <a:gd name="connsiteY44" fmla="*/ 216185 h 428727"/>
                  <a:gd name="connsiteX45" fmla="*/ 144391 w 586679"/>
                  <a:gd name="connsiteY45" fmla="*/ 232657 h 428727"/>
                  <a:gd name="connsiteX46" fmla="*/ 127468 w 586679"/>
                  <a:gd name="connsiteY46" fmla="*/ 242585 h 428727"/>
                  <a:gd name="connsiteX47" fmla="*/ 94072 w 586679"/>
                  <a:gd name="connsiteY47" fmla="*/ 246422 h 428727"/>
                  <a:gd name="connsiteX48" fmla="*/ 70153 w 586679"/>
                  <a:gd name="connsiteY48" fmla="*/ 266278 h 428727"/>
                  <a:gd name="connsiteX49" fmla="*/ 34953 w 586679"/>
                  <a:gd name="connsiteY49" fmla="*/ 299223 h 428727"/>
                  <a:gd name="connsiteX50" fmla="*/ 10131 w 586679"/>
                  <a:gd name="connsiteY50" fmla="*/ 315695 h 428727"/>
                  <a:gd name="connsiteX51" fmla="*/ 1557 w 586679"/>
                  <a:gd name="connsiteY51" fmla="*/ 338711 h 428727"/>
                  <a:gd name="connsiteX52" fmla="*/ 10131 w 586679"/>
                  <a:gd name="connsiteY52" fmla="*/ 377296 h 428727"/>
                  <a:gd name="connsiteX53" fmla="*/ 23219 w 586679"/>
                  <a:gd name="connsiteY53" fmla="*/ 403020 h 428727"/>
                  <a:gd name="connsiteX54" fmla="*/ 44881 w 586679"/>
                  <a:gd name="connsiteY54" fmla="*/ 411143 h 428727"/>
                  <a:gd name="connsiteX55" fmla="*/ 79179 w 586679"/>
                  <a:gd name="connsiteY55" fmla="*/ 398507 h 428727"/>
                  <a:gd name="connsiteX56" fmla="*/ 94749 w 586679"/>
                  <a:gd name="connsiteY56" fmla="*/ 396702 h 428727"/>
                  <a:gd name="connsiteX57" fmla="*/ 105129 w 586679"/>
                  <a:gd name="connsiteY57" fmla="*/ 409789 h 428727"/>
                  <a:gd name="connsiteX58" fmla="*/ 119795 w 586679"/>
                  <a:gd name="connsiteY58" fmla="*/ 408887 h 428727"/>
                  <a:gd name="connsiteX59" fmla="*/ 125437 w 586679"/>
                  <a:gd name="connsiteY59" fmla="*/ 420169 h 428727"/>
                  <a:gd name="connsiteX60" fmla="*/ 140555 w 586679"/>
                  <a:gd name="connsiteY60" fmla="*/ 429195 h 428727"/>
                  <a:gd name="connsiteX61" fmla="*/ 154771 w 586679"/>
                  <a:gd name="connsiteY61" fmla="*/ 429195 h 428727"/>
                  <a:gd name="connsiteX62" fmla="*/ 168309 w 586679"/>
                  <a:gd name="connsiteY62" fmla="*/ 421748 h 428727"/>
                  <a:gd name="connsiteX63" fmla="*/ 188166 w 586679"/>
                  <a:gd name="connsiteY63" fmla="*/ 410466 h 428727"/>
                  <a:gd name="connsiteX64" fmla="*/ 198997 w 586679"/>
                  <a:gd name="connsiteY64" fmla="*/ 421748 h 428727"/>
                  <a:gd name="connsiteX65" fmla="*/ 213664 w 586679"/>
                  <a:gd name="connsiteY65" fmla="*/ 423554 h 428727"/>
                  <a:gd name="connsiteX66" fmla="*/ 224947 w 586679"/>
                  <a:gd name="connsiteY66" fmla="*/ 423554 h 428727"/>
                  <a:gd name="connsiteX67" fmla="*/ 238485 w 586679"/>
                  <a:gd name="connsiteY67" fmla="*/ 411369 h 428727"/>
                  <a:gd name="connsiteX68" fmla="*/ 266691 w 586679"/>
                  <a:gd name="connsiteY68" fmla="*/ 398733 h 428727"/>
                  <a:gd name="connsiteX69" fmla="*/ 291512 w 586679"/>
                  <a:gd name="connsiteY69" fmla="*/ 386096 h 428727"/>
                  <a:gd name="connsiteX70" fmla="*/ 300538 w 586679"/>
                  <a:gd name="connsiteY70" fmla="*/ 367368 h 428727"/>
                  <a:gd name="connsiteX71" fmla="*/ 317913 w 586679"/>
                  <a:gd name="connsiteY71" fmla="*/ 366014 h 428727"/>
                  <a:gd name="connsiteX72" fmla="*/ 333031 w 586679"/>
                  <a:gd name="connsiteY72" fmla="*/ 368270 h 428727"/>
                  <a:gd name="connsiteX73" fmla="*/ 346119 w 586679"/>
                  <a:gd name="connsiteY73" fmla="*/ 373460 h 428727"/>
                  <a:gd name="connsiteX74" fmla="*/ 352211 w 586679"/>
                  <a:gd name="connsiteY74" fmla="*/ 385645 h 428727"/>
                  <a:gd name="connsiteX75" fmla="*/ 366427 w 586679"/>
                  <a:gd name="connsiteY75" fmla="*/ 392640 h 428727"/>
                  <a:gd name="connsiteX76" fmla="*/ 381545 w 586679"/>
                  <a:gd name="connsiteY76" fmla="*/ 413400 h 428727"/>
                  <a:gd name="connsiteX77" fmla="*/ 394632 w 586679"/>
                  <a:gd name="connsiteY77" fmla="*/ 415882 h 428727"/>
                  <a:gd name="connsiteX78" fmla="*/ 399371 w 586679"/>
                  <a:gd name="connsiteY78" fmla="*/ 398056 h 428727"/>
                  <a:gd name="connsiteX79" fmla="*/ 409300 w 586679"/>
                  <a:gd name="connsiteY79" fmla="*/ 387450 h 428727"/>
                  <a:gd name="connsiteX80" fmla="*/ 415166 w 586679"/>
                  <a:gd name="connsiteY80" fmla="*/ 389030 h 428727"/>
                  <a:gd name="connsiteX81" fmla="*/ 433669 w 586679"/>
                  <a:gd name="connsiteY81" fmla="*/ 386096 h 428727"/>
                  <a:gd name="connsiteX82" fmla="*/ 448788 w 586679"/>
                  <a:gd name="connsiteY82" fmla="*/ 381358 h 428727"/>
                  <a:gd name="connsiteX83" fmla="*/ 460296 w 586679"/>
                  <a:gd name="connsiteY83" fmla="*/ 378876 h 428727"/>
                  <a:gd name="connsiteX84" fmla="*/ 465937 w 586679"/>
                  <a:gd name="connsiteY84" fmla="*/ 364434 h 428727"/>
                  <a:gd name="connsiteX85" fmla="*/ 472480 w 586679"/>
                  <a:gd name="connsiteY85" fmla="*/ 346608 h 428727"/>
                  <a:gd name="connsiteX86" fmla="*/ 477219 w 586679"/>
                  <a:gd name="connsiteY86" fmla="*/ 325623 h 428727"/>
                  <a:gd name="connsiteX87" fmla="*/ 491886 w 586679"/>
                  <a:gd name="connsiteY87" fmla="*/ 307120 h 428727"/>
                  <a:gd name="connsiteX88" fmla="*/ 500009 w 586679"/>
                  <a:gd name="connsiteY88" fmla="*/ 295838 h 428727"/>
                  <a:gd name="connsiteX89" fmla="*/ 515128 w 586679"/>
                  <a:gd name="connsiteY89" fmla="*/ 292453 h 428727"/>
                  <a:gd name="connsiteX90" fmla="*/ 523251 w 586679"/>
                  <a:gd name="connsiteY90" fmla="*/ 280945 h 428727"/>
                  <a:gd name="connsiteX91" fmla="*/ 533856 w 586679"/>
                  <a:gd name="connsiteY91" fmla="*/ 280268 h 428727"/>
                  <a:gd name="connsiteX92" fmla="*/ 548298 w 586679"/>
                  <a:gd name="connsiteY92" fmla="*/ 287715 h 428727"/>
                  <a:gd name="connsiteX93" fmla="*/ 551457 w 586679"/>
                  <a:gd name="connsiteY93" fmla="*/ 300576 h 428727"/>
                  <a:gd name="connsiteX94" fmla="*/ 552810 w 586679"/>
                  <a:gd name="connsiteY94" fmla="*/ 304638 h 428727"/>
                  <a:gd name="connsiteX95" fmla="*/ 553262 w 586679"/>
                  <a:gd name="connsiteY95" fmla="*/ 275079 h 428727"/>
                  <a:gd name="connsiteX96" fmla="*/ 560257 w 586679"/>
                  <a:gd name="connsiteY96" fmla="*/ 257704 h 428727"/>
                  <a:gd name="connsiteX97" fmla="*/ 573344 w 586679"/>
                  <a:gd name="connsiteY97" fmla="*/ 246422 h 428727"/>
                  <a:gd name="connsiteX98" fmla="*/ 574247 w 586679"/>
                  <a:gd name="connsiteY98" fmla="*/ 228144 h 428727"/>
                  <a:gd name="connsiteX99" fmla="*/ 557323 w 586679"/>
                  <a:gd name="connsiteY99" fmla="*/ 206482 h 428727"/>
                  <a:gd name="connsiteX100" fmla="*/ 550780 w 586679"/>
                  <a:gd name="connsiteY100" fmla="*/ 181661 h 428727"/>
                  <a:gd name="connsiteX101" fmla="*/ 566801 w 586679"/>
                  <a:gd name="connsiteY101" fmla="*/ 168574 h 428727"/>
                  <a:gd name="connsiteX102" fmla="*/ 586432 w 586679"/>
                  <a:gd name="connsiteY102" fmla="*/ 153455 h 428727"/>
                  <a:gd name="connsiteX103" fmla="*/ 595458 w 586679"/>
                  <a:gd name="connsiteY103" fmla="*/ 123219 h 42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586679" h="428727">
                    <a:moveTo>
                      <a:pt x="595458" y="123219"/>
                    </a:moveTo>
                    <a:cubicBezTo>
                      <a:pt x="594555" y="114644"/>
                      <a:pt x="591622" y="111936"/>
                      <a:pt x="582370" y="112839"/>
                    </a:cubicBezTo>
                    <a:cubicBezTo>
                      <a:pt x="580114" y="113065"/>
                      <a:pt x="578083" y="112839"/>
                      <a:pt x="576052" y="112613"/>
                    </a:cubicBezTo>
                    <a:cubicBezTo>
                      <a:pt x="573344" y="119157"/>
                      <a:pt x="570637" y="131793"/>
                      <a:pt x="569057" y="132019"/>
                    </a:cubicBezTo>
                    <a:cubicBezTo>
                      <a:pt x="567252" y="132470"/>
                      <a:pt x="565672" y="131116"/>
                      <a:pt x="562513" y="129085"/>
                    </a:cubicBezTo>
                    <a:cubicBezTo>
                      <a:pt x="559129" y="127280"/>
                      <a:pt x="557775" y="126378"/>
                      <a:pt x="555067" y="121188"/>
                    </a:cubicBezTo>
                    <a:cubicBezTo>
                      <a:pt x="552134" y="115998"/>
                      <a:pt x="548523" y="117803"/>
                      <a:pt x="539949" y="118931"/>
                    </a:cubicBezTo>
                    <a:cubicBezTo>
                      <a:pt x="531374" y="119834"/>
                      <a:pt x="536564" y="121865"/>
                      <a:pt x="535210" y="125475"/>
                    </a:cubicBezTo>
                    <a:cubicBezTo>
                      <a:pt x="533856" y="129311"/>
                      <a:pt x="530923" y="130665"/>
                      <a:pt x="527313" y="131568"/>
                    </a:cubicBezTo>
                    <a:cubicBezTo>
                      <a:pt x="523476" y="132470"/>
                      <a:pt x="523476" y="134501"/>
                      <a:pt x="517384" y="133824"/>
                    </a:cubicBezTo>
                    <a:cubicBezTo>
                      <a:pt x="511292" y="133373"/>
                      <a:pt x="512645" y="127732"/>
                      <a:pt x="505199" y="127280"/>
                    </a:cubicBezTo>
                    <a:cubicBezTo>
                      <a:pt x="483537" y="125926"/>
                      <a:pt x="490532" y="146235"/>
                      <a:pt x="467291" y="130665"/>
                    </a:cubicBezTo>
                    <a:cubicBezTo>
                      <a:pt x="451044" y="119834"/>
                      <a:pt x="450367" y="116901"/>
                      <a:pt x="430510" y="126152"/>
                    </a:cubicBezTo>
                    <a:cubicBezTo>
                      <a:pt x="414941" y="133373"/>
                      <a:pt x="396663" y="128183"/>
                      <a:pt x="380868" y="121639"/>
                    </a:cubicBezTo>
                    <a:cubicBezTo>
                      <a:pt x="365073" y="115095"/>
                      <a:pt x="348375" y="107423"/>
                      <a:pt x="331452" y="110357"/>
                    </a:cubicBezTo>
                    <a:cubicBezTo>
                      <a:pt x="323780" y="111711"/>
                      <a:pt x="316333" y="115321"/>
                      <a:pt x="308661" y="116449"/>
                    </a:cubicBezTo>
                    <a:cubicBezTo>
                      <a:pt x="300764" y="117578"/>
                      <a:pt x="291738" y="115321"/>
                      <a:pt x="288127" y="108326"/>
                    </a:cubicBezTo>
                    <a:cubicBezTo>
                      <a:pt x="284066" y="100203"/>
                      <a:pt x="288353" y="88469"/>
                      <a:pt x="281358" y="82828"/>
                    </a:cubicBezTo>
                    <a:cubicBezTo>
                      <a:pt x="273461" y="76510"/>
                      <a:pt x="262855" y="85536"/>
                      <a:pt x="254055" y="90726"/>
                    </a:cubicBezTo>
                    <a:cubicBezTo>
                      <a:pt x="232844" y="103362"/>
                      <a:pt x="219080" y="88018"/>
                      <a:pt x="203510" y="76510"/>
                    </a:cubicBezTo>
                    <a:cubicBezTo>
                      <a:pt x="188166" y="65228"/>
                      <a:pt x="175304" y="63648"/>
                      <a:pt x="156576" y="62294"/>
                    </a:cubicBezTo>
                    <a:cubicBezTo>
                      <a:pt x="150032" y="61843"/>
                      <a:pt x="156125" y="50561"/>
                      <a:pt x="157478" y="45371"/>
                    </a:cubicBezTo>
                    <a:cubicBezTo>
                      <a:pt x="158832" y="40181"/>
                      <a:pt x="155673" y="30253"/>
                      <a:pt x="152740" y="25514"/>
                    </a:cubicBezTo>
                    <a:cubicBezTo>
                      <a:pt x="149806" y="21227"/>
                      <a:pt x="144165" y="15585"/>
                      <a:pt x="134462" y="15585"/>
                    </a:cubicBezTo>
                    <a:cubicBezTo>
                      <a:pt x="124760" y="15585"/>
                      <a:pt x="123632" y="18970"/>
                      <a:pt x="116185" y="18970"/>
                    </a:cubicBezTo>
                    <a:cubicBezTo>
                      <a:pt x="108739" y="18970"/>
                      <a:pt x="110544" y="8139"/>
                      <a:pt x="104903" y="3401"/>
                    </a:cubicBezTo>
                    <a:cubicBezTo>
                      <a:pt x="99262" y="-1338"/>
                      <a:pt x="91815" y="-1338"/>
                      <a:pt x="86174" y="4754"/>
                    </a:cubicBezTo>
                    <a:cubicBezTo>
                      <a:pt x="80533" y="10847"/>
                      <a:pt x="81436" y="10396"/>
                      <a:pt x="70605" y="8590"/>
                    </a:cubicBezTo>
                    <a:cubicBezTo>
                      <a:pt x="59774" y="6785"/>
                      <a:pt x="57968" y="29801"/>
                      <a:pt x="55938" y="24160"/>
                    </a:cubicBezTo>
                    <a:cubicBezTo>
                      <a:pt x="54358" y="19421"/>
                      <a:pt x="47138" y="15811"/>
                      <a:pt x="41045" y="11524"/>
                    </a:cubicBezTo>
                    <a:cubicBezTo>
                      <a:pt x="46009" y="15134"/>
                      <a:pt x="51650" y="18068"/>
                      <a:pt x="54358" y="21678"/>
                    </a:cubicBezTo>
                    <a:cubicBezTo>
                      <a:pt x="55486" y="30478"/>
                      <a:pt x="59322" y="34991"/>
                      <a:pt x="61127" y="38827"/>
                    </a:cubicBezTo>
                    <a:cubicBezTo>
                      <a:pt x="63384" y="44017"/>
                      <a:pt x="65866" y="50109"/>
                      <a:pt x="71056" y="56202"/>
                    </a:cubicBezTo>
                    <a:cubicBezTo>
                      <a:pt x="76246" y="62294"/>
                      <a:pt x="78051" y="82151"/>
                      <a:pt x="86174" y="83054"/>
                    </a:cubicBezTo>
                    <a:cubicBezTo>
                      <a:pt x="94072" y="83956"/>
                      <a:pt x="97908" y="89146"/>
                      <a:pt x="101292" y="97721"/>
                    </a:cubicBezTo>
                    <a:cubicBezTo>
                      <a:pt x="104677" y="106295"/>
                      <a:pt x="114380" y="103813"/>
                      <a:pt x="113929" y="108552"/>
                    </a:cubicBezTo>
                    <a:cubicBezTo>
                      <a:pt x="113477" y="113290"/>
                      <a:pt x="108739" y="118931"/>
                      <a:pt x="98810" y="118931"/>
                    </a:cubicBezTo>
                    <a:cubicBezTo>
                      <a:pt x="88882" y="118931"/>
                      <a:pt x="92267" y="126378"/>
                      <a:pt x="88431" y="126829"/>
                    </a:cubicBezTo>
                    <a:cubicBezTo>
                      <a:pt x="84595" y="127280"/>
                      <a:pt x="77148" y="130214"/>
                      <a:pt x="75343" y="135855"/>
                    </a:cubicBezTo>
                    <a:cubicBezTo>
                      <a:pt x="73538" y="141496"/>
                      <a:pt x="78277" y="147137"/>
                      <a:pt x="81887" y="148491"/>
                    </a:cubicBezTo>
                    <a:cubicBezTo>
                      <a:pt x="85497" y="149845"/>
                      <a:pt x="104000" y="163609"/>
                      <a:pt x="103098" y="166768"/>
                    </a:cubicBezTo>
                    <a:cubicBezTo>
                      <a:pt x="102195" y="170153"/>
                      <a:pt x="95651" y="170604"/>
                      <a:pt x="87979" y="172409"/>
                    </a:cubicBezTo>
                    <a:cubicBezTo>
                      <a:pt x="80533" y="174215"/>
                      <a:pt x="81436" y="187979"/>
                      <a:pt x="85046" y="189784"/>
                    </a:cubicBezTo>
                    <a:cubicBezTo>
                      <a:pt x="88882" y="191590"/>
                      <a:pt x="97682" y="195877"/>
                      <a:pt x="102421" y="201969"/>
                    </a:cubicBezTo>
                    <a:cubicBezTo>
                      <a:pt x="107159" y="208062"/>
                      <a:pt x="120247" y="214154"/>
                      <a:pt x="130175" y="216185"/>
                    </a:cubicBezTo>
                    <a:cubicBezTo>
                      <a:pt x="140104" y="217990"/>
                      <a:pt x="147099" y="227919"/>
                      <a:pt x="144391" y="232657"/>
                    </a:cubicBezTo>
                    <a:cubicBezTo>
                      <a:pt x="141457" y="237396"/>
                      <a:pt x="140104" y="242585"/>
                      <a:pt x="127468" y="242585"/>
                    </a:cubicBezTo>
                    <a:cubicBezTo>
                      <a:pt x="114831" y="242585"/>
                      <a:pt x="103098" y="241683"/>
                      <a:pt x="94072" y="246422"/>
                    </a:cubicBezTo>
                    <a:cubicBezTo>
                      <a:pt x="85046" y="251160"/>
                      <a:pt x="80984" y="259058"/>
                      <a:pt x="70153" y="266278"/>
                    </a:cubicBezTo>
                    <a:cubicBezTo>
                      <a:pt x="59322" y="273273"/>
                      <a:pt x="40594" y="298320"/>
                      <a:pt x="34953" y="299223"/>
                    </a:cubicBezTo>
                    <a:cubicBezTo>
                      <a:pt x="29311" y="300125"/>
                      <a:pt x="14193" y="309151"/>
                      <a:pt x="10131" y="315695"/>
                    </a:cubicBezTo>
                    <a:cubicBezTo>
                      <a:pt x="5844" y="322238"/>
                      <a:pt x="7198" y="332167"/>
                      <a:pt x="1557" y="338711"/>
                    </a:cubicBezTo>
                    <a:cubicBezTo>
                      <a:pt x="-4084" y="345254"/>
                      <a:pt x="7198" y="368270"/>
                      <a:pt x="10131" y="377296"/>
                    </a:cubicBezTo>
                    <a:cubicBezTo>
                      <a:pt x="12839" y="385871"/>
                      <a:pt x="22091" y="397830"/>
                      <a:pt x="23219" y="403020"/>
                    </a:cubicBezTo>
                    <a:cubicBezTo>
                      <a:pt x="33599" y="405728"/>
                      <a:pt x="39465" y="411143"/>
                      <a:pt x="44881" y="411143"/>
                    </a:cubicBezTo>
                    <a:cubicBezTo>
                      <a:pt x="52327" y="411143"/>
                      <a:pt x="74441" y="403697"/>
                      <a:pt x="79179" y="398507"/>
                    </a:cubicBezTo>
                    <a:cubicBezTo>
                      <a:pt x="83918" y="393317"/>
                      <a:pt x="88656" y="394671"/>
                      <a:pt x="94749" y="396702"/>
                    </a:cubicBezTo>
                    <a:cubicBezTo>
                      <a:pt x="100841" y="398507"/>
                      <a:pt x="99487" y="407984"/>
                      <a:pt x="105129" y="409789"/>
                    </a:cubicBezTo>
                    <a:cubicBezTo>
                      <a:pt x="110770" y="411594"/>
                      <a:pt x="108513" y="407984"/>
                      <a:pt x="119795" y="408887"/>
                    </a:cubicBezTo>
                    <a:cubicBezTo>
                      <a:pt x="131078" y="409789"/>
                      <a:pt x="122729" y="415430"/>
                      <a:pt x="125437" y="420169"/>
                    </a:cubicBezTo>
                    <a:cubicBezTo>
                      <a:pt x="128370" y="424908"/>
                      <a:pt x="134462" y="425359"/>
                      <a:pt x="140555" y="429195"/>
                    </a:cubicBezTo>
                    <a:cubicBezTo>
                      <a:pt x="146647" y="433031"/>
                      <a:pt x="150935" y="436641"/>
                      <a:pt x="154771" y="429195"/>
                    </a:cubicBezTo>
                    <a:cubicBezTo>
                      <a:pt x="158607" y="421748"/>
                      <a:pt x="163797" y="424908"/>
                      <a:pt x="168309" y="421748"/>
                    </a:cubicBezTo>
                    <a:cubicBezTo>
                      <a:pt x="173048" y="418364"/>
                      <a:pt x="182525" y="410015"/>
                      <a:pt x="188166" y="410466"/>
                    </a:cubicBezTo>
                    <a:cubicBezTo>
                      <a:pt x="193808" y="410917"/>
                      <a:pt x="196741" y="417461"/>
                      <a:pt x="198997" y="421748"/>
                    </a:cubicBezTo>
                    <a:cubicBezTo>
                      <a:pt x="201254" y="426036"/>
                      <a:pt x="204187" y="423554"/>
                      <a:pt x="213664" y="423554"/>
                    </a:cubicBezTo>
                    <a:cubicBezTo>
                      <a:pt x="223141" y="423554"/>
                      <a:pt x="221111" y="423554"/>
                      <a:pt x="224947" y="423554"/>
                    </a:cubicBezTo>
                    <a:cubicBezTo>
                      <a:pt x="228783" y="423554"/>
                      <a:pt x="232393" y="416559"/>
                      <a:pt x="238485" y="411369"/>
                    </a:cubicBezTo>
                    <a:cubicBezTo>
                      <a:pt x="244578" y="406179"/>
                      <a:pt x="259696" y="402794"/>
                      <a:pt x="266691" y="398733"/>
                    </a:cubicBezTo>
                    <a:cubicBezTo>
                      <a:pt x="273686" y="394671"/>
                      <a:pt x="287902" y="393092"/>
                      <a:pt x="291512" y="386096"/>
                    </a:cubicBezTo>
                    <a:cubicBezTo>
                      <a:pt x="295348" y="379101"/>
                      <a:pt x="298056" y="371881"/>
                      <a:pt x="300538" y="367368"/>
                    </a:cubicBezTo>
                    <a:cubicBezTo>
                      <a:pt x="302795" y="362629"/>
                      <a:pt x="315656" y="364434"/>
                      <a:pt x="317913" y="366014"/>
                    </a:cubicBezTo>
                    <a:cubicBezTo>
                      <a:pt x="320169" y="367593"/>
                      <a:pt x="328744" y="370301"/>
                      <a:pt x="333031" y="368270"/>
                    </a:cubicBezTo>
                    <a:cubicBezTo>
                      <a:pt x="337318" y="366465"/>
                      <a:pt x="342959" y="370527"/>
                      <a:pt x="346119" y="373460"/>
                    </a:cubicBezTo>
                    <a:cubicBezTo>
                      <a:pt x="349278" y="376394"/>
                      <a:pt x="350857" y="380907"/>
                      <a:pt x="352211" y="385645"/>
                    </a:cubicBezTo>
                    <a:cubicBezTo>
                      <a:pt x="353565" y="390384"/>
                      <a:pt x="360109" y="390384"/>
                      <a:pt x="366427" y="392640"/>
                    </a:cubicBezTo>
                    <a:cubicBezTo>
                      <a:pt x="372519" y="394897"/>
                      <a:pt x="379514" y="410692"/>
                      <a:pt x="381545" y="413400"/>
                    </a:cubicBezTo>
                    <a:cubicBezTo>
                      <a:pt x="383802" y="416333"/>
                      <a:pt x="392827" y="418815"/>
                      <a:pt x="394632" y="415882"/>
                    </a:cubicBezTo>
                    <a:cubicBezTo>
                      <a:pt x="396438" y="412948"/>
                      <a:pt x="399371" y="405276"/>
                      <a:pt x="399371" y="398056"/>
                    </a:cubicBezTo>
                    <a:cubicBezTo>
                      <a:pt x="399371" y="390835"/>
                      <a:pt x="403433" y="392414"/>
                      <a:pt x="409300" y="387450"/>
                    </a:cubicBezTo>
                    <a:cubicBezTo>
                      <a:pt x="415166" y="382486"/>
                      <a:pt x="412233" y="389030"/>
                      <a:pt x="415166" y="389030"/>
                    </a:cubicBezTo>
                    <a:cubicBezTo>
                      <a:pt x="418100" y="389030"/>
                      <a:pt x="428705" y="386096"/>
                      <a:pt x="433669" y="386096"/>
                    </a:cubicBezTo>
                    <a:cubicBezTo>
                      <a:pt x="438634" y="386096"/>
                      <a:pt x="446531" y="386096"/>
                      <a:pt x="448788" y="381358"/>
                    </a:cubicBezTo>
                    <a:cubicBezTo>
                      <a:pt x="451044" y="376619"/>
                      <a:pt x="454654" y="379101"/>
                      <a:pt x="460296" y="378876"/>
                    </a:cubicBezTo>
                    <a:cubicBezTo>
                      <a:pt x="465937" y="378650"/>
                      <a:pt x="466162" y="370978"/>
                      <a:pt x="465937" y="364434"/>
                    </a:cubicBezTo>
                    <a:cubicBezTo>
                      <a:pt x="465711" y="357891"/>
                      <a:pt x="468419" y="353829"/>
                      <a:pt x="472480" y="346608"/>
                    </a:cubicBezTo>
                    <a:cubicBezTo>
                      <a:pt x="476542" y="339388"/>
                      <a:pt x="476316" y="333972"/>
                      <a:pt x="477219" y="325623"/>
                    </a:cubicBezTo>
                    <a:cubicBezTo>
                      <a:pt x="478122" y="317049"/>
                      <a:pt x="488501" y="310505"/>
                      <a:pt x="491886" y="307120"/>
                    </a:cubicBezTo>
                    <a:cubicBezTo>
                      <a:pt x="495271" y="303736"/>
                      <a:pt x="494143" y="299674"/>
                      <a:pt x="500009" y="295838"/>
                    </a:cubicBezTo>
                    <a:cubicBezTo>
                      <a:pt x="505876" y="292002"/>
                      <a:pt x="510615" y="295612"/>
                      <a:pt x="515128" y="292453"/>
                    </a:cubicBezTo>
                    <a:cubicBezTo>
                      <a:pt x="519415" y="289294"/>
                      <a:pt x="520769" y="288392"/>
                      <a:pt x="523251" y="280945"/>
                    </a:cubicBezTo>
                    <a:cubicBezTo>
                      <a:pt x="525733" y="273499"/>
                      <a:pt x="529118" y="279140"/>
                      <a:pt x="533856" y="280268"/>
                    </a:cubicBezTo>
                    <a:cubicBezTo>
                      <a:pt x="538595" y="281622"/>
                      <a:pt x="545139" y="285233"/>
                      <a:pt x="548298" y="287715"/>
                    </a:cubicBezTo>
                    <a:cubicBezTo>
                      <a:pt x="551457" y="290197"/>
                      <a:pt x="551457" y="298094"/>
                      <a:pt x="551457" y="300576"/>
                    </a:cubicBezTo>
                    <a:cubicBezTo>
                      <a:pt x="551457" y="301479"/>
                      <a:pt x="551908" y="302833"/>
                      <a:pt x="552810" y="304638"/>
                    </a:cubicBezTo>
                    <a:cubicBezTo>
                      <a:pt x="567478" y="293807"/>
                      <a:pt x="554841" y="280945"/>
                      <a:pt x="553262" y="275079"/>
                    </a:cubicBezTo>
                    <a:cubicBezTo>
                      <a:pt x="551457" y="268535"/>
                      <a:pt x="554164" y="262442"/>
                      <a:pt x="560257" y="257704"/>
                    </a:cubicBezTo>
                    <a:cubicBezTo>
                      <a:pt x="566349" y="252965"/>
                      <a:pt x="569283" y="247324"/>
                      <a:pt x="573344" y="246422"/>
                    </a:cubicBezTo>
                    <a:cubicBezTo>
                      <a:pt x="577632" y="245519"/>
                      <a:pt x="579437" y="239878"/>
                      <a:pt x="574247" y="228144"/>
                    </a:cubicBezTo>
                    <a:cubicBezTo>
                      <a:pt x="569057" y="216411"/>
                      <a:pt x="563867" y="213477"/>
                      <a:pt x="557323" y="206482"/>
                    </a:cubicBezTo>
                    <a:cubicBezTo>
                      <a:pt x="550780" y="199487"/>
                      <a:pt x="549877" y="186174"/>
                      <a:pt x="550780" y="181661"/>
                    </a:cubicBezTo>
                    <a:cubicBezTo>
                      <a:pt x="551682" y="176922"/>
                      <a:pt x="565898" y="177825"/>
                      <a:pt x="566801" y="168574"/>
                    </a:cubicBezTo>
                    <a:cubicBezTo>
                      <a:pt x="567703" y="159096"/>
                      <a:pt x="580791" y="158194"/>
                      <a:pt x="586432" y="153455"/>
                    </a:cubicBezTo>
                    <a:cubicBezTo>
                      <a:pt x="591847" y="147588"/>
                      <a:pt x="596360" y="131568"/>
                      <a:pt x="595458" y="123219"/>
                    </a:cubicBezTo>
                    <a:close/>
                  </a:path>
                </a:pathLst>
              </a:custGeom>
              <a:solidFill>
                <a:srgbClr val="80C342">
                  <a:alpha val="70000"/>
                </a:srgbClr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xmlns="" id="{D2A9F210-3651-402E-A88A-33C0C2FB15EC}"/>
                  </a:ext>
                </a:extLst>
              </p:cNvPr>
              <p:cNvSpPr/>
              <p:nvPr/>
            </p:nvSpPr>
            <p:spPr>
              <a:xfrm>
                <a:off x="9734653" y="3129860"/>
                <a:ext cx="744632" cy="654374"/>
              </a:xfrm>
              <a:custGeom>
                <a:avLst/>
                <a:gdLst>
                  <a:gd name="connsiteX0" fmla="*/ 766069 w 744632"/>
                  <a:gd name="connsiteY0" fmla="*/ 97963 h 654373"/>
                  <a:gd name="connsiteX1" fmla="*/ 750048 w 744632"/>
                  <a:gd name="connsiteY1" fmla="*/ 91419 h 654373"/>
                  <a:gd name="connsiteX2" fmla="*/ 736960 w 744632"/>
                  <a:gd name="connsiteY2" fmla="*/ 75398 h 654373"/>
                  <a:gd name="connsiteX3" fmla="*/ 715298 w 744632"/>
                  <a:gd name="connsiteY3" fmla="*/ 79234 h 654373"/>
                  <a:gd name="connsiteX4" fmla="*/ 701083 w 744632"/>
                  <a:gd name="connsiteY4" fmla="*/ 54865 h 654373"/>
                  <a:gd name="connsiteX5" fmla="*/ 677615 w 744632"/>
                  <a:gd name="connsiteY5" fmla="*/ 46290 h 654373"/>
                  <a:gd name="connsiteX6" fmla="*/ 674231 w 744632"/>
                  <a:gd name="connsiteY6" fmla="*/ 39746 h 654373"/>
                  <a:gd name="connsiteX7" fmla="*/ 657307 w 744632"/>
                  <a:gd name="connsiteY7" fmla="*/ 31623 h 654373"/>
                  <a:gd name="connsiteX8" fmla="*/ 631358 w 744632"/>
                  <a:gd name="connsiteY8" fmla="*/ 23049 h 654373"/>
                  <a:gd name="connsiteX9" fmla="*/ 620076 w 744632"/>
                  <a:gd name="connsiteY9" fmla="*/ 15151 h 654373"/>
                  <a:gd name="connsiteX10" fmla="*/ 600896 w 744632"/>
                  <a:gd name="connsiteY10" fmla="*/ 9510 h 654373"/>
                  <a:gd name="connsiteX11" fmla="*/ 586229 w 744632"/>
                  <a:gd name="connsiteY11" fmla="*/ 33 h 654373"/>
                  <a:gd name="connsiteX12" fmla="*/ 579234 w 744632"/>
                  <a:gd name="connsiteY12" fmla="*/ 11766 h 654373"/>
                  <a:gd name="connsiteX13" fmla="*/ 583070 w 744632"/>
                  <a:gd name="connsiteY13" fmla="*/ 20341 h 654373"/>
                  <a:gd name="connsiteX14" fmla="*/ 583070 w 744632"/>
                  <a:gd name="connsiteY14" fmla="*/ 39521 h 654373"/>
                  <a:gd name="connsiteX15" fmla="*/ 581264 w 744632"/>
                  <a:gd name="connsiteY15" fmla="*/ 62085 h 654373"/>
                  <a:gd name="connsiteX16" fmla="*/ 566146 w 744632"/>
                  <a:gd name="connsiteY16" fmla="*/ 79009 h 654373"/>
                  <a:gd name="connsiteX17" fmla="*/ 556218 w 744632"/>
                  <a:gd name="connsiteY17" fmla="*/ 69532 h 654373"/>
                  <a:gd name="connsiteX18" fmla="*/ 539746 w 744632"/>
                  <a:gd name="connsiteY18" fmla="*/ 67275 h 654373"/>
                  <a:gd name="connsiteX19" fmla="*/ 512894 w 744632"/>
                  <a:gd name="connsiteY19" fmla="*/ 60731 h 654373"/>
                  <a:gd name="connsiteX20" fmla="*/ 490780 w 744632"/>
                  <a:gd name="connsiteY20" fmla="*/ 68629 h 654373"/>
                  <a:gd name="connsiteX21" fmla="*/ 464380 w 744632"/>
                  <a:gd name="connsiteY21" fmla="*/ 67275 h 654373"/>
                  <a:gd name="connsiteX22" fmla="*/ 463026 w 744632"/>
                  <a:gd name="connsiteY22" fmla="*/ 41777 h 654373"/>
                  <a:gd name="connsiteX23" fmla="*/ 450390 w 744632"/>
                  <a:gd name="connsiteY23" fmla="*/ 20115 h 654373"/>
                  <a:gd name="connsiteX24" fmla="*/ 405260 w 744632"/>
                  <a:gd name="connsiteY24" fmla="*/ 23500 h 654373"/>
                  <a:gd name="connsiteX25" fmla="*/ 369608 w 744632"/>
                  <a:gd name="connsiteY25" fmla="*/ 30044 h 654373"/>
                  <a:gd name="connsiteX26" fmla="*/ 343659 w 744632"/>
                  <a:gd name="connsiteY26" fmla="*/ 17859 h 654373"/>
                  <a:gd name="connsiteX27" fmla="*/ 329895 w 744632"/>
                  <a:gd name="connsiteY27" fmla="*/ 10864 h 654373"/>
                  <a:gd name="connsiteX28" fmla="*/ 332377 w 744632"/>
                  <a:gd name="connsiteY28" fmla="*/ 15377 h 654373"/>
                  <a:gd name="connsiteX29" fmla="*/ 327187 w 744632"/>
                  <a:gd name="connsiteY29" fmla="*/ 34782 h 654373"/>
                  <a:gd name="connsiteX30" fmla="*/ 305074 w 744632"/>
                  <a:gd name="connsiteY30" fmla="*/ 47418 h 654373"/>
                  <a:gd name="connsiteX31" fmla="*/ 275063 w 744632"/>
                  <a:gd name="connsiteY31" fmla="*/ 67726 h 654373"/>
                  <a:gd name="connsiteX32" fmla="*/ 276417 w 744632"/>
                  <a:gd name="connsiteY32" fmla="*/ 95932 h 654373"/>
                  <a:gd name="connsiteX33" fmla="*/ 267391 w 744632"/>
                  <a:gd name="connsiteY33" fmla="*/ 108568 h 654373"/>
                  <a:gd name="connsiteX34" fmla="*/ 253175 w 744632"/>
                  <a:gd name="connsiteY34" fmla="*/ 126846 h 654373"/>
                  <a:gd name="connsiteX35" fmla="*/ 246180 w 744632"/>
                  <a:gd name="connsiteY35" fmla="*/ 149862 h 654373"/>
                  <a:gd name="connsiteX36" fmla="*/ 242795 w 744632"/>
                  <a:gd name="connsiteY36" fmla="*/ 169041 h 654373"/>
                  <a:gd name="connsiteX37" fmla="*/ 232867 w 744632"/>
                  <a:gd name="connsiteY37" fmla="*/ 185965 h 654373"/>
                  <a:gd name="connsiteX38" fmla="*/ 208948 w 744632"/>
                  <a:gd name="connsiteY38" fmla="*/ 202437 h 654373"/>
                  <a:gd name="connsiteX39" fmla="*/ 169912 w 744632"/>
                  <a:gd name="connsiteY39" fmla="*/ 201083 h 654373"/>
                  <a:gd name="connsiteX40" fmla="*/ 149603 w 744632"/>
                  <a:gd name="connsiteY40" fmla="*/ 220263 h 654373"/>
                  <a:gd name="connsiteX41" fmla="*/ 144414 w 744632"/>
                  <a:gd name="connsiteY41" fmla="*/ 236284 h 654373"/>
                  <a:gd name="connsiteX42" fmla="*/ 130198 w 744632"/>
                  <a:gd name="connsiteY42" fmla="*/ 246213 h 654373"/>
                  <a:gd name="connsiteX43" fmla="*/ 121623 w 744632"/>
                  <a:gd name="connsiteY43" fmla="*/ 262685 h 654373"/>
                  <a:gd name="connsiteX44" fmla="*/ 119367 w 744632"/>
                  <a:gd name="connsiteY44" fmla="*/ 284798 h 654373"/>
                  <a:gd name="connsiteX45" fmla="*/ 124557 w 744632"/>
                  <a:gd name="connsiteY45" fmla="*/ 308265 h 654373"/>
                  <a:gd name="connsiteX46" fmla="*/ 126362 w 744632"/>
                  <a:gd name="connsiteY46" fmla="*/ 339856 h 654373"/>
                  <a:gd name="connsiteX47" fmla="*/ 142834 w 744632"/>
                  <a:gd name="connsiteY47" fmla="*/ 355877 h 654373"/>
                  <a:gd name="connsiteX48" fmla="*/ 165398 w 744632"/>
                  <a:gd name="connsiteY48" fmla="*/ 360164 h 654373"/>
                  <a:gd name="connsiteX49" fmla="*/ 170588 w 744632"/>
                  <a:gd name="connsiteY49" fmla="*/ 373251 h 654373"/>
                  <a:gd name="connsiteX50" fmla="*/ 155019 w 744632"/>
                  <a:gd name="connsiteY50" fmla="*/ 380698 h 654373"/>
                  <a:gd name="connsiteX51" fmla="*/ 120269 w 744632"/>
                  <a:gd name="connsiteY51" fmla="*/ 371220 h 654373"/>
                  <a:gd name="connsiteX52" fmla="*/ 100412 w 744632"/>
                  <a:gd name="connsiteY52" fmla="*/ 354297 h 654373"/>
                  <a:gd name="connsiteX53" fmla="*/ 68371 w 744632"/>
                  <a:gd name="connsiteY53" fmla="*/ 345722 h 654373"/>
                  <a:gd name="connsiteX54" fmla="*/ 73109 w 744632"/>
                  <a:gd name="connsiteY54" fmla="*/ 381375 h 654373"/>
                  <a:gd name="connsiteX55" fmla="*/ 82586 w 744632"/>
                  <a:gd name="connsiteY55" fmla="*/ 406873 h 654373"/>
                  <a:gd name="connsiteX56" fmla="*/ 93869 w 744632"/>
                  <a:gd name="connsiteY56" fmla="*/ 428535 h 654373"/>
                  <a:gd name="connsiteX57" fmla="*/ 106054 w 744632"/>
                  <a:gd name="connsiteY57" fmla="*/ 465315 h 654373"/>
                  <a:gd name="connsiteX58" fmla="*/ 102218 w 744632"/>
                  <a:gd name="connsiteY58" fmla="*/ 505706 h 654373"/>
                  <a:gd name="connsiteX59" fmla="*/ 87099 w 744632"/>
                  <a:gd name="connsiteY59" fmla="*/ 532106 h 654373"/>
                  <a:gd name="connsiteX60" fmla="*/ 67242 w 744632"/>
                  <a:gd name="connsiteY60" fmla="*/ 559409 h 654373"/>
                  <a:gd name="connsiteX61" fmla="*/ 40842 w 744632"/>
                  <a:gd name="connsiteY61" fmla="*/ 586712 h 654373"/>
                  <a:gd name="connsiteX62" fmla="*/ 22113 w 744632"/>
                  <a:gd name="connsiteY62" fmla="*/ 614918 h 654373"/>
                  <a:gd name="connsiteX63" fmla="*/ 6092 w 744632"/>
                  <a:gd name="connsiteY63" fmla="*/ 644929 h 654373"/>
                  <a:gd name="connsiteX64" fmla="*/ 0 w 744632"/>
                  <a:gd name="connsiteY64" fmla="*/ 656663 h 654373"/>
                  <a:gd name="connsiteX65" fmla="*/ 11734 w 744632"/>
                  <a:gd name="connsiteY65" fmla="*/ 655309 h 654373"/>
                  <a:gd name="connsiteX66" fmla="*/ 51222 w 744632"/>
                  <a:gd name="connsiteY66" fmla="*/ 641093 h 654373"/>
                  <a:gd name="connsiteX67" fmla="*/ 74689 w 744632"/>
                  <a:gd name="connsiteY67" fmla="*/ 635001 h 654373"/>
                  <a:gd name="connsiteX68" fmla="*/ 99510 w 744632"/>
                  <a:gd name="connsiteY68" fmla="*/ 621913 h 654373"/>
                  <a:gd name="connsiteX69" fmla="*/ 122977 w 744632"/>
                  <a:gd name="connsiteY69" fmla="*/ 612436 h 654373"/>
                  <a:gd name="connsiteX70" fmla="*/ 119141 w 744632"/>
                  <a:gd name="connsiteY70" fmla="*/ 572497 h 654373"/>
                  <a:gd name="connsiteX71" fmla="*/ 144639 w 744632"/>
                  <a:gd name="connsiteY71" fmla="*/ 563922 h 654373"/>
                  <a:gd name="connsiteX72" fmla="*/ 151634 w 744632"/>
                  <a:gd name="connsiteY72" fmla="*/ 587841 h 654373"/>
                  <a:gd name="connsiteX73" fmla="*/ 176455 w 744632"/>
                  <a:gd name="connsiteY73" fmla="*/ 584456 h 654373"/>
                  <a:gd name="connsiteX74" fmla="*/ 193830 w 744632"/>
                  <a:gd name="connsiteY74" fmla="*/ 574076 h 654373"/>
                  <a:gd name="connsiteX75" fmla="*/ 212107 w 744632"/>
                  <a:gd name="connsiteY75" fmla="*/ 569789 h 654373"/>
                  <a:gd name="connsiteX76" fmla="*/ 218651 w 744632"/>
                  <a:gd name="connsiteY76" fmla="*/ 542035 h 654373"/>
                  <a:gd name="connsiteX77" fmla="*/ 236026 w 744632"/>
                  <a:gd name="connsiteY77" fmla="*/ 522178 h 654373"/>
                  <a:gd name="connsiteX78" fmla="*/ 250693 w 744632"/>
                  <a:gd name="connsiteY78" fmla="*/ 527368 h 654373"/>
                  <a:gd name="connsiteX79" fmla="*/ 261975 w 744632"/>
                  <a:gd name="connsiteY79" fmla="*/ 509993 h 654373"/>
                  <a:gd name="connsiteX80" fmla="*/ 260170 w 744632"/>
                  <a:gd name="connsiteY80" fmla="*/ 492167 h 654373"/>
                  <a:gd name="connsiteX81" fmla="*/ 284088 w 744632"/>
                  <a:gd name="connsiteY81" fmla="*/ 482690 h 654373"/>
                  <a:gd name="connsiteX82" fmla="*/ 302366 w 744632"/>
                  <a:gd name="connsiteY82" fmla="*/ 496905 h 654373"/>
                  <a:gd name="connsiteX83" fmla="*/ 322223 w 744632"/>
                  <a:gd name="connsiteY83" fmla="*/ 512024 h 654373"/>
                  <a:gd name="connsiteX84" fmla="*/ 346141 w 744632"/>
                  <a:gd name="connsiteY84" fmla="*/ 525111 h 654373"/>
                  <a:gd name="connsiteX85" fmla="*/ 381793 w 744632"/>
                  <a:gd name="connsiteY85" fmla="*/ 522855 h 654373"/>
                  <a:gd name="connsiteX86" fmla="*/ 385178 w 744632"/>
                  <a:gd name="connsiteY86" fmla="*/ 511572 h 654373"/>
                  <a:gd name="connsiteX87" fmla="*/ 435497 w 744632"/>
                  <a:gd name="connsiteY87" fmla="*/ 468700 h 654373"/>
                  <a:gd name="connsiteX88" fmla="*/ 435497 w 744632"/>
                  <a:gd name="connsiteY88" fmla="*/ 468700 h 654373"/>
                  <a:gd name="connsiteX89" fmla="*/ 446102 w 744632"/>
                  <a:gd name="connsiteY89" fmla="*/ 457869 h 654373"/>
                  <a:gd name="connsiteX90" fmla="*/ 472052 w 744632"/>
                  <a:gd name="connsiteY90" fmla="*/ 430565 h 654373"/>
                  <a:gd name="connsiteX91" fmla="*/ 491232 w 744632"/>
                  <a:gd name="connsiteY91" fmla="*/ 412288 h 654373"/>
                  <a:gd name="connsiteX92" fmla="*/ 539294 w 744632"/>
                  <a:gd name="connsiteY92" fmla="*/ 385887 h 654373"/>
                  <a:gd name="connsiteX93" fmla="*/ 587357 w 744632"/>
                  <a:gd name="connsiteY93" fmla="*/ 367159 h 654373"/>
                  <a:gd name="connsiteX94" fmla="*/ 635419 w 744632"/>
                  <a:gd name="connsiteY94" fmla="*/ 348205 h 654373"/>
                  <a:gd name="connsiteX95" fmla="*/ 644897 w 744632"/>
                  <a:gd name="connsiteY95" fmla="*/ 335794 h 654373"/>
                  <a:gd name="connsiteX96" fmla="*/ 660015 w 744632"/>
                  <a:gd name="connsiteY96" fmla="*/ 313455 h 654373"/>
                  <a:gd name="connsiteX97" fmla="*/ 686867 w 744632"/>
                  <a:gd name="connsiteY97" fmla="*/ 295855 h 654373"/>
                  <a:gd name="connsiteX98" fmla="*/ 685964 w 744632"/>
                  <a:gd name="connsiteY98" fmla="*/ 282542 h 654373"/>
                  <a:gd name="connsiteX99" fmla="*/ 685739 w 744632"/>
                  <a:gd name="connsiteY99" fmla="*/ 271711 h 654373"/>
                  <a:gd name="connsiteX100" fmla="*/ 697247 w 744632"/>
                  <a:gd name="connsiteY100" fmla="*/ 257946 h 654373"/>
                  <a:gd name="connsiteX101" fmla="*/ 714170 w 744632"/>
                  <a:gd name="connsiteY101" fmla="*/ 244859 h 654373"/>
                  <a:gd name="connsiteX102" fmla="*/ 713042 w 744632"/>
                  <a:gd name="connsiteY102" fmla="*/ 234705 h 654373"/>
                  <a:gd name="connsiteX103" fmla="*/ 701308 w 744632"/>
                  <a:gd name="connsiteY103" fmla="*/ 234028 h 654373"/>
                  <a:gd name="connsiteX104" fmla="*/ 707175 w 744632"/>
                  <a:gd name="connsiteY104" fmla="*/ 229289 h 654373"/>
                  <a:gd name="connsiteX105" fmla="*/ 711913 w 744632"/>
                  <a:gd name="connsiteY105" fmla="*/ 222294 h 654373"/>
                  <a:gd name="connsiteX106" fmla="*/ 699503 w 744632"/>
                  <a:gd name="connsiteY106" fmla="*/ 204017 h 654373"/>
                  <a:gd name="connsiteX107" fmla="*/ 693185 w 744632"/>
                  <a:gd name="connsiteY107" fmla="*/ 164303 h 654373"/>
                  <a:gd name="connsiteX108" fmla="*/ 731770 w 744632"/>
                  <a:gd name="connsiteY108" fmla="*/ 126394 h 654373"/>
                  <a:gd name="connsiteX109" fmla="*/ 752981 w 744632"/>
                  <a:gd name="connsiteY109" fmla="*/ 125041 h 654373"/>
                  <a:gd name="connsiteX110" fmla="*/ 766294 w 744632"/>
                  <a:gd name="connsiteY110" fmla="*/ 116917 h 654373"/>
                  <a:gd name="connsiteX111" fmla="*/ 766069 w 744632"/>
                  <a:gd name="connsiteY111" fmla="*/ 97963 h 65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744632" h="654373">
                    <a:moveTo>
                      <a:pt x="766069" y="97963"/>
                    </a:moveTo>
                    <a:cubicBezTo>
                      <a:pt x="766069" y="93224"/>
                      <a:pt x="755689" y="92322"/>
                      <a:pt x="750048" y="91419"/>
                    </a:cubicBezTo>
                    <a:cubicBezTo>
                      <a:pt x="744407" y="90517"/>
                      <a:pt x="746212" y="80137"/>
                      <a:pt x="736960" y="75398"/>
                    </a:cubicBezTo>
                    <a:cubicBezTo>
                      <a:pt x="727483" y="70660"/>
                      <a:pt x="720037" y="77204"/>
                      <a:pt x="715298" y="79234"/>
                    </a:cubicBezTo>
                    <a:cubicBezTo>
                      <a:pt x="710560" y="81040"/>
                      <a:pt x="706724" y="69757"/>
                      <a:pt x="701083" y="54865"/>
                    </a:cubicBezTo>
                    <a:cubicBezTo>
                      <a:pt x="695441" y="39746"/>
                      <a:pt x="680323" y="54865"/>
                      <a:pt x="677615" y="46290"/>
                    </a:cubicBezTo>
                    <a:cubicBezTo>
                      <a:pt x="677164" y="44711"/>
                      <a:pt x="675810" y="42454"/>
                      <a:pt x="674231" y="39746"/>
                    </a:cubicBezTo>
                    <a:cubicBezTo>
                      <a:pt x="669943" y="40874"/>
                      <a:pt x="665656" y="37490"/>
                      <a:pt x="657307" y="31623"/>
                    </a:cubicBezTo>
                    <a:cubicBezTo>
                      <a:pt x="647379" y="24628"/>
                      <a:pt x="642640" y="25079"/>
                      <a:pt x="631358" y="23049"/>
                    </a:cubicBezTo>
                    <a:cubicBezTo>
                      <a:pt x="620076" y="21243"/>
                      <a:pt x="625265" y="17859"/>
                      <a:pt x="620076" y="15151"/>
                    </a:cubicBezTo>
                    <a:cubicBezTo>
                      <a:pt x="614886" y="12443"/>
                      <a:pt x="608793" y="15151"/>
                      <a:pt x="600896" y="9510"/>
                    </a:cubicBezTo>
                    <a:cubicBezTo>
                      <a:pt x="592998" y="3869"/>
                      <a:pt x="589613" y="-419"/>
                      <a:pt x="586229" y="33"/>
                    </a:cubicBezTo>
                    <a:cubicBezTo>
                      <a:pt x="582844" y="484"/>
                      <a:pt x="577654" y="9510"/>
                      <a:pt x="579234" y="11766"/>
                    </a:cubicBezTo>
                    <a:cubicBezTo>
                      <a:pt x="580587" y="14023"/>
                      <a:pt x="583972" y="16053"/>
                      <a:pt x="583070" y="20341"/>
                    </a:cubicBezTo>
                    <a:cubicBezTo>
                      <a:pt x="582167" y="24628"/>
                      <a:pt x="579685" y="31172"/>
                      <a:pt x="583070" y="39521"/>
                    </a:cubicBezTo>
                    <a:cubicBezTo>
                      <a:pt x="586454" y="48095"/>
                      <a:pt x="584424" y="53736"/>
                      <a:pt x="581264" y="62085"/>
                    </a:cubicBezTo>
                    <a:cubicBezTo>
                      <a:pt x="577880" y="70660"/>
                      <a:pt x="572239" y="79009"/>
                      <a:pt x="566146" y="79009"/>
                    </a:cubicBezTo>
                    <a:cubicBezTo>
                      <a:pt x="560054" y="79009"/>
                      <a:pt x="555315" y="76752"/>
                      <a:pt x="556218" y="69532"/>
                    </a:cubicBezTo>
                    <a:cubicBezTo>
                      <a:pt x="557120" y="62537"/>
                      <a:pt x="546741" y="66598"/>
                      <a:pt x="539746" y="67275"/>
                    </a:cubicBezTo>
                    <a:cubicBezTo>
                      <a:pt x="532751" y="67726"/>
                      <a:pt x="526207" y="66824"/>
                      <a:pt x="512894" y="60731"/>
                    </a:cubicBezTo>
                    <a:cubicBezTo>
                      <a:pt x="499806" y="54639"/>
                      <a:pt x="495519" y="63665"/>
                      <a:pt x="490780" y="68629"/>
                    </a:cubicBezTo>
                    <a:cubicBezTo>
                      <a:pt x="486042" y="73819"/>
                      <a:pt x="471600" y="72014"/>
                      <a:pt x="464380" y="67275"/>
                    </a:cubicBezTo>
                    <a:cubicBezTo>
                      <a:pt x="457385" y="62537"/>
                      <a:pt x="458738" y="53736"/>
                      <a:pt x="463026" y="41777"/>
                    </a:cubicBezTo>
                    <a:cubicBezTo>
                      <a:pt x="467313" y="30044"/>
                      <a:pt x="458738" y="24854"/>
                      <a:pt x="450390" y="20115"/>
                    </a:cubicBezTo>
                    <a:cubicBezTo>
                      <a:pt x="441815" y="15377"/>
                      <a:pt x="424440" y="24402"/>
                      <a:pt x="405260" y="23500"/>
                    </a:cubicBezTo>
                    <a:cubicBezTo>
                      <a:pt x="386081" y="22597"/>
                      <a:pt x="383598" y="27787"/>
                      <a:pt x="369608" y="30044"/>
                    </a:cubicBezTo>
                    <a:cubicBezTo>
                      <a:pt x="355393" y="32300"/>
                      <a:pt x="356070" y="29141"/>
                      <a:pt x="343659" y="17859"/>
                    </a:cubicBezTo>
                    <a:cubicBezTo>
                      <a:pt x="340049" y="14700"/>
                      <a:pt x="335084" y="12443"/>
                      <a:pt x="329895" y="10864"/>
                    </a:cubicBezTo>
                    <a:cubicBezTo>
                      <a:pt x="330797" y="11992"/>
                      <a:pt x="331700" y="13571"/>
                      <a:pt x="332377" y="15377"/>
                    </a:cubicBezTo>
                    <a:cubicBezTo>
                      <a:pt x="335536" y="23500"/>
                      <a:pt x="333279" y="32526"/>
                      <a:pt x="327187" y="34782"/>
                    </a:cubicBezTo>
                    <a:cubicBezTo>
                      <a:pt x="321094" y="37039"/>
                      <a:pt x="315002" y="40874"/>
                      <a:pt x="305074" y="47418"/>
                    </a:cubicBezTo>
                    <a:cubicBezTo>
                      <a:pt x="295145" y="53962"/>
                      <a:pt x="285217" y="55316"/>
                      <a:pt x="275063" y="67726"/>
                    </a:cubicBezTo>
                    <a:cubicBezTo>
                      <a:pt x="264683" y="79911"/>
                      <a:pt x="273258" y="89840"/>
                      <a:pt x="276417" y="95932"/>
                    </a:cubicBezTo>
                    <a:cubicBezTo>
                      <a:pt x="279801" y="102025"/>
                      <a:pt x="269873" y="108568"/>
                      <a:pt x="267391" y="108568"/>
                    </a:cubicBezTo>
                    <a:cubicBezTo>
                      <a:pt x="264909" y="108568"/>
                      <a:pt x="257462" y="120753"/>
                      <a:pt x="253175" y="126846"/>
                    </a:cubicBezTo>
                    <a:cubicBezTo>
                      <a:pt x="248888" y="132938"/>
                      <a:pt x="244600" y="141513"/>
                      <a:pt x="246180" y="149862"/>
                    </a:cubicBezTo>
                    <a:cubicBezTo>
                      <a:pt x="247759" y="158211"/>
                      <a:pt x="249565" y="167688"/>
                      <a:pt x="242795" y="169041"/>
                    </a:cubicBezTo>
                    <a:cubicBezTo>
                      <a:pt x="236252" y="170395"/>
                      <a:pt x="238959" y="174231"/>
                      <a:pt x="232867" y="185965"/>
                    </a:cubicBezTo>
                    <a:cubicBezTo>
                      <a:pt x="226774" y="197699"/>
                      <a:pt x="216395" y="202888"/>
                      <a:pt x="208948" y="202437"/>
                    </a:cubicBezTo>
                    <a:cubicBezTo>
                      <a:pt x="201502" y="201986"/>
                      <a:pt x="182999" y="201083"/>
                      <a:pt x="169912" y="201083"/>
                    </a:cubicBezTo>
                    <a:cubicBezTo>
                      <a:pt x="156824" y="201083"/>
                      <a:pt x="154342" y="217555"/>
                      <a:pt x="149603" y="220263"/>
                    </a:cubicBezTo>
                    <a:cubicBezTo>
                      <a:pt x="144865" y="223197"/>
                      <a:pt x="148701" y="230643"/>
                      <a:pt x="144414" y="236284"/>
                    </a:cubicBezTo>
                    <a:cubicBezTo>
                      <a:pt x="140126" y="241925"/>
                      <a:pt x="135388" y="246213"/>
                      <a:pt x="130198" y="246213"/>
                    </a:cubicBezTo>
                    <a:cubicBezTo>
                      <a:pt x="125008" y="246213"/>
                      <a:pt x="121623" y="250500"/>
                      <a:pt x="121623" y="262685"/>
                    </a:cubicBezTo>
                    <a:cubicBezTo>
                      <a:pt x="121623" y="274870"/>
                      <a:pt x="117787" y="278254"/>
                      <a:pt x="119367" y="284798"/>
                    </a:cubicBezTo>
                    <a:cubicBezTo>
                      <a:pt x="120721" y="291342"/>
                      <a:pt x="124557" y="299916"/>
                      <a:pt x="124557" y="308265"/>
                    </a:cubicBezTo>
                    <a:cubicBezTo>
                      <a:pt x="124557" y="316614"/>
                      <a:pt x="125910" y="331732"/>
                      <a:pt x="126362" y="339856"/>
                    </a:cubicBezTo>
                    <a:cubicBezTo>
                      <a:pt x="126813" y="347753"/>
                      <a:pt x="135388" y="352943"/>
                      <a:pt x="142834" y="355877"/>
                    </a:cubicBezTo>
                    <a:cubicBezTo>
                      <a:pt x="150280" y="358810"/>
                      <a:pt x="158404" y="360164"/>
                      <a:pt x="165398" y="360164"/>
                    </a:cubicBezTo>
                    <a:cubicBezTo>
                      <a:pt x="172394" y="360164"/>
                      <a:pt x="171491" y="369190"/>
                      <a:pt x="170588" y="373251"/>
                    </a:cubicBezTo>
                    <a:cubicBezTo>
                      <a:pt x="169686" y="377539"/>
                      <a:pt x="161111" y="389724"/>
                      <a:pt x="155019" y="380698"/>
                    </a:cubicBezTo>
                    <a:cubicBezTo>
                      <a:pt x="148926" y="371672"/>
                      <a:pt x="122074" y="379795"/>
                      <a:pt x="120269" y="371220"/>
                    </a:cubicBezTo>
                    <a:cubicBezTo>
                      <a:pt x="118464" y="362646"/>
                      <a:pt x="109890" y="356102"/>
                      <a:pt x="100412" y="354297"/>
                    </a:cubicBezTo>
                    <a:cubicBezTo>
                      <a:pt x="90935" y="352492"/>
                      <a:pt x="77848" y="326994"/>
                      <a:pt x="68371" y="345722"/>
                    </a:cubicBezTo>
                    <a:cubicBezTo>
                      <a:pt x="58894" y="364451"/>
                      <a:pt x="69273" y="376862"/>
                      <a:pt x="73109" y="381375"/>
                    </a:cubicBezTo>
                    <a:cubicBezTo>
                      <a:pt x="76945" y="386113"/>
                      <a:pt x="78750" y="399201"/>
                      <a:pt x="82586" y="406873"/>
                    </a:cubicBezTo>
                    <a:cubicBezTo>
                      <a:pt x="86422" y="414319"/>
                      <a:pt x="93869" y="421991"/>
                      <a:pt x="93869" y="428535"/>
                    </a:cubicBezTo>
                    <a:cubicBezTo>
                      <a:pt x="93869" y="435078"/>
                      <a:pt x="102443" y="452002"/>
                      <a:pt x="106054" y="465315"/>
                    </a:cubicBezTo>
                    <a:cubicBezTo>
                      <a:pt x="109890" y="478402"/>
                      <a:pt x="105151" y="484043"/>
                      <a:pt x="102218" y="505706"/>
                    </a:cubicBezTo>
                    <a:cubicBezTo>
                      <a:pt x="99284" y="527368"/>
                      <a:pt x="95674" y="525562"/>
                      <a:pt x="87099" y="532106"/>
                    </a:cubicBezTo>
                    <a:cubicBezTo>
                      <a:pt x="78525" y="538650"/>
                      <a:pt x="75817" y="549030"/>
                      <a:pt x="67242" y="559409"/>
                    </a:cubicBezTo>
                    <a:cubicBezTo>
                      <a:pt x="58668" y="569789"/>
                      <a:pt x="53027" y="579266"/>
                      <a:pt x="40842" y="586712"/>
                    </a:cubicBezTo>
                    <a:cubicBezTo>
                      <a:pt x="28657" y="594159"/>
                      <a:pt x="26626" y="612210"/>
                      <a:pt x="22113" y="614918"/>
                    </a:cubicBezTo>
                    <a:cubicBezTo>
                      <a:pt x="17375" y="617852"/>
                      <a:pt x="11734" y="633647"/>
                      <a:pt x="6092" y="644929"/>
                    </a:cubicBezTo>
                    <a:cubicBezTo>
                      <a:pt x="4513" y="647863"/>
                      <a:pt x="2256" y="652150"/>
                      <a:pt x="0" y="656663"/>
                    </a:cubicBezTo>
                    <a:cubicBezTo>
                      <a:pt x="2933" y="656212"/>
                      <a:pt x="6769" y="655760"/>
                      <a:pt x="11734" y="655309"/>
                    </a:cubicBezTo>
                    <a:cubicBezTo>
                      <a:pt x="29560" y="653504"/>
                      <a:pt x="43324" y="647411"/>
                      <a:pt x="51222" y="641093"/>
                    </a:cubicBezTo>
                    <a:cubicBezTo>
                      <a:pt x="59119" y="635001"/>
                      <a:pt x="59796" y="635452"/>
                      <a:pt x="74689" y="635001"/>
                    </a:cubicBezTo>
                    <a:cubicBezTo>
                      <a:pt x="89807" y="634550"/>
                      <a:pt x="89356" y="616723"/>
                      <a:pt x="99510" y="621913"/>
                    </a:cubicBezTo>
                    <a:cubicBezTo>
                      <a:pt x="109890" y="627103"/>
                      <a:pt x="122977" y="621913"/>
                      <a:pt x="122977" y="612436"/>
                    </a:cubicBezTo>
                    <a:cubicBezTo>
                      <a:pt x="122977" y="602959"/>
                      <a:pt x="115531" y="577687"/>
                      <a:pt x="119141" y="572497"/>
                    </a:cubicBezTo>
                    <a:cubicBezTo>
                      <a:pt x="122977" y="567307"/>
                      <a:pt x="134711" y="556476"/>
                      <a:pt x="144639" y="563922"/>
                    </a:cubicBezTo>
                    <a:cubicBezTo>
                      <a:pt x="154568" y="571369"/>
                      <a:pt x="145542" y="582651"/>
                      <a:pt x="151634" y="587841"/>
                    </a:cubicBezTo>
                    <a:cubicBezTo>
                      <a:pt x="157727" y="593031"/>
                      <a:pt x="167655" y="584456"/>
                      <a:pt x="176455" y="584456"/>
                    </a:cubicBezTo>
                    <a:cubicBezTo>
                      <a:pt x="185481" y="584456"/>
                      <a:pt x="180742" y="564599"/>
                      <a:pt x="193830" y="574076"/>
                    </a:cubicBezTo>
                    <a:cubicBezTo>
                      <a:pt x="206917" y="583553"/>
                      <a:pt x="210753" y="575430"/>
                      <a:pt x="212107" y="569789"/>
                    </a:cubicBezTo>
                    <a:cubicBezTo>
                      <a:pt x="213461" y="564148"/>
                      <a:pt x="216395" y="547676"/>
                      <a:pt x="218651" y="542035"/>
                    </a:cubicBezTo>
                    <a:cubicBezTo>
                      <a:pt x="220908" y="536394"/>
                      <a:pt x="229933" y="524660"/>
                      <a:pt x="236026" y="522178"/>
                    </a:cubicBezTo>
                    <a:cubicBezTo>
                      <a:pt x="242118" y="519921"/>
                      <a:pt x="245503" y="532106"/>
                      <a:pt x="250693" y="527368"/>
                    </a:cubicBezTo>
                    <a:cubicBezTo>
                      <a:pt x="255883" y="522629"/>
                      <a:pt x="257237" y="518342"/>
                      <a:pt x="261975" y="509993"/>
                    </a:cubicBezTo>
                    <a:cubicBezTo>
                      <a:pt x="266714" y="501644"/>
                      <a:pt x="248436" y="492618"/>
                      <a:pt x="260170" y="492167"/>
                    </a:cubicBezTo>
                    <a:cubicBezTo>
                      <a:pt x="271904" y="491715"/>
                      <a:pt x="278899" y="488331"/>
                      <a:pt x="284088" y="482690"/>
                    </a:cubicBezTo>
                    <a:cubicBezTo>
                      <a:pt x="289278" y="477048"/>
                      <a:pt x="295822" y="488331"/>
                      <a:pt x="302366" y="496905"/>
                    </a:cubicBezTo>
                    <a:cubicBezTo>
                      <a:pt x="308909" y="505480"/>
                      <a:pt x="319289" y="505480"/>
                      <a:pt x="322223" y="512024"/>
                    </a:cubicBezTo>
                    <a:cubicBezTo>
                      <a:pt x="325156" y="518567"/>
                      <a:pt x="323576" y="529850"/>
                      <a:pt x="346141" y="525111"/>
                    </a:cubicBezTo>
                    <a:cubicBezTo>
                      <a:pt x="368706" y="520372"/>
                      <a:pt x="372090" y="525562"/>
                      <a:pt x="381793" y="522855"/>
                    </a:cubicBezTo>
                    <a:cubicBezTo>
                      <a:pt x="391496" y="520147"/>
                      <a:pt x="375701" y="526239"/>
                      <a:pt x="385178" y="511572"/>
                    </a:cubicBezTo>
                    <a:cubicBezTo>
                      <a:pt x="393527" y="498710"/>
                      <a:pt x="402553" y="469377"/>
                      <a:pt x="435497" y="468700"/>
                    </a:cubicBezTo>
                    <a:lnTo>
                      <a:pt x="435497" y="468700"/>
                    </a:lnTo>
                    <a:cubicBezTo>
                      <a:pt x="436851" y="465540"/>
                      <a:pt x="439784" y="464412"/>
                      <a:pt x="446102" y="457869"/>
                    </a:cubicBezTo>
                    <a:cubicBezTo>
                      <a:pt x="455579" y="448391"/>
                      <a:pt x="466411" y="440043"/>
                      <a:pt x="472052" y="430565"/>
                    </a:cubicBezTo>
                    <a:cubicBezTo>
                      <a:pt x="477693" y="421088"/>
                      <a:pt x="486719" y="423119"/>
                      <a:pt x="491232" y="412288"/>
                    </a:cubicBezTo>
                    <a:cubicBezTo>
                      <a:pt x="495970" y="401457"/>
                      <a:pt x="525981" y="396267"/>
                      <a:pt x="539294" y="385887"/>
                    </a:cubicBezTo>
                    <a:cubicBezTo>
                      <a:pt x="552382" y="375508"/>
                      <a:pt x="566146" y="375282"/>
                      <a:pt x="587357" y="367159"/>
                    </a:cubicBezTo>
                    <a:cubicBezTo>
                      <a:pt x="608568" y="359036"/>
                      <a:pt x="632712" y="349107"/>
                      <a:pt x="635419" y="348205"/>
                    </a:cubicBezTo>
                    <a:cubicBezTo>
                      <a:pt x="637902" y="347302"/>
                      <a:pt x="641963" y="340081"/>
                      <a:pt x="644897" y="335794"/>
                    </a:cubicBezTo>
                    <a:cubicBezTo>
                      <a:pt x="647830" y="331507"/>
                      <a:pt x="653697" y="317742"/>
                      <a:pt x="660015" y="313455"/>
                    </a:cubicBezTo>
                    <a:cubicBezTo>
                      <a:pt x="666333" y="309168"/>
                      <a:pt x="683031" y="299691"/>
                      <a:pt x="686867" y="295855"/>
                    </a:cubicBezTo>
                    <a:cubicBezTo>
                      <a:pt x="690703" y="292019"/>
                      <a:pt x="688221" y="286829"/>
                      <a:pt x="685964" y="282542"/>
                    </a:cubicBezTo>
                    <a:cubicBezTo>
                      <a:pt x="683708" y="278029"/>
                      <a:pt x="684610" y="275546"/>
                      <a:pt x="685739" y="271711"/>
                    </a:cubicBezTo>
                    <a:cubicBezTo>
                      <a:pt x="686867" y="267875"/>
                      <a:pt x="690026" y="264941"/>
                      <a:pt x="697247" y="257946"/>
                    </a:cubicBezTo>
                    <a:cubicBezTo>
                      <a:pt x="704467" y="250951"/>
                      <a:pt x="710334" y="249823"/>
                      <a:pt x="714170" y="244859"/>
                    </a:cubicBezTo>
                    <a:cubicBezTo>
                      <a:pt x="718006" y="239894"/>
                      <a:pt x="715298" y="237187"/>
                      <a:pt x="713042" y="234705"/>
                    </a:cubicBezTo>
                    <a:cubicBezTo>
                      <a:pt x="710785" y="232448"/>
                      <a:pt x="707175" y="234705"/>
                      <a:pt x="701308" y="234028"/>
                    </a:cubicBezTo>
                    <a:cubicBezTo>
                      <a:pt x="695441" y="233351"/>
                      <a:pt x="702662" y="231997"/>
                      <a:pt x="707175" y="229289"/>
                    </a:cubicBezTo>
                    <a:cubicBezTo>
                      <a:pt x="711688" y="226807"/>
                      <a:pt x="711913" y="226130"/>
                      <a:pt x="711913" y="222294"/>
                    </a:cubicBezTo>
                    <a:cubicBezTo>
                      <a:pt x="711913" y="218232"/>
                      <a:pt x="709431" y="218458"/>
                      <a:pt x="699503" y="204017"/>
                    </a:cubicBezTo>
                    <a:cubicBezTo>
                      <a:pt x="689800" y="189575"/>
                      <a:pt x="683482" y="181226"/>
                      <a:pt x="693185" y="164303"/>
                    </a:cubicBezTo>
                    <a:cubicBezTo>
                      <a:pt x="702888" y="147379"/>
                      <a:pt x="724775" y="127974"/>
                      <a:pt x="731770" y="126394"/>
                    </a:cubicBezTo>
                    <a:cubicBezTo>
                      <a:pt x="738765" y="124815"/>
                      <a:pt x="743278" y="128877"/>
                      <a:pt x="752981" y="125041"/>
                    </a:cubicBezTo>
                    <a:cubicBezTo>
                      <a:pt x="760202" y="122333"/>
                      <a:pt x="764489" y="118723"/>
                      <a:pt x="766294" y="116917"/>
                    </a:cubicBezTo>
                    <a:cubicBezTo>
                      <a:pt x="767422" y="107891"/>
                      <a:pt x="766069" y="101122"/>
                      <a:pt x="766069" y="97963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xmlns="" id="{D7C44534-239A-4178-B8E2-998C33988501}"/>
                  </a:ext>
                </a:extLst>
              </p:cNvPr>
              <p:cNvSpPr/>
              <p:nvPr/>
            </p:nvSpPr>
            <p:spPr>
              <a:xfrm>
                <a:off x="9970453" y="2738287"/>
                <a:ext cx="541551" cy="451292"/>
              </a:xfrm>
              <a:custGeom>
                <a:avLst/>
                <a:gdLst>
                  <a:gd name="connsiteX0" fmla="*/ 563213 w 541550"/>
                  <a:gd name="connsiteY0" fmla="*/ 97363 h 451292"/>
                  <a:gd name="connsiteX1" fmla="*/ 559828 w 541550"/>
                  <a:gd name="connsiteY1" fmla="*/ 84727 h 451292"/>
                  <a:gd name="connsiteX2" fmla="*/ 556443 w 541550"/>
                  <a:gd name="connsiteY2" fmla="*/ 74122 h 451292"/>
                  <a:gd name="connsiteX3" fmla="*/ 559603 w 541550"/>
                  <a:gd name="connsiteY3" fmla="*/ 48172 h 451292"/>
                  <a:gd name="connsiteX4" fmla="*/ 555315 w 541550"/>
                  <a:gd name="connsiteY4" fmla="*/ 35536 h 451292"/>
                  <a:gd name="connsiteX5" fmla="*/ 548095 w 541550"/>
                  <a:gd name="connsiteY5" fmla="*/ 23577 h 451292"/>
                  <a:gd name="connsiteX6" fmla="*/ 544935 w 541550"/>
                  <a:gd name="connsiteY6" fmla="*/ 10715 h 451292"/>
                  <a:gd name="connsiteX7" fmla="*/ 530494 w 541550"/>
                  <a:gd name="connsiteY7" fmla="*/ 3269 h 451292"/>
                  <a:gd name="connsiteX8" fmla="*/ 519889 w 541550"/>
                  <a:gd name="connsiteY8" fmla="*/ 3946 h 451292"/>
                  <a:gd name="connsiteX9" fmla="*/ 511765 w 541550"/>
                  <a:gd name="connsiteY9" fmla="*/ 15454 h 451292"/>
                  <a:gd name="connsiteX10" fmla="*/ 496647 w 541550"/>
                  <a:gd name="connsiteY10" fmla="*/ 18838 h 451292"/>
                  <a:gd name="connsiteX11" fmla="*/ 488524 w 541550"/>
                  <a:gd name="connsiteY11" fmla="*/ 30121 h 451292"/>
                  <a:gd name="connsiteX12" fmla="*/ 473857 w 541550"/>
                  <a:gd name="connsiteY12" fmla="*/ 48624 h 451292"/>
                  <a:gd name="connsiteX13" fmla="*/ 469118 w 541550"/>
                  <a:gd name="connsiteY13" fmla="*/ 69609 h 451292"/>
                  <a:gd name="connsiteX14" fmla="*/ 462575 w 541550"/>
                  <a:gd name="connsiteY14" fmla="*/ 87435 h 451292"/>
                  <a:gd name="connsiteX15" fmla="*/ 456933 w 541550"/>
                  <a:gd name="connsiteY15" fmla="*/ 101876 h 451292"/>
                  <a:gd name="connsiteX16" fmla="*/ 445425 w 541550"/>
                  <a:gd name="connsiteY16" fmla="*/ 104358 h 451292"/>
                  <a:gd name="connsiteX17" fmla="*/ 430307 w 541550"/>
                  <a:gd name="connsiteY17" fmla="*/ 109097 h 451292"/>
                  <a:gd name="connsiteX18" fmla="*/ 411804 w 541550"/>
                  <a:gd name="connsiteY18" fmla="*/ 112030 h 451292"/>
                  <a:gd name="connsiteX19" fmla="*/ 405937 w 541550"/>
                  <a:gd name="connsiteY19" fmla="*/ 110451 h 451292"/>
                  <a:gd name="connsiteX20" fmla="*/ 396009 w 541550"/>
                  <a:gd name="connsiteY20" fmla="*/ 121056 h 451292"/>
                  <a:gd name="connsiteX21" fmla="*/ 391271 w 541550"/>
                  <a:gd name="connsiteY21" fmla="*/ 138882 h 451292"/>
                  <a:gd name="connsiteX22" fmla="*/ 378183 w 541550"/>
                  <a:gd name="connsiteY22" fmla="*/ 136400 h 451292"/>
                  <a:gd name="connsiteX23" fmla="*/ 363065 w 541550"/>
                  <a:gd name="connsiteY23" fmla="*/ 115640 h 451292"/>
                  <a:gd name="connsiteX24" fmla="*/ 348849 w 541550"/>
                  <a:gd name="connsiteY24" fmla="*/ 108645 h 451292"/>
                  <a:gd name="connsiteX25" fmla="*/ 342757 w 541550"/>
                  <a:gd name="connsiteY25" fmla="*/ 96460 h 451292"/>
                  <a:gd name="connsiteX26" fmla="*/ 329669 w 541550"/>
                  <a:gd name="connsiteY26" fmla="*/ 91271 h 451292"/>
                  <a:gd name="connsiteX27" fmla="*/ 314551 w 541550"/>
                  <a:gd name="connsiteY27" fmla="*/ 89014 h 451292"/>
                  <a:gd name="connsiteX28" fmla="*/ 297176 w 541550"/>
                  <a:gd name="connsiteY28" fmla="*/ 90368 h 451292"/>
                  <a:gd name="connsiteX29" fmla="*/ 288150 w 541550"/>
                  <a:gd name="connsiteY29" fmla="*/ 109097 h 451292"/>
                  <a:gd name="connsiteX30" fmla="*/ 263329 w 541550"/>
                  <a:gd name="connsiteY30" fmla="*/ 121733 h 451292"/>
                  <a:gd name="connsiteX31" fmla="*/ 235123 w 541550"/>
                  <a:gd name="connsiteY31" fmla="*/ 134369 h 451292"/>
                  <a:gd name="connsiteX32" fmla="*/ 221585 w 541550"/>
                  <a:gd name="connsiteY32" fmla="*/ 146554 h 451292"/>
                  <a:gd name="connsiteX33" fmla="*/ 210302 w 541550"/>
                  <a:gd name="connsiteY33" fmla="*/ 146554 h 451292"/>
                  <a:gd name="connsiteX34" fmla="*/ 195635 w 541550"/>
                  <a:gd name="connsiteY34" fmla="*/ 144749 h 451292"/>
                  <a:gd name="connsiteX35" fmla="*/ 184804 w 541550"/>
                  <a:gd name="connsiteY35" fmla="*/ 133466 h 451292"/>
                  <a:gd name="connsiteX36" fmla="*/ 164947 w 541550"/>
                  <a:gd name="connsiteY36" fmla="*/ 144749 h 451292"/>
                  <a:gd name="connsiteX37" fmla="*/ 151409 w 541550"/>
                  <a:gd name="connsiteY37" fmla="*/ 152195 h 451292"/>
                  <a:gd name="connsiteX38" fmla="*/ 137193 w 541550"/>
                  <a:gd name="connsiteY38" fmla="*/ 152195 h 451292"/>
                  <a:gd name="connsiteX39" fmla="*/ 122075 w 541550"/>
                  <a:gd name="connsiteY39" fmla="*/ 143169 h 451292"/>
                  <a:gd name="connsiteX40" fmla="*/ 116433 w 541550"/>
                  <a:gd name="connsiteY40" fmla="*/ 131887 h 451292"/>
                  <a:gd name="connsiteX41" fmla="*/ 101766 w 541550"/>
                  <a:gd name="connsiteY41" fmla="*/ 132789 h 451292"/>
                  <a:gd name="connsiteX42" fmla="*/ 91387 w 541550"/>
                  <a:gd name="connsiteY42" fmla="*/ 119702 h 451292"/>
                  <a:gd name="connsiteX43" fmla="*/ 75817 w 541550"/>
                  <a:gd name="connsiteY43" fmla="*/ 121507 h 451292"/>
                  <a:gd name="connsiteX44" fmla="*/ 41519 w 541550"/>
                  <a:gd name="connsiteY44" fmla="*/ 134143 h 451292"/>
                  <a:gd name="connsiteX45" fmla="*/ 19857 w 541550"/>
                  <a:gd name="connsiteY45" fmla="*/ 126020 h 451292"/>
                  <a:gd name="connsiteX46" fmla="*/ 20082 w 541550"/>
                  <a:gd name="connsiteY46" fmla="*/ 126697 h 451292"/>
                  <a:gd name="connsiteX47" fmla="*/ 6995 w 541550"/>
                  <a:gd name="connsiteY47" fmla="*/ 147908 h 451292"/>
                  <a:gd name="connsiteX48" fmla="*/ 4739 w 541550"/>
                  <a:gd name="connsiteY48" fmla="*/ 174760 h 451292"/>
                  <a:gd name="connsiteX49" fmla="*/ 0 w 541550"/>
                  <a:gd name="connsiteY49" fmla="*/ 192360 h 451292"/>
                  <a:gd name="connsiteX50" fmla="*/ 0 w 541550"/>
                  <a:gd name="connsiteY50" fmla="*/ 192360 h 451292"/>
                  <a:gd name="connsiteX51" fmla="*/ 19406 w 541550"/>
                  <a:gd name="connsiteY51" fmla="*/ 204545 h 451292"/>
                  <a:gd name="connsiteX52" fmla="*/ 39488 w 541550"/>
                  <a:gd name="connsiteY52" fmla="*/ 220791 h 451292"/>
                  <a:gd name="connsiteX53" fmla="*/ 53929 w 541550"/>
                  <a:gd name="connsiteY53" fmla="*/ 239069 h 451292"/>
                  <a:gd name="connsiteX54" fmla="*/ 67694 w 541550"/>
                  <a:gd name="connsiteY54" fmla="*/ 257346 h 451292"/>
                  <a:gd name="connsiteX55" fmla="*/ 86423 w 541550"/>
                  <a:gd name="connsiteY55" fmla="*/ 265469 h 451292"/>
                  <a:gd name="connsiteX56" fmla="*/ 92741 w 541550"/>
                  <a:gd name="connsiteY56" fmla="*/ 287357 h 451292"/>
                  <a:gd name="connsiteX57" fmla="*/ 94546 w 541550"/>
                  <a:gd name="connsiteY57" fmla="*/ 309245 h 451292"/>
                  <a:gd name="connsiteX58" fmla="*/ 115756 w 541550"/>
                  <a:gd name="connsiteY58" fmla="*/ 338127 h 451292"/>
                  <a:gd name="connsiteX59" fmla="*/ 132003 w 541550"/>
                  <a:gd name="connsiteY59" fmla="*/ 356856 h 451292"/>
                  <a:gd name="connsiteX60" fmla="*/ 98833 w 541550"/>
                  <a:gd name="connsiteY60" fmla="*/ 390703 h 451292"/>
                  <a:gd name="connsiteX61" fmla="*/ 94320 w 541550"/>
                  <a:gd name="connsiteY61" fmla="*/ 402437 h 451292"/>
                  <a:gd name="connsiteX62" fmla="*/ 108085 w 541550"/>
                  <a:gd name="connsiteY62" fmla="*/ 409432 h 451292"/>
                  <a:gd name="connsiteX63" fmla="*/ 134034 w 541550"/>
                  <a:gd name="connsiteY63" fmla="*/ 421617 h 451292"/>
                  <a:gd name="connsiteX64" fmla="*/ 169686 w 541550"/>
                  <a:gd name="connsiteY64" fmla="*/ 415073 h 451292"/>
                  <a:gd name="connsiteX65" fmla="*/ 214815 w 541550"/>
                  <a:gd name="connsiteY65" fmla="*/ 411688 h 451292"/>
                  <a:gd name="connsiteX66" fmla="*/ 227451 w 541550"/>
                  <a:gd name="connsiteY66" fmla="*/ 433350 h 451292"/>
                  <a:gd name="connsiteX67" fmla="*/ 228805 w 541550"/>
                  <a:gd name="connsiteY67" fmla="*/ 458848 h 451292"/>
                  <a:gd name="connsiteX68" fmla="*/ 255206 w 541550"/>
                  <a:gd name="connsiteY68" fmla="*/ 460202 h 451292"/>
                  <a:gd name="connsiteX69" fmla="*/ 277319 w 541550"/>
                  <a:gd name="connsiteY69" fmla="*/ 452304 h 451292"/>
                  <a:gd name="connsiteX70" fmla="*/ 304171 w 541550"/>
                  <a:gd name="connsiteY70" fmla="*/ 458848 h 451292"/>
                  <a:gd name="connsiteX71" fmla="*/ 320643 w 541550"/>
                  <a:gd name="connsiteY71" fmla="*/ 461105 h 451292"/>
                  <a:gd name="connsiteX72" fmla="*/ 330572 w 541550"/>
                  <a:gd name="connsiteY72" fmla="*/ 470582 h 451292"/>
                  <a:gd name="connsiteX73" fmla="*/ 345690 w 541550"/>
                  <a:gd name="connsiteY73" fmla="*/ 453658 h 451292"/>
                  <a:gd name="connsiteX74" fmla="*/ 347495 w 541550"/>
                  <a:gd name="connsiteY74" fmla="*/ 431094 h 451292"/>
                  <a:gd name="connsiteX75" fmla="*/ 347495 w 541550"/>
                  <a:gd name="connsiteY75" fmla="*/ 411914 h 451292"/>
                  <a:gd name="connsiteX76" fmla="*/ 343659 w 541550"/>
                  <a:gd name="connsiteY76" fmla="*/ 403339 h 451292"/>
                  <a:gd name="connsiteX77" fmla="*/ 350654 w 541550"/>
                  <a:gd name="connsiteY77" fmla="*/ 391606 h 451292"/>
                  <a:gd name="connsiteX78" fmla="*/ 365321 w 541550"/>
                  <a:gd name="connsiteY78" fmla="*/ 401083 h 451292"/>
                  <a:gd name="connsiteX79" fmla="*/ 384501 w 541550"/>
                  <a:gd name="connsiteY79" fmla="*/ 406724 h 451292"/>
                  <a:gd name="connsiteX80" fmla="*/ 395783 w 541550"/>
                  <a:gd name="connsiteY80" fmla="*/ 414622 h 451292"/>
                  <a:gd name="connsiteX81" fmla="*/ 421733 w 541550"/>
                  <a:gd name="connsiteY81" fmla="*/ 423196 h 451292"/>
                  <a:gd name="connsiteX82" fmla="*/ 440913 w 541550"/>
                  <a:gd name="connsiteY82" fmla="*/ 430191 h 451292"/>
                  <a:gd name="connsiteX83" fmla="*/ 454451 w 541550"/>
                  <a:gd name="connsiteY83" fmla="*/ 419360 h 451292"/>
                  <a:gd name="connsiteX84" fmla="*/ 448359 w 541550"/>
                  <a:gd name="connsiteY84" fmla="*/ 405144 h 451292"/>
                  <a:gd name="connsiteX85" fmla="*/ 441364 w 541550"/>
                  <a:gd name="connsiteY85" fmla="*/ 393411 h 451292"/>
                  <a:gd name="connsiteX86" fmla="*/ 432789 w 541550"/>
                  <a:gd name="connsiteY86" fmla="*/ 381677 h 451292"/>
                  <a:gd name="connsiteX87" fmla="*/ 414512 w 541550"/>
                  <a:gd name="connsiteY87" fmla="*/ 367461 h 451292"/>
                  <a:gd name="connsiteX88" fmla="*/ 399394 w 541550"/>
                  <a:gd name="connsiteY88" fmla="*/ 360015 h 451292"/>
                  <a:gd name="connsiteX89" fmla="*/ 400296 w 541550"/>
                  <a:gd name="connsiteY89" fmla="*/ 339707 h 451292"/>
                  <a:gd name="connsiteX90" fmla="*/ 403681 w 541550"/>
                  <a:gd name="connsiteY90" fmla="*/ 335420 h 451292"/>
                  <a:gd name="connsiteX91" fmla="*/ 389014 w 541550"/>
                  <a:gd name="connsiteY91" fmla="*/ 328425 h 451292"/>
                  <a:gd name="connsiteX92" fmla="*/ 363516 w 541550"/>
                  <a:gd name="connsiteY92" fmla="*/ 328876 h 451292"/>
                  <a:gd name="connsiteX93" fmla="*/ 347044 w 541550"/>
                  <a:gd name="connsiteY93" fmla="*/ 315337 h 451292"/>
                  <a:gd name="connsiteX94" fmla="*/ 328315 w 541550"/>
                  <a:gd name="connsiteY94" fmla="*/ 309696 h 451292"/>
                  <a:gd name="connsiteX95" fmla="*/ 319741 w 541550"/>
                  <a:gd name="connsiteY95" fmla="*/ 287583 h 451292"/>
                  <a:gd name="connsiteX96" fmla="*/ 324028 w 541550"/>
                  <a:gd name="connsiteY96" fmla="*/ 275398 h 451292"/>
                  <a:gd name="connsiteX97" fmla="*/ 331474 w 541550"/>
                  <a:gd name="connsiteY97" fmla="*/ 263213 h 451292"/>
                  <a:gd name="connsiteX98" fmla="*/ 340049 w 541550"/>
                  <a:gd name="connsiteY98" fmla="*/ 261859 h 451292"/>
                  <a:gd name="connsiteX99" fmla="*/ 345690 w 541550"/>
                  <a:gd name="connsiteY99" fmla="*/ 250126 h 451292"/>
                  <a:gd name="connsiteX100" fmla="*/ 360357 w 541550"/>
                  <a:gd name="connsiteY100" fmla="*/ 254864 h 451292"/>
                  <a:gd name="connsiteX101" fmla="*/ 372090 w 541550"/>
                  <a:gd name="connsiteY101" fmla="*/ 267049 h 451292"/>
                  <a:gd name="connsiteX102" fmla="*/ 386757 w 541550"/>
                  <a:gd name="connsiteY102" fmla="*/ 254413 h 451292"/>
                  <a:gd name="connsiteX103" fmla="*/ 398942 w 541550"/>
                  <a:gd name="connsiteY103" fmla="*/ 241325 h 451292"/>
                  <a:gd name="connsiteX104" fmla="*/ 419251 w 541550"/>
                  <a:gd name="connsiteY104" fmla="*/ 231848 h 451292"/>
                  <a:gd name="connsiteX105" fmla="*/ 437979 w 541550"/>
                  <a:gd name="connsiteY105" fmla="*/ 223274 h 451292"/>
                  <a:gd name="connsiteX106" fmla="*/ 441364 w 541550"/>
                  <a:gd name="connsiteY106" fmla="*/ 211540 h 451292"/>
                  <a:gd name="connsiteX107" fmla="*/ 451744 w 541550"/>
                  <a:gd name="connsiteY107" fmla="*/ 202965 h 451292"/>
                  <a:gd name="connsiteX108" fmla="*/ 467765 w 541550"/>
                  <a:gd name="connsiteY108" fmla="*/ 211540 h 451292"/>
                  <a:gd name="connsiteX109" fmla="*/ 488524 w 541550"/>
                  <a:gd name="connsiteY109" fmla="*/ 201386 h 451292"/>
                  <a:gd name="connsiteX110" fmla="*/ 496647 w 541550"/>
                  <a:gd name="connsiteY110" fmla="*/ 192586 h 451292"/>
                  <a:gd name="connsiteX111" fmla="*/ 510412 w 541550"/>
                  <a:gd name="connsiteY111" fmla="*/ 184462 h 451292"/>
                  <a:gd name="connsiteX112" fmla="*/ 521694 w 541550"/>
                  <a:gd name="connsiteY112" fmla="*/ 171826 h 451292"/>
                  <a:gd name="connsiteX113" fmla="*/ 540423 w 541550"/>
                  <a:gd name="connsiteY113" fmla="*/ 147456 h 451292"/>
                  <a:gd name="connsiteX114" fmla="*/ 554864 w 541550"/>
                  <a:gd name="connsiteY114" fmla="*/ 127374 h 451292"/>
                  <a:gd name="connsiteX115" fmla="*/ 556443 w 541550"/>
                  <a:gd name="connsiteY115" fmla="*/ 109097 h 451292"/>
                  <a:gd name="connsiteX116" fmla="*/ 563213 w 541550"/>
                  <a:gd name="connsiteY116" fmla="*/ 97363 h 45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</a:cxnLst>
                <a:rect l="l" t="t" r="r" b="b"/>
                <a:pathLst>
                  <a:path w="541550" h="451292">
                    <a:moveTo>
                      <a:pt x="563213" y="97363"/>
                    </a:moveTo>
                    <a:cubicBezTo>
                      <a:pt x="563213" y="91045"/>
                      <a:pt x="561859" y="87435"/>
                      <a:pt x="559828" y="84727"/>
                    </a:cubicBezTo>
                    <a:cubicBezTo>
                      <a:pt x="557572" y="82245"/>
                      <a:pt x="552382" y="77506"/>
                      <a:pt x="556443" y="74122"/>
                    </a:cubicBezTo>
                    <a:cubicBezTo>
                      <a:pt x="560505" y="70737"/>
                      <a:pt x="559603" y="54942"/>
                      <a:pt x="559603" y="48172"/>
                    </a:cubicBezTo>
                    <a:cubicBezTo>
                      <a:pt x="559603" y="41177"/>
                      <a:pt x="558249" y="37567"/>
                      <a:pt x="555315" y="35536"/>
                    </a:cubicBezTo>
                    <a:cubicBezTo>
                      <a:pt x="552156" y="33731"/>
                      <a:pt x="548095" y="26059"/>
                      <a:pt x="548095" y="23577"/>
                    </a:cubicBezTo>
                    <a:cubicBezTo>
                      <a:pt x="548095" y="21095"/>
                      <a:pt x="548095" y="13197"/>
                      <a:pt x="544935" y="10715"/>
                    </a:cubicBezTo>
                    <a:cubicBezTo>
                      <a:pt x="541776" y="8233"/>
                      <a:pt x="535233" y="4397"/>
                      <a:pt x="530494" y="3269"/>
                    </a:cubicBezTo>
                    <a:cubicBezTo>
                      <a:pt x="525756" y="1915"/>
                      <a:pt x="522371" y="-3726"/>
                      <a:pt x="519889" y="3946"/>
                    </a:cubicBezTo>
                    <a:cubicBezTo>
                      <a:pt x="517407" y="11392"/>
                      <a:pt x="516053" y="12520"/>
                      <a:pt x="511765" y="15454"/>
                    </a:cubicBezTo>
                    <a:cubicBezTo>
                      <a:pt x="507478" y="18613"/>
                      <a:pt x="502740" y="15228"/>
                      <a:pt x="496647" y="18838"/>
                    </a:cubicBezTo>
                    <a:cubicBezTo>
                      <a:pt x="490780" y="22674"/>
                      <a:pt x="491909" y="26736"/>
                      <a:pt x="488524" y="30121"/>
                    </a:cubicBezTo>
                    <a:cubicBezTo>
                      <a:pt x="485139" y="33505"/>
                      <a:pt x="474760" y="40049"/>
                      <a:pt x="473857" y="48624"/>
                    </a:cubicBezTo>
                    <a:cubicBezTo>
                      <a:pt x="472954" y="57198"/>
                      <a:pt x="473180" y="62388"/>
                      <a:pt x="469118" y="69609"/>
                    </a:cubicBezTo>
                    <a:cubicBezTo>
                      <a:pt x="465057" y="76829"/>
                      <a:pt x="462123" y="80891"/>
                      <a:pt x="462575" y="87435"/>
                    </a:cubicBezTo>
                    <a:cubicBezTo>
                      <a:pt x="462800" y="93978"/>
                      <a:pt x="462575" y="101650"/>
                      <a:pt x="456933" y="101876"/>
                    </a:cubicBezTo>
                    <a:cubicBezTo>
                      <a:pt x="451292" y="102102"/>
                      <a:pt x="447456" y="99619"/>
                      <a:pt x="445425" y="104358"/>
                    </a:cubicBezTo>
                    <a:cubicBezTo>
                      <a:pt x="443169" y="109097"/>
                      <a:pt x="435497" y="109097"/>
                      <a:pt x="430307" y="109097"/>
                    </a:cubicBezTo>
                    <a:cubicBezTo>
                      <a:pt x="425343" y="109097"/>
                      <a:pt x="414963" y="112030"/>
                      <a:pt x="411804" y="112030"/>
                    </a:cubicBezTo>
                    <a:cubicBezTo>
                      <a:pt x="408645" y="112030"/>
                      <a:pt x="411804" y="105486"/>
                      <a:pt x="405937" y="110451"/>
                    </a:cubicBezTo>
                    <a:cubicBezTo>
                      <a:pt x="400071" y="115415"/>
                      <a:pt x="396009" y="113835"/>
                      <a:pt x="396009" y="121056"/>
                    </a:cubicBezTo>
                    <a:cubicBezTo>
                      <a:pt x="396009" y="128277"/>
                      <a:pt x="393076" y="136174"/>
                      <a:pt x="391271" y="138882"/>
                    </a:cubicBezTo>
                    <a:cubicBezTo>
                      <a:pt x="389465" y="141815"/>
                      <a:pt x="380214" y="139108"/>
                      <a:pt x="378183" y="136400"/>
                    </a:cubicBezTo>
                    <a:cubicBezTo>
                      <a:pt x="375927" y="133466"/>
                      <a:pt x="369157" y="117897"/>
                      <a:pt x="363065" y="115640"/>
                    </a:cubicBezTo>
                    <a:cubicBezTo>
                      <a:pt x="356972" y="113384"/>
                      <a:pt x="350428" y="113384"/>
                      <a:pt x="348849" y="108645"/>
                    </a:cubicBezTo>
                    <a:cubicBezTo>
                      <a:pt x="347495" y="103907"/>
                      <a:pt x="345916" y="99168"/>
                      <a:pt x="342757" y="96460"/>
                    </a:cubicBezTo>
                    <a:cubicBezTo>
                      <a:pt x="339598" y="93753"/>
                      <a:pt x="333731" y="89465"/>
                      <a:pt x="329669" y="91271"/>
                    </a:cubicBezTo>
                    <a:cubicBezTo>
                      <a:pt x="325382" y="93076"/>
                      <a:pt x="317033" y="90368"/>
                      <a:pt x="314551" y="89014"/>
                    </a:cubicBezTo>
                    <a:cubicBezTo>
                      <a:pt x="312069" y="87660"/>
                      <a:pt x="299433" y="85630"/>
                      <a:pt x="297176" y="90368"/>
                    </a:cubicBezTo>
                    <a:cubicBezTo>
                      <a:pt x="294920" y="95107"/>
                      <a:pt x="291986" y="102102"/>
                      <a:pt x="288150" y="109097"/>
                    </a:cubicBezTo>
                    <a:cubicBezTo>
                      <a:pt x="284314" y="116092"/>
                      <a:pt x="270324" y="117671"/>
                      <a:pt x="263329" y="121733"/>
                    </a:cubicBezTo>
                    <a:cubicBezTo>
                      <a:pt x="256334" y="125794"/>
                      <a:pt x="241216" y="129179"/>
                      <a:pt x="235123" y="134369"/>
                    </a:cubicBezTo>
                    <a:cubicBezTo>
                      <a:pt x="229031" y="139559"/>
                      <a:pt x="225195" y="146554"/>
                      <a:pt x="221585" y="146554"/>
                    </a:cubicBezTo>
                    <a:cubicBezTo>
                      <a:pt x="217974" y="146554"/>
                      <a:pt x="219779" y="146554"/>
                      <a:pt x="210302" y="146554"/>
                    </a:cubicBezTo>
                    <a:cubicBezTo>
                      <a:pt x="200825" y="146554"/>
                      <a:pt x="198117" y="148810"/>
                      <a:pt x="195635" y="144749"/>
                    </a:cubicBezTo>
                    <a:cubicBezTo>
                      <a:pt x="193379" y="140462"/>
                      <a:pt x="190445" y="133918"/>
                      <a:pt x="184804" y="133466"/>
                    </a:cubicBezTo>
                    <a:cubicBezTo>
                      <a:pt x="179163" y="133015"/>
                      <a:pt x="169686" y="141364"/>
                      <a:pt x="164947" y="144749"/>
                    </a:cubicBezTo>
                    <a:cubicBezTo>
                      <a:pt x="160209" y="148133"/>
                      <a:pt x="155019" y="144749"/>
                      <a:pt x="151409" y="152195"/>
                    </a:cubicBezTo>
                    <a:cubicBezTo>
                      <a:pt x="147573" y="159641"/>
                      <a:pt x="143511" y="156031"/>
                      <a:pt x="137193" y="152195"/>
                    </a:cubicBezTo>
                    <a:cubicBezTo>
                      <a:pt x="131100" y="148359"/>
                      <a:pt x="125008" y="147908"/>
                      <a:pt x="122075" y="143169"/>
                    </a:cubicBezTo>
                    <a:cubicBezTo>
                      <a:pt x="119141" y="138431"/>
                      <a:pt x="127716" y="132789"/>
                      <a:pt x="116433" y="131887"/>
                    </a:cubicBezTo>
                    <a:cubicBezTo>
                      <a:pt x="105151" y="130984"/>
                      <a:pt x="107408" y="134820"/>
                      <a:pt x="101766" y="132789"/>
                    </a:cubicBezTo>
                    <a:cubicBezTo>
                      <a:pt x="96125" y="130984"/>
                      <a:pt x="97479" y="121507"/>
                      <a:pt x="91387" y="119702"/>
                    </a:cubicBezTo>
                    <a:cubicBezTo>
                      <a:pt x="85294" y="117897"/>
                      <a:pt x="80556" y="116317"/>
                      <a:pt x="75817" y="121507"/>
                    </a:cubicBezTo>
                    <a:cubicBezTo>
                      <a:pt x="71079" y="126697"/>
                      <a:pt x="48965" y="134143"/>
                      <a:pt x="41519" y="134143"/>
                    </a:cubicBezTo>
                    <a:cubicBezTo>
                      <a:pt x="35878" y="134143"/>
                      <a:pt x="30237" y="128728"/>
                      <a:pt x="19857" y="126020"/>
                    </a:cubicBezTo>
                    <a:cubicBezTo>
                      <a:pt x="19857" y="126246"/>
                      <a:pt x="19857" y="126471"/>
                      <a:pt x="20082" y="126697"/>
                    </a:cubicBezTo>
                    <a:cubicBezTo>
                      <a:pt x="20534" y="131436"/>
                      <a:pt x="15344" y="140236"/>
                      <a:pt x="6995" y="147908"/>
                    </a:cubicBezTo>
                    <a:cubicBezTo>
                      <a:pt x="-1580" y="155354"/>
                      <a:pt x="13539" y="169118"/>
                      <a:pt x="4739" y="174760"/>
                    </a:cubicBezTo>
                    <a:cubicBezTo>
                      <a:pt x="-2256" y="179273"/>
                      <a:pt x="1580" y="185591"/>
                      <a:pt x="0" y="192360"/>
                    </a:cubicBezTo>
                    <a:lnTo>
                      <a:pt x="0" y="192360"/>
                    </a:lnTo>
                    <a:cubicBezTo>
                      <a:pt x="13990" y="193714"/>
                      <a:pt x="14667" y="198678"/>
                      <a:pt x="19406" y="204545"/>
                    </a:cubicBezTo>
                    <a:cubicBezTo>
                      <a:pt x="25047" y="211540"/>
                      <a:pt x="32493" y="215150"/>
                      <a:pt x="39488" y="220791"/>
                    </a:cubicBezTo>
                    <a:cubicBezTo>
                      <a:pt x="46483" y="226433"/>
                      <a:pt x="50093" y="228915"/>
                      <a:pt x="53929" y="239069"/>
                    </a:cubicBezTo>
                    <a:cubicBezTo>
                      <a:pt x="57765" y="248997"/>
                      <a:pt x="57765" y="248997"/>
                      <a:pt x="67694" y="257346"/>
                    </a:cubicBezTo>
                    <a:cubicBezTo>
                      <a:pt x="77622" y="265469"/>
                      <a:pt x="85294" y="261182"/>
                      <a:pt x="86423" y="265469"/>
                    </a:cubicBezTo>
                    <a:cubicBezTo>
                      <a:pt x="87776" y="269757"/>
                      <a:pt x="83263" y="279234"/>
                      <a:pt x="92741" y="287357"/>
                    </a:cubicBezTo>
                    <a:cubicBezTo>
                      <a:pt x="102218" y="295480"/>
                      <a:pt x="91387" y="299993"/>
                      <a:pt x="94546" y="309245"/>
                    </a:cubicBezTo>
                    <a:cubicBezTo>
                      <a:pt x="97705" y="318722"/>
                      <a:pt x="105151" y="331132"/>
                      <a:pt x="115756" y="338127"/>
                    </a:cubicBezTo>
                    <a:cubicBezTo>
                      <a:pt x="126362" y="345123"/>
                      <a:pt x="134485" y="348056"/>
                      <a:pt x="132003" y="356856"/>
                    </a:cubicBezTo>
                    <a:cubicBezTo>
                      <a:pt x="129521" y="365656"/>
                      <a:pt x="110792" y="382580"/>
                      <a:pt x="98833" y="390703"/>
                    </a:cubicBezTo>
                    <a:cubicBezTo>
                      <a:pt x="89807" y="397021"/>
                      <a:pt x="91612" y="398375"/>
                      <a:pt x="94320" y="402437"/>
                    </a:cubicBezTo>
                    <a:cubicBezTo>
                      <a:pt x="99510" y="404016"/>
                      <a:pt x="104700" y="406273"/>
                      <a:pt x="108085" y="409432"/>
                    </a:cubicBezTo>
                    <a:cubicBezTo>
                      <a:pt x="120269" y="420714"/>
                      <a:pt x="119818" y="424099"/>
                      <a:pt x="134034" y="421617"/>
                    </a:cubicBezTo>
                    <a:cubicBezTo>
                      <a:pt x="148250" y="419360"/>
                      <a:pt x="150506" y="414170"/>
                      <a:pt x="169686" y="415073"/>
                    </a:cubicBezTo>
                    <a:cubicBezTo>
                      <a:pt x="188866" y="415975"/>
                      <a:pt x="206466" y="407175"/>
                      <a:pt x="214815" y="411688"/>
                    </a:cubicBezTo>
                    <a:cubicBezTo>
                      <a:pt x="223390" y="416427"/>
                      <a:pt x="231739" y="421617"/>
                      <a:pt x="227451" y="433350"/>
                    </a:cubicBezTo>
                    <a:cubicBezTo>
                      <a:pt x="223164" y="445084"/>
                      <a:pt x="221810" y="454110"/>
                      <a:pt x="228805" y="458848"/>
                    </a:cubicBezTo>
                    <a:cubicBezTo>
                      <a:pt x="235800" y="463587"/>
                      <a:pt x="250467" y="465392"/>
                      <a:pt x="255206" y="460202"/>
                    </a:cubicBezTo>
                    <a:cubicBezTo>
                      <a:pt x="259944" y="455012"/>
                      <a:pt x="264232" y="445986"/>
                      <a:pt x="277319" y="452304"/>
                    </a:cubicBezTo>
                    <a:cubicBezTo>
                      <a:pt x="290407" y="458397"/>
                      <a:pt x="297176" y="459299"/>
                      <a:pt x="304171" y="458848"/>
                    </a:cubicBezTo>
                    <a:cubicBezTo>
                      <a:pt x="311166" y="458397"/>
                      <a:pt x="321546" y="454110"/>
                      <a:pt x="320643" y="461105"/>
                    </a:cubicBezTo>
                    <a:cubicBezTo>
                      <a:pt x="319741" y="468100"/>
                      <a:pt x="324479" y="470582"/>
                      <a:pt x="330572" y="470582"/>
                    </a:cubicBezTo>
                    <a:cubicBezTo>
                      <a:pt x="336664" y="470582"/>
                      <a:pt x="342305" y="462007"/>
                      <a:pt x="345690" y="453658"/>
                    </a:cubicBezTo>
                    <a:cubicBezTo>
                      <a:pt x="349075" y="445084"/>
                      <a:pt x="350880" y="439443"/>
                      <a:pt x="347495" y="431094"/>
                    </a:cubicBezTo>
                    <a:cubicBezTo>
                      <a:pt x="344110" y="422519"/>
                      <a:pt x="346592" y="415975"/>
                      <a:pt x="347495" y="411914"/>
                    </a:cubicBezTo>
                    <a:cubicBezTo>
                      <a:pt x="348398" y="407626"/>
                      <a:pt x="345239" y="405821"/>
                      <a:pt x="343659" y="403339"/>
                    </a:cubicBezTo>
                    <a:cubicBezTo>
                      <a:pt x="342305" y="401083"/>
                      <a:pt x="347495" y="392057"/>
                      <a:pt x="350654" y="391606"/>
                    </a:cubicBezTo>
                    <a:cubicBezTo>
                      <a:pt x="354039" y="391154"/>
                      <a:pt x="357198" y="395442"/>
                      <a:pt x="365321" y="401083"/>
                    </a:cubicBezTo>
                    <a:cubicBezTo>
                      <a:pt x="373219" y="406724"/>
                      <a:pt x="379537" y="404016"/>
                      <a:pt x="384501" y="406724"/>
                    </a:cubicBezTo>
                    <a:cubicBezTo>
                      <a:pt x="389465" y="409432"/>
                      <a:pt x="384501" y="412816"/>
                      <a:pt x="395783" y="414622"/>
                    </a:cubicBezTo>
                    <a:cubicBezTo>
                      <a:pt x="407066" y="416427"/>
                      <a:pt x="411804" y="415975"/>
                      <a:pt x="421733" y="423196"/>
                    </a:cubicBezTo>
                    <a:cubicBezTo>
                      <a:pt x="431661" y="430417"/>
                      <a:pt x="435948" y="433576"/>
                      <a:pt x="440913" y="430191"/>
                    </a:cubicBezTo>
                    <a:cubicBezTo>
                      <a:pt x="446103" y="426806"/>
                      <a:pt x="458287" y="423196"/>
                      <a:pt x="454451" y="419360"/>
                    </a:cubicBezTo>
                    <a:cubicBezTo>
                      <a:pt x="450615" y="415524"/>
                      <a:pt x="453549" y="407175"/>
                      <a:pt x="448359" y="405144"/>
                    </a:cubicBezTo>
                    <a:cubicBezTo>
                      <a:pt x="443169" y="403339"/>
                      <a:pt x="442266" y="396570"/>
                      <a:pt x="441364" y="393411"/>
                    </a:cubicBezTo>
                    <a:cubicBezTo>
                      <a:pt x="440461" y="390026"/>
                      <a:pt x="441364" y="383031"/>
                      <a:pt x="432789" y="381677"/>
                    </a:cubicBezTo>
                    <a:cubicBezTo>
                      <a:pt x="424215" y="380323"/>
                      <a:pt x="422410" y="370846"/>
                      <a:pt x="414512" y="367461"/>
                    </a:cubicBezTo>
                    <a:cubicBezTo>
                      <a:pt x="406614" y="364077"/>
                      <a:pt x="401876" y="362272"/>
                      <a:pt x="399394" y="360015"/>
                    </a:cubicBezTo>
                    <a:cubicBezTo>
                      <a:pt x="397137" y="357759"/>
                      <a:pt x="397137" y="343994"/>
                      <a:pt x="400296" y="339707"/>
                    </a:cubicBezTo>
                    <a:cubicBezTo>
                      <a:pt x="403681" y="335420"/>
                      <a:pt x="405035" y="338804"/>
                      <a:pt x="403681" y="335420"/>
                    </a:cubicBezTo>
                    <a:cubicBezTo>
                      <a:pt x="402327" y="332035"/>
                      <a:pt x="400296" y="327522"/>
                      <a:pt x="389014" y="328425"/>
                    </a:cubicBezTo>
                    <a:cubicBezTo>
                      <a:pt x="377732" y="329327"/>
                      <a:pt x="369157" y="333163"/>
                      <a:pt x="363516" y="328876"/>
                    </a:cubicBezTo>
                    <a:cubicBezTo>
                      <a:pt x="357875" y="324589"/>
                      <a:pt x="353136" y="316240"/>
                      <a:pt x="347044" y="315337"/>
                    </a:cubicBezTo>
                    <a:cubicBezTo>
                      <a:pt x="340951" y="314435"/>
                      <a:pt x="334408" y="310147"/>
                      <a:pt x="328315" y="309696"/>
                    </a:cubicBezTo>
                    <a:cubicBezTo>
                      <a:pt x="322223" y="309245"/>
                      <a:pt x="315228" y="293675"/>
                      <a:pt x="319741" y="287583"/>
                    </a:cubicBezTo>
                    <a:cubicBezTo>
                      <a:pt x="324479" y="281490"/>
                      <a:pt x="324479" y="279008"/>
                      <a:pt x="324028" y="275398"/>
                    </a:cubicBezTo>
                    <a:cubicBezTo>
                      <a:pt x="323577" y="271562"/>
                      <a:pt x="327864" y="263213"/>
                      <a:pt x="331474" y="263213"/>
                    </a:cubicBezTo>
                    <a:cubicBezTo>
                      <a:pt x="335310" y="263213"/>
                      <a:pt x="337115" y="266146"/>
                      <a:pt x="340049" y="261859"/>
                    </a:cubicBezTo>
                    <a:cubicBezTo>
                      <a:pt x="342982" y="257572"/>
                      <a:pt x="339598" y="250577"/>
                      <a:pt x="345690" y="250126"/>
                    </a:cubicBezTo>
                    <a:cubicBezTo>
                      <a:pt x="351782" y="249674"/>
                      <a:pt x="360357" y="248772"/>
                      <a:pt x="360357" y="254864"/>
                    </a:cubicBezTo>
                    <a:cubicBezTo>
                      <a:pt x="360357" y="260956"/>
                      <a:pt x="362613" y="267049"/>
                      <a:pt x="372090" y="267049"/>
                    </a:cubicBezTo>
                    <a:cubicBezTo>
                      <a:pt x="381568" y="267049"/>
                      <a:pt x="386306" y="257121"/>
                      <a:pt x="386757" y="254413"/>
                    </a:cubicBezTo>
                    <a:cubicBezTo>
                      <a:pt x="387209" y="251479"/>
                      <a:pt x="391947" y="244484"/>
                      <a:pt x="398942" y="241325"/>
                    </a:cubicBezTo>
                    <a:cubicBezTo>
                      <a:pt x="405937" y="237941"/>
                      <a:pt x="406840" y="233428"/>
                      <a:pt x="419251" y="231848"/>
                    </a:cubicBezTo>
                    <a:cubicBezTo>
                      <a:pt x="431435" y="230494"/>
                      <a:pt x="436174" y="227110"/>
                      <a:pt x="437979" y="223274"/>
                    </a:cubicBezTo>
                    <a:cubicBezTo>
                      <a:pt x="439784" y="219438"/>
                      <a:pt x="439784" y="214699"/>
                      <a:pt x="441364" y="211540"/>
                    </a:cubicBezTo>
                    <a:cubicBezTo>
                      <a:pt x="442718" y="208155"/>
                      <a:pt x="446554" y="202063"/>
                      <a:pt x="451744" y="202965"/>
                    </a:cubicBezTo>
                    <a:cubicBezTo>
                      <a:pt x="456933" y="203868"/>
                      <a:pt x="463477" y="209509"/>
                      <a:pt x="467765" y="211540"/>
                    </a:cubicBezTo>
                    <a:cubicBezTo>
                      <a:pt x="472052" y="213345"/>
                      <a:pt x="482431" y="201386"/>
                      <a:pt x="488524" y="201386"/>
                    </a:cubicBezTo>
                    <a:cubicBezTo>
                      <a:pt x="494842" y="201386"/>
                      <a:pt x="490329" y="203868"/>
                      <a:pt x="496647" y="192586"/>
                    </a:cubicBezTo>
                    <a:cubicBezTo>
                      <a:pt x="502965" y="181303"/>
                      <a:pt x="506124" y="183786"/>
                      <a:pt x="510412" y="184462"/>
                    </a:cubicBezTo>
                    <a:cubicBezTo>
                      <a:pt x="514699" y="185139"/>
                      <a:pt x="509735" y="179498"/>
                      <a:pt x="521694" y="171826"/>
                    </a:cubicBezTo>
                    <a:cubicBezTo>
                      <a:pt x="533653" y="164380"/>
                      <a:pt x="532299" y="150616"/>
                      <a:pt x="540423" y="147456"/>
                    </a:cubicBezTo>
                    <a:cubicBezTo>
                      <a:pt x="548546" y="144297"/>
                      <a:pt x="550351" y="136174"/>
                      <a:pt x="554864" y="127374"/>
                    </a:cubicBezTo>
                    <a:cubicBezTo>
                      <a:pt x="559151" y="118574"/>
                      <a:pt x="551930" y="114286"/>
                      <a:pt x="556443" y="109097"/>
                    </a:cubicBezTo>
                    <a:cubicBezTo>
                      <a:pt x="560956" y="104358"/>
                      <a:pt x="563213" y="103681"/>
                      <a:pt x="563213" y="97363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xmlns="" id="{075BB889-CA5F-4A99-970A-F46F1D2ACFC0}"/>
                  </a:ext>
                </a:extLst>
              </p:cNvPr>
              <p:cNvSpPr/>
              <p:nvPr/>
            </p:nvSpPr>
            <p:spPr>
              <a:xfrm>
                <a:off x="9587136" y="2930647"/>
                <a:ext cx="496422" cy="857455"/>
              </a:xfrm>
              <a:custGeom>
                <a:avLst/>
                <a:gdLst>
                  <a:gd name="connsiteX0" fmla="*/ 499073 w 496421"/>
                  <a:gd name="connsiteY0" fmla="*/ 145767 h 857455"/>
                  <a:gd name="connsiteX1" fmla="*/ 477863 w 496421"/>
                  <a:gd name="connsiteY1" fmla="*/ 116885 h 857455"/>
                  <a:gd name="connsiteX2" fmla="*/ 476058 w 496421"/>
                  <a:gd name="connsiteY2" fmla="*/ 94997 h 857455"/>
                  <a:gd name="connsiteX3" fmla="*/ 469740 w 496421"/>
                  <a:gd name="connsiteY3" fmla="*/ 73109 h 857455"/>
                  <a:gd name="connsiteX4" fmla="*/ 451011 w 496421"/>
                  <a:gd name="connsiteY4" fmla="*/ 64986 h 857455"/>
                  <a:gd name="connsiteX5" fmla="*/ 437246 w 496421"/>
                  <a:gd name="connsiteY5" fmla="*/ 46709 h 857455"/>
                  <a:gd name="connsiteX6" fmla="*/ 422805 w 496421"/>
                  <a:gd name="connsiteY6" fmla="*/ 28431 h 857455"/>
                  <a:gd name="connsiteX7" fmla="*/ 402723 w 496421"/>
                  <a:gd name="connsiteY7" fmla="*/ 12185 h 857455"/>
                  <a:gd name="connsiteX8" fmla="*/ 383317 w 496421"/>
                  <a:gd name="connsiteY8" fmla="*/ 0 h 857455"/>
                  <a:gd name="connsiteX9" fmla="*/ 380384 w 496421"/>
                  <a:gd name="connsiteY9" fmla="*/ 5641 h 857455"/>
                  <a:gd name="connsiteX10" fmla="*/ 363235 w 496421"/>
                  <a:gd name="connsiteY10" fmla="*/ 28431 h 857455"/>
                  <a:gd name="connsiteX11" fmla="*/ 325100 w 496421"/>
                  <a:gd name="connsiteY11" fmla="*/ 27078 h 857455"/>
                  <a:gd name="connsiteX12" fmla="*/ 313592 w 496421"/>
                  <a:gd name="connsiteY12" fmla="*/ 11057 h 857455"/>
                  <a:gd name="connsiteX13" fmla="*/ 303664 w 496421"/>
                  <a:gd name="connsiteY13" fmla="*/ 23919 h 857455"/>
                  <a:gd name="connsiteX14" fmla="*/ 268463 w 496421"/>
                  <a:gd name="connsiteY14" fmla="*/ 41519 h 857455"/>
                  <a:gd name="connsiteX15" fmla="*/ 229652 w 496421"/>
                  <a:gd name="connsiteY15" fmla="*/ 41519 h 857455"/>
                  <a:gd name="connsiteX16" fmla="*/ 203252 w 496421"/>
                  <a:gd name="connsiteY16" fmla="*/ 42873 h 857455"/>
                  <a:gd name="connsiteX17" fmla="*/ 168051 w 496421"/>
                  <a:gd name="connsiteY17" fmla="*/ 28431 h 857455"/>
                  <a:gd name="connsiteX18" fmla="*/ 176851 w 496421"/>
                  <a:gd name="connsiteY18" fmla="*/ 60925 h 857455"/>
                  <a:gd name="connsiteX19" fmla="*/ 169405 w 496421"/>
                  <a:gd name="connsiteY19" fmla="*/ 78525 h 857455"/>
                  <a:gd name="connsiteX20" fmla="*/ 185651 w 496421"/>
                  <a:gd name="connsiteY20" fmla="*/ 87325 h 857455"/>
                  <a:gd name="connsiteX21" fmla="*/ 201221 w 496421"/>
                  <a:gd name="connsiteY21" fmla="*/ 84843 h 857455"/>
                  <a:gd name="connsiteX22" fmla="*/ 215662 w 496421"/>
                  <a:gd name="connsiteY22" fmla="*/ 92966 h 857455"/>
                  <a:gd name="connsiteX23" fmla="*/ 228749 w 496421"/>
                  <a:gd name="connsiteY23" fmla="*/ 102895 h 857455"/>
                  <a:gd name="connsiteX24" fmla="*/ 239355 w 496421"/>
                  <a:gd name="connsiteY24" fmla="*/ 119818 h 857455"/>
                  <a:gd name="connsiteX25" fmla="*/ 234391 w 496421"/>
                  <a:gd name="connsiteY25" fmla="*/ 131101 h 857455"/>
                  <a:gd name="connsiteX26" fmla="*/ 224914 w 496421"/>
                  <a:gd name="connsiteY26" fmla="*/ 140578 h 857455"/>
                  <a:gd name="connsiteX27" fmla="*/ 211826 w 496421"/>
                  <a:gd name="connsiteY27" fmla="*/ 155696 h 857455"/>
                  <a:gd name="connsiteX28" fmla="*/ 196256 w 496421"/>
                  <a:gd name="connsiteY28" fmla="*/ 166301 h 857455"/>
                  <a:gd name="connsiteX29" fmla="*/ 186779 w 496421"/>
                  <a:gd name="connsiteY29" fmla="*/ 194507 h 857455"/>
                  <a:gd name="connsiteX30" fmla="*/ 177979 w 496421"/>
                  <a:gd name="connsiteY30" fmla="*/ 207143 h 857455"/>
                  <a:gd name="connsiteX31" fmla="*/ 144809 w 496421"/>
                  <a:gd name="connsiteY31" fmla="*/ 222713 h 857455"/>
                  <a:gd name="connsiteX32" fmla="*/ 122921 w 496421"/>
                  <a:gd name="connsiteY32" fmla="*/ 224518 h 857455"/>
                  <a:gd name="connsiteX33" fmla="*/ 108480 w 496421"/>
                  <a:gd name="connsiteY33" fmla="*/ 246406 h 857455"/>
                  <a:gd name="connsiteX34" fmla="*/ 92233 w 496421"/>
                  <a:gd name="connsiteY34" fmla="*/ 267616 h 857455"/>
                  <a:gd name="connsiteX35" fmla="*/ 79597 w 496421"/>
                  <a:gd name="connsiteY35" fmla="*/ 287699 h 857455"/>
                  <a:gd name="connsiteX36" fmla="*/ 72151 w 496421"/>
                  <a:gd name="connsiteY36" fmla="*/ 316581 h 857455"/>
                  <a:gd name="connsiteX37" fmla="*/ 60192 w 496421"/>
                  <a:gd name="connsiteY37" fmla="*/ 344110 h 857455"/>
                  <a:gd name="connsiteX38" fmla="*/ 57033 w 496421"/>
                  <a:gd name="connsiteY38" fmla="*/ 376152 h 857455"/>
                  <a:gd name="connsiteX39" fmla="*/ 50038 w 496421"/>
                  <a:gd name="connsiteY39" fmla="*/ 388788 h 857455"/>
                  <a:gd name="connsiteX40" fmla="*/ 39207 w 496421"/>
                  <a:gd name="connsiteY40" fmla="*/ 389240 h 857455"/>
                  <a:gd name="connsiteX41" fmla="*/ 39207 w 496421"/>
                  <a:gd name="connsiteY41" fmla="*/ 389240 h 857455"/>
                  <a:gd name="connsiteX42" fmla="*/ 37401 w 496421"/>
                  <a:gd name="connsiteY42" fmla="*/ 391270 h 857455"/>
                  <a:gd name="connsiteX43" fmla="*/ 26119 w 496421"/>
                  <a:gd name="connsiteY43" fmla="*/ 425117 h 857455"/>
                  <a:gd name="connsiteX44" fmla="*/ 37401 w 496421"/>
                  <a:gd name="connsiteY44" fmla="*/ 448359 h 857455"/>
                  <a:gd name="connsiteX45" fmla="*/ 36048 w 496421"/>
                  <a:gd name="connsiteY45" fmla="*/ 474083 h 857455"/>
                  <a:gd name="connsiteX46" fmla="*/ 40335 w 496421"/>
                  <a:gd name="connsiteY46" fmla="*/ 491006 h 857455"/>
                  <a:gd name="connsiteX47" fmla="*/ 39658 w 496421"/>
                  <a:gd name="connsiteY47" fmla="*/ 506576 h 857455"/>
                  <a:gd name="connsiteX48" fmla="*/ 30858 w 496421"/>
                  <a:gd name="connsiteY48" fmla="*/ 522822 h 857455"/>
                  <a:gd name="connsiteX49" fmla="*/ 27699 w 496421"/>
                  <a:gd name="connsiteY49" fmla="*/ 541551 h 857455"/>
                  <a:gd name="connsiteX50" fmla="*/ 35145 w 496421"/>
                  <a:gd name="connsiteY50" fmla="*/ 560956 h 857455"/>
                  <a:gd name="connsiteX51" fmla="*/ 27699 w 496421"/>
                  <a:gd name="connsiteY51" fmla="*/ 574721 h 857455"/>
                  <a:gd name="connsiteX52" fmla="*/ 43945 w 496421"/>
                  <a:gd name="connsiteY52" fmla="*/ 592998 h 857455"/>
                  <a:gd name="connsiteX53" fmla="*/ 57033 w 496421"/>
                  <a:gd name="connsiteY53" fmla="*/ 614886 h 857455"/>
                  <a:gd name="connsiteX54" fmla="*/ 75310 w 496421"/>
                  <a:gd name="connsiteY54" fmla="*/ 636773 h 857455"/>
                  <a:gd name="connsiteX55" fmla="*/ 60869 w 496421"/>
                  <a:gd name="connsiteY55" fmla="*/ 655502 h 857455"/>
                  <a:gd name="connsiteX56" fmla="*/ 45750 w 496421"/>
                  <a:gd name="connsiteY56" fmla="*/ 653020 h 857455"/>
                  <a:gd name="connsiteX57" fmla="*/ 24540 w 496421"/>
                  <a:gd name="connsiteY57" fmla="*/ 658661 h 857455"/>
                  <a:gd name="connsiteX58" fmla="*/ 6939 w 496421"/>
                  <a:gd name="connsiteY58" fmla="*/ 689349 h 857455"/>
                  <a:gd name="connsiteX59" fmla="*/ 1975 w 496421"/>
                  <a:gd name="connsiteY59" fmla="*/ 713719 h 857455"/>
                  <a:gd name="connsiteX60" fmla="*/ 1072 w 496421"/>
                  <a:gd name="connsiteY60" fmla="*/ 730417 h 857455"/>
                  <a:gd name="connsiteX61" fmla="*/ 1072 w 496421"/>
                  <a:gd name="connsiteY61" fmla="*/ 730417 h 857455"/>
                  <a:gd name="connsiteX62" fmla="*/ 9873 w 496421"/>
                  <a:gd name="connsiteY62" fmla="*/ 743278 h 857455"/>
                  <a:gd name="connsiteX63" fmla="*/ 39432 w 496421"/>
                  <a:gd name="connsiteY63" fmla="*/ 755463 h 857455"/>
                  <a:gd name="connsiteX64" fmla="*/ 68089 w 496421"/>
                  <a:gd name="connsiteY64" fmla="*/ 793598 h 857455"/>
                  <a:gd name="connsiteX65" fmla="*/ 75085 w 496421"/>
                  <a:gd name="connsiteY65" fmla="*/ 810521 h 857455"/>
                  <a:gd name="connsiteX66" fmla="*/ 86818 w 496421"/>
                  <a:gd name="connsiteY66" fmla="*/ 818419 h 857455"/>
                  <a:gd name="connsiteX67" fmla="*/ 98552 w 496421"/>
                  <a:gd name="connsiteY67" fmla="*/ 830152 h 857455"/>
                  <a:gd name="connsiteX68" fmla="*/ 99906 w 496421"/>
                  <a:gd name="connsiteY68" fmla="*/ 856101 h 857455"/>
                  <a:gd name="connsiteX69" fmla="*/ 99454 w 496421"/>
                  <a:gd name="connsiteY69" fmla="*/ 864902 h 857455"/>
                  <a:gd name="connsiteX70" fmla="*/ 99454 w 496421"/>
                  <a:gd name="connsiteY70" fmla="*/ 864902 h 857455"/>
                  <a:gd name="connsiteX71" fmla="*/ 109157 w 496421"/>
                  <a:gd name="connsiteY71" fmla="*/ 862645 h 857455"/>
                  <a:gd name="connsiteX72" fmla="*/ 126983 w 496421"/>
                  <a:gd name="connsiteY72" fmla="*/ 855650 h 857455"/>
                  <a:gd name="connsiteX73" fmla="*/ 147742 w 496421"/>
                  <a:gd name="connsiteY73" fmla="*/ 855650 h 857455"/>
                  <a:gd name="connsiteX74" fmla="*/ 153835 w 496421"/>
                  <a:gd name="connsiteY74" fmla="*/ 843916 h 857455"/>
                  <a:gd name="connsiteX75" fmla="*/ 169856 w 496421"/>
                  <a:gd name="connsiteY75" fmla="*/ 813906 h 857455"/>
                  <a:gd name="connsiteX76" fmla="*/ 188584 w 496421"/>
                  <a:gd name="connsiteY76" fmla="*/ 785700 h 857455"/>
                  <a:gd name="connsiteX77" fmla="*/ 214985 w 496421"/>
                  <a:gd name="connsiteY77" fmla="*/ 758397 h 857455"/>
                  <a:gd name="connsiteX78" fmla="*/ 234842 w 496421"/>
                  <a:gd name="connsiteY78" fmla="*/ 731093 h 857455"/>
                  <a:gd name="connsiteX79" fmla="*/ 249960 w 496421"/>
                  <a:gd name="connsiteY79" fmla="*/ 704693 h 857455"/>
                  <a:gd name="connsiteX80" fmla="*/ 253796 w 496421"/>
                  <a:gd name="connsiteY80" fmla="*/ 664302 h 857455"/>
                  <a:gd name="connsiteX81" fmla="*/ 241611 w 496421"/>
                  <a:gd name="connsiteY81" fmla="*/ 627522 h 857455"/>
                  <a:gd name="connsiteX82" fmla="*/ 230329 w 496421"/>
                  <a:gd name="connsiteY82" fmla="*/ 605860 h 857455"/>
                  <a:gd name="connsiteX83" fmla="*/ 220852 w 496421"/>
                  <a:gd name="connsiteY83" fmla="*/ 580362 h 857455"/>
                  <a:gd name="connsiteX84" fmla="*/ 216113 w 496421"/>
                  <a:gd name="connsiteY84" fmla="*/ 544710 h 857455"/>
                  <a:gd name="connsiteX85" fmla="*/ 248155 w 496421"/>
                  <a:gd name="connsiteY85" fmla="*/ 553284 h 857455"/>
                  <a:gd name="connsiteX86" fmla="*/ 268012 w 496421"/>
                  <a:gd name="connsiteY86" fmla="*/ 570208 h 857455"/>
                  <a:gd name="connsiteX87" fmla="*/ 302761 w 496421"/>
                  <a:gd name="connsiteY87" fmla="*/ 579685 h 857455"/>
                  <a:gd name="connsiteX88" fmla="*/ 318331 w 496421"/>
                  <a:gd name="connsiteY88" fmla="*/ 572239 h 857455"/>
                  <a:gd name="connsiteX89" fmla="*/ 313141 w 496421"/>
                  <a:gd name="connsiteY89" fmla="*/ 559151 h 857455"/>
                  <a:gd name="connsiteX90" fmla="*/ 290576 w 496421"/>
                  <a:gd name="connsiteY90" fmla="*/ 554864 h 857455"/>
                  <a:gd name="connsiteX91" fmla="*/ 274104 w 496421"/>
                  <a:gd name="connsiteY91" fmla="*/ 538843 h 857455"/>
                  <a:gd name="connsiteX92" fmla="*/ 272299 w 496421"/>
                  <a:gd name="connsiteY92" fmla="*/ 507253 h 857455"/>
                  <a:gd name="connsiteX93" fmla="*/ 267109 w 496421"/>
                  <a:gd name="connsiteY93" fmla="*/ 483785 h 857455"/>
                  <a:gd name="connsiteX94" fmla="*/ 269366 w 496421"/>
                  <a:gd name="connsiteY94" fmla="*/ 461672 h 857455"/>
                  <a:gd name="connsiteX95" fmla="*/ 277940 w 496421"/>
                  <a:gd name="connsiteY95" fmla="*/ 445200 h 857455"/>
                  <a:gd name="connsiteX96" fmla="*/ 292156 w 496421"/>
                  <a:gd name="connsiteY96" fmla="*/ 435271 h 857455"/>
                  <a:gd name="connsiteX97" fmla="*/ 297346 w 496421"/>
                  <a:gd name="connsiteY97" fmla="*/ 419251 h 857455"/>
                  <a:gd name="connsiteX98" fmla="*/ 317654 w 496421"/>
                  <a:gd name="connsiteY98" fmla="*/ 400071 h 857455"/>
                  <a:gd name="connsiteX99" fmla="*/ 356691 w 496421"/>
                  <a:gd name="connsiteY99" fmla="*/ 401424 h 857455"/>
                  <a:gd name="connsiteX100" fmla="*/ 380609 w 496421"/>
                  <a:gd name="connsiteY100" fmla="*/ 384952 h 857455"/>
                  <a:gd name="connsiteX101" fmla="*/ 390538 w 496421"/>
                  <a:gd name="connsiteY101" fmla="*/ 368029 h 857455"/>
                  <a:gd name="connsiteX102" fmla="*/ 393922 w 496421"/>
                  <a:gd name="connsiteY102" fmla="*/ 348849 h 857455"/>
                  <a:gd name="connsiteX103" fmla="*/ 400917 w 496421"/>
                  <a:gd name="connsiteY103" fmla="*/ 325833 h 857455"/>
                  <a:gd name="connsiteX104" fmla="*/ 415133 w 496421"/>
                  <a:gd name="connsiteY104" fmla="*/ 307556 h 857455"/>
                  <a:gd name="connsiteX105" fmla="*/ 424159 w 496421"/>
                  <a:gd name="connsiteY105" fmla="*/ 294919 h 857455"/>
                  <a:gd name="connsiteX106" fmla="*/ 422805 w 496421"/>
                  <a:gd name="connsiteY106" fmla="*/ 266714 h 857455"/>
                  <a:gd name="connsiteX107" fmla="*/ 452816 w 496421"/>
                  <a:gd name="connsiteY107" fmla="*/ 246406 h 857455"/>
                  <a:gd name="connsiteX108" fmla="*/ 474929 w 496421"/>
                  <a:gd name="connsiteY108" fmla="*/ 233769 h 857455"/>
                  <a:gd name="connsiteX109" fmla="*/ 480119 w 496421"/>
                  <a:gd name="connsiteY109" fmla="*/ 214364 h 857455"/>
                  <a:gd name="connsiteX110" fmla="*/ 481924 w 496421"/>
                  <a:gd name="connsiteY110" fmla="*/ 198117 h 857455"/>
                  <a:gd name="connsiteX111" fmla="*/ 515094 w 496421"/>
                  <a:gd name="connsiteY111" fmla="*/ 164270 h 857455"/>
                  <a:gd name="connsiteX112" fmla="*/ 499073 w 496421"/>
                  <a:gd name="connsiteY112" fmla="*/ 145767 h 85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496421" h="857455">
                    <a:moveTo>
                      <a:pt x="499073" y="145767"/>
                    </a:moveTo>
                    <a:cubicBezTo>
                      <a:pt x="488468" y="138772"/>
                      <a:pt x="480796" y="126362"/>
                      <a:pt x="477863" y="116885"/>
                    </a:cubicBezTo>
                    <a:cubicBezTo>
                      <a:pt x="474704" y="107408"/>
                      <a:pt x="485309" y="103120"/>
                      <a:pt x="476058" y="94997"/>
                    </a:cubicBezTo>
                    <a:cubicBezTo>
                      <a:pt x="466581" y="86874"/>
                      <a:pt x="471093" y="77397"/>
                      <a:pt x="469740" y="73109"/>
                    </a:cubicBezTo>
                    <a:cubicBezTo>
                      <a:pt x="468386" y="68822"/>
                      <a:pt x="460939" y="73109"/>
                      <a:pt x="451011" y="64986"/>
                    </a:cubicBezTo>
                    <a:cubicBezTo>
                      <a:pt x="441082" y="56863"/>
                      <a:pt x="441082" y="56863"/>
                      <a:pt x="437246" y="46709"/>
                    </a:cubicBezTo>
                    <a:cubicBezTo>
                      <a:pt x="433411" y="36780"/>
                      <a:pt x="429800" y="34073"/>
                      <a:pt x="422805" y="28431"/>
                    </a:cubicBezTo>
                    <a:cubicBezTo>
                      <a:pt x="415810" y="22790"/>
                      <a:pt x="408364" y="18954"/>
                      <a:pt x="402723" y="12185"/>
                    </a:cubicBezTo>
                    <a:cubicBezTo>
                      <a:pt x="397984" y="6318"/>
                      <a:pt x="397081" y="1580"/>
                      <a:pt x="383317" y="0"/>
                    </a:cubicBezTo>
                    <a:cubicBezTo>
                      <a:pt x="382866" y="1805"/>
                      <a:pt x="381963" y="3610"/>
                      <a:pt x="380384" y="5641"/>
                    </a:cubicBezTo>
                    <a:cubicBezTo>
                      <a:pt x="372937" y="14216"/>
                      <a:pt x="372035" y="24821"/>
                      <a:pt x="363235" y="28431"/>
                    </a:cubicBezTo>
                    <a:cubicBezTo>
                      <a:pt x="354434" y="32267"/>
                      <a:pt x="333675" y="34073"/>
                      <a:pt x="325100" y="27078"/>
                    </a:cubicBezTo>
                    <a:cubicBezTo>
                      <a:pt x="316977" y="20534"/>
                      <a:pt x="321264" y="18503"/>
                      <a:pt x="313592" y="11057"/>
                    </a:cubicBezTo>
                    <a:cubicBezTo>
                      <a:pt x="310433" y="15118"/>
                      <a:pt x="307049" y="19406"/>
                      <a:pt x="303664" y="23919"/>
                    </a:cubicBezTo>
                    <a:cubicBezTo>
                      <a:pt x="291028" y="41519"/>
                      <a:pt x="283582" y="42647"/>
                      <a:pt x="268463" y="41519"/>
                    </a:cubicBezTo>
                    <a:cubicBezTo>
                      <a:pt x="253345" y="40165"/>
                      <a:pt x="249735" y="40165"/>
                      <a:pt x="229652" y="41519"/>
                    </a:cubicBezTo>
                    <a:cubicBezTo>
                      <a:pt x="209570" y="42873"/>
                      <a:pt x="214534" y="41519"/>
                      <a:pt x="203252" y="42873"/>
                    </a:cubicBezTo>
                    <a:cubicBezTo>
                      <a:pt x="191969" y="44227"/>
                      <a:pt x="182492" y="22113"/>
                      <a:pt x="168051" y="28431"/>
                    </a:cubicBezTo>
                    <a:cubicBezTo>
                      <a:pt x="153609" y="34750"/>
                      <a:pt x="183169" y="49191"/>
                      <a:pt x="176851" y="60925"/>
                    </a:cubicBezTo>
                    <a:cubicBezTo>
                      <a:pt x="170533" y="72884"/>
                      <a:pt x="167374" y="69048"/>
                      <a:pt x="169405" y="78525"/>
                    </a:cubicBezTo>
                    <a:cubicBezTo>
                      <a:pt x="171210" y="88002"/>
                      <a:pt x="174369" y="89130"/>
                      <a:pt x="185651" y="87325"/>
                    </a:cubicBezTo>
                    <a:cubicBezTo>
                      <a:pt x="196933" y="85520"/>
                      <a:pt x="193774" y="78525"/>
                      <a:pt x="201221" y="84843"/>
                    </a:cubicBezTo>
                    <a:cubicBezTo>
                      <a:pt x="208667" y="91161"/>
                      <a:pt x="211826" y="84166"/>
                      <a:pt x="215662" y="92966"/>
                    </a:cubicBezTo>
                    <a:cubicBezTo>
                      <a:pt x="219498" y="101766"/>
                      <a:pt x="218821" y="98607"/>
                      <a:pt x="228749" y="102895"/>
                    </a:cubicBezTo>
                    <a:cubicBezTo>
                      <a:pt x="238678" y="107182"/>
                      <a:pt x="239355" y="111695"/>
                      <a:pt x="239355" y="119818"/>
                    </a:cubicBezTo>
                    <a:cubicBezTo>
                      <a:pt x="239355" y="127941"/>
                      <a:pt x="234391" y="124782"/>
                      <a:pt x="234391" y="131101"/>
                    </a:cubicBezTo>
                    <a:cubicBezTo>
                      <a:pt x="234391" y="137419"/>
                      <a:pt x="231232" y="127941"/>
                      <a:pt x="224914" y="140578"/>
                    </a:cubicBezTo>
                    <a:cubicBezTo>
                      <a:pt x="218595" y="153214"/>
                      <a:pt x="219949" y="150055"/>
                      <a:pt x="211826" y="155696"/>
                    </a:cubicBezTo>
                    <a:cubicBezTo>
                      <a:pt x="203703" y="161337"/>
                      <a:pt x="204831" y="155696"/>
                      <a:pt x="196256" y="166301"/>
                    </a:cubicBezTo>
                    <a:cubicBezTo>
                      <a:pt x="187456" y="176907"/>
                      <a:pt x="191969" y="187512"/>
                      <a:pt x="186779" y="194507"/>
                    </a:cubicBezTo>
                    <a:cubicBezTo>
                      <a:pt x="181815" y="201502"/>
                      <a:pt x="188584" y="200148"/>
                      <a:pt x="177979" y="207143"/>
                    </a:cubicBezTo>
                    <a:cubicBezTo>
                      <a:pt x="167374" y="214138"/>
                      <a:pt x="150450" y="222713"/>
                      <a:pt x="144809" y="222713"/>
                    </a:cubicBezTo>
                    <a:cubicBezTo>
                      <a:pt x="139168" y="222713"/>
                      <a:pt x="129691" y="219554"/>
                      <a:pt x="122921" y="224518"/>
                    </a:cubicBezTo>
                    <a:cubicBezTo>
                      <a:pt x="115926" y="229482"/>
                      <a:pt x="119085" y="236477"/>
                      <a:pt x="108480" y="246406"/>
                    </a:cubicBezTo>
                    <a:cubicBezTo>
                      <a:pt x="97875" y="256334"/>
                      <a:pt x="95844" y="252724"/>
                      <a:pt x="92233" y="267616"/>
                    </a:cubicBezTo>
                    <a:cubicBezTo>
                      <a:pt x="88398" y="282735"/>
                      <a:pt x="80951" y="274611"/>
                      <a:pt x="79597" y="287699"/>
                    </a:cubicBezTo>
                    <a:cubicBezTo>
                      <a:pt x="78244" y="300786"/>
                      <a:pt x="83885" y="308910"/>
                      <a:pt x="72151" y="316581"/>
                    </a:cubicBezTo>
                    <a:cubicBezTo>
                      <a:pt x="60192" y="324028"/>
                      <a:pt x="60192" y="332151"/>
                      <a:pt x="60192" y="344110"/>
                    </a:cubicBezTo>
                    <a:cubicBezTo>
                      <a:pt x="60192" y="356070"/>
                      <a:pt x="61997" y="370511"/>
                      <a:pt x="57033" y="376152"/>
                    </a:cubicBezTo>
                    <a:cubicBezTo>
                      <a:pt x="52069" y="381793"/>
                      <a:pt x="53197" y="381793"/>
                      <a:pt x="50038" y="388788"/>
                    </a:cubicBezTo>
                    <a:cubicBezTo>
                      <a:pt x="48233" y="392624"/>
                      <a:pt x="46202" y="391496"/>
                      <a:pt x="39207" y="389240"/>
                    </a:cubicBezTo>
                    <a:lnTo>
                      <a:pt x="39207" y="389240"/>
                    </a:lnTo>
                    <a:cubicBezTo>
                      <a:pt x="38755" y="389916"/>
                      <a:pt x="38304" y="390594"/>
                      <a:pt x="37401" y="391270"/>
                    </a:cubicBezTo>
                    <a:cubicBezTo>
                      <a:pt x="29955" y="398717"/>
                      <a:pt x="17319" y="406840"/>
                      <a:pt x="26119" y="425117"/>
                    </a:cubicBezTo>
                    <a:cubicBezTo>
                      <a:pt x="34919" y="443395"/>
                      <a:pt x="38079" y="430759"/>
                      <a:pt x="37401" y="448359"/>
                    </a:cubicBezTo>
                    <a:cubicBezTo>
                      <a:pt x="36725" y="465959"/>
                      <a:pt x="39884" y="465282"/>
                      <a:pt x="36048" y="474083"/>
                    </a:cubicBezTo>
                    <a:cubicBezTo>
                      <a:pt x="32212" y="482883"/>
                      <a:pt x="32889" y="488524"/>
                      <a:pt x="40335" y="491006"/>
                    </a:cubicBezTo>
                    <a:cubicBezTo>
                      <a:pt x="47781" y="493488"/>
                      <a:pt x="37853" y="495293"/>
                      <a:pt x="39658" y="506576"/>
                    </a:cubicBezTo>
                    <a:cubicBezTo>
                      <a:pt x="41463" y="517858"/>
                      <a:pt x="37853" y="516053"/>
                      <a:pt x="30858" y="522822"/>
                    </a:cubicBezTo>
                    <a:cubicBezTo>
                      <a:pt x="23863" y="529817"/>
                      <a:pt x="17770" y="538392"/>
                      <a:pt x="27699" y="541551"/>
                    </a:cubicBezTo>
                    <a:cubicBezTo>
                      <a:pt x="37627" y="544710"/>
                      <a:pt x="35822" y="555992"/>
                      <a:pt x="35145" y="560956"/>
                    </a:cubicBezTo>
                    <a:cubicBezTo>
                      <a:pt x="34468" y="565920"/>
                      <a:pt x="25668" y="565920"/>
                      <a:pt x="27699" y="574721"/>
                    </a:cubicBezTo>
                    <a:cubicBezTo>
                      <a:pt x="29730" y="583521"/>
                      <a:pt x="40335" y="584198"/>
                      <a:pt x="43945" y="592998"/>
                    </a:cubicBezTo>
                    <a:cubicBezTo>
                      <a:pt x="47781" y="601798"/>
                      <a:pt x="50940" y="611275"/>
                      <a:pt x="57033" y="614886"/>
                    </a:cubicBezTo>
                    <a:cubicBezTo>
                      <a:pt x="63351" y="618722"/>
                      <a:pt x="75761" y="624363"/>
                      <a:pt x="75310" y="636773"/>
                    </a:cubicBezTo>
                    <a:cubicBezTo>
                      <a:pt x="74633" y="649409"/>
                      <a:pt x="64705" y="655502"/>
                      <a:pt x="60869" y="655502"/>
                    </a:cubicBezTo>
                    <a:cubicBezTo>
                      <a:pt x="57033" y="655502"/>
                      <a:pt x="50263" y="658661"/>
                      <a:pt x="45750" y="653020"/>
                    </a:cubicBezTo>
                    <a:cubicBezTo>
                      <a:pt x="41463" y="647379"/>
                      <a:pt x="29504" y="653020"/>
                      <a:pt x="24540" y="658661"/>
                    </a:cubicBezTo>
                    <a:cubicBezTo>
                      <a:pt x="19575" y="664302"/>
                      <a:pt x="5811" y="677390"/>
                      <a:pt x="6939" y="689349"/>
                    </a:cubicBezTo>
                    <a:cubicBezTo>
                      <a:pt x="8293" y="701308"/>
                      <a:pt x="7616" y="707626"/>
                      <a:pt x="1975" y="713719"/>
                    </a:cubicBezTo>
                    <a:cubicBezTo>
                      <a:pt x="-1861" y="718006"/>
                      <a:pt x="1072" y="725452"/>
                      <a:pt x="1072" y="730417"/>
                    </a:cubicBezTo>
                    <a:lnTo>
                      <a:pt x="1072" y="730417"/>
                    </a:lnTo>
                    <a:cubicBezTo>
                      <a:pt x="4457" y="733350"/>
                      <a:pt x="6939" y="737411"/>
                      <a:pt x="9873" y="743278"/>
                    </a:cubicBezTo>
                    <a:cubicBezTo>
                      <a:pt x="14611" y="752304"/>
                      <a:pt x="20704" y="742827"/>
                      <a:pt x="39432" y="755463"/>
                    </a:cubicBezTo>
                    <a:cubicBezTo>
                      <a:pt x="58161" y="768099"/>
                      <a:pt x="68089" y="781413"/>
                      <a:pt x="68089" y="793598"/>
                    </a:cubicBezTo>
                    <a:cubicBezTo>
                      <a:pt x="68089" y="805782"/>
                      <a:pt x="68992" y="815260"/>
                      <a:pt x="75085" y="810521"/>
                    </a:cubicBezTo>
                    <a:cubicBezTo>
                      <a:pt x="81177" y="805782"/>
                      <a:pt x="78920" y="812326"/>
                      <a:pt x="86818" y="818419"/>
                    </a:cubicBezTo>
                    <a:cubicBezTo>
                      <a:pt x="94716" y="824511"/>
                      <a:pt x="97198" y="817065"/>
                      <a:pt x="98552" y="830152"/>
                    </a:cubicBezTo>
                    <a:cubicBezTo>
                      <a:pt x="99906" y="843240"/>
                      <a:pt x="97649" y="850009"/>
                      <a:pt x="99906" y="856101"/>
                    </a:cubicBezTo>
                    <a:cubicBezTo>
                      <a:pt x="101034" y="858809"/>
                      <a:pt x="100582" y="861968"/>
                      <a:pt x="99454" y="864902"/>
                    </a:cubicBezTo>
                    <a:lnTo>
                      <a:pt x="99454" y="864902"/>
                    </a:lnTo>
                    <a:cubicBezTo>
                      <a:pt x="104644" y="864676"/>
                      <a:pt x="108480" y="863999"/>
                      <a:pt x="109157" y="862645"/>
                    </a:cubicBezTo>
                    <a:cubicBezTo>
                      <a:pt x="110962" y="859260"/>
                      <a:pt x="112993" y="853619"/>
                      <a:pt x="126983" y="855650"/>
                    </a:cubicBezTo>
                    <a:cubicBezTo>
                      <a:pt x="137137" y="857004"/>
                      <a:pt x="140296" y="856553"/>
                      <a:pt x="147742" y="855650"/>
                    </a:cubicBezTo>
                    <a:cubicBezTo>
                      <a:pt x="150225" y="851137"/>
                      <a:pt x="152255" y="846850"/>
                      <a:pt x="153835" y="843916"/>
                    </a:cubicBezTo>
                    <a:cubicBezTo>
                      <a:pt x="159476" y="832634"/>
                      <a:pt x="165117" y="816613"/>
                      <a:pt x="169856" y="813906"/>
                    </a:cubicBezTo>
                    <a:cubicBezTo>
                      <a:pt x="174594" y="810972"/>
                      <a:pt x="176400" y="793146"/>
                      <a:pt x="188584" y="785700"/>
                    </a:cubicBezTo>
                    <a:cubicBezTo>
                      <a:pt x="200769" y="778254"/>
                      <a:pt x="206411" y="768776"/>
                      <a:pt x="214985" y="758397"/>
                    </a:cubicBezTo>
                    <a:cubicBezTo>
                      <a:pt x="223560" y="748017"/>
                      <a:pt x="226267" y="737637"/>
                      <a:pt x="234842" y="731093"/>
                    </a:cubicBezTo>
                    <a:cubicBezTo>
                      <a:pt x="243417" y="724550"/>
                      <a:pt x="247027" y="726355"/>
                      <a:pt x="249960" y="704693"/>
                    </a:cubicBezTo>
                    <a:cubicBezTo>
                      <a:pt x="252894" y="683031"/>
                      <a:pt x="257406" y="677390"/>
                      <a:pt x="253796" y="664302"/>
                    </a:cubicBezTo>
                    <a:cubicBezTo>
                      <a:pt x="249960" y="651215"/>
                      <a:pt x="241611" y="634291"/>
                      <a:pt x="241611" y="627522"/>
                    </a:cubicBezTo>
                    <a:cubicBezTo>
                      <a:pt x="241611" y="620978"/>
                      <a:pt x="234165" y="613306"/>
                      <a:pt x="230329" y="605860"/>
                    </a:cubicBezTo>
                    <a:cubicBezTo>
                      <a:pt x="226493" y="598414"/>
                      <a:pt x="224688" y="585100"/>
                      <a:pt x="220852" y="580362"/>
                    </a:cubicBezTo>
                    <a:cubicBezTo>
                      <a:pt x="217016" y="575623"/>
                      <a:pt x="206636" y="563438"/>
                      <a:pt x="216113" y="544710"/>
                    </a:cubicBezTo>
                    <a:cubicBezTo>
                      <a:pt x="225590" y="525981"/>
                      <a:pt x="238678" y="551253"/>
                      <a:pt x="248155" y="553284"/>
                    </a:cubicBezTo>
                    <a:cubicBezTo>
                      <a:pt x="257632" y="555090"/>
                      <a:pt x="265981" y="561859"/>
                      <a:pt x="268012" y="570208"/>
                    </a:cubicBezTo>
                    <a:cubicBezTo>
                      <a:pt x="270043" y="578557"/>
                      <a:pt x="296669" y="570659"/>
                      <a:pt x="302761" y="579685"/>
                    </a:cubicBezTo>
                    <a:cubicBezTo>
                      <a:pt x="308854" y="588711"/>
                      <a:pt x="317428" y="576300"/>
                      <a:pt x="318331" y="572239"/>
                    </a:cubicBezTo>
                    <a:cubicBezTo>
                      <a:pt x="319234" y="567951"/>
                      <a:pt x="320136" y="559151"/>
                      <a:pt x="313141" y="559151"/>
                    </a:cubicBezTo>
                    <a:cubicBezTo>
                      <a:pt x="306146" y="559151"/>
                      <a:pt x="298023" y="557797"/>
                      <a:pt x="290576" y="554864"/>
                    </a:cubicBezTo>
                    <a:cubicBezTo>
                      <a:pt x="283130" y="551930"/>
                      <a:pt x="274556" y="546966"/>
                      <a:pt x="274104" y="538843"/>
                    </a:cubicBezTo>
                    <a:cubicBezTo>
                      <a:pt x="273653" y="530945"/>
                      <a:pt x="272299" y="515827"/>
                      <a:pt x="272299" y="507253"/>
                    </a:cubicBezTo>
                    <a:cubicBezTo>
                      <a:pt x="272299" y="498678"/>
                      <a:pt x="268463" y="490329"/>
                      <a:pt x="267109" y="483785"/>
                    </a:cubicBezTo>
                    <a:cubicBezTo>
                      <a:pt x="265755" y="477242"/>
                      <a:pt x="269366" y="473857"/>
                      <a:pt x="269366" y="461672"/>
                    </a:cubicBezTo>
                    <a:cubicBezTo>
                      <a:pt x="269366" y="449487"/>
                      <a:pt x="272750" y="445200"/>
                      <a:pt x="277940" y="445200"/>
                    </a:cubicBezTo>
                    <a:cubicBezTo>
                      <a:pt x="283130" y="445200"/>
                      <a:pt x="287869" y="440913"/>
                      <a:pt x="292156" y="435271"/>
                    </a:cubicBezTo>
                    <a:cubicBezTo>
                      <a:pt x="296443" y="429630"/>
                      <a:pt x="292607" y="422184"/>
                      <a:pt x="297346" y="419251"/>
                    </a:cubicBezTo>
                    <a:cubicBezTo>
                      <a:pt x="302084" y="416317"/>
                      <a:pt x="304341" y="400071"/>
                      <a:pt x="317654" y="400071"/>
                    </a:cubicBezTo>
                    <a:cubicBezTo>
                      <a:pt x="330967" y="400071"/>
                      <a:pt x="349244" y="400973"/>
                      <a:pt x="356691" y="401424"/>
                    </a:cubicBezTo>
                    <a:cubicBezTo>
                      <a:pt x="364137" y="401876"/>
                      <a:pt x="374517" y="396686"/>
                      <a:pt x="380609" y="384952"/>
                    </a:cubicBezTo>
                    <a:cubicBezTo>
                      <a:pt x="386702" y="373219"/>
                      <a:pt x="383994" y="369383"/>
                      <a:pt x="390538" y="368029"/>
                    </a:cubicBezTo>
                    <a:cubicBezTo>
                      <a:pt x="397081" y="366675"/>
                      <a:pt x="395276" y="357198"/>
                      <a:pt x="393922" y="348849"/>
                    </a:cubicBezTo>
                    <a:cubicBezTo>
                      <a:pt x="392569" y="340500"/>
                      <a:pt x="396856" y="331925"/>
                      <a:pt x="400917" y="325833"/>
                    </a:cubicBezTo>
                    <a:cubicBezTo>
                      <a:pt x="405205" y="319741"/>
                      <a:pt x="412651" y="307556"/>
                      <a:pt x="415133" y="307556"/>
                    </a:cubicBezTo>
                    <a:cubicBezTo>
                      <a:pt x="417615" y="307556"/>
                      <a:pt x="427318" y="301012"/>
                      <a:pt x="424159" y="294919"/>
                    </a:cubicBezTo>
                    <a:cubicBezTo>
                      <a:pt x="420774" y="288827"/>
                      <a:pt x="412425" y="278899"/>
                      <a:pt x="422805" y="266714"/>
                    </a:cubicBezTo>
                    <a:cubicBezTo>
                      <a:pt x="433185" y="254529"/>
                      <a:pt x="443113" y="253175"/>
                      <a:pt x="452816" y="246406"/>
                    </a:cubicBezTo>
                    <a:cubicBezTo>
                      <a:pt x="462745" y="239862"/>
                      <a:pt x="468837" y="236026"/>
                      <a:pt x="474929" y="233769"/>
                    </a:cubicBezTo>
                    <a:cubicBezTo>
                      <a:pt x="481022" y="231513"/>
                      <a:pt x="483278" y="222487"/>
                      <a:pt x="480119" y="214364"/>
                    </a:cubicBezTo>
                    <a:cubicBezTo>
                      <a:pt x="476960" y="206241"/>
                      <a:pt x="470191" y="206241"/>
                      <a:pt x="481924" y="198117"/>
                    </a:cubicBezTo>
                    <a:cubicBezTo>
                      <a:pt x="493884" y="189994"/>
                      <a:pt x="512612" y="173071"/>
                      <a:pt x="515094" y="164270"/>
                    </a:cubicBezTo>
                    <a:cubicBezTo>
                      <a:pt x="517802" y="155696"/>
                      <a:pt x="509679" y="152763"/>
                      <a:pt x="499073" y="145767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xmlns="" id="{6D02DD4F-2345-4C12-B620-85409CE99727}"/>
                  </a:ext>
                </a:extLst>
              </p:cNvPr>
              <p:cNvSpPr/>
              <p:nvPr/>
            </p:nvSpPr>
            <p:spPr>
              <a:xfrm>
                <a:off x="9123754" y="3598785"/>
                <a:ext cx="1037972" cy="970278"/>
              </a:xfrm>
              <a:custGeom>
                <a:avLst/>
                <a:gdLst>
                  <a:gd name="connsiteX0" fmla="*/ 997657 w 1037972"/>
                  <a:gd name="connsiteY0" fmla="*/ 43098 h 970278"/>
                  <a:gd name="connsiteX1" fmla="*/ 994272 w 1037972"/>
                  <a:gd name="connsiteY1" fmla="*/ 54381 h 970278"/>
                  <a:gd name="connsiteX2" fmla="*/ 958620 w 1037972"/>
                  <a:gd name="connsiteY2" fmla="*/ 56637 h 970278"/>
                  <a:gd name="connsiteX3" fmla="*/ 934701 w 1037972"/>
                  <a:gd name="connsiteY3" fmla="*/ 43550 h 970278"/>
                  <a:gd name="connsiteX4" fmla="*/ 914845 w 1037972"/>
                  <a:gd name="connsiteY4" fmla="*/ 28431 h 970278"/>
                  <a:gd name="connsiteX5" fmla="*/ 896567 w 1037972"/>
                  <a:gd name="connsiteY5" fmla="*/ 14216 h 970278"/>
                  <a:gd name="connsiteX6" fmla="*/ 872649 w 1037972"/>
                  <a:gd name="connsiteY6" fmla="*/ 23693 h 970278"/>
                  <a:gd name="connsiteX7" fmla="*/ 874454 w 1037972"/>
                  <a:gd name="connsiteY7" fmla="*/ 41519 h 970278"/>
                  <a:gd name="connsiteX8" fmla="*/ 863172 w 1037972"/>
                  <a:gd name="connsiteY8" fmla="*/ 58894 h 970278"/>
                  <a:gd name="connsiteX9" fmla="*/ 848505 w 1037972"/>
                  <a:gd name="connsiteY9" fmla="*/ 53704 h 970278"/>
                  <a:gd name="connsiteX10" fmla="*/ 831130 w 1037972"/>
                  <a:gd name="connsiteY10" fmla="*/ 73561 h 970278"/>
                  <a:gd name="connsiteX11" fmla="*/ 824586 w 1037972"/>
                  <a:gd name="connsiteY11" fmla="*/ 101315 h 970278"/>
                  <a:gd name="connsiteX12" fmla="*/ 806309 w 1037972"/>
                  <a:gd name="connsiteY12" fmla="*/ 105602 h 970278"/>
                  <a:gd name="connsiteX13" fmla="*/ 788934 w 1037972"/>
                  <a:gd name="connsiteY13" fmla="*/ 115982 h 970278"/>
                  <a:gd name="connsiteX14" fmla="*/ 764113 w 1037972"/>
                  <a:gd name="connsiteY14" fmla="*/ 119367 h 970278"/>
                  <a:gd name="connsiteX15" fmla="*/ 757118 w 1037972"/>
                  <a:gd name="connsiteY15" fmla="*/ 95448 h 970278"/>
                  <a:gd name="connsiteX16" fmla="*/ 731620 w 1037972"/>
                  <a:gd name="connsiteY16" fmla="*/ 104023 h 970278"/>
                  <a:gd name="connsiteX17" fmla="*/ 735456 w 1037972"/>
                  <a:gd name="connsiteY17" fmla="*/ 143962 h 970278"/>
                  <a:gd name="connsiteX18" fmla="*/ 711989 w 1037972"/>
                  <a:gd name="connsiteY18" fmla="*/ 153439 h 970278"/>
                  <a:gd name="connsiteX19" fmla="*/ 687167 w 1037972"/>
                  <a:gd name="connsiteY19" fmla="*/ 166527 h 970278"/>
                  <a:gd name="connsiteX20" fmla="*/ 663700 w 1037972"/>
                  <a:gd name="connsiteY20" fmla="*/ 172619 h 970278"/>
                  <a:gd name="connsiteX21" fmla="*/ 624212 w 1037972"/>
                  <a:gd name="connsiteY21" fmla="*/ 186835 h 970278"/>
                  <a:gd name="connsiteX22" fmla="*/ 591719 w 1037972"/>
                  <a:gd name="connsiteY22" fmla="*/ 188189 h 970278"/>
                  <a:gd name="connsiteX23" fmla="*/ 573893 w 1037972"/>
                  <a:gd name="connsiteY23" fmla="*/ 195184 h 970278"/>
                  <a:gd name="connsiteX24" fmla="*/ 564190 w 1037972"/>
                  <a:gd name="connsiteY24" fmla="*/ 197440 h 970278"/>
                  <a:gd name="connsiteX25" fmla="*/ 557872 w 1037972"/>
                  <a:gd name="connsiteY25" fmla="*/ 205564 h 970278"/>
                  <a:gd name="connsiteX26" fmla="*/ 541851 w 1037972"/>
                  <a:gd name="connsiteY26" fmla="*/ 216395 h 970278"/>
                  <a:gd name="connsiteX27" fmla="*/ 553585 w 1037972"/>
                  <a:gd name="connsiteY27" fmla="*/ 231964 h 970278"/>
                  <a:gd name="connsiteX28" fmla="*/ 571862 w 1037972"/>
                  <a:gd name="connsiteY28" fmla="*/ 245052 h 970278"/>
                  <a:gd name="connsiteX29" fmla="*/ 593073 w 1037972"/>
                  <a:gd name="connsiteY29" fmla="*/ 258139 h 970278"/>
                  <a:gd name="connsiteX30" fmla="*/ 589237 w 1037972"/>
                  <a:gd name="connsiteY30" fmla="*/ 275063 h 970278"/>
                  <a:gd name="connsiteX31" fmla="*/ 570960 w 1037972"/>
                  <a:gd name="connsiteY31" fmla="*/ 285894 h 970278"/>
                  <a:gd name="connsiteX32" fmla="*/ 541851 w 1037972"/>
                  <a:gd name="connsiteY32" fmla="*/ 296273 h 970278"/>
                  <a:gd name="connsiteX33" fmla="*/ 523574 w 1037972"/>
                  <a:gd name="connsiteY33" fmla="*/ 306202 h 970278"/>
                  <a:gd name="connsiteX34" fmla="*/ 508456 w 1037972"/>
                  <a:gd name="connsiteY34" fmla="*/ 302817 h 970278"/>
                  <a:gd name="connsiteX35" fmla="*/ 489276 w 1037972"/>
                  <a:gd name="connsiteY35" fmla="*/ 304622 h 970278"/>
                  <a:gd name="connsiteX36" fmla="*/ 488373 w 1037972"/>
                  <a:gd name="connsiteY36" fmla="*/ 311617 h 970278"/>
                  <a:gd name="connsiteX37" fmla="*/ 477542 w 1037972"/>
                  <a:gd name="connsiteY37" fmla="*/ 319064 h 970278"/>
                  <a:gd name="connsiteX38" fmla="*/ 501461 w 1037972"/>
                  <a:gd name="connsiteY38" fmla="*/ 334633 h 970278"/>
                  <a:gd name="connsiteX39" fmla="*/ 490630 w 1037972"/>
                  <a:gd name="connsiteY39" fmla="*/ 348172 h 970278"/>
                  <a:gd name="connsiteX40" fmla="*/ 467162 w 1037972"/>
                  <a:gd name="connsiteY40" fmla="*/ 335084 h 970278"/>
                  <a:gd name="connsiteX41" fmla="*/ 446403 w 1037972"/>
                  <a:gd name="connsiteY41" fmla="*/ 315905 h 970278"/>
                  <a:gd name="connsiteX42" fmla="*/ 432864 w 1037972"/>
                  <a:gd name="connsiteY42" fmla="*/ 335084 h 970278"/>
                  <a:gd name="connsiteX43" fmla="*/ 426772 w 1037972"/>
                  <a:gd name="connsiteY43" fmla="*/ 360583 h 970278"/>
                  <a:gd name="connsiteX44" fmla="*/ 398115 w 1037972"/>
                  <a:gd name="connsiteY44" fmla="*/ 357649 h 970278"/>
                  <a:gd name="connsiteX45" fmla="*/ 356822 w 1037972"/>
                  <a:gd name="connsiteY45" fmla="*/ 371188 h 970278"/>
                  <a:gd name="connsiteX46" fmla="*/ 332000 w 1037972"/>
                  <a:gd name="connsiteY46" fmla="*/ 386757 h 970278"/>
                  <a:gd name="connsiteX47" fmla="*/ 325005 w 1037972"/>
                  <a:gd name="connsiteY47" fmla="*/ 415866 h 970278"/>
                  <a:gd name="connsiteX48" fmla="*/ 307631 w 1037972"/>
                  <a:gd name="connsiteY48" fmla="*/ 420604 h 970278"/>
                  <a:gd name="connsiteX49" fmla="*/ 281230 w 1037972"/>
                  <a:gd name="connsiteY49" fmla="*/ 432338 h 970278"/>
                  <a:gd name="connsiteX50" fmla="*/ 259568 w 1037972"/>
                  <a:gd name="connsiteY50" fmla="*/ 444974 h 970278"/>
                  <a:gd name="connsiteX51" fmla="*/ 220983 w 1037972"/>
                  <a:gd name="connsiteY51" fmla="*/ 441590 h 970278"/>
                  <a:gd name="connsiteX52" fmla="*/ 191423 w 1037972"/>
                  <a:gd name="connsiteY52" fmla="*/ 463251 h 970278"/>
                  <a:gd name="connsiteX53" fmla="*/ 167956 w 1037972"/>
                  <a:gd name="connsiteY53" fmla="*/ 469344 h 970278"/>
                  <a:gd name="connsiteX54" fmla="*/ 137493 w 1037972"/>
                  <a:gd name="connsiteY54" fmla="*/ 467990 h 970278"/>
                  <a:gd name="connsiteX55" fmla="*/ 110190 w 1037972"/>
                  <a:gd name="connsiteY55" fmla="*/ 457610 h 970278"/>
                  <a:gd name="connsiteX56" fmla="*/ 100713 w 1037972"/>
                  <a:gd name="connsiteY56" fmla="*/ 442041 h 970278"/>
                  <a:gd name="connsiteX57" fmla="*/ 75892 w 1037972"/>
                  <a:gd name="connsiteY57" fmla="*/ 440687 h 970278"/>
                  <a:gd name="connsiteX58" fmla="*/ 52651 w 1037972"/>
                  <a:gd name="connsiteY58" fmla="*/ 441364 h 970278"/>
                  <a:gd name="connsiteX59" fmla="*/ 42722 w 1037972"/>
                  <a:gd name="connsiteY59" fmla="*/ 467764 h 970278"/>
                  <a:gd name="connsiteX60" fmla="*/ 44527 w 1037972"/>
                  <a:gd name="connsiteY60" fmla="*/ 487847 h 970278"/>
                  <a:gd name="connsiteX61" fmla="*/ 33922 w 1037972"/>
                  <a:gd name="connsiteY61" fmla="*/ 502965 h 970278"/>
                  <a:gd name="connsiteX62" fmla="*/ 45204 w 1037972"/>
                  <a:gd name="connsiteY62" fmla="*/ 528689 h 970278"/>
                  <a:gd name="connsiteX63" fmla="*/ 52651 w 1037972"/>
                  <a:gd name="connsiteY63" fmla="*/ 558249 h 970278"/>
                  <a:gd name="connsiteX64" fmla="*/ 34373 w 1037972"/>
                  <a:gd name="connsiteY64" fmla="*/ 569531 h 970278"/>
                  <a:gd name="connsiteX65" fmla="*/ 23091 w 1037972"/>
                  <a:gd name="connsiteY65" fmla="*/ 568854 h 970278"/>
                  <a:gd name="connsiteX66" fmla="*/ 4362 w 1037972"/>
                  <a:gd name="connsiteY66" fmla="*/ 568854 h 970278"/>
                  <a:gd name="connsiteX67" fmla="*/ 10003 w 1037972"/>
                  <a:gd name="connsiteY67" fmla="*/ 581942 h 970278"/>
                  <a:gd name="connsiteX68" fmla="*/ 7521 w 1037972"/>
                  <a:gd name="connsiteY68" fmla="*/ 600670 h 970278"/>
                  <a:gd name="connsiteX69" fmla="*/ 75 w 1037972"/>
                  <a:gd name="connsiteY69" fmla="*/ 623912 h 970278"/>
                  <a:gd name="connsiteX70" fmla="*/ 12034 w 1037972"/>
                  <a:gd name="connsiteY70" fmla="*/ 643317 h 970278"/>
                  <a:gd name="connsiteX71" fmla="*/ 20834 w 1037972"/>
                  <a:gd name="connsiteY71" fmla="*/ 650312 h 970278"/>
                  <a:gd name="connsiteX72" fmla="*/ 16547 w 1037972"/>
                  <a:gd name="connsiteY72" fmla="*/ 659112 h 970278"/>
                  <a:gd name="connsiteX73" fmla="*/ 33471 w 1037972"/>
                  <a:gd name="connsiteY73" fmla="*/ 673554 h 970278"/>
                  <a:gd name="connsiteX74" fmla="*/ 49040 w 1037972"/>
                  <a:gd name="connsiteY74" fmla="*/ 667236 h 970278"/>
                  <a:gd name="connsiteX75" fmla="*/ 67769 w 1037972"/>
                  <a:gd name="connsiteY75" fmla="*/ 672877 h 970278"/>
                  <a:gd name="connsiteX76" fmla="*/ 86497 w 1037972"/>
                  <a:gd name="connsiteY76" fmla="*/ 674682 h 970278"/>
                  <a:gd name="connsiteX77" fmla="*/ 82210 w 1037972"/>
                  <a:gd name="connsiteY77" fmla="*/ 691606 h 970278"/>
                  <a:gd name="connsiteX78" fmla="*/ 75892 w 1037972"/>
                  <a:gd name="connsiteY78" fmla="*/ 707852 h 970278"/>
                  <a:gd name="connsiteX79" fmla="*/ 54230 w 1037972"/>
                  <a:gd name="connsiteY79" fmla="*/ 706949 h 970278"/>
                  <a:gd name="connsiteX80" fmla="*/ 39112 w 1037972"/>
                  <a:gd name="connsiteY80" fmla="*/ 699954 h 970278"/>
                  <a:gd name="connsiteX81" fmla="*/ 23542 w 1037972"/>
                  <a:gd name="connsiteY81" fmla="*/ 685739 h 970278"/>
                  <a:gd name="connsiteX82" fmla="*/ 23542 w 1037972"/>
                  <a:gd name="connsiteY82" fmla="*/ 706498 h 970278"/>
                  <a:gd name="connsiteX83" fmla="*/ 27829 w 1037972"/>
                  <a:gd name="connsiteY83" fmla="*/ 726355 h 970278"/>
                  <a:gd name="connsiteX84" fmla="*/ 28732 w 1037972"/>
                  <a:gd name="connsiteY84" fmla="*/ 744632 h 970278"/>
                  <a:gd name="connsiteX85" fmla="*/ 50620 w 1037972"/>
                  <a:gd name="connsiteY85" fmla="*/ 743955 h 970278"/>
                  <a:gd name="connsiteX86" fmla="*/ 54004 w 1037972"/>
                  <a:gd name="connsiteY86" fmla="*/ 732447 h 970278"/>
                  <a:gd name="connsiteX87" fmla="*/ 76569 w 1037972"/>
                  <a:gd name="connsiteY87" fmla="*/ 731094 h 970278"/>
                  <a:gd name="connsiteX88" fmla="*/ 92139 w 1037972"/>
                  <a:gd name="connsiteY88" fmla="*/ 746437 h 970278"/>
                  <a:gd name="connsiteX89" fmla="*/ 107483 w 1037972"/>
                  <a:gd name="connsiteY89" fmla="*/ 750273 h 970278"/>
                  <a:gd name="connsiteX90" fmla="*/ 126662 w 1037972"/>
                  <a:gd name="connsiteY90" fmla="*/ 737412 h 970278"/>
                  <a:gd name="connsiteX91" fmla="*/ 142909 w 1037972"/>
                  <a:gd name="connsiteY91" fmla="*/ 725903 h 970278"/>
                  <a:gd name="connsiteX92" fmla="*/ 157350 w 1037972"/>
                  <a:gd name="connsiteY92" fmla="*/ 731319 h 970278"/>
                  <a:gd name="connsiteX93" fmla="*/ 179238 w 1037972"/>
                  <a:gd name="connsiteY93" fmla="*/ 738314 h 970278"/>
                  <a:gd name="connsiteX94" fmla="*/ 176305 w 1037972"/>
                  <a:gd name="connsiteY94" fmla="*/ 757494 h 970278"/>
                  <a:gd name="connsiteX95" fmla="*/ 192325 w 1037972"/>
                  <a:gd name="connsiteY95" fmla="*/ 769679 h 970278"/>
                  <a:gd name="connsiteX96" fmla="*/ 208798 w 1037972"/>
                  <a:gd name="connsiteY96" fmla="*/ 775320 h 970278"/>
                  <a:gd name="connsiteX97" fmla="*/ 213987 w 1037972"/>
                  <a:gd name="connsiteY97" fmla="*/ 794049 h 970278"/>
                  <a:gd name="connsiteX98" fmla="*/ 227526 w 1037972"/>
                  <a:gd name="connsiteY98" fmla="*/ 813229 h 970278"/>
                  <a:gd name="connsiteX99" fmla="*/ 237003 w 1037972"/>
                  <a:gd name="connsiteY99" fmla="*/ 826767 h 970278"/>
                  <a:gd name="connsiteX100" fmla="*/ 225947 w 1037972"/>
                  <a:gd name="connsiteY100" fmla="*/ 848430 h 970278"/>
                  <a:gd name="connsiteX101" fmla="*/ 206090 w 1037972"/>
                  <a:gd name="connsiteY101" fmla="*/ 863096 h 970278"/>
                  <a:gd name="connsiteX102" fmla="*/ 193002 w 1037972"/>
                  <a:gd name="connsiteY102" fmla="*/ 883179 h 970278"/>
                  <a:gd name="connsiteX103" fmla="*/ 202480 w 1037972"/>
                  <a:gd name="connsiteY103" fmla="*/ 895815 h 970278"/>
                  <a:gd name="connsiteX104" fmla="*/ 218500 w 1037972"/>
                  <a:gd name="connsiteY104" fmla="*/ 902810 h 970278"/>
                  <a:gd name="connsiteX105" fmla="*/ 232716 w 1037972"/>
                  <a:gd name="connsiteY105" fmla="*/ 885887 h 970278"/>
                  <a:gd name="connsiteX106" fmla="*/ 242193 w 1037972"/>
                  <a:gd name="connsiteY106" fmla="*/ 865127 h 970278"/>
                  <a:gd name="connsiteX107" fmla="*/ 250768 w 1037972"/>
                  <a:gd name="connsiteY107" fmla="*/ 846850 h 970278"/>
                  <a:gd name="connsiteX108" fmla="*/ 278974 w 1037972"/>
                  <a:gd name="connsiteY108" fmla="*/ 838276 h 970278"/>
                  <a:gd name="connsiteX109" fmla="*/ 293189 w 1037972"/>
                  <a:gd name="connsiteY109" fmla="*/ 841209 h 970278"/>
                  <a:gd name="connsiteX110" fmla="*/ 313046 w 1037972"/>
                  <a:gd name="connsiteY110" fmla="*/ 845947 h 970278"/>
                  <a:gd name="connsiteX111" fmla="*/ 333806 w 1037972"/>
                  <a:gd name="connsiteY111" fmla="*/ 833762 h 970278"/>
                  <a:gd name="connsiteX112" fmla="*/ 354114 w 1037972"/>
                  <a:gd name="connsiteY112" fmla="*/ 825188 h 970278"/>
                  <a:gd name="connsiteX113" fmla="*/ 355016 w 1037972"/>
                  <a:gd name="connsiteY113" fmla="*/ 812552 h 970278"/>
                  <a:gd name="connsiteX114" fmla="*/ 371940 w 1037972"/>
                  <a:gd name="connsiteY114" fmla="*/ 809167 h 970278"/>
                  <a:gd name="connsiteX115" fmla="*/ 387509 w 1037972"/>
                  <a:gd name="connsiteY115" fmla="*/ 813454 h 970278"/>
                  <a:gd name="connsiteX116" fmla="*/ 414361 w 1037972"/>
                  <a:gd name="connsiteY116" fmla="*/ 807813 h 970278"/>
                  <a:gd name="connsiteX117" fmla="*/ 436926 w 1037972"/>
                  <a:gd name="connsiteY117" fmla="*/ 788633 h 970278"/>
                  <a:gd name="connsiteX118" fmla="*/ 443921 w 1037972"/>
                  <a:gd name="connsiteY118" fmla="*/ 781187 h 970278"/>
                  <a:gd name="connsiteX119" fmla="*/ 470547 w 1037972"/>
                  <a:gd name="connsiteY119" fmla="*/ 794500 h 970278"/>
                  <a:gd name="connsiteX120" fmla="*/ 465132 w 1037972"/>
                  <a:gd name="connsiteY120" fmla="*/ 753658 h 970278"/>
                  <a:gd name="connsiteX121" fmla="*/ 455203 w 1037972"/>
                  <a:gd name="connsiteY121" fmla="*/ 715975 h 970278"/>
                  <a:gd name="connsiteX122" fmla="*/ 449562 w 1037972"/>
                  <a:gd name="connsiteY122" fmla="*/ 678969 h 970278"/>
                  <a:gd name="connsiteX123" fmla="*/ 456557 w 1037972"/>
                  <a:gd name="connsiteY123" fmla="*/ 636999 h 970278"/>
                  <a:gd name="connsiteX124" fmla="*/ 441439 w 1037972"/>
                  <a:gd name="connsiteY124" fmla="*/ 593224 h 970278"/>
                  <a:gd name="connsiteX125" fmla="*/ 440085 w 1037972"/>
                  <a:gd name="connsiteY125" fmla="*/ 541776 h 970278"/>
                  <a:gd name="connsiteX126" fmla="*/ 460168 w 1037972"/>
                  <a:gd name="connsiteY126" fmla="*/ 518535 h 970278"/>
                  <a:gd name="connsiteX127" fmla="*/ 473932 w 1037972"/>
                  <a:gd name="connsiteY127" fmla="*/ 485365 h 970278"/>
                  <a:gd name="connsiteX128" fmla="*/ 524025 w 1037972"/>
                  <a:gd name="connsiteY128" fmla="*/ 457159 h 970278"/>
                  <a:gd name="connsiteX129" fmla="*/ 540949 w 1037972"/>
                  <a:gd name="connsiteY129" fmla="*/ 469795 h 970278"/>
                  <a:gd name="connsiteX130" fmla="*/ 564190 w 1037972"/>
                  <a:gd name="connsiteY130" fmla="*/ 467990 h 970278"/>
                  <a:gd name="connsiteX131" fmla="*/ 571185 w 1037972"/>
                  <a:gd name="connsiteY131" fmla="*/ 449261 h 970278"/>
                  <a:gd name="connsiteX132" fmla="*/ 591268 w 1037972"/>
                  <a:gd name="connsiteY132" fmla="*/ 422861 h 970278"/>
                  <a:gd name="connsiteX133" fmla="*/ 604355 w 1037972"/>
                  <a:gd name="connsiteY133" fmla="*/ 399619 h 970278"/>
                  <a:gd name="connsiteX134" fmla="*/ 628274 w 1037972"/>
                  <a:gd name="connsiteY134" fmla="*/ 389014 h 970278"/>
                  <a:gd name="connsiteX135" fmla="*/ 674757 w 1037972"/>
                  <a:gd name="connsiteY135" fmla="*/ 382019 h 970278"/>
                  <a:gd name="connsiteX136" fmla="*/ 719886 w 1037972"/>
                  <a:gd name="connsiteY136" fmla="*/ 363742 h 970278"/>
                  <a:gd name="connsiteX137" fmla="*/ 739066 w 1037972"/>
                  <a:gd name="connsiteY137" fmla="*/ 338695 h 970278"/>
                  <a:gd name="connsiteX138" fmla="*/ 725979 w 1037972"/>
                  <a:gd name="connsiteY138" fmla="*/ 345239 h 970278"/>
                  <a:gd name="connsiteX139" fmla="*/ 717404 w 1037972"/>
                  <a:gd name="connsiteY139" fmla="*/ 337341 h 970278"/>
                  <a:gd name="connsiteX140" fmla="*/ 731620 w 1037972"/>
                  <a:gd name="connsiteY140" fmla="*/ 336890 h 970278"/>
                  <a:gd name="connsiteX141" fmla="*/ 743353 w 1037972"/>
                  <a:gd name="connsiteY141" fmla="*/ 327864 h 970278"/>
                  <a:gd name="connsiteX142" fmla="*/ 742902 w 1037972"/>
                  <a:gd name="connsiteY142" fmla="*/ 310940 h 970278"/>
                  <a:gd name="connsiteX143" fmla="*/ 731168 w 1037972"/>
                  <a:gd name="connsiteY143" fmla="*/ 310940 h 970278"/>
                  <a:gd name="connsiteX144" fmla="*/ 740194 w 1037972"/>
                  <a:gd name="connsiteY144" fmla="*/ 284991 h 970278"/>
                  <a:gd name="connsiteX145" fmla="*/ 775395 w 1037972"/>
                  <a:gd name="connsiteY145" fmla="*/ 259493 h 970278"/>
                  <a:gd name="connsiteX146" fmla="*/ 807888 w 1037972"/>
                  <a:gd name="connsiteY146" fmla="*/ 241667 h 970278"/>
                  <a:gd name="connsiteX147" fmla="*/ 851212 w 1037972"/>
                  <a:gd name="connsiteY147" fmla="*/ 212559 h 970278"/>
                  <a:gd name="connsiteX148" fmla="*/ 869941 w 1037972"/>
                  <a:gd name="connsiteY148" fmla="*/ 186158 h 970278"/>
                  <a:gd name="connsiteX149" fmla="*/ 899049 w 1037972"/>
                  <a:gd name="connsiteY149" fmla="*/ 157050 h 970278"/>
                  <a:gd name="connsiteX150" fmla="*/ 959297 w 1037972"/>
                  <a:gd name="connsiteY150" fmla="*/ 123203 h 970278"/>
                  <a:gd name="connsiteX151" fmla="*/ 978025 w 1037972"/>
                  <a:gd name="connsiteY151" fmla="*/ 96802 h 970278"/>
                  <a:gd name="connsiteX152" fmla="*/ 1012775 w 1037972"/>
                  <a:gd name="connsiteY152" fmla="*/ 53478 h 970278"/>
                  <a:gd name="connsiteX153" fmla="*/ 1048427 w 1037972"/>
                  <a:gd name="connsiteY153" fmla="*/ 6093 h 970278"/>
                  <a:gd name="connsiteX154" fmla="*/ 1049555 w 1037972"/>
                  <a:gd name="connsiteY154" fmla="*/ 0 h 970278"/>
                  <a:gd name="connsiteX155" fmla="*/ 997657 w 1037972"/>
                  <a:gd name="connsiteY155" fmla="*/ 43098 h 970278"/>
                  <a:gd name="connsiteX156" fmla="*/ 192325 w 1037972"/>
                  <a:gd name="connsiteY156" fmla="*/ 884533 h 970278"/>
                  <a:gd name="connsiteX157" fmla="*/ 192777 w 1037972"/>
                  <a:gd name="connsiteY157" fmla="*/ 883179 h 970278"/>
                  <a:gd name="connsiteX158" fmla="*/ 192777 w 1037972"/>
                  <a:gd name="connsiteY158" fmla="*/ 883179 h 970278"/>
                  <a:gd name="connsiteX159" fmla="*/ 192325 w 1037972"/>
                  <a:gd name="connsiteY159" fmla="*/ 884533 h 970278"/>
                  <a:gd name="connsiteX160" fmla="*/ 120344 w 1037972"/>
                  <a:gd name="connsiteY160" fmla="*/ 972309 h 970278"/>
                  <a:gd name="connsiteX161" fmla="*/ 119893 w 1037972"/>
                  <a:gd name="connsiteY161" fmla="*/ 977048 h 970278"/>
                  <a:gd name="connsiteX162" fmla="*/ 120344 w 1037972"/>
                  <a:gd name="connsiteY162" fmla="*/ 972309 h 970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1037972" h="970278">
                    <a:moveTo>
                      <a:pt x="997657" y="43098"/>
                    </a:moveTo>
                    <a:cubicBezTo>
                      <a:pt x="988180" y="57766"/>
                      <a:pt x="1004200" y="51673"/>
                      <a:pt x="994272" y="54381"/>
                    </a:cubicBezTo>
                    <a:cubicBezTo>
                      <a:pt x="984343" y="57088"/>
                      <a:pt x="981184" y="52124"/>
                      <a:pt x="958620" y="56637"/>
                    </a:cubicBezTo>
                    <a:cubicBezTo>
                      <a:pt x="936055" y="61376"/>
                      <a:pt x="937409" y="50093"/>
                      <a:pt x="934701" y="43550"/>
                    </a:cubicBezTo>
                    <a:cubicBezTo>
                      <a:pt x="931768" y="37006"/>
                      <a:pt x="921614" y="37006"/>
                      <a:pt x="914845" y="28431"/>
                    </a:cubicBezTo>
                    <a:cubicBezTo>
                      <a:pt x="908301" y="19857"/>
                      <a:pt x="901757" y="8575"/>
                      <a:pt x="896567" y="14216"/>
                    </a:cubicBezTo>
                    <a:cubicBezTo>
                      <a:pt x="891377" y="19857"/>
                      <a:pt x="884382" y="23242"/>
                      <a:pt x="872649" y="23693"/>
                    </a:cubicBezTo>
                    <a:cubicBezTo>
                      <a:pt x="860915" y="24144"/>
                      <a:pt x="879192" y="33170"/>
                      <a:pt x="874454" y="41519"/>
                    </a:cubicBezTo>
                    <a:cubicBezTo>
                      <a:pt x="869715" y="49868"/>
                      <a:pt x="868361" y="54155"/>
                      <a:pt x="863172" y="58894"/>
                    </a:cubicBezTo>
                    <a:cubicBezTo>
                      <a:pt x="857982" y="63632"/>
                      <a:pt x="854597" y="51447"/>
                      <a:pt x="848505" y="53704"/>
                    </a:cubicBezTo>
                    <a:cubicBezTo>
                      <a:pt x="842412" y="55960"/>
                      <a:pt x="833386" y="67920"/>
                      <a:pt x="831130" y="73561"/>
                    </a:cubicBezTo>
                    <a:cubicBezTo>
                      <a:pt x="828873" y="79202"/>
                      <a:pt x="825940" y="95674"/>
                      <a:pt x="824586" y="101315"/>
                    </a:cubicBezTo>
                    <a:cubicBezTo>
                      <a:pt x="823232" y="106956"/>
                      <a:pt x="819396" y="114854"/>
                      <a:pt x="806309" y="105602"/>
                    </a:cubicBezTo>
                    <a:cubicBezTo>
                      <a:pt x="793221" y="96125"/>
                      <a:pt x="797734" y="115982"/>
                      <a:pt x="788934" y="115982"/>
                    </a:cubicBezTo>
                    <a:cubicBezTo>
                      <a:pt x="779908" y="115982"/>
                      <a:pt x="770205" y="124557"/>
                      <a:pt x="764113" y="119367"/>
                    </a:cubicBezTo>
                    <a:cubicBezTo>
                      <a:pt x="758020" y="114177"/>
                      <a:pt x="767046" y="102895"/>
                      <a:pt x="757118" y="95448"/>
                    </a:cubicBezTo>
                    <a:cubicBezTo>
                      <a:pt x="747189" y="88002"/>
                      <a:pt x="735456" y="98833"/>
                      <a:pt x="731620" y="104023"/>
                    </a:cubicBezTo>
                    <a:cubicBezTo>
                      <a:pt x="727784" y="109213"/>
                      <a:pt x="735456" y="134485"/>
                      <a:pt x="735456" y="143962"/>
                    </a:cubicBezTo>
                    <a:cubicBezTo>
                      <a:pt x="735456" y="153439"/>
                      <a:pt x="722368" y="158629"/>
                      <a:pt x="711989" y="153439"/>
                    </a:cubicBezTo>
                    <a:cubicBezTo>
                      <a:pt x="701609" y="148249"/>
                      <a:pt x="702060" y="166076"/>
                      <a:pt x="687167" y="166527"/>
                    </a:cubicBezTo>
                    <a:cubicBezTo>
                      <a:pt x="672049" y="166978"/>
                      <a:pt x="671598" y="166527"/>
                      <a:pt x="663700" y="172619"/>
                    </a:cubicBezTo>
                    <a:cubicBezTo>
                      <a:pt x="655803" y="178712"/>
                      <a:pt x="642038" y="184804"/>
                      <a:pt x="624212" y="186835"/>
                    </a:cubicBezTo>
                    <a:cubicBezTo>
                      <a:pt x="606386" y="188640"/>
                      <a:pt x="605935" y="190220"/>
                      <a:pt x="591719" y="188189"/>
                    </a:cubicBezTo>
                    <a:cubicBezTo>
                      <a:pt x="577503" y="186384"/>
                      <a:pt x="575698" y="192025"/>
                      <a:pt x="573893" y="195184"/>
                    </a:cubicBezTo>
                    <a:cubicBezTo>
                      <a:pt x="573216" y="196538"/>
                      <a:pt x="569380" y="197215"/>
                      <a:pt x="564190" y="197440"/>
                    </a:cubicBezTo>
                    <a:cubicBezTo>
                      <a:pt x="562836" y="201276"/>
                      <a:pt x="560354" y="204661"/>
                      <a:pt x="557872" y="205564"/>
                    </a:cubicBezTo>
                    <a:cubicBezTo>
                      <a:pt x="553585" y="206917"/>
                      <a:pt x="541400" y="203307"/>
                      <a:pt x="541851" y="216395"/>
                    </a:cubicBezTo>
                    <a:cubicBezTo>
                      <a:pt x="542303" y="229482"/>
                      <a:pt x="551329" y="221584"/>
                      <a:pt x="553585" y="231964"/>
                    </a:cubicBezTo>
                    <a:cubicBezTo>
                      <a:pt x="555841" y="242344"/>
                      <a:pt x="561031" y="235800"/>
                      <a:pt x="571862" y="245052"/>
                    </a:cubicBezTo>
                    <a:cubicBezTo>
                      <a:pt x="582693" y="254529"/>
                      <a:pt x="586078" y="245503"/>
                      <a:pt x="593073" y="258139"/>
                    </a:cubicBezTo>
                    <a:cubicBezTo>
                      <a:pt x="600068" y="270775"/>
                      <a:pt x="596909" y="268519"/>
                      <a:pt x="589237" y="275063"/>
                    </a:cubicBezTo>
                    <a:cubicBezTo>
                      <a:pt x="581791" y="281606"/>
                      <a:pt x="586304" y="280252"/>
                      <a:pt x="570960" y="285894"/>
                    </a:cubicBezTo>
                    <a:cubicBezTo>
                      <a:pt x="555616" y="291535"/>
                      <a:pt x="546139" y="288827"/>
                      <a:pt x="541851" y="296273"/>
                    </a:cubicBezTo>
                    <a:cubicBezTo>
                      <a:pt x="537564" y="303720"/>
                      <a:pt x="537564" y="306202"/>
                      <a:pt x="523574" y="306202"/>
                    </a:cubicBezTo>
                    <a:cubicBezTo>
                      <a:pt x="509584" y="306202"/>
                      <a:pt x="514548" y="306202"/>
                      <a:pt x="508456" y="302817"/>
                    </a:cubicBezTo>
                    <a:cubicBezTo>
                      <a:pt x="502363" y="299432"/>
                      <a:pt x="489276" y="301463"/>
                      <a:pt x="489276" y="304622"/>
                    </a:cubicBezTo>
                    <a:cubicBezTo>
                      <a:pt x="489276" y="308007"/>
                      <a:pt x="496271" y="311617"/>
                      <a:pt x="488373" y="311617"/>
                    </a:cubicBezTo>
                    <a:cubicBezTo>
                      <a:pt x="480476" y="311617"/>
                      <a:pt x="477542" y="312069"/>
                      <a:pt x="477542" y="319064"/>
                    </a:cubicBezTo>
                    <a:cubicBezTo>
                      <a:pt x="477542" y="326059"/>
                      <a:pt x="494014" y="323351"/>
                      <a:pt x="501461" y="334633"/>
                    </a:cubicBezTo>
                    <a:cubicBezTo>
                      <a:pt x="508907" y="345916"/>
                      <a:pt x="499204" y="352459"/>
                      <a:pt x="490630" y="348172"/>
                    </a:cubicBezTo>
                    <a:cubicBezTo>
                      <a:pt x="482055" y="343885"/>
                      <a:pt x="471450" y="341177"/>
                      <a:pt x="467162" y="335084"/>
                    </a:cubicBezTo>
                    <a:cubicBezTo>
                      <a:pt x="462875" y="328992"/>
                      <a:pt x="457234" y="310263"/>
                      <a:pt x="446403" y="315905"/>
                    </a:cubicBezTo>
                    <a:cubicBezTo>
                      <a:pt x="435572" y="321546"/>
                      <a:pt x="429480" y="325382"/>
                      <a:pt x="432864" y="335084"/>
                    </a:cubicBezTo>
                    <a:cubicBezTo>
                      <a:pt x="436249" y="345013"/>
                      <a:pt x="431510" y="358552"/>
                      <a:pt x="426772" y="360583"/>
                    </a:cubicBezTo>
                    <a:cubicBezTo>
                      <a:pt x="422033" y="362388"/>
                      <a:pt x="417295" y="355844"/>
                      <a:pt x="398115" y="357649"/>
                    </a:cubicBezTo>
                    <a:cubicBezTo>
                      <a:pt x="378935" y="359454"/>
                      <a:pt x="372617" y="367578"/>
                      <a:pt x="356822" y="371188"/>
                    </a:cubicBezTo>
                    <a:cubicBezTo>
                      <a:pt x="340801" y="375024"/>
                      <a:pt x="335160" y="373444"/>
                      <a:pt x="332000" y="386757"/>
                    </a:cubicBezTo>
                    <a:cubicBezTo>
                      <a:pt x="328616" y="399845"/>
                      <a:pt x="325457" y="412707"/>
                      <a:pt x="325005" y="415866"/>
                    </a:cubicBezTo>
                    <a:cubicBezTo>
                      <a:pt x="324554" y="419251"/>
                      <a:pt x="317559" y="420153"/>
                      <a:pt x="307631" y="420604"/>
                    </a:cubicBezTo>
                    <a:cubicBezTo>
                      <a:pt x="297702" y="421056"/>
                      <a:pt x="284163" y="429179"/>
                      <a:pt x="281230" y="432338"/>
                    </a:cubicBezTo>
                    <a:cubicBezTo>
                      <a:pt x="278297" y="435723"/>
                      <a:pt x="269045" y="444523"/>
                      <a:pt x="259568" y="444974"/>
                    </a:cubicBezTo>
                    <a:cubicBezTo>
                      <a:pt x="250091" y="445426"/>
                      <a:pt x="242645" y="438431"/>
                      <a:pt x="220983" y="441590"/>
                    </a:cubicBezTo>
                    <a:cubicBezTo>
                      <a:pt x="199321" y="444974"/>
                      <a:pt x="198869" y="456708"/>
                      <a:pt x="191423" y="463251"/>
                    </a:cubicBezTo>
                    <a:cubicBezTo>
                      <a:pt x="183977" y="469795"/>
                      <a:pt x="182848" y="473631"/>
                      <a:pt x="167956" y="469344"/>
                    </a:cubicBezTo>
                    <a:cubicBezTo>
                      <a:pt x="152837" y="465057"/>
                      <a:pt x="147196" y="467539"/>
                      <a:pt x="137493" y="467990"/>
                    </a:cubicBezTo>
                    <a:cubicBezTo>
                      <a:pt x="127791" y="468441"/>
                      <a:pt x="111996" y="460092"/>
                      <a:pt x="110190" y="457610"/>
                    </a:cubicBezTo>
                    <a:cubicBezTo>
                      <a:pt x="108836" y="456031"/>
                      <a:pt x="106580" y="452646"/>
                      <a:pt x="100713" y="442041"/>
                    </a:cubicBezTo>
                    <a:cubicBezTo>
                      <a:pt x="95298" y="442718"/>
                      <a:pt x="81759" y="441364"/>
                      <a:pt x="75892" y="440687"/>
                    </a:cubicBezTo>
                    <a:cubicBezTo>
                      <a:pt x="68897" y="440010"/>
                      <a:pt x="57615" y="438882"/>
                      <a:pt x="52651" y="441364"/>
                    </a:cubicBezTo>
                    <a:cubicBezTo>
                      <a:pt x="47686" y="443846"/>
                      <a:pt x="42722" y="458287"/>
                      <a:pt x="42722" y="467764"/>
                    </a:cubicBezTo>
                    <a:cubicBezTo>
                      <a:pt x="42722" y="477242"/>
                      <a:pt x="48363" y="487170"/>
                      <a:pt x="44527" y="487847"/>
                    </a:cubicBezTo>
                    <a:cubicBezTo>
                      <a:pt x="40691" y="488524"/>
                      <a:pt x="36404" y="497324"/>
                      <a:pt x="33922" y="502965"/>
                    </a:cubicBezTo>
                    <a:cubicBezTo>
                      <a:pt x="31440" y="508607"/>
                      <a:pt x="36404" y="516730"/>
                      <a:pt x="45204" y="528689"/>
                    </a:cubicBezTo>
                    <a:cubicBezTo>
                      <a:pt x="54004" y="540648"/>
                      <a:pt x="54004" y="550577"/>
                      <a:pt x="52651" y="558249"/>
                    </a:cubicBezTo>
                    <a:cubicBezTo>
                      <a:pt x="51297" y="565695"/>
                      <a:pt x="37532" y="573367"/>
                      <a:pt x="34373" y="569531"/>
                    </a:cubicBezTo>
                    <a:cubicBezTo>
                      <a:pt x="31214" y="565695"/>
                      <a:pt x="27378" y="571336"/>
                      <a:pt x="23091" y="568854"/>
                    </a:cubicBezTo>
                    <a:cubicBezTo>
                      <a:pt x="18804" y="566372"/>
                      <a:pt x="5490" y="564567"/>
                      <a:pt x="4362" y="568854"/>
                    </a:cubicBezTo>
                    <a:cubicBezTo>
                      <a:pt x="3008" y="573141"/>
                      <a:pt x="9326" y="578331"/>
                      <a:pt x="10003" y="581942"/>
                    </a:cubicBezTo>
                    <a:cubicBezTo>
                      <a:pt x="10680" y="585777"/>
                      <a:pt x="16321" y="598188"/>
                      <a:pt x="7521" y="600670"/>
                    </a:cubicBezTo>
                    <a:cubicBezTo>
                      <a:pt x="-1279" y="603152"/>
                      <a:pt x="75" y="616916"/>
                      <a:pt x="75" y="623912"/>
                    </a:cubicBezTo>
                    <a:cubicBezTo>
                      <a:pt x="75" y="630907"/>
                      <a:pt x="7070" y="641512"/>
                      <a:pt x="12034" y="643317"/>
                    </a:cubicBezTo>
                    <a:cubicBezTo>
                      <a:pt x="16998" y="645122"/>
                      <a:pt x="20834" y="650312"/>
                      <a:pt x="20834" y="650312"/>
                    </a:cubicBezTo>
                    <a:cubicBezTo>
                      <a:pt x="20834" y="650312"/>
                      <a:pt x="16547" y="654148"/>
                      <a:pt x="16547" y="659112"/>
                    </a:cubicBezTo>
                    <a:cubicBezTo>
                      <a:pt x="16547" y="664077"/>
                      <a:pt x="24670" y="673554"/>
                      <a:pt x="33471" y="673554"/>
                    </a:cubicBezTo>
                    <a:cubicBezTo>
                      <a:pt x="42271" y="673554"/>
                      <a:pt x="45430" y="671072"/>
                      <a:pt x="49040" y="667236"/>
                    </a:cubicBezTo>
                    <a:cubicBezTo>
                      <a:pt x="52876" y="663400"/>
                      <a:pt x="64158" y="670395"/>
                      <a:pt x="67769" y="672877"/>
                    </a:cubicBezTo>
                    <a:cubicBezTo>
                      <a:pt x="71605" y="675359"/>
                      <a:pt x="77246" y="674682"/>
                      <a:pt x="86497" y="674682"/>
                    </a:cubicBezTo>
                    <a:cubicBezTo>
                      <a:pt x="95749" y="674682"/>
                      <a:pt x="90333" y="689123"/>
                      <a:pt x="82210" y="691606"/>
                    </a:cubicBezTo>
                    <a:cubicBezTo>
                      <a:pt x="74087" y="694087"/>
                      <a:pt x="83338" y="709206"/>
                      <a:pt x="75892" y="707852"/>
                    </a:cubicBezTo>
                    <a:cubicBezTo>
                      <a:pt x="68446" y="706498"/>
                      <a:pt x="65964" y="707852"/>
                      <a:pt x="54230" y="706949"/>
                    </a:cubicBezTo>
                    <a:cubicBezTo>
                      <a:pt x="42496" y="706047"/>
                      <a:pt x="42948" y="703113"/>
                      <a:pt x="39112" y="699954"/>
                    </a:cubicBezTo>
                    <a:cubicBezTo>
                      <a:pt x="35276" y="696569"/>
                      <a:pt x="27829" y="684836"/>
                      <a:pt x="23542" y="685739"/>
                    </a:cubicBezTo>
                    <a:cubicBezTo>
                      <a:pt x="19255" y="686641"/>
                      <a:pt x="19706" y="698375"/>
                      <a:pt x="23542" y="706498"/>
                    </a:cubicBezTo>
                    <a:cubicBezTo>
                      <a:pt x="27378" y="714396"/>
                      <a:pt x="30086" y="720714"/>
                      <a:pt x="27829" y="726355"/>
                    </a:cubicBezTo>
                    <a:cubicBezTo>
                      <a:pt x="25573" y="731996"/>
                      <a:pt x="20834" y="743730"/>
                      <a:pt x="28732" y="744632"/>
                    </a:cubicBezTo>
                    <a:cubicBezTo>
                      <a:pt x="36630" y="745535"/>
                      <a:pt x="45881" y="745760"/>
                      <a:pt x="50620" y="743955"/>
                    </a:cubicBezTo>
                    <a:cubicBezTo>
                      <a:pt x="55358" y="742150"/>
                      <a:pt x="49717" y="736509"/>
                      <a:pt x="54004" y="732447"/>
                    </a:cubicBezTo>
                    <a:cubicBezTo>
                      <a:pt x="58292" y="728386"/>
                      <a:pt x="73410" y="731094"/>
                      <a:pt x="76569" y="731094"/>
                    </a:cubicBezTo>
                    <a:cubicBezTo>
                      <a:pt x="79728" y="731094"/>
                      <a:pt x="87626" y="742601"/>
                      <a:pt x="92139" y="746437"/>
                    </a:cubicBezTo>
                    <a:cubicBezTo>
                      <a:pt x="96877" y="750273"/>
                      <a:pt x="102067" y="751853"/>
                      <a:pt x="107483" y="750273"/>
                    </a:cubicBezTo>
                    <a:cubicBezTo>
                      <a:pt x="112898" y="748694"/>
                      <a:pt x="122601" y="743955"/>
                      <a:pt x="126662" y="737412"/>
                    </a:cubicBezTo>
                    <a:cubicBezTo>
                      <a:pt x="130724" y="730868"/>
                      <a:pt x="136140" y="731771"/>
                      <a:pt x="142909" y="725903"/>
                    </a:cubicBezTo>
                    <a:cubicBezTo>
                      <a:pt x="149904" y="720037"/>
                      <a:pt x="148550" y="728160"/>
                      <a:pt x="157350" y="731319"/>
                    </a:cubicBezTo>
                    <a:cubicBezTo>
                      <a:pt x="166151" y="734478"/>
                      <a:pt x="177659" y="735155"/>
                      <a:pt x="179238" y="738314"/>
                    </a:cubicBezTo>
                    <a:cubicBezTo>
                      <a:pt x="180592" y="741699"/>
                      <a:pt x="175402" y="753432"/>
                      <a:pt x="176305" y="757494"/>
                    </a:cubicBezTo>
                    <a:cubicBezTo>
                      <a:pt x="177207" y="761781"/>
                      <a:pt x="186684" y="767422"/>
                      <a:pt x="192325" y="769679"/>
                    </a:cubicBezTo>
                    <a:cubicBezTo>
                      <a:pt x="197967" y="771935"/>
                      <a:pt x="203156" y="771484"/>
                      <a:pt x="208798" y="775320"/>
                    </a:cubicBezTo>
                    <a:cubicBezTo>
                      <a:pt x="214439" y="779156"/>
                      <a:pt x="213987" y="790890"/>
                      <a:pt x="213987" y="794049"/>
                    </a:cubicBezTo>
                    <a:cubicBezTo>
                      <a:pt x="213987" y="797208"/>
                      <a:pt x="219629" y="811875"/>
                      <a:pt x="227526" y="813229"/>
                    </a:cubicBezTo>
                    <a:cubicBezTo>
                      <a:pt x="235424" y="814583"/>
                      <a:pt x="238357" y="821126"/>
                      <a:pt x="237003" y="826767"/>
                    </a:cubicBezTo>
                    <a:cubicBezTo>
                      <a:pt x="235650" y="832408"/>
                      <a:pt x="230460" y="841435"/>
                      <a:pt x="225947" y="848430"/>
                    </a:cubicBezTo>
                    <a:cubicBezTo>
                      <a:pt x="221659" y="855424"/>
                      <a:pt x="218049" y="857455"/>
                      <a:pt x="206090" y="863096"/>
                    </a:cubicBezTo>
                    <a:cubicBezTo>
                      <a:pt x="197290" y="867384"/>
                      <a:pt x="194356" y="877989"/>
                      <a:pt x="193002" y="883179"/>
                    </a:cubicBezTo>
                    <a:cubicBezTo>
                      <a:pt x="195936" y="889723"/>
                      <a:pt x="200674" y="894236"/>
                      <a:pt x="202480" y="895815"/>
                    </a:cubicBezTo>
                    <a:cubicBezTo>
                      <a:pt x="205413" y="898072"/>
                      <a:pt x="212859" y="902810"/>
                      <a:pt x="218500" y="902810"/>
                    </a:cubicBezTo>
                    <a:cubicBezTo>
                      <a:pt x="224142" y="902810"/>
                      <a:pt x="225495" y="893784"/>
                      <a:pt x="232716" y="885887"/>
                    </a:cubicBezTo>
                    <a:cubicBezTo>
                      <a:pt x="239711" y="877989"/>
                      <a:pt x="237003" y="869414"/>
                      <a:pt x="242193" y="865127"/>
                    </a:cubicBezTo>
                    <a:cubicBezTo>
                      <a:pt x="247383" y="860840"/>
                      <a:pt x="245127" y="849106"/>
                      <a:pt x="250768" y="846850"/>
                    </a:cubicBezTo>
                    <a:cubicBezTo>
                      <a:pt x="256409" y="844594"/>
                      <a:pt x="274235" y="834214"/>
                      <a:pt x="278974" y="838276"/>
                    </a:cubicBezTo>
                    <a:cubicBezTo>
                      <a:pt x="283712" y="842562"/>
                      <a:pt x="285969" y="844368"/>
                      <a:pt x="293189" y="841209"/>
                    </a:cubicBezTo>
                    <a:cubicBezTo>
                      <a:pt x="300184" y="837824"/>
                      <a:pt x="301764" y="847753"/>
                      <a:pt x="313046" y="845947"/>
                    </a:cubicBezTo>
                    <a:cubicBezTo>
                      <a:pt x="324329" y="844142"/>
                      <a:pt x="323877" y="833762"/>
                      <a:pt x="333806" y="833762"/>
                    </a:cubicBezTo>
                    <a:cubicBezTo>
                      <a:pt x="343734" y="833762"/>
                      <a:pt x="350729" y="829475"/>
                      <a:pt x="354114" y="825188"/>
                    </a:cubicBezTo>
                    <a:cubicBezTo>
                      <a:pt x="357498" y="820901"/>
                      <a:pt x="354114" y="818193"/>
                      <a:pt x="355016" y="812552"/>
                    </a:cubicBezTo>
                    <a:cubicBezTo>
                      <a:pt x="355919" y="806910"/>
                      <a:pt x="368104" y="803074"/>
                      <a:pt x="371940" y="809167"/>
                    </a:cubicBezTo>
                    <a:cubicBezTo>
                      <a:pt x="375776" y="815260"/>
                      <a:pt x="381868" y="813003"/>
                      <a:pt x="387509" y="813454"/>
                    </a:cubicBezTo>
                    <a:cubicBezTo>
                      <a:pt x="393151" y="813906"/>
                      <a:pt x="403079" y="809618"/>
                      <a:pt x="414361" y="807813"/>
                    </a:cubicBezTo>
                    <a:cubicBezTo>
                      <a:pt x="425644" y="806008"/>
                      <a:pt x="431736" y="793146"/>
                      <a:pt x="436926" y="788633"/>
                    </a:cubicBezTo>
                    <a:cubicBezTo>
                      <a:pt x="442116" y="783895"/>
                      <a:pt x="435572" y="781638"/>
                      <a:pt x="443921" y="781187"/>
                    </a:cubicBezTo>
                    <a:cubicBezTo>
                      <a:pt x="450690" y="780736"/>
                      <a:pt x="456332" y="794049"/>
                      <a:pt x="470547" y="794500"/>
                    </a:cubicBezTo>
                    <a:cubicBezTo>
                      <a:pt x="464229" y="781413"/>
                      <a:pt x="464455" y="763135"/>
                      <a:pt x="465132" y="753658"/>
                    </a:cubicBezTo>
                    <a:cubicBezTo>
                      <a:pt x="465809" y="743730"/>
                      <a:pt x="461296" y="722293"/>
                      <a:pt x="455203" y="715975"/>
                    </a:cubicBezTo>
                    <a:cubicBezTo>
                      <a:pt x="448885" y="709657"/>
                      <a:pt x="452721" y="697247"/>
                      <a:pt x="449562" y="678969"/>
                    </a:cubicBezTo>
                    <a:cubicBezTo>
                      <a:pt x="446403" y="660692"/>
                      <a:pt x="458362" y="649409"/>
                      <a:pt x="456557" y="636999"/>
                    </a:cubicBezTo>
                    <a:cubicBezTo>
                      <a:pt x="454752" y="624363"/>
                      <a:pt x="446629" y="612629"/>
                      <a:pt x="441439" y="593224"/>
                    </a:cubicBezTo>
                    <a:cubicBezTo>
                      <a:pt x="436475" y="573818"/>
                      <a:pt x="440085" y="551254"/>
                      <a:pt x="440085" y="541776"/>
                    </a:cubicBezTo>
                    <a:cubicBezTo>
                      <a:pt x="440085" y="532299"/>
                      <a:pt x="445726" y="532299"/>
                      <a:pt x="460168" y="518535"/>
                    </a:cubicBezTo>
                    <a:cubicBezTo>
                      <a:pt x="474609" y="504770"/>
                      <a:pt x="467614" y="497775"/>
                      <a:pt x="473932" y="485365"/>
                    </a:cubicBezTo>
                    <a:cubicBezTo>
                      <a:pt x="480250" y="472729"/>
                      <a:pt x="510938" y="457159"/>
                      <a:pt x="524025" y="457159"/>
                    </a:cubicBezTo>
                    <a:cubicBezTo>
                      <a:pt x="537113" y="457159"/>
                      <a:pt x="537790" y="469118"/>
                      <a:pt x="540949" y="469795"/>
                    </a:cubicBezTo>
                    <a:cubicBezTo>
                      <a:pt x="544108" y="470472"/>
                      <a:pt x="559226" y="474760"/>
                      <a:pt x="564190" y="467990"/>
                    </a:cubicBezTo>
                    <a:cubicBezTo>
                      <a:pt x="569155" y="460995"/>
                      <a:pt x="571185" y="458062"/>
                      <a:pt x="571185" y="449261"/>
                    </a:cubicBezTo>
                    <a:cubicBezTo>
                      <a:pt x="571185" y="440461"/>
                      <a:pt x="575021" y="441815"/>
                      <a:pt x="591268" y="422861"/>
                    </a:cubicBezTo>
                    <a:cubicBezTo>
                      <a:pt x="607514" y="404132"/>
                      <a:pt x="598714" y="409773"/>
                      <a:pt x="604355" y="399619"/>
                    </a:cubicBezTo>
                    <a:cubicBezTo>
                      <a:pt x="609997" y="389691"/>
                      <a:pt x="618120" y="390819"/>
                      <a:pt x="628274" y="389014"/>
                    </a:cubicBezTo>
                    <a:cubicBezTo>
                      <a:pt x="638202" y="387209"/>
                      <a:pt x="664603" y="390819"/>
                      <a:pt x="674757" y="382019"/>
                    </a:cubicBezTo>
                    <a:cubicBezTo>
                      <a:pt x="684685" y="373219"/>
                      <a:pt x="708604" y="373896"/>
                      <a:pt x="719886" y="363742"/>
                    </a:cubicBezTo>
                    <a:cubicBezTo>
                      <a:pt x="731168" y="353813"/>
                      <a:pt x="742225" y="336890"/>
                      <a:pt x="739066" y="338695"/>
                    </a:cubicBezTo>
                    <a:cubicBezTo>
                      <a:pt x="735681" y="340500"/>
                      <a:pt x="733876" y="343433"/>
                      <a:pt x="725979" y="345239"/>
                    </a:cubicBezTo>
                    <a:cubicBezTo>
                      <a:pt x="718081" y="347044"/>
                      <a:pt x="716502" y="340951"/>
                      <a:pt x="717404" y="337341"/>
                    </a:cubicBezTo>
                    <a:cubicBezTo>
                      <a:pt x="718307" y="333505"/>
                      <a:pt x="728235" y="336438"/>
                      <a:pt x="731620" y="336890"/>
                    </a:cubicBezTo>
                    <a:cubicBezTo>
                      <a:pt x="735005" y="337341"/>
                      <a:pt x="739517" y="334633"/>
                      <a:pt x="743353" y="327864"/>
                    </a:cubicBezTo>
                    <a:cubicBezTo>
                      <a:pt x="747189" y="321320"/>
                      <a:pt x="747189" y="301463"/>
                      <a:pt x="742902" y="310940"/>
                    </a:cubicBezTo>
                    <a:cubicBezTo>
                      <a:pt x="738615" y="320418"/>
                      <a:pt x="732071" y="318387"/>
                      <a:pt x="731168" y="310940"/>
                    </a:cubicBezTo>
                    <a:cubicBezTo>
                      <a:pt x="730266" y="303494"/>
                      <a:pt x="734102" y="293566"/>
                      <a:pt x="740194" y="284991"/>
                    </a:cubicBezTo>
                    <a:cubicBezTo>
                      <a:pt x="746287" y="276416"/>
                      <a:pt x="771785" y="263329"/>
                      <a:pt x="775395" y="259493"/>
                    </a:cubicBezTo>
                    <a:cubicBezTo>
                      <a:pt x="779231" y="255657"/>
                      <a:pt x="801344" y="250016"/>
                      <a:pt x="807888" y="241667"/>
                    </a:cubicBezTo>
                    <a:cubicBezTo>
                      <a:pt x="814432" y="233092"/>
                      <a:pt x="841735" y="218200"/>
                      <a:pt x="851212" y="212559"/>
                    </a:cubicBezTo>
                    <a:cubicBezTo>
                      <a:pt x="860689" y="206917"/>
                      <a:pt x="863397" y="197440"/>
                      <a:pt x="869941" y="186158"/>
                    </a:cubicBezTo>
                    <a:cubicBezTo>
                      <a:pt x="876485" y="174876"/>
                      <a:pt x="887767" y="169235"/>
                      <a:pt x="899049" y="157050"/>
                    </a:cubicBezTo>
                    <a:cubicBezTo>
                      <a:pt x="910332" y="144865"/>
                      <a:pt x="943276" y="128844"/>
                      <a:pt x="959297" y="123203"/>
                    </a:cubicBezTo>
                    <a:cubicBezTo>
                      <a:pt x="975318" y="117562"/>
                      <a:pt x="972384" y="111018"/>
                      <a:pt x="978025" y="96802"/>
                    </a:cubicBezTo>
                    <a:cubicBezTo>
                      <a:pt x="983667" y="82587"/>
                      <a:pt x="1004426" y="66791"/>
                      <a:pt x="1012775" y="53478"/>
                    </a:cubicBezTo>
                    <a:cubicBezTo>
                      <a:pt x="1021349" y="40391"/>
                      <a:pt x="1047976" y="15344"/>
                      <a:pt x="1048427" y="6093"/>
                    </a:cubicBezTo>
                    <a:cubicBezTo>
                      <a:pt x="1048653" y="3159"/>
                      <a:pt x="1048878" y="1354"/>
                      <a:pt x="1049555" y="0"/>
                    </a:cubicBezTo>
                    <a:cubicBezTo>
                      <a:pt x="1015031" y="1128"/>
                      <a:pt x="1006005" y="30237"/>
                      <a:pt x="997657" y="43098"/>
                    </a:cubicBezTo>
                    <a:close/>
                    <a:moveTo>
                      <a:pt x="192325" y="884533"/>
                    </a:moveTo>
                    <a:cubicBezTo>
                      <a:pt x="192325" y="884082"/>
                      <a:pt x="192551" y="883630"/>
                      <a:pt x="192777" y="883179"/>
                    </a:cubicBezTo>
                    <a:lnTo>
                      <a:pt x="192777" y="883179"/>
                    </a:lnTo>
                    <a:cubicBezTo>
                      <a:pt x="192551" y="883856"/>
                      <a:pt x="192551" y="884307"/>
                      <a:pt x="192325" y="884533"/>
                    </a:cubicBezTo>
                    <a:close/>
                    <a:moveTo>
                      <a:pt x="120344" y="972309"/>
                    </a:moveTo>
                    <a:cubicBezTo>
                      <a:pt x="120344" y="973663"/>
                      <a:pt x="120119" y="975243"/>
                      <a:pt x="119893" y="977048"/>
                    </a:cubicBezTo>
                    <a:cubicBezTo>
                      <a:pt x="120119" y="975468"/>
                      <a:pt x="120344" y="973889"/>
                      <a:pt x="120344" y="972309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xmlns="" id="{EE56D6F4-128B-4B4E-8F73-270D261E65EB}"/>
                  </a:ext>
                </a:extLst>
              </p:cNvPr>
              <p:cNvSpPr/>
              <p:nvPr/>
            </p:nvSpPr>
            <p:spPr>
              <a:xfrm>
                <a:off x="8721727" y="4049716"/>
                <a:ext cx="67694" cy="112823"/>
              </a:xfrm>
              <a:custGeom>
                <a:avLst/>
                <a:gdLst>
                  <a:gd name="connsiteX0" fmla="*/ 70627 w 67693"/>
                  <a:gd name="connsiteY0" fmla="*/ 43911 h 112823"/>
                  <a:gd name="connsiteX1" fmla="*/ 71079 w 67693"/>
                  <a:gd name="connsiteY1" fmla="*/ 24731 h 112823"/>
                  <a:gd name="connsiteX2" fmla="*/ 51899 w 67693"/>
                  <a:gd name="connsiteY2" fmla="*/ 20895 h 112823"/>
                  <a:gd name="connsiteX3" fmla="*/ 44904 w 67693"/>
                  <a:gd name="connsiteY3" fmla="*/ 20218 h 112823"/>
                  <a:gd name="connsiteX4" fmla="*/ 44904 w 67693"/>
                  <a:gd name="connsiteY4" fmla="*/ 20218 h 112823"/>
                  <a:gd name="connsiteX5" fmla="*/ 32267 w 67693"/>
                  <a:gd name="connsiteY5" fmla="*/ 17961 h 112823"/>
                  <a:gd name="connsiteX6" fmla="*/ 21888 w 67693"/>
                  <a:gd name="connsiteY6" fmla="*/ 4874 h 112823"/>
                  <a:gd name="connsiteX7" fmla="*/ 9703 w 67693"/>
                  <a:gd name="connsiteY7" fmla="*/ 136 h 112823"/>
                  <a:gd name="connsiteX8" fmla="*/ 1128 w 67693"/>
                  <a:gd name="connsiteY8" fmla="*/ 3295 h 112823"/>
                  <a:gd name="connsiteX9" fmla="*/ 0 w 67693"/>
                  <a:gd name="connsiteY9" fmla="*/ 812 h 112823"/>
                  <a:gd name="connsiteX10" fmla="*/ 1805 w 67693"/>
                  <a:gd name="connsiteY10" fmla="*/ 4648 h 112823"/>
                  <a:gd name="connsiteX11" fmla="*/ 2256 w 67693"/>
                  <a:gd name="connsiteY11" fmla="*/ 18187 h 112823"/>
                  <a:gd name="connsiteX12" fmla="*/ 12185 w 67693"/>
                  <a:gd name="connsiteY12" fmla="*/ 41654 h 112823"/>
                  <a:gd name="connsiteX13" fmla="*/ 21662 w 67693"/>
                  <a:gd name="connsiteY13" fmla="*/ 62414 h 112823"/>
                  <a:gd name="connsiteX14" fmla="*/ 25047 w 67693"/>
                  <a:gd name="connsiteY14" fmla="*/ 94907 h 112823"/>
                  <a:gd name="connsiteX15" fmla="*/ 36329 w 67693"/>
                  <a:gd name="connsiteY15" fmla="*/ 109123 h 112823"/>
                  <a:gd name="connsiteX16" fmla="*/ 54606 w 67693"/>
                  <a:gd name="connsiteY16" fmla="*/ 121307 h 112823"/>
                  <a:gd name="connsiteX17" fmla="*/ 58668 w 67693"/>
                  <a:gd name="connsiteY17" fmla="*/ 126272 h 112823"/>
                  <a:gd name="connsiteX18" fmla="*/ 58894 w 67693"/>
                  <a:gd name="connsiteY18" fmla="*/ 122210 h 112823"/>
                  <a:gd name="connsiteX19" fmla="*/ 70176 w 67693"/>
                  <a:gd name="connsiteY19" fmla="*/ 113184 h 112823"/>
                  <a:gd name="connsiteX20" fmla="*/ 70627 w 67693"/>
                  <a:gd name="connsiteY20" fmla="*/ 96712 h 112823"/>
                  <a:gd name="connsiteX21" fmla="*/ 72432 w 67693"/>
                  <a:gd name="connsiteY21" fmla="*/ 72342 h 112823"/>
                  <a:gd name="connsiteX22" fmla="*/ 78525 w 67693"/>
                  <a:gd name="connsiteY22" fmla="*/ 64896 h 112823"/>
                  <a:gd name="connsiteX23" fmla="*/ 70627 w 67693"/>
                  <a:gd name="connsiteY23" fmla="*/ 43911 h 112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7693" h="112823">
                    <a:moveTo>
                      <a:pt x="70627" y="43911"/>
                    </a:moveTo>
                    <a:cubicBezTo>
                      <a:pt x="67694" y="31726"/>
                      <a:pt x="73561" y="34885"/>
                      <a:pt x="71079" y="24731"/>
                    </a:cubicBezTo>
                    <a:cubicBezTo>
                      <a:pt x="68822" y="14351"/>
                      <a:pt x="62053" y="20895"/>
                      <a:pt x="51899" y="20895"/>
                    </a:cubicBezTo>
                    <a:cubicBezTo>
                      <a:pt x="47837" y="20895"/>
                      <a:pt x="46032" y="20669"/>
                      <a:pt x="44904" y="20218"/>
                    </a:cubicBezTo>
                    <a:cubicBezTo>
                      <a:pt x="44904" y="20218"/>
                      <a:pt x="44904" y="20218"/>
                      <a:pt x="44904" y="20218"/>
                    </a:cubicBezTo>
                    <a:cubicBezTo>
                      <a:pt x="41519" y="24054"/>
                      <a:pt x="34073" y="21572"/>
                      <a:pt x="32267" y="17961"/>
                    </a:cubicBezTo>
                    <a:cubicBezTo>
                      <a:pt x="30462" y="14125"/>
                      <a:pt x="23693" y="6679"/>
                      <a:pt x="21888" y="4874"/>
                    </a:cubicBezTo>
                    <a:cubicBezTo>
                      <a:pt x="20082" y="3069"/>
                      <a:pt x="15344" y="-767"/>
                      <a:pt x="9703" y="136"/>
                    </a:cubicBezTo>
                    <a:cubicBezTo>
                      <a:pt x="6769" y="587"/>
                      <a:pt x="3836" y="2166"/>
                      <a:pt x="1128" y="3295"/>
                    </a:cubicBezTo>
                    <a:cubicBezTo>
                      <a:pt x="903" y="2618"/>
                      <a:pt x="451" y="1715"/>
                      <a:pt x="0" y="812"/>
                    </a:cubicBezTo>
                    <a:cubicBezTo>
                      <a:pt x="677" y="2392"/>
                      <a:pt x="1128" y="3746"/>
                      <a:pt x="1805" y="4648"/>
                    </a:cubicBezTo>
                    <a:cubicBezTo>
                      <a:pt x="3159" y="7582"/>
                      <a:pt x="2256" y="12546"/>
                      <a:pt x="2256" y="18187"/>
                    </a:cubicBezTo>
                    <a:cubicBezTo>
                      <a:pt x="2256" y="23828"/>
                      <a:pt x="7898" y="36013"/>
                      <a:pt x="12185" y="41654"/>
                    </a:cubicBezTo>
                    <a:cubicBezTo>
                      <a:pt x="16472" y="47295"/>
                      <a:pt x="17826" y="52937"/>
                      <a:pt x="21662" y="62414"/>
                    </a:cubicBezTo>
                    <a:cubicBezTo>
                      <a:pt x="25498" y="71891"/>
                      <a:pt x="25047" y="90620"/>
                      <a:pt x="25047" y="94907"/>
                    </a:cubicBezTo>
                    <a:cubicBezTo>
                      <a:pt x="25047" y="99194"/>
                      <a:pt x="33621" y="103933"/>
                      <a:pt x="36329" y="109123"/>
                    </a:cubicBezTo>
                    <a:cubicBezTo>
                      <a:pt x="39262" y="114312"/>
                      <a:pt x="53252" y="119954"/>
                      <a:pt x="54606" y="121307"/>
                    </a:cubicBezTo>
                    <a:cubicBezTo>
                      <a:pt x="55283" y="121984"/>
                      <a:pt x="57088" y="124015"/>
                      <a:pt x="58668" y="126272"/>
                    </a:cubicBezTo>
                    <a:cubicBezTo>
                      <a:pt x="58894" y="124241"/>
                      <a:pt x="58442" y="122661"/>
                      <a:pt x="58894" y="122210"/>
                    </a:cubicBezTo>
                    <a:cubicBezTo>
                      <a:pt x="60248" y="120856"/>
                      <a:pt x="70176" y="118825"/>
                      <a:pt x="70176" y="113184"/>
                    </a:cubicBezTo>
                    <a:cubicBezTo>
                      <a:pt x="70176" y="107543"/>
                      <a:pt x="68822" y="102805"/>
                      <a:pt x="70627" y="96712"/>
                    </a:cubicBezTo>
                    <a:cubicBezTo>
                      <a:pt x="72432" y="90620"/>
                      <a:pt x="68371" y="76855"/>
                      <a:pt x="72432" y="72342"/>
                    </a:cubicBezTo>
                    <a:cubicBezTo>
                      <a:pt x="76720" y="67604"/>
                      <a:pt x="72432" y="72342"/>
                      <a:pt x="78525" y="64896"/>
                    </a:cubicBezTo>
                    <a:cubicBezTo>
                      <a:pt x="84392" y="57675"/>
                      <a:pt x="73561" y="56096"/>
                      <a:pt x="70627" y="43911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xmlns="" id="{F37DD3AD-C4F4-490D-954D-A00A0A8B94F6}"/>
                  </a:ext>
                </a:extLst>
              </p:cNvPr>
              <p:cNvSpPr/>
              <p:nvPr/>
            </p:nvSpPr>
            <p:spPr>
              <a:xfrm>
                <a:off x="9200774" y="2076125"/>
                <a:ext cx="902585" cy="880020"/>
              </a:xfrm>
              <a:custGeom>
                <a:avLst/>
                <a:gdLst>
                  <a:gd name="connsiteX0" fmla="*/ 896718 w 902584"/>
                  <a:gd name="connsiteY0" fmla="*/ 602024 h 880019"/>
                  <a:gd name="connsiteX1" fmla="*/ 868963 w 902584"/>
                  <a:gd name="connsiteY1" fmla="*/ 587808 h 880019"/>
                  <a:gd name="connsiteX2" fmla="*/ 851589 w 902584"/>
                  <a:gd name="connsiteY2" fmla="*/ 575623 h 880019"/>
                  <a:gd name="connsiteX3" fmla="*/ 854522 w 902584"/>
                  <a:gd name="connsiteY3" fmla="*/ 558249 h 880019"/>
                  <a:gd name="connsiteX4" fmla="*/ 869640 w 902584"/>
                  <a:gd name="connsiteY4" fmla="*/ 552607 h 880019"/>
                  <a:gd name="connsiteX5" fmla="*/ 848429 w 902584"/>
                  <a:gd name="connsiteY5" fmla="*/ 534330 h 880019"/>
                  <a:gd name="connsiteX6" fmla="*/ 841886 w 902584"/>
                  <a:gd name="connsiteY6" fmla="*/ 521694 h 880019"/>
                  <a:gd name="connsiteX7" fmla="*/ 854973 w 902584"/>
                  <a:gd name="connsiteY7" fmla="*/ 512668 h 880019"/>
                  <a:gd name="connsiteX8" fmla="*/ 865353 w 902584"/>
                  <a:gd name="connsiteY8" fmla="*/ 504770 h 880019"/>
                  <a:gd name="connsiteX9" fmla="*/ 880471 w 902584"/>
                  <a:gd name="connsiteY9" fmla="*/ 494391 h 880019"/>
                  <a:gd name="connsiteX10" fmla="*/ 867835 w 902584"/>
                  <a:gd name="connsiteY10" fmla="*/ 483560 h 880019"/>
                  <a:gd name="connsiteX11" fmla="*/ 852717 w 902584"/>
                  <a:gd name="connsiteY11" fmla="*/ 468893 h 880019"/>
                  <a:gd name="connsiteX12" fmla="*/ 837599 w 902584"/>
                  <a:gd name="connsiteY12" fmla="*/ 442041 h 880019"/>
                  <a:gd name="connsiteX13" fmla="*/ 827670 w 902584"/>
                  <a:gd name="connsiteY13" fmla="*/ 424666 h 880019"/>
                  <a:gd name="connsiteX14" fmla="*/ 820901 w 902584"/>
                  <a:gd name="connsiteY14" fmla="*/ 407517 h 880019"/>
                  <a:gd name="connsiteX15" fmla="*/ 804429 w 902584"/>
                  <a:gd name="connsiteY15" fmla="*/ 395106 h 880019"/>
                  <a:gd name="connsiteX16" fmla="*/ 769228 w 902584"/>
                  <a:gd name="connsiteY16" fmla="*/ 392850 h 880019"/>
                  <a:gd name="connsiteX17" fmla="*/ 765392 w 902584"/>
                  <a:gd name="connsiteY17" fmla="*/ 413158 h 880019"/>
                  <a:gd name="connsiteX18" fmla="*/ 749822 w 902584"/>
                  <a:gd name="connsiteY18" fmla="*/ 400071 h 880019"/>
                  <a:gd name="connsiteX19" fmla="*/ 732447 w 902584"/>
                  <a:gd name="connsiteY19" fmla="*/ 396235 h 880019"/>
                  <a:gd name="connsiteX20" fmla="*/ 711237 w 902584"/>
                  <a:gd name="connsiteY20" fmla="*/ 395783 h 880019"/>
                  <a:gd name="connsiteX21" fmla="*/ 660466 w 902584"/>
                  <a:gd name="connsiteY21" fmla="*/ 371865 h 880019"/>
                  <a:gd name="connsiteX22" fmla="*/ 625717 w 902584"/>
                  <a:gd name="connsiteY22" fmla="*/ 354490 h 880019"/>
                  <a:gd name="connsiteX23" fmla="*/ 593675 w 902584"/>
                  <a:gd name="connsiteY23" fmla="*/ 344110 h 880019"/>
                  <a:gd name="connsiteX24" fmla="*/ 555541 w 902584"/>
                  <a:gd name="connsiteY24" fmla="*/ 328089 h 880019"/>
                  <a:gd name="connsiteX25" fmla="*/ 522371 w 902584"/>
                  <a:gd name="connsiteY25" fmla="*/ 299884 h 880019"/>
                  <a:gd name="connsiteX26" fmla="*/ 471600 w 902584"/>
                  <a:gd name="connsiteY26" fmla="*/ 264232 h 880019"/>
                  <a:gd name="connsiteX27" fmla="*/ 404809 w 902584"/>
                  <a:gd name="connsiteY27" fmla="*/ 236928 h 880019"/>
                  <a:gd name="connsiteX28" fmla="*/ 369157 w 902584"/>
                  <a:gd name="connsiteY28" fmla="*/ 210302 h 880019"/>
                  <a:gd name="connsiteX29" fmla="*/ 369157 w 902584"/>
                  <a:gd name="connsiteY29" fmla="*/ 210302 h 880019"/>
                  <a:gd name="connsiteX30" fmla="*/ 356295 w 902584"/>
                  <a:gd name="connsiteY30" fmla="*/ 226323 h 880019"/>
                  <a:gd name="connsiteX31" fmla="*/ 343208 w 902584"/>
                  <a:gd name="connsiteY31" fmla="*/ 212559 h 880019"/>
                  <a:gd name="connsiteX32" fmla="*/ 313197 w 902584"/>
                  <a:gd name="connsiteY32" fmla="*/ 212559 h 880019"/>
                  <a:gd name="connsiteX33" fmla="*/ 286796 w 902584"/>
                  <a:gd name="connsiteY33" fmla="*/ 201953 h 880019"/>
                  <a:gd name="connsiteX34" fmla="*/ 256334 w 902584"/>
                  <a:gd name="connsiteY34" fmla="*/ 183450 h 880019"/>
                  <a:gd name="connsiteX35" fmla="*/ 230836 w 902584"/>
                  <a:gd name="connsiteY35" fmla="*/ 170363 h 880019"/>
                  <a:gd name="connsiteX36" fmla="*/ 205564 w 902584"/>
                  <a:gd name="connsiteY36" fmla="*/ 153665 h 880019"/>
                  <a:gd name="connsiteX37" fmla="*/ 212559 w 902584"/>
                  <a:gd name="connsiteY37" fmla="*/ 145090 h 880019"/>
                  <a:gd name="connsiteX38" fmla="*/ 224744 w 902584"/>
                  <a:gd name="connsiteY38" fmla="*/ 133808 h 880019"/>
                  <a:gd name="connsiteX39" fmla="*/ 203984 w 902584"/>
                  <a:gd name="connsiteY39" fmla="*/ 122977 h 880019"/>
                  <a:gd name="connsiteX40" fmla="*/ 179614 w 902584"/>
                  <a:gd name="connsiteY40" fmla="*/ 110341 h 880019"/>
                  <a:gd name="connsiteX41" fmla="*/ 167881 w 902584"/>
                  <a:gd name="connsiteY41" fmla="*/ 96802 h 880019"/>
                  <a:gd name="connsiteX42" fmla="*/ 153665 w 902584"/>
                  <a:gd name="connsiteY42" fmla="*/ 101541 h 880019"/>
                  <a:gd name="connsiteX43" fmla="*/ 138547 w 902584"/>
                  <a:gd name="connsiteY43" fmla="*/ 111018 h 880019"/>
                  <a:gd name="connsiteX44" fmla="*/ 122075 w 902584"/>
                  <a:gd name="connsiteY44" fmla="*/ 117562 h 880019"/>
                  <a:gd name="connsiteX45" fmla="*/ 105602 w 902584"/>
                  <a:gd name="connsiteY45" fmla="*/ 105828 h 880019"/>
                  <a:gd name="connsiteX46" fmla="*/ 90484 w 902584"/>
                  <a:gd name="connsiteY46" fmla="*/ 81458 h 880019"/>
                  <a:gd name="connsiteX47" fmla="*/ 96125 w 902584"/>
                  <a:gd name="connsiteY47" fmla="*/ 64986 h 880019"/>
                  <a:gd name="connsiteX48" fmla="*/ 106956 w 902584"/>
                  <a:gd name="connsiteY48" fmla="*/ 45129 h 880019"/>
                  <a:gd name="connsiteX49" fmla="*/ 107408 w 902584"/>
                  <a:gd name="connsiteY49" fmla="*/ 29108 h 880019"/>
                  <a:gd name="connsiteX50" fmla="*/ 91387 w 902584"/>
                  <a:gd name="connsiteY50" fmla="*/ 13990 h 880019"/>
                  <a:gd name="connsiteX51" fmla="*/ 75366 w 902584"/>
                  <a:gd name="connsiteY51" fmla="*/ 4513 h 880019"/>
                  <a:gd name="connsiteX52" fmla="*/ 71304 w 902584"/>
                  <a:gd name="connsiteY52" fmla="*/ 0 h 880019"/>
                  <a:gd name="connsiteX53" fmla="*/ 70176 w 902584"/>
                  <a:gd name="connsiteY53" fmla="*/ 8575 h 880019"/>
                  <a:gd name="connsiteX54" fmla="*/ 48288 w 902584"/>
                  <a:gd name="connsiteY54" fmla="*/ 30462 h 880019"/>
                  <a:gd name="connsiteX55" fmla="*/ 36329 w 902584"/>
                  <a:gd name="connsiteY55" fmla="*/ 45581 h 880019"/>
                  <a:gd name="connsiteX56" fmla="*/ 21888 w 902584"/>
                  <a:gd name="connsiteY56" fmla="*/ 57540 h 880019"/>
                  <a:gd name="connsiteX57" fmla="*/ 7446 w 902584"/>
                  <a:gd name="connsiteY57" fmla="*/ 93192 h 880019"/>
                  <a:gd name="connsiteX58" fmla="*/ 0 w 902584"/>
                  <a:gd name="connsiteY58" fmla="*/ 115080 h 880019"/>
                  <a:gd name="connsiteX59" fmla="*/ 10605 w 902584"/>
                  <a:gd name="connsiteY59" fmla="*/ 152086 h 880019"/>
                  <a:gd name="connsiteX60" fmla="*/ 7446 w 902584"/>
                  <a:gd name="connsiteY60" fmla="*/ 173296 h 880019"/>
                  <a:gd name="connsiteX61" fmla="*/ 20534 w 902584"/>
                  <a:gd name="connsiteY61" fmla="*/ 194056 h 880019"/>
                  <a:gd name="connsiteX62" fmla="*/ 17826 w 902584"/>
                  <a:gd name="connsiteY62" fmla="*/ 197666 h 880019"/>
                  <a:gd name="connsiteX63" fmla="*/ 26401 w 902584"/>
                  <a:gd name="connsiteY63" fmla="*/ 203758 h 880019"/>
                  <a:gd name="connsiteX64" fmla="*/ 36780 w 902584"/>
                  <a:gd name="connsiteY64" fmla="*/ 224518 h 880019"/>
                  <a:gd name="connsiteX65" fmla="*/ 30914 w 902584"/>
                  <a:gd name="connsiteY65" fmla="*/ 244826 h 880019"/>
                  <a:gd name="connsiteX66" fmla="*/ 33847 w 902584"/>
                  <a:gd name="connsiteY66" fmla="*/ 257462 h 880019"/>
                  <a:gd name="connsiteX67" fmla="*/ 49417 w 902584"/>
                  <a:gd name="connsiteY67" fmla="*/ 264457 h 880019"/>
                  <a:gd name="connsiteX68" fmla="*/ 53704 w 902584"/>
                  <a:gd name="connsiteY68" fmla="*/ 290858 h 880019"/>
                  <a:gd name="connsiteX69" fmla="*/ 53027 w 902584"/>
                  <a:gd name="connsiteY69" fmla="*/ 314099 h 880019"/>
                  <a:gd name="connsiteX70" fmla="*/ 39939 w 902584"/>
                  <a:gd name="connsiteY70" fmla="*/ 343659 h 880019"/>
                  <a:gd name="connsiteX71" fmla="*/ 27078 w 902584"/>
                  <a:gd name="connsiteY71" fmla="*/ 350203 h 880019"/>
                  <a:gd name="connsiteX72" fmla="*/ 30011 w 902584"/>
                  <a:gd name="connsiteY72" fmla="*/ 360582 h 880019"/>
                  <a:gd name="connsiteX73" fmla="*/ 31816 w 902584"/>
                  <a:gd name="connsiteY73" fmla="*/ 386983 h 880019"/>
                  <a:gd name="connsiteX74" fmla="*/ 47386 w 902584"/>
                  <a:gd name="connsiteY74" fmla="*/ 411804 h 880019"/>
                  <a:gd name="connsiteX75" fmla="*/ 64761 w 902584"/>
                  <a:gd name="connsiteY75" fmla="*/ 427374 h 880019"/>
                  <a:gd name="connsiteX76" fmla="*/ 65212 w 902584"/>
                  <a:gd name="connsiteY76" fmla="*/ 442041 h 880019"/>
                  <a:gd name="connsiteX77" fmla="*/ 56637 w 902584"/>
                  <a:gd name="connsiteY77" fmla="*/ 455580 h 880019"/>
                  <a:gd name="connsiteX78" fmla="*/ 69273 w 902584"/>
                  <a:gd name="connsiteY78" fmla="*/ 461221 h 880019"/>
                  <a:gd name="connsiteX79" fmla="*/ 57991 w 902584"/>
                  <a:gd name="connsiteY79" fmla="*/ 474759 h 880019"/>
                  <a:gd name="connsiteX80" fmla="*/ 59345 w 902584"/>
                  <a:gd name="connsiteY80" fmla="*/ 486042 h 880019"/>
                  <a:gd name="connsiteX81" fmla="*/ 81910 w 902584"/>
                  <a:gd name="connsiteY81" fmla="*/ 476113 h 880019"/>
                  <a:gd name="connsiteX82" fmla="*/ 103572 w 902584"/>
                  <a:gd name="connsiteY82" fmla="*/ 484011 h 880019"/>
                  <a:gd name="connsiteX83" fmla="*/ 121398 w 902584"/>
                  <a:gd name="connsiteY83" fmla="*/ 476113 h 880019"/>
                  <a:gd name="connsiteX84" fmla="*/ 136516 w 902584"/>
                  <a:gd name="connsiteY84" fmla="*/ 472729 h 880019"/>
                  <a:gd name="connsiteX85" fmla="*/ 147798 w 902584"/>
                  <a:gd name="connsiteY85" fmla="*/ 483560 h 880019"/>
                  <a:gd name="connsiteX86" fmla="*/ 170363 w 902584"/>
                  <a:gd name="connsiteY86" fmla="*/ 488749 h 880019"/>
                  <a:gd name="connsiteX87" fmla="*/ 192928 w 902584"/>
                  <a:gd name="connsiteY87" fmla="*/ 491683 h 880019"/>
                  <a:gd name="connsiteX88" fmla="*/ 230610 w 902584"/>
                  <a:gd name="connsiteY88" fmla="*/ 512894 h 880019"/>
                  <a:gd name="connsiteX89" fmla="*/ 241893 w 902584"/>
                  <a:gd name="connsiteY89" fmla="*/ 540648 h 880019"/>
                  <a:gd name="connsiteX90" fmla="*/ 241893 w 902584"/>
                  <a:gd name="connsiteY90" fmla="*/ 568854 h 880019"/>
                  <a:gd name="connsiteX91" fmla="*/ 231964 w 902584"/>
                  <a:gd name="connsiteY91" fmla="*/ 589162 h 880019"/>
                  <a:gd name="connsiteX92" fmla="*/ 222487 w 902584"/>
                  <a:gd name="connsiteY92" fmla="*/ 616240 h 880019"/>
                  <a:gd name="connsiteX93" fmla="*/ 213461 w 902584"/>
                  <a:gd name="connsiteY93" fmla="*/ 634517 h 880019"/>
                  <a:gd name="connsiteX94" fmla="*/ 204887 w 902584"/>
                  <a:gd name="connsiteY94" fmla="*/ 647153 h 880019"/>
                  <a:gd name="connsiteX95" fmla="*/ 195410 w 902584"/>
                  <a:gd name="connsiteY95" fmla="*/ 655728 h 880019"/>
                  <a:gd name="connsiteX96" fmla="*/ 168558 w 902584"/>
                  <a:gd name="connsiteY96" fmla="*/ 660466 h 880019"/>
                  <a:gd name="connsiteX97" fmla="*/ 153891 w 902584"/>
                  <a:gd name="connsiteY97" fmla="*/ 671297 h 880019"/>
                  <a:gd name="connsiteX98" fmla="*/ 148250 w 902584"/>
                  <a:gd name="connsiteY98" fmla="*/ 692508 h 880019"/>
                  <a:gd name="connsiteX99" fmla="*/ 156824 w 902584"/>
                  <a:gd name="connsiteY99" fmla="*/ 708980 h 880019"/>
                  <a:gd name="connsiteX100" fmla="*/ 147347 w 902584"/>
                  <a:gd name="connsiteY100" fmla="*/ 729288 h 880019"/>
                  <a:gd name="connsiteX101" fmla="*/ 137193 w 902584"/>
                  <a:gd name="connsiteY101" fmla="*/ 766069 h 880019"/>
                  <a:gd name="connsiteX102" fmla="*/ 138998 w 902584"/>
                  <a:gd name="connsiteY102" fmla="*/ 793597 h 880019"/>
                  <a:gd name="connsiteX103" fmla="*/ 143285 w 902584"/>
                  <a:gd name="connsiteY103" fmla="*/ 811198 h 880019"/>
                  <a:gd name="connsiteX104" fmla="*/ 147121 w 902584"/>
                  <a:gd name="connsiteY104" fmla="*/ 828121 h 880019"/>
                  <a:gd name="connsiteX105" fmla="*/ 170363 w 902584"/>
                  <a:gd name="connsiteY105" fmla="*/ 822480 h 880019"/>
                  <a:gd name="connsiteX106" fmla="*/ 187286 w 902584"/>
                  <a:gd name="connsiteY106" fmla="*/ 832409 h 880019"/>
                  <a:gd name="connsiteX107" fmla="*/ 197215 w 902584"/>
                  <a:gd name="connsiteY107" fmla="*/ 839855 h 880019"/>
                  <a:gd name="connsiteX108" fmla="*/ 217297 w 902584"/>
                  <a:gd name="connsiteY108" fmla="*/ 838501 h 880019"/>
                  <a:gd name="connsiteX109" fmla="*/ 232416 w 902584"/>
                  <a:gd name="connsiteY109" fmla="*/ 822931 h 880019"/>
                  <a:gd name="connsiteX110" fmla="*/ 224969 w 902584"/>
                  <a:gd name="connsiteY110" fmla="*/ 800367 h 880019"/>
                  <a:gd name="connsiteX111" fmla="*/ 217523 w 902584"/>
                  <a:gd name="connsiteY111" fmla="*/ 788407 h 880019"/>
                  <a:gd name="connsiteX112" fmla="*/ 206918 w 902584"/>
                  <a:gd name="connsiteY112" fmla="*/ 775771 h 880019"/>
                  <a:gd name="connsiteX113" fmla="*/ 199471 w 902584"/>
                  <a:gd name="connsiteY113" fmla="*/ 759525 h 880019"/>
                  <a:gd name="connsiteX114" fmla="*/ 195184 w 902584"/>
                  <a:gd name="connsiteY114" fmla="*/ 744407 h 880019"/>
                  <a:gd name="connsiteX115" fmla="*/ 188866 w 902584"/>
                  <a:gd name="connsiteY115" fmla="*/ 728837 h 880019"/>
                  <a:gd name="connsiteX116" fmla="*/ 185030 w 902584"/>
                  <a:gd name="connsiteY116" fmla="*/ 712590 h 880019"/>
                  <a:gd name="connsiteX117" fmla="*/ 182548 w 902584"/>
                  <a:gd name="connsiteY117" fmla="*/ 691380 h 880019"/>
                  <a:gd name="connsiteX118" fmla="*/ 186835 w 902584"/>
                  <a:gd name="connsiteY118" fmla="*/ 678292 h 880019"/>
                  <a:gd name="connsiteX119" fmla="*/ 199471 w 902584"/>
                  <a:gd name="connsiteY119" fmla="*/ 678969 h 880019"/>
                  <a:gd name="connsiteX120" fmla="*/ 218200 w 902584"/>
                  <a:gd name="connsiteY120" fmla="*/ 667010 h 880019"/>
                  <a:gd name="connsiteX121" fmla="*/ 220005 w 902584"/>
                  <a:gd name="connsiteY121" fmla="*/ 684610 h 880019"/>
                  <a:gd name="connsiteX122" fmla="*/ 220682 w 902584"/>
                  <a:gd name="connsiteY122" fmla="*/ 695893 h 880019"/>
                  <a:gd name="connsiteX123" fmla="*/ 232641 w 902584"/>
                  <a:gd name="connsiteY123" fmla="*/ 705821 h 880019"/>
                  <a:gd name="connsiteX124" fmla="*/ 245729 w 902584"/>
                  <a:gd name="connsiteY124" fmla="*/ 713944 h 880019"/>
                  <a:gd name="connsiteX125" fmla="*/ 255657 w 902584"/>
                  <a:gd name="connsiteY125" fmla="*/ 720939 h 880019"/>
                  <a:gd name="connsiteX126" fmla="*/ 266939 w 902584"/>
                  <a:gd name="connsiteY126" fmla="*/ 707852 h 880019"/>
                  <a:gd name="connsiteX127" fmla="*/ 285217 w 902584"/>
                  <a:gd name="connsiteY127" fmla="*/ 710334 h 880019"/>
                  <a:gd name="connsiteX128" fmla="*/ 292212 w 902584"/>
                  <a:gd name="connsiteY128" fmla="*/ 729063 h 880019"/>
                  <a:gd name="connsiteX129" fmla="*/ 316130 w 902584"/>
                  <a:gd name="connsiteY129" fmla="*/ 719586 h 880019"/>
                  <a:gd name="connsiteX130" fmla="*/ 335536 w 902584"/>
                  <a:gd name="connsiteY130" fmla="*/ 719586 h 880019"/>
                  <a:gd name="connsiteX131" fmla="*/ 359454 w 902584"/>
                  <a:gd name="connsiteY131" fmla="*/ 698375 h 880019"/>
                  <a:gd name="connsiteX132" fmla="*/ 389465 w 902584"/>
                  <a:gd name="connsiteY132" fmla="*/ 695893 h 880019"/>
                  <a:gd name="connsiteX133" fmla="*/ 412707 w 902584"/>
                  <a:gd name="connsiteY133" fmla="*/ 709657 h 880019"/>
                  <a:gd name="connsiteX134" fmla="*/ 406389 w 902584"/>
                  <a:gd name="connsiteY134" fmla="*/ 722293 h 880019"/>
                  <a:gd name="connsiteX135" fmla="*/ 391947 w 902584"/>
                  <a:gd name="connsiteY135" fmla="*/ 739217 h 880019"/>
                  <a:gd name="connsiteX136" fmla="*/ 421507 w 902584"/>
                  <a:gd name="connsiteY136" fmla="*/ 738540 h 880019"/>
                  <a:gd name="connsiteX137" fmla="*/ 442718 w 902584"/>
                  <a:gd name="connsiteY137" fmla="*/ 717780 h 880019"/>
                  <a:gd name="connsiteX138" fmla="*/ 449713 w 902584"/>
                  <a:gd name="connsiteY138" fmla="*/ 729740 h 880019"/>
                  <a:gd name="connsiteX139" fmla="*/ 457836 w 902584"/>
                  <a:gd name="connsiteY139" fmla="*/ 741699 h 880019"/>
                  <a:gd name="connsiteX140" fmla="*/ 478595 w 902584"/>
                  <a:gd name="connsiteY140" fmla="*/ 749822 h 880019"/>
                  <a:gd name="connsiteX141" fmla="*/ 504319 w 902584"/>
                  <a:gd name="connsiteY141" fmla="*/ 748468 h 880019"/>
                  <a:gd name="connsiteX142" fmla="*/ 509960 w 902584"/>
                  <a:gd name="connsiteY142" fmla="*/ 726580 h 880019"/>
                  <a:gd name="connsiteX143" fmla="*/ 527561 w 902584"/>
                  <a:gd name="connsiteY143" fmla="*/ 727934 h 880019"/>
                  <a:gd name="connsiteX144" fmla="*/ 542679 w 902584"/>
                  <a:gd name="connsiteY144" fmla="*/ 711011 h 880019"/>
                  <a:gd name="connsiteX145" fmla="*/ 554638 w 902584"/>
                  <a:gd name="connsiteY145" fmla="*/ 728611 h 880019"/>
                  <a:gd name="connsiteX146" fmla="*/ 581039 w 902584"/>
                  <a:gd name="connsiteY146" fmla="*/ 733575 h 880019"/>
                  <a:gd name="connsiteX147" fmla="*/ 618045 w 902584"/>
                  <a:gd name="connsiteY147" fmla="*/ 757945 h 880019"/>
                  <a:gd name="connsiteX148" fmla="*/ 646927 w 902584"/>
                  <a:gd name="connsiteY148" fmla="*/ 779156 h 880019"/>
                  <a:gd name="connsiteX149" fmla="*/ 671974 w 902584"/>
                  <a:gd name="connsiteY149" fmla="*/ 777351 h 880019"/>
                  <a:gd name="connsiteX150" fmla="*/ 692057 w 902584"/>
                  <a:gd name="connsiteY150" fmla="*/ 783669 h 880019"/>
                  <a:gd name="connsiteX151" fmla="*/ 688221 w 902584"/>
                  <a:gd name="connsiteY151" fmla="*/ 803075 h 880019"/>
                  <a:gd name="connsiteX152" fmla="*/ 695216 w 902584"/>
                  <a:gd name="connsiteY152" fmla="*/ 824285 h 880019"/>
                  <a:gd name="connsiteX153" fmla="*/ 697021 w 902584"/>
                  <a:gd name="connsiteY153" fmla="*/ 843691 h 880019"/>
                  <a:gd name="connsiteX154" fmla="*/ 698375 w 902584"/>
                  <a:gd name="connsiteY154" fmla="*/ 864450 h 880019"/>
                  <a:gd name="connsiteX155" fmla="*/ 711462 w 902584"/>
                  <a:gd name="connsiteY155" fmla="*/ 882051 h 880019"/>
                  <a:gd name="connsiteX156" fmla="*/ 749597 w 902584"/>
                  <a:gd name="connsiteY156" fmla="*/ 883404 h 880019"/>
                  <a:gd name="connsiteX157" fmla="*/ 766746 w 902584"/>
                  <a:gd name="connsiteY157" fmla="*/ 860614 h 880019"/>
                  <a:gd name="connsiteX158" fmla="*/ 774192 w 902584"/>
                  <a:gd name="connsiteY158" fmla="*/ 837598 h 880019"/>
                  <a:gd name="connsiteX159" fmla="*/ 776448 w 902584"/>
                  <a:gd name="connsiteY159" fmla="*/ 810747 h 880019"/>
                  <a:gd name="connsiteX160" fmla="*/ 789536 w 902584"/>
                  <a:gd name="connsiteY160" fmla="*/ 789536 h 880019"/>
                  <a:gd name="connsiteX161" fmla="*/ 776448 w 902584"/>
                  <a:gd name="connsiteY161" fmla="*/ 763135 h 880019"/>
                  <a:gd name="connsiteX162" fmla="*/ 767874 w 902584"/>
                  <a:gd name="connsiteY162" fmla="*/ 724550 h 880019"/>
                  <a:gd name="connsiteX163" fmla="*/ 776448 w 902584"/>
                  <a:gd name="connsiteY163" fmla="*/ 701534 h 880019"/>
                  <a:gd name="connsiteX164" fmla="*/ 801270 w 902584"/>
                  <a:gd name="connsiteY164" fmla="*/ 685062 h 880019"/>
                  <a:gd name="connsiteX165" fmla="*/ 836470 w 902584"/>
                  <a:gd name="connsiteY165" fmla="*/ 652117 h 880019"/>
                  <a:gd name="connsiteX166" fmla="*/ 860389 w 902584"/>
                  <a:gd name="connsiteY166" fmla="*/ 632260 h 880019"/>
                  <a:gd name="connsiteX167" fmla="*/ 893784 w 902584"/>
                  <a:gd name="connsiteY167" fmla="*/ 628424 h 880019"/>
                  <a:gd name="connsiteX168" fmla="*/ 910708 w 902584"/>
                  <a:gd name="connsiteY168" fmla="*/ 618496 h 880019"/>
                  <a:gd name="connsiteX169" fmla="*/ 896718 w 902584"/>
                  <a:gd name="connsiteY169" fmla="*/ 602024 h 880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</a:cxnLst>
                <a:rect l="l" t="t" r="r" b="b"/>
                <a:pathLst>
                  <a:path w="902584" h="880019">
                    <a:moveTo>
                      <a:pt x="896718" y="602024"/>
                    </a:moveTo>
                    <a:cubicBezTo>
                      <a:pt x="886789" y="600219"/>
                      <a:pt x="873702" y="594126"/>
                      <a:pt x="868963" y="587808"/>
                    </a:cubicBezTo>
                    <a:cubicBezTo>
                      <a:pt x="864225" y="581716"/>
                      <a:pt x="855425" y="577428"/>
                      <a:pt x="851589" y="575623"/>
                    </a:cubicBezTo>
                    <a:cubicBezTo>
                      <a:pt x="847753" y="573818"/>
                      <a:pt x="846850" y="560054"/>
                      <a:pt x="854522" y="558249"/>
                    </a:cubicBezTo>
                    <a:cubicBezTo>
                      <a:pt x="861968" y="556443"/>
                      <a:pt x="868738" y="555992"/>
                      <a:pt x="869640" y="552607"/>
                    </a:cubicBezTo>
                    <a:cubicBezTo>
                      <a:pt x="870543" y="549223"/>
                      <a:pt x="852266" y="535684"/>
                      <a:pt x="848429" y="534330"/>
                    </a:cubicBezTo>
                    <a:cubicBezTo>
                      <a:pt x="844594" y="532976"/>
                      <a:pt x="839855" y="527335"/>
                      <a:pt x="841886" y="521694"/>
                    </a:cubicBezTo>
                    <a:cubicBezTo>
                      <a:pt x="843691" y="516053"/>
                      <a:pt x="851363" y="513119"/>
                      <a:pt x="854973" y="512668"/>
                    </a:cubicBezTo>
                    <a:cubicBezTo>
                      <a:pt x="858809" y="512217"/>
                      <a:pt x="855425" y="504770"/>
                      <a:pt x="865353" y="504770"/>
                    </a:cubicBezTo>
                    <a:cubicBezTo>
                      <a:pt x="875281" y="504770"/>
                      <a:pt x="880020" y="499129"/>
                      <a:pt x="880471" y="494391"/>
                    </a:cubicBezTo>
                    <a:cubicBezTo>
                      <a:pt x="880923" y="489652"/>
                      <a:pt x="870994" y="492134"/>
                      <a:pt x="867835" y="483560"/>
                    </a:cubicBezTo>
                    <a:cubicBezTo>
                      <a:pt x="864451" y="474985"/>
                      <a:pt x="860840" y="470021"/>
                      <a:pt x="852717" y="468893"/>
                    </a:cubicBezTo>
                    <a:cubicBezTo>
                      <a:pt x="844819" y="467990"/>
                      <a:pt x="842788" y="448133"/>
                      <a:pt x="837599" y="442041"/>
                    </a:cubicBezTo>
                    <a:cubicBezTo>
                      <a:pt x="832409" y="435948"/>
                      <a:pt x="830152" y="429856"/>
                      <a:pt x="827670" y="424666"/>
                    </a:cubicBezTo>
                    <a:cubicBezTo>
                      <a:pt x="825865" y="420830"/>
                      <a:pt x="822029" y="416317"/>
                      <a:pt x="820901" y="407517"/>
                    </a:cubicBezTo>
                    <a:cubicBezTo>
                      <a:pt x="817516" y="403230"/>
                      <a:pt x="810070" y="399845"/>
                      <a:pt x="804429" y="395106"/>
                    </a:cubicBezTo>
                    <a:cubicBezTo>
                      <a:pt x="797885" y="389465"/>
                      <a:pt x="778479" y="391722"/>
                      <a:pt x="769228" y="392850"/>
                    </a:cubicBezTo>
                    <a:cubicBezTo>
                      <a:pt x="759751" y="393752"/>
                      <a:pt x="767423" y="410225"/>
                      <a:pt x="765392" y="413158"/>
                    </a:cubicBezTo>
                    <a:cubicBezTo>
                      <a:pt x="763587" y="416091"/>
                      <a:pt x="755012" y="407968"/>
                      <a:pt x="749822" y="400071"/>
                    </a:cubicBezTo>
                    <a:cubicBezTo>
                      <a:pt x="744632" y="392173"/>
                      <a:pt x="741248" y="393527"/>
                      <a:pt x="732447" y="396235"/>
                    </a:cubicBezTo>
                    <a:cubicBezTo>
                      <a:pt x="723647" y="398942"/>
                      <a:pt x="715975" y="398040"/>
                      <a:pt x="711237" y="395783"/>
                    </a:cubicBezTo>
                    <a:cubicBezTo>
                      <a:pt x="681677" y="381342"/>
                      <a:pt x="667461" y="374573"/>
                      <a:pt x="660466" y="371865"/>
                    </a:cubicBezTo>
                    <a:cubicBezTo>
                      <a:pt x="653471" y="369157"/>
                      <a:pt x="637902" y="360582"/>
                      <a:pt x="625717" y="354490"/>
                    </a:cubicBezTo>
                    <a:cubicBezTo>
                      <a:pt x="613532" y="348398"/>
                      <a:pt x="607439" y="345013"/>
                      <a:pt x="593675" y="344110"/>
                    </a:cubicBezTo>
                    <a:cubicBezTo>
                      <a:pt x="580136" y="343208"/>
                      <a:pt x="562536" y="336664"/>
                      <a:pt x="555541" y="328089"/>
                    </a:cubicBezTo>
                    <a:cubicBezTo>
                      <a:pt x="548546" y="319515"/>
                      <a:pt x="530043" y="313874"/>
                      <a:pt x="522371" y="299884"/>
                    </a:cubicBezTo>
                    <a:cubicBezTo>
                      <a:pt x="514699" y="285894"/>
                      <a:pt x="491232" y="277319"/>
                      <a:pt x="471600" y="264232"/>
                    </a:cubicBezTo>
                    <a:cubicBezTo>
                      <a:pt x="451744" y="251144"/>
                      <a:pt x="426471" y="245503"/>
                      <a:pt x="404809" y="236928"/>
                    </a:cubicBezTo>
                    <a:cubicBezTo>
                      <a:pt x="388788" y="230610"/>
                      <a:pt x="374798" y="219328"/>
                      <a:pt x="369157" y="210302"/>
                    </a:cubicBezTo>
                    <a:lnTo>
                      <a:pt x="369157" y="210302"/>
                    </a:lnTo>
                    <a:cubicBezTo>
                      <a:pt x="363742" y="217072"/>
                      <a:pt x="359229" y="225872"/>
                      <a:pt x="356295" y="226323"/>
                    </a:cubicBezTo>
                    <a:cubicBezTo>
                      <a:pt x="352008" y="227000"/>
                      <a:pt x="350654" y="221359"/>
                      <a:pt x="343208" y="212559"/>
                    </a:cubicBezTo>
                    <a:cubicBezTo>
                      <a:pt x="335762" y="203758"/>
                      <a:pt x="329443" y="212559"/>
                      <a:pt x="313197" y="212559"/>
                    </a:cubicBezTo>
                    <a:cubicBezTo>
                      <a:pt x="296950" y="212559"/>
                      <a:pt x="286796" y="208271"/>
                      <a:pt x="286796" y="201953"/>
                    </a:cubicBezTo>
                    <a:cubicBezTo>
                      <a:pt x="286796" y="195635"/>
                      <a:pt x="264006" y="195635"/>
                      <a:pt x="256334" y="183450"/>
                    </a:cubicBezTo>
                    <a:cubicBezTo>
                      <a:pt x="248888" y="171265"/>
                      <a:pt x="232867" y="182548"/>
                      <a:pt x="230836" y="170363"/>
                    </a:cubicBezTo>
                    <a:cubicBezTo>
                      <a:pt x="229031" y="157952"/>
                      <a:pt x="209400" y="156824"/>
                      <a:pt x="205564" y="153665"/>
                    </a:cubicBezTo>
                    <a:cubicBezTo>
                      <a:pt x="201728" y="150280"/>
                      <a:pt x="208948" y="148926"/>
                      <a:pt x="212559" y="145090"/>
                    </a:cubicBezTo>
                    <a:cubicBezTo>
                      <a:pt x="216395" y="141255"/>
                      <a:pt x="226097" y="137644"/>
                      <a:pt x="224744" y="133808"/>
                    </a:cubicBezTo>
                    <a:cubicBezTo>
                      <a:pt x="223390" y="129972"/>
                      <a:pt x="215718" y="128618"/>
                      <a:pt x="203984" y="122977"/>
                    </a:cubicBezTo>
                    <a:cubicBezTo>
                      <a:pt x="192251" y="117336"/>
                      <a:pt x="188415" y="115080"/>
                      <a:pt x="179614" y="110341"/>
                    </a:cubicBezTo>
                    <a:cubicBezTo>
                      <a:pt x="170589" y="105602"/>
                      <a:pt x="172168" y="99059"/>
                      <a:pt x="167881" y="96802"/>
                    </a:cubicBezTo>
                    <a:cubicBezTo>
                      <a:pt x="163593" y="94546"/>
                      <a:pt x="162691" y="99059"/>
                      <a:pt x="153665" y="101541"/>
                    </a:cubicBezTo>
                    <a:cubicBezTo>
                      <a:pt x="144639" y="103797"/>
                      <a:pt x="141931" y="105828"/>
                      <a:pt x="138547" y="111018"/>
                    </a:cubicBezTo>
                    <a:cubicBezTo>
                      <a:pt x="135162" y="116208"/>
                      <a:pt x="129521" y="124557"/>
                      <a:pt x="122075" y="117562"/>
                    </a:cubicBezTo>
                    <a:cubicBezTo>
                      <a:pt x="114628" y="110567"/>
                      <a:pt x="113049" y="110115"/>
                      <a:pt x="105602" y="105828"/>
                    </a:cubicBezTo>
                    <a:cubicBezTo>
                      <a:pt x="98156" y="101541"/>
                      <a:pt x="92515" y="92289"/>
                      <a:pt x="90484" y="81458"/>
                    </a:cubicBezTo>
                    <a:cubicBezTo>
                      <a:pt x="88679" y="70627"/>
                      <a:pt x="94320" y="71981"/>
                      <a:pt x="96125" y="64986"/>
                    </a:cubicBezTo>
                    <a:cubicBezTo>
                      <a:pt x="97930" y="57991"/>
                      <a:pt x="102218" y="53704"/>
                      <a:pt x="106956" y="45129"/>
                    </a:cubicBezTo>
                    <a:cubicBezTo>
                      <a:pt x="111695" y="36555"/>
                      <a:pt x="114854" y="36103"/>
                      <a:pt x="107408" y="29108"/>
                    </a:cubicBezTo>
                    <a:cubicBezTo>
                      <a:pt x="99961" y="22113"/>
                      <a:pt x="97930" y="19180"/>
                      <a:pt x="91387" y="13990"/>
                    </a:cubicBezTo>
                    <a:cubicBezTo>
                      <a:pt x="84843" y="8800"/>
                      <a:pt x="84392" y="10154"/>
                      <a:pt x="75366" y="4513"/>
                    </a:cubicBezTo>
                    <a:cubicBezTo>
                      <a:pt x="73561" y="3385"/>
                      <a:pt x="72432" y="1805"/>
                      <a:pt x="71304" y="0"/>
                    </a:cubicBezTo>
                    <a:cubicBezTo>
                      <a:pt x="71755" y="2933"/>
                      <a:pt x="71755" y="5867"/>
                      <a:pt x="70176" y="8575"/>
                    </a:cubicBezTo>
                    <a:cubicBezTo>
                      <a:pt x="64535" y="18503"/>
                      <a:pt x="48288" y="23016"/>
                      <a:pt x="48288" y="30462"/>
                    </a:cubicBezTo>
                    <a:cubicBezTo>
                      <a:pt x="48288" y="37909"/>
                      <a:pt x="48288" y="40391"/>
                      <a:pt x="36329" y="45581"/>
                    </a:cubicBezTo>
                    <a:cubicBezTo>
                      <a:pt x="24370" y="50545"/>
                      <a:pt x="24370" y="46934"/>
                      <a:pt x="21888" y="57540"/>
                    </a:cubicBezTo>
                    <a:cubicBezTo>
                      <a:pt x="19406" y="68145"/>
                      <a:pt x="14893" y="80781"/>
                      <a:pt x="7446" y="93192"/>
                    </a:cubicBezTo>
                    <a:cubicBezTo>
                      <a:pt x="0" y="105828"/>
                      <a:pt x="0" y="100638"/>
                      <a:pt x="0" y="115080"/>
                    </a:cubicBezTo>
                    <a:cubicBezTo>
                      <a:pt x="0" y="129521"/>
                      <a:pt x="8800" y="141931"/>
                      <a:pt x="10605" y="152086"/>
                    </a:cubicBezTo>
                    <a:cubicBezTo>
                      <a:pt x="12411" y="162014"/>
                      <a:pt x="2482" y="163368"/>
                      <a:pt x="7446" y="173296"/>
                    </a:cubicBezTo>
                    <a:cubicBezTo>
                      <a:pt x="12411" y="183225"/>
                      <a:pt x="21211" y="187738"/>
                      <a:pt x="20534" y="194056"/>
                    </a:cubicBezTo>
                    <a:cubicBezTo>
                      <a:pt x="20308" y="196087"/>
                      <a:pt x="19406" y="196989"/>
                      <a:pt x="17826" y="197666"/>
                    </a:cubicBezTo>
                    <a:cubicBezTo>
                      <a:pt x="20083" y="200148"/>
                      <a:pt x="23016" y="202405"/>
                      <a:pt x="26401" y="203758"/>
                    </a:cubicBezTo>
                    <a:cubicBezTo>
                      <a:pt x="38360" y="209174"/>
                      <a:pt x="39939" y="215041"/>
                      <a:pt x="36780" y="224518"/>
                    </a:cubicBezTo>
                    <a:cubicBezTo>
                      <a:pt x="33621" y="233995"/>
                      <a:pt x="28657" y="231964"/>
                      <a:pt x="30914" y="244826"/>
                    </a:cubicBezTo>
                    <a:cubicBezTo>
                      <a:pt x="31816" y="250467"/>
                      <a:pt x="33170" y="254303"/>
                      <a:pt x="33847" y="257462"/>
                    </a:cubicBezTo>
                    <a:cubicBezTo>
                      <a:pt x="40842" y="257237"/>
                      <a:pt x="48965" y="259042"/>
                      <a:pt x="49417" y="264457"/>
                    </a:cubicBezTo>
                    <a:cubicBezTo>
                      <a:pt x="50093" y="272581"/>
                      <a:pt x="56863" y="283863"/>
                      <a:pt x="53704" y="290858"/>
                    </a:cubicBezTo>
                    <a:cubicBezTo>
                      <a:pt x="50545" y="297853"/>
                      <a:pt x="55058" y="303494"/>
                      <a:pt x="53027" y="314099"/>
                    </a:cubicBezTo>
                    <a:cubicBezTo>
                      <a:pt x="51222" y="324705"/>
                      <a:pt x="43098" y="338018"/>
                      <a:pt x="39939" y="343659"/>
                    </a:cubicBezTo>
                    <a:cubicBezTo>
                      <a:pt x="37006" y="348849"/>
                      <a:pt x="33170" y="349300"/>
                      <a:pt x="27078" y="350203"/>
                    </a:cubicBezTo>
                    <a:cubicBezTo>
                      <a:pt x="28431" y="354264"/>
                      <a:pt x="29560" y="358100"/>
                      <a:pt x="30011" y="360582"/>
                    </a:cubicBezTo>
                    <a:cubicBezTo>
                      <a:pt x="32267" y="370060"/>
                      <a:pt x="25724" y="370060"/>
                      <a:pt x="31816" y="386983"/>
                    </a:cubicBezTo>
                    <a:cubicBezTo>
                      <a:pt x="37909" y="403907"/>
                      <a:pt x="38360" y="406163"/>
                      <a:pt x="47386" y="411804"/>
                    </a:cubicBezTo>
                    <a:cubicBezTo>
                      <a:pt x="56412" y="417445"/>
                      <a:pt x="62053" y="423086"/>
                      <a:pt x="64761" y="427374"/>
                    </a:cubicBezTo>
                    <a:cubicBezTo>
                      <a:pt x="67468" y="431661"/>
                      <a:pt x="69499" y="436400"/>
                      <a:pt x="65212" y="442041"/>
                    </a:cubicBezTo>
                    <a:cubicBezTo>
                      <a:pt x="60924" y="447682"/>
                      <a:pt x="51673" y="453774"/>
                      <a:pt x="56637" y="455580"/>
                    </a:cubicBezTo>
                    <a:cubicBezTo>
                      <a:pt x="61827" y="457385"/>
                      <a:pt x="66566" y="456933"/>
                      <a:pt x="69273" y="461221"/>
                    </a:cubicBezTo>
                    <a:cubicBezTo>
                      <a:pt x="71981" y="465508"/>
                      <a:pt x="68371" y="471600"/>
                      <a:pt x="57991" y="474759"/>
                    </a:cubicBezTo>
                    <a:cubicBezTo>
                      <a:pt x="47611" y="478144"/>
                      <a:pt x="51899" y="486042"/>
                      <a:pt x="59345" y="486042"/>
                    </a:cubicBezTo>
                    <a:cubicBezTo>
                      <a:pt x="66791" y="486042"/>
                      <a:pt x="73561" y="474759"/>
                      <a:pt x="81910" y="476113"/>
                    </a:cubicBezTo>
                    <a:cubicBezTo>
                      <a:pt x="90258" y="477467"/>
                      <a:pt x="99284" y="484011"/>
                      <a:pt x="103572" y="484011"/>
                    </a:cubicBezTo>
                    <a:cubicBezTo>
                      <a:pt x="107859" y="484011"/>
                      <a:pt x="112146" y="479724"/>
                      <a:pt x="121398" y="476113"/>
                    </a:cubicBezTo>
                    <a:cubicBezTo>
                      <a:pt x="130875" y="472277"/>
                      <a:pt x="128393" y="469570"/>
                      <a:pt x="136516" y="472729"/>
                    </a:cubicBezTo>
                    <a:cubicBezTo>
                      <a:pt x="144414" y="476113"/>
                      <a:pt x="140803" y="483560"/>
                      <a:pt x="147798" y="483560"/>
                    </a:cubicBezTo>
                    <a:cubicBezTo>
                      <a:pt x="154793" y="483560"/>
                      <a:pt x="164722" y="483108"/>
                      <a:pt x="170363" y="488749"/>
                    </a:cubicBezTo>
                    <a:cubicBezTo>
                      <a:pt x="176004" y="494391"/>
                      <a:pt x="181194" y="492585"/>
                      <a:pt x="192928" y="491683"/>
                    </a:cubicBezTo>
                    <a:cubicBezTo>
                      <a:pt x="204661" y="490780"/>
                      <a:pt x="224969" y="504770"/>
                      <a:pt x="230610" y="512894"/>
                    </a:cubicBezTo>
                    <a:cubicBezTo>
                      <a:pt x="236252" y="520791"/>
                      <a:pt x="240539" y="526432"/>
                      <a:pt x="241893" y="540648"/>
                    </a:cubicBezTo>
                    <a:cubicBezTo>
                      <a:pt x="243247" y="554864"/>
                      <a:pt x="246631" y="562761"/>
                      <a:pt x="241893" y="568854"/>
                    </a:cubicBezTo>
                    <a:cubicBezTo>
                      <a:pt x="237154" y="574946"/>
                      <a:pt x="235800" y="580136"/>
                      <a:pt x="231964" y="589162"/>
                    </a:cubicBezTo>
                    <a:cubicBezTo>
                      <a:pt x="229031" y="597962"/>
                      <a:pt x="229031" y="608116"/>
                      <a:pt x="222487" y="616240"/>
                    </a:cubicBezTo>
                    <a:cubicBezTo>
                      <a:pt x="215943" y="624137"/>
                      <a:pt x="217297" y="627973"/>
                      <a:pt x="213461" y="634517"/>
                    </a:cubicBezTo>
                    <a:cubicBezTo>
                      <a:pt x="209625" y="641061"/>
                      <a:pt x="204887" y="641061"/>
                      <a:pt x="204887" y="647153"/>
                    </a:cubicBezTo>
                    <a:cubicBezTo>
                      <a:pt x="204887" y="653246"/>
                      <a:pt x="209174" y="651440"/>
                      <a:pt x="195410" y="655728"/>
                    </a:cubicBezTo>
                    <a:cubicBezTo>
                      <a:pt x="181871" y="660015"/>
                      <a:pt x="172845" y="657984"/>
                      <a:pt x="168558" y="660466"/>
                    </a:cubicBezTo>
                    <a:cubicBezTo>
                      <a:pt x="164270" y="662723"/>
                      <a:pt x="159081" y="664754"/>
                      <a:pt x="153891" y="671297"/>
                    </a:cubicBezTo>
                    <a:cubicBezTo>
                      <a:pt x="148701" y="677841"/>
                      <a:pt x="145993" y="689123"/>
                      <a:pt x="148250" y="692508"/>
                    </a:cubicBezTo>
                    <a:cubicBezTo>
                      <a:pt x="150506" y="695893"/>
                      <a:pt x="159532" y="703790"/>
                      <a:pt x="156824" y="708980"/>
                    </a:cubicBezTo>
                    <a:cubicBezTo>
                      <a:pt x="153891" y="714170"/>
                      <a:pt x="155019" y="721165"/>
                      <a:pt x="147347" y="729288"/>
                    </a:cubicBezTo>
                    <a:cubicBezTo>
                      <a:pt x="139901" y="737186"/>
                      <a:pt x="134034" y="750499"/>
                      <a:pt x="137193" y="766069"/>
                    </a:cubicBezTo>
                    <a:cubicBezTo>
                      <a:pt x="140352" y="781638"/>
                      <a:pt x="142834" y="785474"/>
                      <a:pt x="138998" y="793597"/>
                    </a:cubicBezTo>
                    <a:cubicBezTo>
                      <a:pt x="135162" y="801721"/>
                      <a:pt x="144639" y="797885"/>
                      <a:pt x="143285" y="811198"/>
                    </a:cubicBezTo>
                    <a:cubicBezTo>
                      <a:pt x="141931" y="824285"/>
                      <a:pt x="141480" y="821803"/>
                      <a:pt x="147121" y="828121"/>
                    </a:cubicBezTo>
                    <a:cubicBezTo>
                      <a:pt x="152762" y="834439"/>
                      <a:pt x="165399" y="815485"/>
                      <a:pt x="170363" y="822480"/>
                    </a:cubicBezTo>
                    <a:cubicBezTo>
                      <a:pt x="175327" y="829475"/>
                      <a:pt x="182322" y="832409"/>
                      <a:pt x="187286" y="832409"/>
                    </a:cubicBezTo>
                    <a:cubicBezTo>
                      <a:pt x="192251" y="832409"/>
                      <a:pt x="196087" y="831732"/>
                      <a:pt x="197215" y="839855"/>
                    </a:cubicBezTo>
                    <a:cubicBezTo>
                      <a:pt x="198569" y="847978"/>
                      <a:pt x="207143" y="837373"/>
                      <a:pt x="217297" y="838501"/>
                    </a:cubicBezTo>
                    <a:cubicBezTo>
                      <a:pt x="227226" y="839855"/>
                      <a:pt x="237380" y="837147"/>
                      <a:pt x="232416" y="822931"/>
                    </a:cubicBezTo>
                    <a:cubicBezTo>
                      <a:pt x="227451" y="808490"/>
                      <a:pt x="229256" y="809167"/>
                      <a:pt x="224969" y="800367"/>
                    </a:cubicBezTo>
                    <a:cubicBezTo>
                      <a:pt x="220682" y="791567"/>
                      <a:pt x="224292" y="789761"/>
                      <a:pt x="217523" y="788407"/>
                    </a:cubicBezTo>
                    <a:cubicBezTo>
                      <a:pt x="210528" y="787054"/>
                      <a:pt x="213236" y="782089"/>
                      <a:pt x="206918" y="775771"/>
                    </a:cubicBezTo>
                    <a:cubicBezTo>
                      <a:pt x="200599" y="769453"/>
                      <a:pt x="199471" y="765843"/>
                      <a:pt x="199471" y="759525"/>
                    </a:cubicBezTo>
                    <a:cubicBezTo>
                      <a:pt x="199471" y="753207"/>
                      <a:pt x="200825" y="749596"/>
                      <a:pt x="195184" y="744407"/>
                    </a:cubicBezTo>
                    <a:cubicBezTo>
                      <a:pt x="189543" y="739442"/>
                      <a:pt x="187061" y="730642"/>
                      <a:pt x="188866" y="728837"/>
                    </a:cubicBezTo>
                    <a:cubicBezTo>
                      <a:pt x="190671" y="727032"/>
                      <a:pt x="183225" y="715750"/>
                      <a:pt x="185030" y="712590"/>
                    </a:cubicBezTo>
                    <a:cubicBezTo>
                      <a:pt x="186835" y="709431"/>
                      <a:pt x="182548" y="699503"/>
                      <a:pt x="182548" y="691380"/>
                    </a:cubicBezTo>
                    <a:cubicBezTo>
                      <a:pt x="182548" y="683256"/>
                      <a:pt x="178260" y="677615"/>
                      <a:pt x="186835" y="678292"/>
                    </a:cubicBezTo>
                    <a:cubicBezTo>
                      <a:pt x="195410" y="678969"/>
                      <a:pt x="191799" y="687092"/>
                      <a:pt x="199471" y="678969"/>
                    </a:cubicBezTo>
                    <a:cubicBezTo>
                      <a:pt x="206918" y="670846"/>
                      <a:pt x="213913" y="665882"/>
                      <a:pt x="218200" y="667010"/>
                    </a:cubicBezTo>
                    <a:cubicBezTo>
                      <a:pt x="222487" y="668364"/>
                      <a:pt x="229482" y="677615"/>
                      <a:pt x="220005" y="684610"/>
                    </a:cubicBezTo>
                    <a:cubicBezTo>
                      <a:pt x="210528" y="691605"/>
                      <a:pt x="221810" y="687092"/>
                      <a:pt x="220682" y="695893"/>
                    </a:cubicBezTo>
                    <a:cubicBezTo>
                      <a:pt x="219328" y="704693"/>
                      <a:pt x="232641" y="699052"/>
                      <a:pt x="232641" y="705821"/>
                    </a:cubicBezTo>
                    <a:cubicBezTo>
                      <a:pt x="232641" y="712816"/>
                      <a:pt x="242570" y="705144"/>
                      <a:pt x="245729" y="713944"/>
                    </a:cubicBezTo>
                    <a:cubicBezTo>
                      <a:pt x="248888" y="722745"/>
                      <a:pt x="252724" y="718232"/>
                      <a:pt x="255657" y="720939"/>
                    </a:cubicBezTo>
                    <a:cubicBezTo>
                      <a:pt x="258591" y="723647"/>
                      <a:pt x="261975" y="727934"/>
                      <a:pt x="266939" y="707852"/>
                    </a:cubicBezTo>
                    <a:cubicBezTo>
                      <a:pt x="271904" y="687769"/>
                      <a:pt x="295145" y="694764"/>
                      <a:pt x="285217" y="710334"/>
                    </a:cubicBezTo>
                    <a:cubicBezTo>
                      <a:pt x="275288" y="725904"/>
                      <a:pt x="280253" y="737186"/>
                      <a:pt x="292212" y="729063"/>
                    </a:cubicBezTo>
                    <a:cubicBezTo>
                      <a:pt x="304171" y="720939"/>
                      <a:pt x="314099" y="704016"/>
                      <a:pt x="316130" y="719586"/>
                    </a:cubicBezTo>
                    <a:cubicBezTo>
                      <a:pt x="317935" y="735155"/>
                      <a:pt x="331249" y="733350"/>
                      <a:pt x="335536" y="719586"/>
                    </a:cubicBezTo>
                    <a:cubicBezTo>
                      <a:pt x="339823" y="705821"/>
                      <a:pt x="342531" y="702662"/>
                      <a:pt x="359454" y="698375"/>
                    </a:cubicBezTo>
                    <a:cubicBezTo>
                      <a:pt x="376378" y="694087"/>
                      <a:pt x="380665" y="685287"/>
                      <a:pt x="389465" y="695893"/>
                    </a:cubicBezTo>
                    <a:cubicBezTo>
                      <a:pt x="398265" y="706498"/>
                      <a:pt x="402101" y="715975"/>
                      <a:pt x="412707" y="709657"/>
                    </a:cubicBezTo>
                    <a:cubicBezTo>
                      <a:pt x="423312" y="703339"/>
                      <a:pt x="416543" y="717103"/>
                      <a:pt x="406389" y="722293"/>
                    </a:cubicBezTo>
                    <a:cubicBezTo>
                      <a:pt x="396460" y="727257"/>
                      <a:pt x="375701" y="736058"/>
                      <a:pt x="391947" y="739217"/>
                    </a:cubicBezTo>
                    <a:cubicBezTo>
                      <a:pt x="408194" y="742376"/>
                      <a:pt x="415189" y="744858"/>
                      <a:pt x="421507" y="738540"/>
                    </a:cubicBezTo>
                    <a:cubicBezTo>
                      <a:pt x="427825" y="732222"/>
                      <a:pt x="433466" y="719134"/>
                      <a:pt x="442718" y="717780"/>
                    </a:cubicBezTo>
                    <a:cubicBezTo>
                      <a:pt x="452195" y="716426"/>
                      <a:pt x="441364" y="730416"/>
                      <a:pt x="449713" y="729740"/>
                    </a:cubicBezTo>
                    <a:cubicBezTo>
                      <a:pt x="457836" y="729063"/>
                      <a:pt x="462349" y="737186"/>
                      <a:pt x="457836" y="741699"/>
                    </a:cubicBezTo>
                    <a:cubicBezTo>
                      <a:pt x="453549" y="745986"/>
                      <a:pt x="459190" y="755463"/>
                      <a:pt x="478595" y="749822"/>
                    </a:cubicBezTo>
                    <a:cubicBezTo>
                      <a:pt x="498001" y="744181"/>
                      <a:pt x="490555" y="746663"/>
                      <a:pt x="504319" y="748468"/>
                    </a:cubicBezTo>
                    <a:cubicBezTo>
                      <a:pt x="518084" y="750273"/>
                      <a:pt x="502514" y="727709"/>
                      <a:pt x="509960" y="726580"/>
                    </a:cubicBezTo>
                    <a:cubicBezTo>
                      <a:pt x="517407" y="725227"/>
                      <a:pt x="513796" y="725904"/>
                      <a:pt x="527561" y="727934"/>
                    </a:cubicBezTo>
                    <a:cubicBezTo>
                      <a:pt x="541325" y="729740"/>
                      <a:pt x="536361" y="712365"/>
                      <a:pt x="542679" y="711011"/>
                    </a:cubicBezTo>
                    <a:cubicBezTo>
                      <a:pt x="548997" y="709657"/>
                      <a:pt x="549674" y="723647"/>
                      <a:pt x="554638" y="728611"/>
                    </a:cubicBezTo>
                    <a:cubicBezTo>
                      <a:pt x="559603" y="733575"/>
                      <a:pt x="570885" y="725452"/>
                      <a:pt x="581039" y="733575"/>
                    </a:cubicBezTo>
                    <a:cubicBezTo>
                      <a:pt x="590967" y="741699"/>
                      <a:pt x="616691" y="746663"/>
                      <a:pt x="618045" y="757945"/>
                    </a:cubicBezTo>
                    <a:cubicBezTo>
                      <a:pt x="619399" y="769228"/>
                      <a:pt x="634968" y="783669"/>
                      <a:pt x="646927" y="779156"/>
                    </a:cubicBezTo>
                    <a:cubicBezTo>
                      <a:pt x="658887" y="774869"/>
                      <a:pt x="663174" y="774869"/>
                      <a:pt x="671974" y="777351"/>
                    </a:cubicBezTo>
                    <a:cubicBezTo>
                      <a:pt x="680774" y="779833"/>
                      <a:pt x="688898" y="776674"/>
                      <a:pt x="692057" y="783669"/>
                    </a:cubicBezTo>
                    <a:cubicBezTo>
                      <a:pt x="695216" y="790664"/>
                      <a:pt x="684611" y="789310"/>
                      <a:pt x="688221" y="803075"/>
                    </a:cubicBezTo>
                    <a:cubicBezTo>
                      <a:pt x="692057" y="816839"/>
                      <a:pt x="689575" y="816839"/>
                      <a:pt x="695216" y="824285"/>
                    </a:cubicBezTo>
                    <a:cubicBezTo>
                      <a:pt x="700857" y="831732"/>
                      <a:pt x="702662" y="836921"/>
                      <a:pt x="697021" y="843691"/>
                    </a:cubicBezTo>
                    <a:cubicBezTo>
                      <a:pt x="691380" y="850686"/>
                      <a:pt x="688221" y="855650"/>
                      <a:pt x="698375" y="864450"/>
                    </a:cubicBezTo>
                    <a:cubicBezTo>
                      <a:pt x="708303" y="873250"/>
                      <a:pt x="702662" y="875056"/>
                      <a:pt x="711462" y="882051"/>
                    </a:cubicBezTo>
                    <a:cubicBezTo>
                      <a:pt x="720262" y="889046"/>
                      <a:pt x="741022" y="887015"/>
                      <a:pt x="749597" y="883404"/>
                    </a:cubicBezTo>
                    <a:cubicBezTo>
                      <a:pt x="758397" y="879569"/>
                      <a:pt x="759074" y="868963"/>
                      <a:pt x="766746" y="860614"/>
                    </a:cubicBezTo>
                    <a:cubicBezTo>
                      <a:pt x="774418" y="852265"/>
                      <a:pt x="765392" y="843239"/>
                      <a:pt x="774192" y="837598"/>
                    </a:cubicBezTo>
                    <a:cubicBezTo>
                      <a:pt x="783218" y="831957"/>
                      <a:pt x="768100" y="818418"/>
                      <a:pt x="776448" y="810747"/>
                    </a:cubicBezTo>
                    <a:cubicBezTo>
                      <a:pt x="785023" y="803300"/>
                      <a:pt x="789987" y="794274"/>
                      <a:pt x="789536" y="789536"/>
                    </a:cubicBezTo>
                    <a:cubicBezTo>
                      <a:pt x="789085" y="784797"/>
                      <a:pt x="779156" y="772161"/>
                      <a:pt x="776448" y="763135"/>
                    </a:cubicBezTo>
                    <a:cubicBezTo>
                      <a:pt x="773515" y="754109"/>
                      <a:pt x="762233" y="731093"/>
                      <a:pt x="767874" y="724550"/>
                    </a:cubicBezTo>
                    <a:cubicBezTo>
                      <a:pt x="773515" y="718006"/>
                      <a:pt x="772161" y="708078"/>
                      <a:pt x="776448" y="701534"/>
                    </a:cubicBezTo>
                    <a:cubicBezTo>
                      <a:pt x="780736" y="694990"/>
                      <a:pt x="795628" y="685964"/>
                      <a:pt x="801270" y="685062"/>
                    </a:cubicBezTo>
                    <a:cubicBezTo>
                      <a:pt x="806911" y="684159"/>
                      <a:pt x="825639" y="659112"/>
                      <a:pt x="836470" y="652117"/>
                    </a:cubicBezTo>
                    <a:cubicBezTo>
                      <a:pt x="847301" y="645122"/>
                      <a:pt x="851589" y="636999"/>
                      <a:pt x="860389" y="632260"/>
                    </a:cubicBezTo>
                    <a:cubicBezTo>
                      <a:pt x="869415" y="627522"/>
                      <a:pt x="881148" y="628424"/>
                      <a:pt x="893784" y="628424"/>
                    </a:cubicBezTo>
                    <a:cubicBezTo>
                      <a:pt x="906421" y="628424"/>
                      <a:pt x="908000" y="623235"/>
                      <a:pt x="910708" y="618496"/>
                    </a:cubicBezTo>
                    <a:cubicBezTo>
                      <a:pt x="913641" y="613757"/>
                      <a:pt x="906646" y="604055"/>
                      <a:pt x="896718" y="602024"/>
                    </a:cubicBezTo>
                    <a:close/>
                  </a:path>
                </a:pathLst>
              </a:custGeom>
              <a:solidFill>
                <a:srgbClr val="80C342">
                  <a:alpha val="70000"/>
                </a:srgbClr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xmlns="" id="{BBA0CCD0-F04D-47B4-B141-53B9541E2F35}"/>
                  </a:ext>
                </a:extLst>
              </p:cNvPr>
              <p:cNvSpPr/>
              <p:nvPr/>
            </p:nvSpPr>
            <p:spPr>
              <a:xfrm>
                <a:off x="8897328" y="2008206"/>
                <a:ext cx="361034" cy="428728"/>
              </a:xfrm>
              <a:custGeom>
                <a:avLst/>
                <a:gdLst>
                  <a:gd name="connsiteX0" fmla="*/ 374750 w 361033"/>
                  <a:gd name="connsiteY0" fmla="*/ 65663 h 428727"/>
                  <a:gd name="connsiteX1" fmla="*/ 362339 w 361033"/>
                  <a:gd name="connsiteY1" fmla="*/ 68822 h 428727"/>
                  <a:gd name="connsiteX2" fmla="*/ 337969 w 361033"/>
                  <a:gd name="connsiteY2" fmla="*/ 58442 h 428727"/>
                  <a:gd name="connsiteX3" fmla="*/ 321949 w 361033"/>
                  <a:gd name="connsiteY3" fmla="*/ 29334 h 428727"/>
                  <a:gd name="connsiteX4" fmla="*/ 294645 w 361033"/>
                  <a:gd name="connsiteY4" fmla="*/ 7672 h 428727"/>
                  <a:gd name="connsiteX5" fmla="*/ 283363 w 361033"/>
                  <a:gd name="connsiteY5" fmla="*/ 0 h 428727"/>
                  <a:gd name="connsiteX6" fmla="*/ 282235 w 361033"/>
                  <a:gd name="connsiteY6" fmla="*/ 451 h 428727"/>
                  <a:gd name="connsiteX7" fmla="*/ 282009 w 361033"/>
                  <a:gd name="connsiteY7" fmla="*/ 6995 h 428727"/>
                  <a:gd name="connsiteX8" fmla="*/ 288102 w 361033"/>
                  <a:gd name="connsiteY8" fmla="*/ 23467 h 428727"/>
                  <a:gd name="connsiteX9" fmla="*/ 292389 w 361033"/>
                  <a:gd name="connsiteY9" fmla="*/ 41293 h 428727"/>
                  <a:gd name="connsiteX10" fmla="*/ 296225 w 361033"/>
                  <a:gd name="connsiteY10" fmla="*/ 62955 h 428727"/>
                  <a:gd name="connsiteX11" fmla="*/ 276368 w 361033"/>
                  <a:gd name="connsiteY11" fmla="*/ 57314 h 428727"/>
                  <a:gd name="connsiteX12" fmla="*/ 262152 w 361033"/>
                  <a:gd name="connsiteY12" fmla="*/ 80330 h 428727"/>
                  <a:gd name="connsiteX13" fmla="*/ 256963 w 361033"/>
                  <a:gd name="connsiteY13" fmla="*/ 98607 h 428727"/>
                  <a:gd name="connsiteX14" fmla="*/ 236203 w 361033"/>
                  <a:gd name="connsiteY14" fmla="*/ 97705 h 428727"/>
                  <a:gd name="connsiteX15" fmla="*/ 207095 w 361033"/>
                  <a:gd name="connsiteY15" fmla="*/ 118464 h 428727"/>
                  <a:gd name="connsiteX16" fmla="*/ 196715 w 361033"/>
                  <a:gd name="connsiteY16" fmla="*/ 136742 h 428727"/>
                  <a:gd name="connsiteX17" fmla="*/ 174150 w 361033"/>
                  <a:gd name="connsiteY17" fmla="*/ 142383 h 428727"/>
                  <a:gd name="connsiteX18" fmla="*/ 147750 w 361033"/>
                  <a:gd name="connsiteY18" fmla="*/ 148024 h 428727"/>
                  <a:gd name="connsiteX19" fmla="*/ 117287 w 361033"/>
                  <a:gd name="connsiteY19" fmla="*/ 147121 h 428727"/>
                  <a:gd name="connsiteX20" fmla="*/ 102621 w 361033"/>
                  <a:gd name="connsiteY20" fmla="*/ 166301 h 428727"/>
                  <a:gd name="connsiteX21" fmla="*/ 89533 w 361033"/>
                  <a:gd name="connsiteY21" fmla="*/ 166301 h 428727"/>
                  <a:gd name="connsiteX22" fmla="*/ 87277 w 361033"/>
                  <a:gd name="connsiteY22" fmla="*/ 142383 h 428727"/>
                  <a:gd name="connsiteX23" fmla="*/ 68548 w 361033"/>
                  <a:gd name="connsiteY23" fmla="*/ 134485 h 428727"/>
                  <a:gd name="connsiteX24" fmla="*/ 49368 w 361033"/>
                  <a:gd name="connsiteY24" fmla="*/ 117562 h 428727"/>
                  <a:gd name="connsiteX25" fmla="*/ 26803 w 361033"/>
                  <a:gd name="connsiteY25" fmla="*/ 118464 h 428727"/>
                  <a:gd name="connsiteX26" fmla="*/ 9429 w 361033"/>
                  <a:gd name="connsiteY26" fmla="*/ 123428 h 428727"/>
                  <a:gd name="connsiteX27" fmla="*/ 6044 w 361033"/>
                  <a:gd name="connsiteY27" fmla="*/ 128844 h 428727"/>
                  <a:gd name="connsiteX28" fmla="*/ 1305 w 361033"/>
                  <a:gd name="connsiteY28" fmla="*/ 136290 h 428727"/>
                  <a:gd name="connsiteX29" fmla="*/ 403 w 361033"/>
                  <a:gd name="connsiteY29" fmla="*/ 143285 h 428727"/>
                  <a:gd name="connsiteX30" fmla="*/ 15521 w 361033"/>
                  <a:gd name="connsiteY30" fmla="*/ 148926 h 428727"/>
                  <a:gd name="connsiteX31" fmla="*/ 12362 w 361033"/>
                  <a:gd name="connsiteY31" fmla="*/ 164496 h 428727"/>
                  <a:gd name="connsiteX32" fmla="*/ 9880 w 361033"/>
                  <a:gd name="connsiteY32" fmla="*/ 182096 h 428727"/>
                  <a:gd name="connsiteX33" fmla="*/ 16875 w 361033"/>
                  <a:gd name="connsiteY33" fmla="*/ 206466 h 428727"/>
                  <a:gd name="connsiteX34" fmla="*/ 38763 w 361033"/>
                  <a:gd name="connsiteY34" fmla="*/ 199471 h 428727"/>
                  <a:gd name="connsiteX35" fmla="*/ 49368 w 361033"/>
                  <a:gd name="connsiteY35" fmla="*/ 200825 h 428727"/>
                  <a:gd name="connsiteX36" fmla="*/ 60650 w 361033"/>
                  <a:gd name="connsiteY36" fmla="*/ 206466 h 428727"/>
                  <a:gd name="connsiteX37" fmla="*/ 74415 w 361033"/>
                  <a:gd name="connsiteY37" fmla="*/ 214589 h 428727"/>
                  <a:gd name="connsiteX38" fmla="*/ 92015 w 361033"/>
                  <a:gd name="connsiteY38" fmla="*/ 214589 h 428727"/>
                  <a:gd name="connsiteX39" fmla="*/ 106456 w 361033"/>
                  <a:gd name="connsiteY39" fmla="*/ 225195 h 428727"/>
                  <a:gd name="connsiteX40" fmla="*/ 117062 w 361033"/>
                  <a:gd name="connsiteY40" fmla="*/ 249565 h 428727"/>
                  <a:gd name="connsiteX41" fmla="*/ 116385 w 361033"/>
                  <a:gd name="connsiteY41" fmla="*/ 267842 h 428727"/>
                  <a:gd name="connsiteX42" fmla="*/ 121349 w 361033"/>
                  <a:gd name="connsiteY42" fmla="*/ 285442 h 428727"/>
                  <a:gd name="connsiteX43" fmla="*/ 126313 w 361033"/>
                  <a:gd name="connsiteY43" fmla="*/ 305525 h 428727"/>
                  <a:gd name="connsiteX44" fmla="*/ 148201 w 361033"/>
                  <a:gd name="connsiteY44" fmla="*/ 331925 h 428727"/>
                  <a:gd name="connsiteX45" fmla="*/ 171443 w 361033"/>
                  <a:gd name="connsiteY45" fmla="*/ 346367 h 428727"/>
                  <a:gd name="connsiteX46" fmla="*/ 177084 w 361033"/>
                  <a:gd name="connsiteY46" fmla="*/ 367126 h 428727"/>
                  <a:gd name="connsiteX47" fmla="*/ 173248 w 361033"/>
                  <a:gd name="connsiteY47" fmla="*/ 382244 h 428727"/>
                  <a:gd name="connsiteX48" fmla="*/ 166930 w 361033"/>
                  <a:gd name="connsiteY48" fmla="*/ 399845 h 428727"/>
                  <a:gd name="connsiteX49" fmla="*/ 171217 w 361033"/>
                  <a:gd name="connsiteY49" fmla="*/ 412932 h 428727"/>
                  <a:gd name="connsiteX50" fmla="*/ 191299 w 361033"/>
                  <a:gd name="connsiteY50" fmla="*/ 411578 h 428727"/>
                  <a:gd name="connsiteX51" fmla="*/ 194459 w 361033"/>
                  <a:gd name="connsiteY51" fmla="*/ 400973 h 428727"/>
                  <a:gd name="connsiteX52" fmla="*/ 202582 w 361033"/>
                  <a:gd name="connsiteY52" fmla="*/ 385855 h 428727"/>
                  <a:gd name="connsiteX53" fmla="*/ 213864 w 361033"/>
                  <a:gd name="connsiteY53" fmla="*/ 378409 h 428727"/>
                  <a:gd name="connsiteX54" fmla="*/ 222664 w 361033"/>
                  <a:gd name="connsiteY54" fmla="*/ 371413 h 428727"/>
                  <a:gd name="connsiteX55" fmla="*/ 232141 w 361033"/>
                  <a:gd name="connsiteY55" fmla="*/ 384050 h 428727"/>
                  <a:gd name="connsiteX56" fmla="*/ 236429 w 361033"/>
                  <a:gd name="connsiteY56" fmla="*/ 392173 h 428727"/>
                  <a:gd name="connsiteX57" fmla="*/ 255834 w 361033"/>
                  <a:gd name="connsiteY57" fmla="*/ 387209 h 428727"/>
                  <a:gd name="connsiteX58" fmla="*/ 263957 w 361033"/>
                  <a:gd name="connsiteY58" fmla="*/ 374573 h 428727"/>
                  <a:gd name="connsiteX59" fmla="*/ 280881 w 361033"/>
                  <a:gd name="connsiteY59" fmla="*/ 368931 h 428727"/>
                  <a:gd name="connsiteX60" fmla="*/ 285168 w 361033"/>
                  <a:gd name="connsiteY60" fmla="*/ 380214 h 428727"/>
                  <a:gd name="connsiteX61" fmla="*/ 283363 w 361033"/>
                  <a:gd name="connsiteY61" fmla="*/ 394655 h 428727"/>
                  <a:gd name="connsiteX62" fmla="*/ 284040 w 361033"/>
                  <a:gd name="connsiteY62" fmla="*/ 420379 h 428727"/>
                  <a:gd name="connsiteX63" fmla="*/ 282686 w 361033"/>
                  <a:gd name="connsiteY63" fmla="*/ 435497 h 428727"/>
                  <a:gd name="connsiteX64" fmla="*/ 295322 w 361033"/>
                  <a:gd name="connsiteY64" fmla="*/ 431661 h 428727"/>
                  <a:gd name="connsiteX65" fmla="*/ 309764 w 361033"/>
                  <a:gd name="connsiteY65" fmla="*/ 421733 h 428727"/>
                  <a:gd name="connsiteX66" fmla="*/ 329169 w 361033"/>
                  <a:gd name="connsiteY66" fmla="*/ 418574 h 428727"/>
                  <a:gd name="connsiteX67" fmla="*/ 343611 w 361033"/>
                  <a:gd name="connsiteY67" fmla="*/ 411578 h 428727"/>
                  <a:gd name="connsiteX68" fmla="*/ 356698 w 361033"/>
                  <a:gd name="connsiteY68" fmla="*/ 382019 h 428727"/>
                  <a:gd name="connsiteX69" fmla="*/ 357375 w 361033"/>
                  <a:gd name="connsiteY69" fmla="*/ 358777 h 428727"/>
                  <a:gd name="connsiteX70" fmla="*/ 353088 w 361033"/>
                  <a:gd name="connsiteY70" fmla="*/ 332377 h 428727"/>
                  <a:gd name="connsiteX71" fmla="*/ 329169 w 361033"/>
                  <a:gd name="connsiteY71" fmla="*/ 327412 h 428727"/>
                  <a:gd name="connsiteX72" fmla="*/ 319241 w 361033"/>
                  <a:gd name="connsiteY72" fmla="*/ 337341 h 428727"/>
                  <a:gd name="connsiteX73" fmla="*/ 309312 w 361033"/>
                  <a:gd name="connsiteY73" fmla="*/ 325382 h 428727"/>
                  <a:gd name="connsiteX74" fmla="*/ 279753 w 361033"/>
                  <a:gd name="connsiteY74" fmla="*/ 319741 h 428727"/>
                  <a:gd name="connsiteX75" fmla="*/ 282235 w 361033"/>
                  <a:gd name="connsiteY75" fmla="*/ 305299 h 428727"/>
                  <a:gd name="connsiteX76" fmla="*/ 289230 w 361033"/>
                  <a:gd name="connsiteY76" fmla="*/ 286571 h 428727"/>
                  <a:gd name="connsiteX77" fmla="*/ 306830 w 361033"/>
                  <a:gd name="connsiteY77" fmla="*/ 273934 h 428727"/>
                  <a:gd name="connsiteX78" fmla="*/ 324431 w 361033"/>
                  <a:gd name="connsiteY78" fmla="*/ 261975 h 428727"/>
                  <a:gd name="connsiteX79" fmla="*/ 311343 w 361033"/>
                  <a:gd name="connsiteY79" fmla="*/ 241216 h 428727"/>
                  <a:gd name="connsiteX80" fmla="*/ 314502 w 361033"/>
                  <a:gd name="connsiteY80" fmla="*/ 220005 h 428727"/>
                  <a:gd name="connsiteX81" fmla="*/ 303897 w 361033"/>
                  <a:gd name="connsiteY81" fmla="*/ 182999 h 428727"/>
                  <a:gd name="connsiteX82" fmla="*/ 311343 w 361033"/>
                  <a:gd name="connsiteY82" fmla="*/ 161111 h 428727"/>
                  <a:gd name="connsiteX83" fmla="*/ 325785 w 361033"/>
                  <a:gd name="connsiteY83" fmla="*/ 125459 h 428727"/>
                  <a:gd name="connsiteX84" fmla="*/ 340226 w 361033"/>
                  <a:gd name="connsiteY84" fmla="*/ 113500 h 428727"/>
                  <a:gd name="connsiteX85" fmla="*/ 352185 w 361033"/>
                  <a:gd name="connsiteY85" fmla="*/ 98382 h 428727"/>
                  <a:gd name="connsiteX86" fmla="*/ 374073 w 361033"/>
                  <a:gd name="connsiteY86" fmla="*/ 76494 h 428727"/>
                  <a:gd name="connsiteX87" fmla="*/ 374750 w 361033"/>
                  <a:gd name="connsiteY87" fmla="*/ 65889 h 428727"/>
                  <a:gd name="connsiteX88" fmla="*/ 374750 w 361033"/>
                  <a:gd name="connsiteY88" fmla="*/ 65663 h 42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361033" h="428727">
                    <a:moveTo>
                      <a:pt x="374750" y="65663"/>
                    </a:moveTo>
                    <a:cubicBezTo>
                      <a:pt x="371365" y="67919"/>
                      <a:pt x="368206" y="69725"/>
                      <a:pt x="362339" y="68822"/>
                    </a:cubicBezTo>
                    <a:cubicBezTo>
                      <a:pt x="351960" y="67017"/>
                      <a:pt x="344513" y="63181"/>
                      <a:pt x="337969" y="58442"/>
                    </a:cubicBezTo>
                    <a:cubicBezTo>
                      <a:pt x="331426" y="53704"/>
                      <a:pt x="322851" y="37683"/>
                      <a:pt x="321949" y="29334"/>
                    </a:cubicBezTo>
                    <a:cubicBezTo>
                      <a:pt x="321046" y="20759"/>
                      <a:pt x="306830" y="16247"/>
                      <a:pt x="294645" y="7672"/>
                    </a:cubicBezTo>
                    <a:cubicBezTo>
                      <a:pt x="291261" y="5190"/>
                      <a:pt x="287199" y="2708"/>
                      <a:pt x="283363" y="0"/>
                    </a:cubicBezTo>
                    <a:cubicBezTo>
                      <a:pt x="282686" y="226"/>
                      <a:pt x="282235" y="451"/>
                      <a:pt x="282235" y="451"/>
                    </a:cubicBezTo>
                    <a:cubicBezTo>
                      <a:pt x="282009" y="2933"/>
                      <a:pt x="282009" y="5190"/>
                      <a:pt x="282009" y="6995"/>
                    </a:cubicBezTo>
                    <a:cubicBezTo>
                      <a:pt x="282009" y="11734"/>
                      <a:pt x="285845" y="16923"/>
                      <a:pt x="288102" y="23467"/>
                    </a:cubicBezTo>
                    <a:cubicBezTo>
                      <a:pt x="290358" y="30011"/>
                      <a:pt x="292840" y="30462"/>
                      <a:pt x="292389" y="41293"/>
                    </a:cubicBezTo>
                    <a:cubicBezTo>
                      <a:pt x="291938" y="52124"/>
                      <a:pt x="297579" y="61150"/>
                      <a:pt x="296225" y="62955"/>
                    </a:cubicBezTo>
                    <a:cubicBezTo>
                      <a:pt x="294871" y="64760"/>
                      <a:pt x="283589" y="54381"/>
                      <a:pt x="276368" y="57314"/>
                    </a:cubicBezTo>
                    <a:cubicBezTo>
                      <a:pt x="269147" y="60247"/>
                      <a:pt x="271629" y="72432"/>
                      <a:pt x="262152" y="80330"/>
                    </a:cubicBezTo>
                    <a:cubicBezTo>
                      <a:pt x="252675" y="88228"/>
                      <a:pt x="264409" y="92515"/>
                      <a:pt x="256963" y="98607"/>
                    </a:cubicBezTo>
                    <a:cubicBezTo>
                      <a:pt x="249516" y="104700"/>
                      <a:pt x="251321" y="100864"/>
                      <a:pt x="236203" y="97705"/>
                    </a:cubicBezTo>
                    <a:cubicBezTo>
                      <a:pt x="221085" y="94320"/>
                      <a:pt x="207997" y="108536"/>
                      <a:pt x="207095" y="118464"/>
                    </a:cubicBezTo>
                    <a:cubicBezTo>
                      <a:pt x="206192" y="128393"/>
                      <a:pt x="203710" y="133131"/>
                      <a:pt x="196715" y="136742"/>
                    </a:cubicBezTo>
                    <a:cubicBezTo>
                      <a:pt x="189720" y="140578"/>
                      <a:pt x="183628" y="149378"/>
                      <a:pt x="174150" y="142383"/>
                    </a:cubicBezTo>
                    <a:cubicBezTo>
                      <a:pt x="164673" y="135388"/>
                      <a:pt x="154970" y="144188"/>
                      <a:pt x="147750" y="148024"/>
                    </a:cubicBezTo>
                    <a:cubicBezTo>
                      <a:pt x="140755" y="151860"/>
                      <a:pt x="127442" y="147121"/>
                      <a:pt x="117287" y="147121"/>
                    </a:cubicBezTo>
                    <a:cubicBezTo>
                      <a:pt x="106908" y="147121"/>
                      <a:pt x="107359" y="162691"/>
                      <a:pt x="102621" y="166301"/>
                    </a:cubicBezTo>
                    <a:cubicBezTo>
                      <a:pt x="97882" y="170137"/>
                      <a:pt x="92692" y="169235"/>
                      <a:pt x="89533" y="166301"/>
                    </a:cubicBezTo>
                    <a:cubicBezTo>
                      <a:pt x="86148" y="163368"/>
                      <a:pt x="88631" y="153665"/>
                      <a:pt x="87277" y="142383"/>
                    </a:cubicBezTo>
                    <a:cubicBezTo>
                      <a:pt x="85923" y="131100"/>
                      <a:pt x="77799" y="134936"/>
                      <a:pt x="68548" y="134485"/>
                    </a:cubicBezTo>
                    <a:cubicBezTo>
                      <a:pt x="59071" y="134034"/>
                      <a:pt x="54332" y="123203"/>
                      <a:pt x="49368" y="117562"/>
                    </a:cubicBezTo>
                    <a:cubicBezTo>
                      <a:pt x="44178" y="111920"/>
                      <a:pt x="34701" y="115305"/>
                      <a:pt x="26803" y="118464"/>
                    </a:cubicBezTo>
                    <a:cubicBezTo>
                      <a:pt x="19583" y="121398"/>
                      <a:pt x="14844" y="124331"/>
                      <a:pt x="9429" y="123428"/>
                    </a:cubicBezTo>
                    <a:cubicBezTo>
                      <a:pt x="6721" y="122977"/>
                      <a:pt x="8526" y="127264"/>
                      <a:pt x="6044" y="128844"/>
                    </a:cubicBezTo>
                    <a:cubicBezTo>
                      <a:pt x="3562" y="130423"/>
                      <a:pt x="3562" y="134711"/>
                      <a:pt x="1305" y="136290"/>
                    </a:cubicBezTo>
                    <a:cubicBezTo>
                      <a:pt x="-951" y="137870"/>
                      <a:pt x="403" y="143285"/>
                      <a:pt x="403" y="143285"/>
                    </a:cubicBezTo>
                    <a:cubicBezTo>
                      <a:pt x="2885" y="145090"/>
                      <a:pt x="9880" y="147121"/>
                      <a:pt x="15521" y="148926"/>
                    </a:cubicBezTo>
                    <a:cubicBezTo>
                      <a:pt x="21162" y="150732"/>
                      <a:pt x="16198" y="160209"/>
                      <a:pt x="12362" y="164496"/>
                    </a:cubicBezTo>
                    <a:cubicBezTo>
                      <a:pt x="8526" y="168783"/>
                      <a:pt x="11685" y="175778"/>
                      <a:pt x="9880" y="182096"/>
                    </a:cubicBezTo>
                    <a:cubicBezTo>
                      <a:pt x="8075" y="188414"/>
                      <a:pt x="13039" y="202856"/>
                      <a:pt x="16875" y="206466"/>
                    </a:cubicBezTo>
                    <a:cubicBezTo>
                      <a:pt x="20711" y="210302"/>
                      <a:pt x="24998" y="205789"/>
                      <a:pt x="38763" y="199471"/>
                    </a:cubicBezTo>
                    <a:cubicBezTo>
                      <a:pt x="52527" y="193153"/>
                      <a:pt x="46209" y="200148"/>
                      <a:pt x="49368" y="200825"/>
                    </a:cubicBezTo>
                    <a:cubicBezTo>
                      <a:pt x="52527" y="201502"/>
                      <a:pt x="55686" y="203307"/>
                      <a:pt x="60650" y="206466"/>
                    </a:cubicBezTo>
                    <a:cubicBezTo>
                      <a:pt x="65615" y="209625"/>
                      <a:pt x="69451" y="210302"/>
                      <a:pt x="74415" y="214589"/>
                    </a:cubicBezTo>
                    <a:cubicBezTo>
                      <a:pt x="79379" y="218877"/>
                      <a:pt x="86374" y="217072"/>
                      <a:pt x="92015" y="214589"/>
                    </a:cubicBezTo>
                    <a:cubicBezTo>
                      <a:pt x="97656" y="212107"/>
                      <a:pt x="107585" y="215943"/>
                      <a:pt x="106456" y="225195"/>
                    </a:cubicBezTo>
                    <a:cubicBezTo>
                      <a:pt x="105103" y="234672"/>
                      <a:pt x="112775" y="239636"/>
                      <a:pt x="117062" y="249565"/>
                    </a:cubicBezTo>
                    <a:cubicBezTo>
                      <a:pt x="121349" y="259493"/>
                      <a:pt x="119544" y="261524"/>
                      <a:pt x="116385" y="267842"/>
                    </a:cubicBezTo>
                    <a:cubicBezTo>
                      <a:pt x="113226" y="274160"/>
                      <a:pt x="123831" y="279801"/>
                      <a:pt x="121349" y="285442"/>
                    </a:cubicBezTo>
                    <a:cubicBezTo>
                      <a:pt x="118867" y="291084"/>
                      <a:pt x="120672" y="303043"/>
                      <a:pt x="126313" y="305525"/>
                    </a:cubicBezTo>
                    <a:cubicBezTo>
                      <a:pt x="131955" y="308007"/>
                      <a:pt x="144591" y="327412"/>
                      <a:pt x="148201" y="331925"/>
                    </a:cubicBezTo>
                    <a:cubicBezTo>
                      <a:pt x="152037" y="336213"/>
                      <a:pt x="164448" y="336890"/>
                      <a:pt x="171443" y="346367"/>
                    </a:cubicBezTo>
                    <a:cubicBezTo>
                      <a:pt x="178438" y="355844"/>
                      <a:pt x="178438" y="363290"/>
                      <a:pt x="177084" y="367126"/>
                    </a:cubicBezTo>
                    <a:cubicBezTo>
                      <a:pt x="175730" y="370962"/>
                      <a:pt x="175279" y="377055"/>
                      <a:pt x="173248" y="382244"/>
                    </a:cubicBezTo>
                    <a:cubicBezTo>
                      <a:pt x="171443" y="387209"/>
                      <a:pt x="171894" y="393527"/>
                      <a:pt x="166930" y="399845"/>
                    </a:cubicBezTo>
                    <a:cubicBezTo>
                      <a:pt x="161966" y="406163"/>
                      <a:pt x="165576" y="409773"/>
                      <a:pt x="171217" y="412932"/>
                    </a:cubicBezTo>
                    <a:cubicBezTo>
                      <a:pt x="176858" y="416091"/>
                      <a:pt x="191299" y="415414"/>
                      <a:pt x="191299" y="411578"/>
                    </a:cubicBezTo>
                    <a:cubicBezTo>
                      <a:pt x="191299" y="407743"/>
                      <a:pt x="189494" y="404132"/>
                      <a:pt x="194459" y="400973"/>
                    </a:cubicBezTo>
                    <a:cubicBezTo>
                      <a:pt x="199423" y="397814"/>
                      <a:pt x="198746" y="387886"/>
                      <a:pt x="202582" y="385855"/>
                    </a:cubicBezTo>
                    <a:cubicBezTo>
                      <a:pt x="206418" y="384050"/>
                      <a:pt x="211382" y="382696"/>
                      <a:pt x="213864" y="378409"/>
                    </a:cubicBezTo>
                    <a:cubicBezTo>
                      <a:pt x="216346" y="374121"/>
                      <a:pt x="217023" y="370962"/>
                      <a:pt x="222664" y="371413"/>
                    </a:cubicBezTo>
                    <a:cubicBezTo>
                      <a:pt x="228305" y="372090"/>
                      <a:pt x="229659" y="378409"/>
                      <a:pt x="232141" y="384050"/>
                    </a:cubicBezTo>
                    <a:cubicBezTo>
                      <a:pt x="234624" y="389691"/>
                      <a:pt x="233947" y="392173"/>
                      <a:pt x="236429" y="392173"/>
                    </a:cubicBezTo>
                    <a:cubicBezTo>
                      <a:pt x="238911" y="392173"/>
                      <a:pt x="253352" y="392173"/>
                      <a:pt x="255834" y="387209"/>
                    </a:cubicBezTo>
                    <a:cubicBezTo>
                      <a:pt x="258316" y="382244"/>
                      <a:pt x="259670" y="380891"/>
                      <a:pt x="263957" y="374573"/>
                    </a:cubicBezTo>
                    <a:cubicBezTo>
                      <a:pt x="268245" y="368254"/>
                      <a:pt x="278399" y="368254"/>
                      <a:pt x="280881" y="368931"/>
                    </a:cubicBezTo>
                    <a:cubicBezTo>
                      <a:pt x="283363" y="369608"/>
                      <a:pt x="282686" y="375926"/>
                      <a:pt x="285168" y="380214"/>
                    </a:cubicBezTo>
                    <a:cubicBezTo>
                      <a:pt x="287650" y="384501"/>
                      <a:pt x="286973" y="385855"/>
                      <a:pt x="283363" y="394655"/>
                    </a:cubicBezTo>
                    <a:cubicBezTo>
                      <a:pt x="279527" y="403455"/>
                      <a:pt x="287199" y="415414"/>
                      <a:pt x="284040" y="420379"/>
                    </a:cubicBezTo>
                    <a:cubicBezTo>
                      <a:pt x="280881" y="425343"/>
                      <a:pt x="279076" y="433466"/>
                      <a:pt x="282686" y="435497"/>
                    </a:cubicBezTo>
                    <a:cubicBezTo>
                      <a:pt x="286522" y="437302"/>
                      <a:pt x="291486" y="438656"/>
                      <a:pt x="295322" y="431661"/>
                    </a:cubicBezTo>
                    <a:cubicBezTo>
                      <a:pt x="299158" y="424666"/>
                      <a:pt x="302317" y="425343"/>
                      <a:pt x="309764" y="421733"/>
                    </a:cubicBezTo>
                    <a:cubicBezTo>
                      <a:pt x="317210" y="417897"/>
                      <a:pt x="322400" y="419927"/>
                      <a:pt x="329169" y="418574"/>
                    </a:cubicBezTo>
                    <a:cubicBezTo>
                      <a:pt x="336164" y="417220"/>
                      <a:pt x="340452" y="417220"/>
                      <a:pt x="343611" y="411578"/>
                    </a:cubicBezTo>
                    <a:cubicBezTo>
                      <a:pt x="346770" y="405937"/>
                      <a:pt x="354893" y="392850"/>
                      <a:pt x="356698" y="382019"/>
                    </a:cubicBezTo>
                    <a:cubicBezTo>
                      <a:pt x="358503" y="371413"/>
                      <a:pt x="354216" y="365772"/>
                      <a:pt x="357375" y="358777"/>
                    </a:cubicBezTo>
                    <a:cubicBezTo>
                      <a:pt x="360534" y="351782"/>
                      <a:pt x="353539" y="340500"/>
                      <a:pt x="353088" y="332377"/>
                    </a:cubicBezTo>
                    <a:cubicBezTo>
                      <a:pt x="352411" y="324253"/>
                      <a:pt x="334359" y="324253"/>
                      <a:pt x="329169" y="327412"/>
                    </a:cubicBezTo>
                    <a:cubicBezTo>
                      <a:pt x="324205" y="330572"/>
                      <a:pt x="325333" y="338018"/>
                      <a:pt x="319241" y="337341"/>
                    </a:cubicBezTo>
                    <a:cubicBezTo>
                      <a:pt x="312923" y="336664"/>
                      <a:pt x="312923" y="330346"/>
                      <a:pt x="309312" y="325382"/>
                    </a:cubicBezTo>
                    <a:cubicBezTo>
                      <a:pt x="305476" y="320417"/>
                      <a:pt x="288553" y="322223"/>
                      <a:pt x="279753" y="319741"/>
                    </a:cubicBezTo>
                    <a:cubicBezTo>
                      <a:pt x="270953" y="317258"/>
                      <a:pt x="280430" y="313422"/>
                      <a:pt x="282235" y="305299"/>
                    </a:cubicBezTo>
                    <a:cubicBezTo>
                      <a:pt x="284040" y="297176"/>
                      <a:pt x="282912" y="290858"/>
                      <a:pt x="289230" y="286571"/>
                    </a:cubicBezTo>
                    <a:cubicBezTo>
                      <a:pt x="295548" y="282283"/>
                      <a:pt x="297353" y="284088"/>
                      <a:pt x="306830" y="273934"/>
                    </a:cubicBezTo>
                    <a:cubicBezTo>
                      <a:pt x="316307" y="264006"/>
                      <a:pt x="323754" y="268293"/>
                      <a:pt x="324431" y="261975"/>
                    </a:cubicBezTo>
                    <a:cubicBezTo>
                      <a:pt x="325108" y="255657"/>
                      <a:pt x="316307" y="251370"/>
                      <a:pt x="311343" y="241216"/>
                    </a:cubicBezTo>
                    <a:cubicBezTo>
                      <a:pt x="306379" y="231287"/>
                      <a:pt x="316307" y="229933"/>
                      <a:pt x="314502" y="220005"/>
                    </a:cubicBezTo>
                    <a:cubicBezTo>
                      <a:pt x="312697" y="210077"/>
                      <a:pt x="303897" y="197440"/>
                      <a:pt x="303897" y="182999"/>
                    </a:cubicBezTo>
                    <a:cubicBezTo>
                      <a:pt x="303897" y="168558"/>
                      <a:pt x="303897" y="173522"/>
                      <a:pt x="311343" y="161111"/>
                    </a:cubicBezTo>
                    <a:cubicBezTo>
                      <a:pt x="318790" y="148475"/>
                      <a:pt x="323302" y="136065"/>
                      <a:pt x="325785" y="125459"/>
                    </a:cubicBezTo>
                    <a:cubicBezTo>
                      <a:pt x="328267" y="114854"/>
                      <a:pt x="328267" y="118464"/>
                      <a:pt x="340226" y="113500"/>
                    </a:cubicBezTo>
                    <a:cubicBezTo>
                      <a:pt x="352185" y="108536"/>
                      <a:pt x="352185" y="106054"/>
                      <a:pt x="352185" y="98382"/>
                    </a:cubicBezTo>
                    <a:cubicBezTo>
                      <a:pt x="352185" y="90935"/>
                      <a:pt x="368432" y="86422"/>
                      <a:pt x="374073" y="76494"/>
                    </a:cubicBezTo>
                    <a:cubicBezTo>
                      <a:pt x="375878" y="73109"/>
                      <a:pt x="375878" y="69499"/>
                      <a:pt x="374750" y="65889"/>
                    </a:cubicBezTo>
                    <a:cubicBezTo>
                      <a:pt x="374750" y="65889"/>
                      <a:pt x="374750" y="65889"/>
                      <a:pt x="374750" y="65663"/>
                    </a:cubicBezTo>
                    <a:close/>
                  </a:path>
                </a:pathLst>
              </a:custGeom>
              <a:solidFill>
                <a:srgbClr val="80C342">
                  <a:alpha val="70000"/>
                </a:srgbClr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xmlns="" id="{744A90F4-03E9-4F72-ACB3-B8FC77A7F1CB}"/>
                  </a:ext>
                </a:extLst>
              </p:cNvPr>
              <p:cNvSpPr/>
              <p:nvPr/>
            </p:nvSpPr>
            <p:spPr>
              <a:xfrm>
                <a:off x="8830928" y="1775113"/>
                <a:ext cx="361034" cy="383598"/>
              </a:xfrm>
              <a:custGeom>
                <a:avLst/>
                <a:gdLst>
                  <a:gd name="connsiteX0" fmla="*/ 241453 w 361033"/>
                  <a:gd name="connsiteY0" fmla="*/ 3836 h 383598"/>
                  <a:gd name="connsiteX1" fmla="*/ 245515 w 361033"/>
                  <a:gd name="connsiteY1" fmla="*/ 0 h 383598"/>
                  <a:gd name="connsiteX2" fmla="*/ 241453 w 361033"/>
                  <a:gd name="connsiteY2" fmla="*/ 3836 h 383598"/>
                  <a:gd name="connsiteX3" fmla="*/ 358789 w 361033"/>
                  <a:gd name="connsiteY3" fmla="*/ 274160 h 383598"/>
                  <a:gd name="connsiteX4" fmla="*/ 354502 w 361033"/>
                  <a:gd name="connsiteY4" fmla="*/ 256334 h 383598"/>
                  <a:gd name="connsiteX5" fmla="*/ 348410 w 361033"/>
                  <a:gd name="connsiteY5" fmla="*/ 239862 h 383598"/>
                  <a:gd name="connsiteX6" fmla="*/ 348635 w 361033"/>
                  <a:gd name="connsiteY6" fmla="*/ 233318 h 383598"/>
                  <a:gd name="connsiteX7" fmla="*/ 349764 w 361033"/>
                  <a:gd name="connsiteY7" fmla="*/ 232867 h 383598"/>
                  <a:gd name="connsiteX8" fmla="*/ 322460 w 361033"/>
                  <a:gd name="connsiteY8" fmla="*/ 213461 h 383598"/>
                  <a:gd name="connsiteX9" fmla="*/ 320655 w 361033"/>
                  <a:gd name="connsiteY9" fmla="*/ 187061 h 383598"/>
                  <a:gd name="connsiteX10" fmla="*/ 291547 w 361033"/>
                  <a:gd name="connsiteY10" fmla="*/ 161563 h 383598"/>
                  <a:gd name="connsiteX11" fmla="*/ 271690 w 361033"/>
                  <a:gd name="connsiteY11" fmla="*/ 148475 h 383598"/>
                  <a:gd name="connsiteX12" fmla="*/ 250931 w 361033"/>
                  <a:gd name="connsiteY12" fmla="*/ 96802 h 383598"/>
                  <a:gd name="connsiteX13" fmla="*/ 225433 w 361033"/>
                  <a:gd name="connsiteY13" fmla="*/ 67694 h 383598"/>
                  <a:gd name="connsiteX14" fmla="*/ 230171 w 361033"/>
                  <a:gd name="connsiteY14" fmla="*/ 34749 h 383598"/>
                  <a:gd name="connsiteX15" fmla="*/ 240551 w 361033"/>
                  <a:gd name="connsiteY15" fmla="*/ 16021 h 383598"/>
                  <a:gd name="connsiteX16" fmla="*/ 237166 w 361033"/>
                  <a:gd name="connsiteY16" fmla="*/ 7672 h 383598"/>
                  <a:gd name="connsiteX17" fmla="*/ 237392 w 361033"/>
                  <a:gd name="connsiteY17" fmla="*/ 7446 h 383598"/>
                  <a:gd name="connsiteX18" fmla="*/ 219566 w 361033"/>
                  <a:gd name="connsiteY18" fmla="*/ 14441 h 383598"/>
                  <a:gd name="connsiteX19" fmla="*/ 198355 w 361033"/>
                  <a:gd name="connsiteY19" fmla="*/ 29560 h 383598"/>
                  <a:gd name="connsiteX20" fmla="*/ 184139 w 361033"/>
                  <a:gd name="connsiteY20" fmla="*/ 25724 h 383598"/>
                  <a:gd name="connsiteX21" fmla="*/ 187073 w 361033"/>
                  <a:gd name="connsiteY21" fmla="*/ 39939 h 383598"/>
                  <a:gd name="connsiteX22" fmla="*/ 181431 w 361033"/>
                  <a:gd name="connsiteY22" fmla="*/ 51673 h 383598"/>
                  <a:gd name="connsiteX23" fmla="*/ 165411 w 361033"/>
                  <a:gd name="connsiteY23" fmla="*/ 62504 h 383598"/>
                  <a:gd name="connsiteX24" fmla="*/ 141943 w 361033"/>
                  <a:gd name="connsiteY24" fmla="*/ 63407 h 383598"/>
                  <a:gd name="connsiteX25" fmla="*/ 122764 w 361033"/>
                  <a:gd name="connsiteY25" fmla="*/ 69950 h 383598"/>
                  <a:gd name="connsiteX26" fmla="*/ 98845 w 361033"/>
                  <a:gd name="connsiteY26" fmla="*/ 85520 h 383598"/>
                  <a:gd name="connsiteX27" fmla="*/ 85757 w 361033"/>
                  <a:gd name="connsiteY27" fmla="*/ 105828 h 383598"/>
                  <a:gd name="connsiteX28" fmla="*/ 94783 w 361033"/>
                  <a:gd name="connsiteY28" fmla="*/ 126587 h 383598"/>
                  <a:gd name="connsiteX29" fmla="*/ 99973 w 361033"/>
                  <a:gd name="connsiteY29" fmla="*/ 147798 h 383598"/>
                  <a:gd name="connsiteX30" fmla="*/ 92978 w 361033"/>
                  <a:gd name="connsiteY30" fmla="*/ 153439 h 383598"/>
                  <a:gd name="connsiteX31" fmla="*/ 85983 w 361033"/>
                  <a:gd name="connsiteY31" fmla="*/ 165173 h 383598"/>
                  <a:gd name="connsiteX32" fmla="*/ 86886 w 361033"/>
                  <a:gd name="connsiteY32" fmla="*/ 181645 h 383598"/>
                  <a:gd name="connsiteX33" fmla="*/ 93429 w 361033"/>
                  <a:gd name="connsiteY33" fmla="*/ 195861 h 383598"/>
                  <a:gd name="connsiteX34" fmla="*/ 88691 w 361033"/>
                  <a:gd name="connsiteY34" fmla="*/ 201502 h 383598"/>
                  <a:gd name="connsiteX35" fmla="*/ 74024 w 361033"/>
                  <a:gd name="connsiteY35" fmla="*/ 208948 h 383598"/>
                  <a:gd name="connsiteX36" fmla="*/ 62742 w 361033"/>
                  <a:gd name="connsiteY36" fmla="*/ 216395 h 383598"/>
                  <a:gd name="connsiteX37" fmla="*/ 54844 w 361033"/>
                  <a:gd name="connsiteY37" fmla="*/ 229031 h 383598"/>
                  <a:gd name="connsiteX38" fmla="*/ 46269 w 361033"/>
                  <a:gd name="connsiteY38" fmla="*/ 243698 h 383598"/>
                  <a:gd name="connsiteX39" fmla="*/ 37244 w 361033"/>
                  <a:gd name="connsiteY39" fmla="*/ 252724 h 383598"/>
                  <a:gd name="connsiteX40" fmla="*/ 28218 w 361033"/>
                  <a:gd name="connsiteY40" fmla="*/ 263555 h 383598"/>
                  <a:gd name="connsiteX41" fmla="*/ 13099 w 361033"/>
                  <a:gd name="connsiteY41" fmla="*/ 273483 h 383598"/>
                  <a:gd name="connsiteX42" fmla="*/ 8812 w 361033"/>
                  <a:gd name="connsiteY42" fmla="*/ 289504 h 383598"/>
                  <a:gd name="connsiteX43" fmla="*/ 14679 w 361033"/>
                  <a:gd name="connsiteY43" fmla="*/ 306879 h 383598"/>
                  <a:gd name="connsiteX44" fmla="*/ 10843 w 361033"/>
                  <a:gd name="connsiteY44" fmla="*/ 317033 h 383598"/>
                  <a:gd name="connsiteX45" fmla="*/ 9715 w 361033"/>
                  <a:gd name="connsiteY45" fmla="*/ 322900 h 383598"/>
                  <a:gd name="connsiteX46" fmla="*/ 2268 w 361033"/>
                  <a:gd name="connsiteY46" fmla="*/ 339372 h 383598"/>
                  <a:gd name="connsiteX47" fmla="*/ 14453 w 361033"/>
                  <a:gd name="connsiteY47" fmla="*/ 347269 h 383598"/>
                  <a:gd name="connsiteX48" fmla="*/ 33633 w 361033"/>
                  <a:gd name="connsiteY48" fmla="*/ 347721 h 383598"/>
                  <a:gd name="connsiteX49" fmla="*/ 59131 w 361033"/>
                  <a:gd name="connsiteY49" fmla="*/ 354264 h 383598"/>
                  <a:gd name="connsiteX50" fmla="*/ 77409 w 361033"/>
                  <a:gd name="connsiteY50" fmla="*/ 356521 h 383598"/>
                  <a:gd name="connsiteX51" fmla="*/ 77409 w 361033"/>
                  <a:gd name="connsiteY51" fmla="*/ 356521 h 383598"/>
                  <a:gd name="connsiteX52" fmla="*/ 92978 w 361033"/>
                  <a:gd name="connsiteY52" fmla="*/ 351331 h 383598"/>
                  <a:gd name="connsiteX53" fmla="*/ 115543 w 361033"/>
                  <a:gd name="connsiteY53" fmla="*/ 350428 h 383598"/>
                  <a:gd name="connsiteX54" fmla="*/ 134723 w 361033"/>
                  <a:gd name="connsiteY54" fmla="*/ 367352 h 383598"/>
                  <a:gd name="connsiteX55" fmla="*/ 153451 w 361033"/>
                  <a:gd name="connsiteY55" fmla="*/ 375249 h 383598"/>
                  <a:gd name="connsiteX56" fmla="*/ 155708 w 361033"/>
                  <a:gd name="connsiteY56" fmla="*/ 399168 h 383598"/>
                  <a:gd name="connsiteX57" fmla="*/ 168795 w 361033"/>
                  <a:gd name="connsiteY57" fmla="*/ 399168 h 383598"/>
                  <a:gd name="connsiteX58" fmla="*/ 183462 w 361033"/>
                  <a:gd name="connsiteY58" fmla="*/ 379988 h 383598"/>
                  <a:gd name="connsiteX59" fmla="*/ 213925 w 361033"/>
                  <a:gd name="connsiteY59" fmla="*/ 380891 h 383598"/>
                  <a:gd name="connsiteX60" fmla="*/ 240325 w 361033"/>
                  <a:gd name="connsiteY60" fmla="*/ 375249 h 383598"/>
                  <a:gd name="connsiteX61" fmla="*/ 262890 w 361033"/>
                  <a:gd name="connsiteY61" fmla="*/ 369608 h 383598"/>
                  <a:gd name="connsiteX62" fmla="*/ 273269 w 361033"/>
                  <a:gd name="connsiteY62" fmla="*/ 351331 h 383598"/>
                  <a:gd name="connsiteX63" fmla="*/ 302378 w 361033"/>
                  <a:gd name="connsiteY63" fmla="*/ 330572 h 383598"/>
                  <a:gd name="connsiteX64" fmla="*/ 323137 w 361033"/>
                  <a:gd name="connsiteY64" fmla="*/ 331474 h 383598"/>
                  <a:gd name="connsiteX65" fmla="*/ 328327 w 361033"/>
                  <a:gd name="connsiteY65" fmla="*/ 313197 h 383598"/>
                  <a:gd name="connsiteX66" fmla="*/ 342543 w 361033"/>
                  <a:gd name="connsiteY66" fmla="*/ 290181 h 383598"/>
                  <a:gd name="connsiteX67" fmla="*/ 362400 w 361033"/>
                  <a:gd name="connsiteY67" fmla="*/ 295822 h 383598"/>
                  <a:gd name="connsiteX68" fmla="*/ 358789 w 361033"/>
                  <a:gd name="connsiteY68" fmla="*/ 274160 h 383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361033" h="383598">
                    <a:moveTo>
                      <a:pt x="241453" y="3836"/>
                    </a:moveTo>
                    <a:cubicBezTo>
                      <a:pt x="242807" y="2482"/>
                      <a:pt x="244161" y="1128"/>
                      <a:pt x="245515" y="0"/>
                    </a:cubicBezTo>
                    <a:cubicBezTo>
                      <a:pt x="244161" y="1354"/>
                      <a:pt x="242807" y="2482"/>
                      <a:pt x="241453" y="3836"/>
                    </a:cubicBezTo>
                    <a:close/>
                    <a:moveTo>
                      <a:pt x="358789" y="274160"/>
                    </a:moveTo>
                    <a:cubicBezTo>
                      <a:pt x="359241" y="263329"/>
                      <a:pt x="356984" y="262878"/>
                      <a:pt x="354502" y="256334"/>
                    </a:cubicBezTo>
                    <a:cubicBezTo>
                      <a:pt x="352246" y="249790"/>
                      <a:pt x="348410" y="244600"/>
                      <a:pt x="348410" y="239862"/>
                    </a:cubicBezTo>
                    <a:cubicBezTo>
                      <a:pt x="348410" y="238057"/>
                      <a:pt x="348410" y="235800"/>
                      <a:pt x="348635" y="233318"/>
                    </a:cubicBezTo>
                    <a:cubicBezTo>
                      <a:pt x="348635" y="233318"/>
                      <a:pt x="349087" y="233092"/>
                      <a:pt x="349764" y="232867"/>
                    </a:cubicBezTo>
                    <a:cubicBezTo>
                      <a:pt x="339835" y="226097"/>
                      <a:pt x="329230" y="218651"/>
                      <a:pt x="322460" y="213461"/>
                    </a:cubicBezTo>
                    <a:cubicBezTo>
                      <a:pt x="312983" y="206015"/>
                      <a:pt x="320655" y="197440"/>
                      <a:pt x="320655" y="187061"/>
                    </a:cubicBezTo>
                    <a:cubicBezTo>
                      <a:pt x="320655" y="176681"/>
                      <a:pt x="296285" y="162691"/>
                      <a:pt x="291547" y="161563"/>
                    </a:cubicBezTo>
                    <a:cubicBezTo>
                      <a:pt x="286808" y="160660"/>
                      <a:pt x="278459" y="165399"/>
                      <a:pt x="271690" y="148475"/>
                    </a:cubicBezTo>
                    <a:cubicBezTo>
                      <a:pt x="264921" y="131552"/>
                      <a:pt x="251833" y="113726"/>
                      <a:pt x="250931" y="96802"/>
                    </a:cubicBezTo>
                    <a:cubicBezTo>
                      <a:pt x="250028" y="79879"/>
                      <a:pt x="234910" y="75140"/>
                      <a:pt x="225433" y="67694"/>
                    </a:cubicBezTo>
                    <a:cubicBezTo>
                      <a:pt x="215955" y="60248"/>
                      <a:pt x="228366" y="46934"/>
                      <a:pt x="230171" y="34749"/>
                    </a:cubicBezTo>
                    <a:cubicBezTo>
                      <a:pt x="231976" y="22565"/>
                      <a:pt x="243259" y="21662"/>
                      <a:pt x="240551" y="16021"/>
                    </a:cubicBezTo>
                    <a:cubicBezTo>
                      <a:pt x="239874" y="14441"/>
                      <a:pt x="238069" y="10831"/>
                      <a:pt x="237166" y="7672"/>
                    </a:cubicBezTo>
                    <a:cubicBezTo>
                      <a:pt x="237392" y="7672"/>
                      <a:pt x="237392" y="7446"/>
                      <a:pt x="237392" y="7446"/>
                    </a:cubicBezTo>
                    <a:cubicBezTo>
                      <a:pt x="232879" y="11282"/>
                      <a:pt x="227463" y="14441"/>
                      <a:pt x="219566" y="14441"/>
                    </a:cubicBezTo>
                    <a:cubicBezTo>
                      <a:pt x="206478" y="14441"/>
                      <a:pt x="211442" y="38360"/>
                      <a:pt x="198355" y="29560"/>
                    </a:cubicBezTo>
                    <a:cubicBezTo>
                      <a:pt x="194293" y="26852"/>
                      <a:pt x="189103" y="25949"/>
                      <a:pt x="184139" y="25724"/>
                    </a:cubicBezTo>
                    <a:cubicBezTo>
                      <a:pt x="186621" y="30913"/>
                      <a:pt x="187750" y="38360"/>
                      <a:pt x="187073" y="39939"/>
                    </a:cubicBezTo>
                    <a:cubicBezTo>
                      <a:pt x="186170" y="42196"/>
                      <a:pt x="181431" y="49868"/>
                      <a:pt x="181431" y="51673"/>
                    </a:cubicBezTo>
                    <a:cubicBezTo>
                      <a:pt x="181431" y="53478"/>
                      <a:pt x="170600" y="61150"/>
                      <a:pt x="165411" y="62504"/>
                    </a:cubicBezTo>
                    <a:cubicBezTo>
                      <a:pt x="160221" y="63858"/>
                      <a:pt x="158867" y="62955"/>
                      <a:pt x="141943" y="63407"/>
                    </a:cubicBezTo>
                    <a:cubicBezTo>
                      <a:pt x="125020" y="63858"/>
                      <a:pt x="126825" y="69048"/>
                      <a:pt x="122764" y="69950"/>
                    </a:cubicBezTo>
                    <a:cubicBezTo>
                      <a:pt x="118476" y="70853"/>
                      <a:pt x="103584" y="80330"/>
                      <a:pt x="98845" y="85520"/>
                    </a:cubicBezTo>
                    <a:cubicBezTo>
                      <a:pt x="94106" y="90710"/>
                      <a:pt x="92301" y="95448"/>
                      <a:pt x="85757" y="105828"/>
                    </a:cubicBezTo>
                    <a:cubicBezTo>
                      <a:pt x="79214" y="116208"/>
                      <a:pt x="93204" y="123654"/>
                      <a:pt x="94783" y="126587"/>
                    </a:cubicBezTo>
                    <a:cubicBezTo>
                      <a:pt x="96363" y="129521"/>
                      <a:pt x="99973" y="145316"/>
                      <a:pt x="99973" y="147798"/>
                    </a:cubicBezTo>
                    <a:cubicBezTo>
                      <a:pt x="99973" y="150055"/>
                      <a:pt x="95686" y="152988"/>
                      <a:pt x="92978" y="153439"/>
                    </a:cubicBezTo>
                    <a:cubicBezTo>
                      <a:pt x="90045" y="153891"/>
                      <a:pt x="88691" y="159081"/>
                      <a:pt x="85983" y="165173"/>
                    </a:cubicBezTo>
                    <a:cubicBezTo>
                      <a:pt x="83050" y="171265"/>
                      <a:pt x="85081" y="176004"/>
                      <a:pt x="86886" y="181645"/>
                    </a:cubicBezTo>
                    <a:cubicBezTo>
                      <a:pt x="88691" y="187286"/>
                      <a:pt x="91173" y="191122"/>
                      <a:pt x="93429" y="195861"/>
                    </a:cubicBezTo>
                    <a:cubicBezTo>
                      <a:pt x="95686" y="200599"/>
                      <a:pt x="92978" y="199697"/>
                      <a:pt x="88691" y="201502"/>
                    </a:cubicBezTo>
                    <a:cubicBezTo>
                      <a:pt x="84404" y="203307"/>
                      <a:pt x="81696" y="206692"/>
                      <a:pt x="74024" y="208948"/>
                    </a:cubicBezTo>
                    <a:cubicBezTo>
                      <a:pt x="66578" y="211205"/>
                      <a:pt x="66578" y="212784"/>
                      <a:pt x="62742" y="216395"/>
                    </a:cubicBezTo>
                    <a:cubicBezTo>
                      <a:pt x="58906" y="220231"/>
                      <a:pt x="60936" y="225420"/>
                      <a:pt x="54844" y="229031"/>
                    </a:cubicBezTo>
                    <a:cubicBezTo>
                      <a:pt x="48752" y="232867"/>
                      <a:pt x="50105" y="239862"/>
                      <a:pt x="46269" y="243698"/>
                    </a:cubicBezTo>
                    <a:cubicBezTo>
                      <a:pt x="42433" y="247534"/>
                      <a:pt x="41982" y="246631"/>
                      <a:pt x="37244" y="252724"/>
                    </a:cubicBezTo>
                    <a:cubicBezTo>
                      <a:pt x="32505" y="258816"/>
                      <a:pt x="35438" y="261298"/>
                      <a:pt x="28218" y="263555"/>
                    </a:cubicBezTo>
                    <a:cubicBezTo>
                      <a:pt x="21223" y="265811"/>
                      <a:pt x="20320" y="270550"/>
                      <a:pt x="13099" y="273483"/>
                    </a:cubicBezTo>
                    <a:cubicBezTo>
                      <a:pt x="6104" y="276416"/>
                      <a:pt x="14905" y="282960"/>
                      <a:pt x="8812" y="289504"/>
                    </a:cubicBezTo>
                    <a:cubicBezTo>
                      <a:pt x="2720" y="296048"/>
                      <a:pt x="12197" y="303494"/>
                      <a:pt x="14679" y="306879"/>
                    </a:cubicBezTo>
                    <a:cubicBezTo>
                      <a:pt x="17161" y="310263"/>
                      <a:pt x="14679" y="315453"/>
                      <a:pt x="10843" y="317033"/>
                    </a:cubicBezTo>
                    <a:cubicBezTo>
                      <a:pt x="11294" y="318838"/>
                      <a:pt x="11069" y="320869"/>
                      <a:pt x="9715" y="322900"/>
                    </a:cubicBezTo>
                    <a:cubicBezTo>
                      <a:pt x="3622" y="331925"/>
                      <a:pt x="-3824" y="332377"/>
                      <a:pt x="2268" y="339372"/>
                    </a:cubicBezTo>
                    <a:cubicBezTo>
                      <a:pt x="8361" y="346367"/>
                      <a:pt x="6556" y="347269"/>
                      <a:pt x="14453" y="347269"/>
                    </a:cubicBezTo>
                    <a:cubicBezTo>
                      <a:pt x="22351" y="347269"/>
                      <a:pt x="23930" y="344336"/>
                      <a:pt x="33633" y="347721"/>
                    </a:cubicBezTo>
                    <a:cubicBezTo>
                      <a:pt x="43562" y="351105"/>
                      <a:pt x="51008" y="353813"/>
                      <a:pt x="59131" y="354264"/>
                    </a:cubicBezTo>
                    <a:cubicBezTo>
                      <a:pt x="67029" y="354716"/>
                      <a:pt x="73347" y="349526"/>
                      <a:pt x="77409" y="356521"/>
                    </a:cubicBezTo>
                    <a:lnTo>
                      <a:pt x="77409" y="356521"/>
                    </a:lnTo>
                    <a:cubicBezTo>
                      <a:pt x="82147" y="356521"/>
                      <a:pt x="86660" y="354039"/>
                      <a:pt x="92978" y="351331"/>
                    </a:cubicBezTo>
                    <a:cubicBezTo>
                      <a:pt x="100876" y="347946"/>
                      <a:pt x="110353" y="344787"/>
                      <a:pt x="115543" y="350428"/>
                    </a:cubicBezTo>
                    <a:cubicBezTo>
                      <a:pt x="120733" y="356070"/>
                      <a:pt x="125471" y="366901"/>
                      <a:pt x="134723" y="367352"/>
                    </a:cubicBezTo>
                    <a:cubicBezTo>
                      <a:pt x="144200" y="367803"/>
                      <a:pt x="152098" y="363967"/>
                      <a:pt x="153451" y="375249"/>
                    </a:cubicBezTo>
                    <a:cubicBezTo>
                      <a:pt x="154805" y="386532"/>
                      <a:pt x="152549" y="396460"/>
                      <a:pt x="155708" y="399168"/>
                    </a:cubicBezTo>
                    <a:cubicBezTo>
                      <a:pt x="159092" y="402101"/>
                      <a:pt x="164282" y="403004"/>
                      <a:pt x="168795" y="399168"/>
                    </a:cubicBezTo>
                    <a:cubicBezTo>
                      <a:pt x="173534" y="395332"/>
                      <a:pt x="173083" y="379988"/>
                      <a:pt x="183462" y="379988"/>
                    </a:cubicBezTo>
                    <a:cubicBezTo>
                      <a:pt x="193842" y="379988"/>
                      <a:pt x="206930" y="384727"/>
                      <a:pt x="213925" y="380891"/>
                    </a:cubicBezTo>
                    <a:cubicBezTo>
                      <a:pt x="220920" y="377055"/>
                      <a:pt x="230848" y="368254"/>
                      <a:pt x="240325" y="375249"/>
                    </a:cubicBezTo>
                    <a:cubicBezTo>
                      <a:pt x="249802" y="382245"/>
                      <a:pt x="255895" y="373444"/>
                      <a:pt x="262890" y="369608"/>
                    </a:cubicBezTo>
                    <a:cubicBezTo>
                      <a:pt x="269885" y="365772"/>
                      <a:pt x="272367" y="361034"/>
                      <a:pt x="273269" y="351331"/>
                    </a:cubicBezTo>
                    <a:cubicBezTo>
                      <a:pt x="274172" y="341403"/>
                      <a:pt x="287485" y="327413"/>
                      <a:pt x="302378" y="330572"/>
                    </a:cubicBezTo>
                    <a:cubicBezTo>
                      <a:pt x="317496" y="333956"/>
                      <a:pt x="315465" y="337567"/>
                      <a:pt x="323137" y="331474"/>
                    </a:cubicBezTo>
                    <a:cubicBezTo>
                      <a:pt x="330584" y="325382"/>
                      <a:pt x="318850" y="321094"/>
                      <a:pt x="328327" y="313197"/>
                    </a:cubicBezTo>
                    <a:cubicBezTo>
                      <a:pt x="337804" y="305299"/>
                      <a:pt x="335322" y="292889"/>
                      <a:pt x="342543" y="290181"/>
                    </a:cubicBezTo>
                    <a:cubicBezTo>
                      <a:pt x="349764" y="287473"/>
                      <a:pt x="360820" y="297627"/>
                      <a:pt x="362400" y="295822"/>
                    </a:cubicBezTo>
                    <a:cubicBezTo>
                      <a:pt x="363979" y="293791"/>
                      <a:pt x="358338" y="284991"/>
                      <a:pt x="358789" y="274160"/>
                    </a:cubicBezTo>
                    <a:close/>
                  </a:path>
                </a:pathLst>
              </a:custGeom>
              <a:solidFill>
                <a:srgbClr val="80C342">
                  <a:alpha val="70000"/>
                </a:srgbClr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xmlns="" id="{B8A45C67-81BA-41E4-9EA8-EE8DCE96307E}"/>
                  </a:ext>
                </a:extLst>
              </p:cNvPr>
              <p:cNvSpPr/>
              <p:nvPr/>
            </p:nvSpPr>
            <p:spPr>
              <a:xfrm>
                <a:off x="9053508" y="1697337"/>
                <a:ext cx="383598" cy="361034"/>
              </a:xfrm>
              <a:custGeom>
                <a:avLst/>
                <a:gdLst>
                  <a:gd name="connsiteX0" fmla="*/ 366594 w 383598"/>
                  <a:gd name="connsiteY0" fmla="*/ 247462 h 361033"/>
                  <a:gd name="connsiteX1" fmla="*/ 360050 w 383598"/>
                  <a:gd name="connsiteY1" fmla="*/ 221513 h 361033"/>
                  <a:gd name="connsiteX2" fmla="*/ 354409 w 383598"/>
                  <a:gd name="connsiteY2" fmla="*/ 199400 h 361033"/>
                  <a:gd name="connsiteX3" fmla="*/ 354409 w 383598"/>
                  <a:gd name="connsiteY3" fmla="*/ 176835 h 361033"/>
                  <a:gd name="connsiteX4" fmla="*/ 344029 w 383598"/>
                  <a:gd name="connsiteY4" fmla="*/ 142537 h 361033"/>
                  <a:gd name="connsiteX5" fmla="*/ 324849 w 383598"/>
                  <a:gd name="connsiteY5" fmla="*/ 113880 h 361033"/>
                  <a:gd name="connsiteX6" fmla="*/ 321013 w 383598"/>
                  <a:gd name="connsiteY6" fmla="*/ 90638 h 361033"/>
                  <a:gd name="connsiteX7" fmla="*/ 307700 w 383598"/>
                  <a:gd name="connsiteY7" fmla="*/ 78228 h 361033"/>
                  <a:gd name="connsiteX8" fmla="*/ 262571 w 383598"/>
                  <a:gd name="connsiteY8" fmla="*/ 75746 h 361033"/>
                  <a:gd name="connsiteX9" fmla="*/ 247001 w 383598"/>
                  <a:gd name="connsiteY9" fmla="*/ 45058 h 361033"/>
                  <a:gd name="connsiteX10" fmla="*/ 194877 w 383598"/>
                  <a:gd name="connsiteY10" fmla="*/ 41899 h 361033"/>
                  <a:gd name="connsiteX11" fmla="*/ 133501 w 383598"/>
                  <a:gd name="connsiteY11" fmla="*/ 4893 h 361033"/>
                  <a:gd name="connsiteX12" fmla="*/ 94690 w 383598"/>
                  <a:gd name="connsiteY12" fmla="*/ 1734 h 361033"/>
                  <a:gd name="connsiteX13" fmla="*/ 60843 w 383598"/>
                  <a:gd name="connsiteY13" fmla="*/ 14821 h 361033"/>
                  <a:gd name="connsiteX14" fmla="*/ 33992 w 383598"/>
                  <a:gd name="connsiteY14" fmla="*/ 29939 h 361033"/>
                  <a:gd name="connsiteX15" fmla="*/ 29027 w 383598"/>
                  <a:gd name="connsiteY15" fmla="*/ 48217 h 361033"/>
                  <a:gd name="connsiteX16" fmla="*/ 23386 w 383598"/>
                  <a:gd name="connsiteY16" fmla="*/ 77776 h 361033"/>
                  <a:gd name="connsiteX17" fmla="*/ 15263 w 383598"/>
                  <a:gd name="connsiteY17" fmla="*/ 85448 h 361033"/>
                  <a:gd name="connsiteX18" fmla="*/ 18648 w 383598"/>
                  <a:gd name="connsiteY18" fmla="*/ 93797 h 361033"/>
                  <a:gd name="connsiteX19" fmla="*/ 8268 w 383598"/>
                  <a:gd name="connsiteY19" fmla="*/ 112526 h 361033"/>
                  <a:gd name="connsiteX20" fmla="*/ 3529 w 383598"/>
                  <a:gd name="connsiteY20" fmla="*/ 145470 h 361033"/>
                  <a:gd name="connsiteX21" fmla="*/ 29027 w 383598"/>
                  <a:gd name="connsiteY21" fmla="*/ 174579 h 361033"/>
                  <a:gd name="connsiteX22" fmla="*/ 49787 w 383598"/>
                  <a:gd name="connsiteY22" fmla="*/ 226252 h 361033"/>
                  <a:gd name="connsiteX23" fmla="*/ 69644 w 383598"/>
                  <a:gd name="connsiteY23" fmla="*/ 239339 h 361033"/>
                  <a:gd name="connsiteX24" fmla="*/ 98752 w 383598"/>
                  <a:gd name="connsiteY24" fmla="*/ 264837 h 361033"/>
                  <a:gd name="connsiteX25" fmla="*/ 100557 w 383598"/>
                  <a:gd name="connsiteY25" fmla="*/ 291238 h 361033"/>
                  <a:gd name="connsiteX26" fmla="*/ 139143 w 383598"/>
                  <a:gd name="connsiteY26" fmla="*/ 318541 h 361033"/>
                  <a:gd name="connsiteX27" fmla="*/ 166446 w 383598"/>
                  <a:gd name="connsiteY27" fmla="*/ 340203 h 361033"/>
                  <a:gd name="connsiteX28" fmla="*/ 182467 w 383598"/>
                  <a:gd name="connsiteY28" fmla="*/ 369311 h 361033"/>
                  <a:gd name="connsiteX29" fmla="*/ 206836 w 383598"/>
                  <a:gd name="connsiteY29" fmla="*/ 379691 h 361033"/>
                  <a:gd name="connsiteX30" fmla="*/ 228498 w 383598"/>
                  <a:gd name="connsiteY30" fmla="*/ 372245 h 361033"/>
                  <a:gd name="connsiteX31" fmla="*/ 240683 w 383598"/>
                  <a:gd name="connsiteY31" fmla="*/ 354419 h 361033"/>
                  <a:gd name="connsiteX32" fmla="*/ 241586 w 383598"/>
                  <a:gd name="connsiteY32" fmla="*/ 309289 h 361033"/>
                  <a:gd name="connsiteX33" fmla="*/ 259412 w 383598"/>
                  <a:gd name="connsiteY33" fmla="*/ 275442 h 361033"/>
                  <a:gd name="connsiteX34" fmla="*/ 281977 w 383598"/>
                  <a:gd name="connsiteY34" fmla="*/ 270704 h 361033"/>
                  <a:gd name="connsiteX35" fmla="*/ 311085 w 383598"/>
                  <a:gd name="connsiteY35" fmla="*/ 263257 h 361033"/>
                  <a:gd name="connsiteX36" fmla="*/ 338388 w 383598"/>
                  <a:gd name="connsiteY36" fmla="*/ 260324 h 361033"/>
                  <a:gd name="connsiteX37" fmla="*/ 346963 w 383598"/>
                  <a:gd name="connsiteY37" fmla="*/ 266868 h 361033"/>
                  <a:gd name="connsiteX38" fmla="*/ 361178 w 383598"/>
                  <a:gd name="connsiteY38" fmla="*/ 283791 h 361033"/>
                  <a:gd name="connsiteX39" fmla="*/ 387579 w 383598"/>
                  <a:gd name="connsiteY39" fmla="*/ 274314 h 361033"/>
                  <a:gd name="connsiteX40" fmla="*/ 379230 w 383598"/>
                  <a:gd name="connsiteY40" fmla="*/ 252652 h 361033"/>
                  <a:gd name="connsiteX41" fmla="*/ 366594 w 383598"/>
                  <a:gd name="connsiteY41" fmla="*/ 247462 h 361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383598" h="361033">
                    <a:moveTo>
                      <a:pt x="366594" y="247462"/>
                    </a:moveTo>
                    <a:cubicBezTo>
                      <a:pt x="361855" y="240919"/>
                      <a:pt x="357117" y="232344"/>
                      <a:pt x="360050" y="221513"/>
                    </a:cubicBezTo>
                    <a:cubicBezTo>
                      <a:pt x="362984" y="210682"/>
                      <a:pt x="361404" y="206395"/>
                      <a:pt x="354409" y="199400"/>
                    </a:cubicBezTo>
                    <a:cubicBezTo>
                      <a:pt x="347414" y="192405"/>
                      <a:pt x="354409" y="187215"/>
                      <a:pt x="354409" y="176835"/>
                    </a:cubicBezTo>
                    <a:cubicBezTo>
                      <a:pt x="354409" y="166455"/>
                      <a:pt x="350573" y="150886"/>
                      <a:pt x="344029" y="142537"/>
                    </a:cubicBezTo>
                    <a:cubicBezTo>
                      <a:pt x="337486" y="134188"/>
                      <a:pt x="328008" y="122680"/>
                      <a:pt x="324849" y="113880"/>
                    </a:cubicBezTo>
                    <a:cubicBezTo>
                      <a:pt x="321690" y="105305"/>
                      <a:pt x="325075" y="98761"/>
                      <a:pt x="321013" y="90638"/>
                    </a:cubicBezTo>
                    <a:cubicBezTo>
                      <a:pt x="313567" y="90187"/>
                      <a:pt x="305444" y="88156"/>
                      <a:pt x="307700" y="78228"/>
                    </a:cubicBezTo>
                    <a:cubicBezTo>
                      <a:pt x="310182" y="66268"/>
                      <a:pt x="276335" y="76423"/>
                      <a:pt x="262571" y="75746"/>
                    </a:cubicBezTo>
                    <a:cubicBezTo>
                      <a:pt x="248807" y="75069"/>
                      <a:pt x="256253" y="55663"/>
                      <a:pt x="247001" y="45058"/>
                    </a:cubicBezTo>
                    <a:cubicBezTo>
                      <a:pt x="237524" y="34452"/>
                      <a:pt x="214508" y="39417"/>
                      <a:pt x="194877" y="41899"/>
                    </a:cubicBezTo>
                    <a:cubicBezTo>
                      <a:pt x="175472" y="44381"/>
                      <a:pt x="142302" y="13016"/>
                      <a:pt x="133501" y="4893"/>
                    </a:cubicBezTo>
                    <a:cubicBezTo>
                      <a:pt x="124701" y="-3231"/>
                      <a:pt x="114096" y="1057"/>
                      <a:pt x="94690" y="1734"/>
                    </a:cubicBezTo>
                    <a:cubicBezTo>
                      <a:pt x="75285" y="2411"/>
                      <a:pt x="68967" y="7375"/>
                      <a:pt x="60843" y="14821"/>
                    </a:cubicBezTo>
                    <a:cubicBezTo>
                      <a:pt x="52720" y="22267"/>
                      <a:pt x="52043" y="22944"/>
                      <a:pt x="33992" y="29939"/>
                    </a:cubicBezTo>
                    <a:cubicBezTo>
                      <a:pt x="15714" y="36934"/>
                      <a:pt x="25191" y="37386"/>
                      <a:pt x="29027" y="48217"/>
                    </a:cubicBezTo>
                    <a:cubicBezTo>
                      <a:pt x="32863" y="58822"/>
                      <a:pt x="29704" y="72135"/>
                      <a:pt x="23386" y="77776"/>
                    </a:cubicBezTo>
                    <a:cubicBezTo>
                      <a:pt x="20904" y="80033"/>
                      <a:pt x="18196" y="82966"/>
                      <a:pt x="15263" y="85448"/>
                    </a:cubicBezTo>
                    <a:cubicBezTo>
                      <a:pt x="16391" y="88607"/>
                      <a:pt x="17971" y="92218"/>
                      <a:pt x="18648" y="93797"/>
                    </a:cubicBezTo>
                    <a:cubicBezTo>
                      <a:pt x="21581" y="99438"/>
                      <a:pt x="10073" y="100341"/>
                      <a:pt x="8268" y="112526"/>
                    </a:cubicBezTo>
                    <a:cubicBezTo>
                      <a:pt x="6463" y="124711"/>
                      <a:pt x="-5948" y="138024"/>
                      <a:pt x="3529" y="145470"/>
                    </a:cubicBezTo>
                    <a:cubicBezTo>
                      <a:pt x="13006" y="152917"/>
                      <a:pt x="27899" y="157655"/>
                      <a:pt x="29027" y="174579"/>
                    </a:cubicBezTo>
                    <a:cubicBezTo>
                      <a:pt x="29930" y="191502"/>
                      <a:pt x="43243" y="209328"/>
                      <a:pt x="49787" y="226252"/>
                    </a:cubicBezTo>
                    <a:cubicBezTo>
                      <a:pt x="56330" y="243175"/>
                      <a:pt x="64905" y="238436"/>
                      <a:pt x="69644" y="239339"/>
                    </a:cubicBezTo>
                    <a:cubicBezTo>
                      <a:pt x="74382" y="240242"/>
                      <a:pt x="98752" y="254457"/>
                      <a:pt x="98752" y="264837"/>
                    </a:cubicBezTo>
                    <a:cubicBezTo>
                      <a:pt x="98752" y="275217"/>
                      <a:pt x="91306" y="283566"/>
                      <a:pt x="100557" y="291238"/>
                    </a:cubicBezTo>
                    <a:cubicBezTo>
                      <a:pt x="110034" y="298684"/>
                      <a:pt x="126958" y="309966"/>
                      <a:pt x="139143" y="318541"/>
                    </a:cubicBezTo>
                    <a:cubicBezTo>
                      <a:pt x="151327" y="327115"/>
                      <a:pt x="165543" y="331628"/>
                      <a:pt x="166446" y="340203"/>
                    </a:cubicBezTo>
                    <a:cubicBezTo>
                      <a:pt x="167348" y="348777"/>
                      <a:pt x="175923" y="364573"/>
                      <a:pt x="182467" y="369311"/>
                    </a:cubicBezTo>
                    <a:cubicBezTo>
                      <a:pt x="189010" y="374050"/>
                      <a:pt x="196682" y="377886"/>
                      <a:pt x="206836" y="379691"/>
                    </a:cubicBezTo>
                    <a:cubicBezTo>
                      <a:pt x="217216" y="381496"/>
                      <a:pt x="219021" y="374050"/>
                      <a:pt x="228498" y="372245"/>
                    </a:cubicBezTo>
                    <a:cubicBezTo>
                      <a:pt x="237976" y="370439"/>
                      <a:pt x="240683" y="368409"/>
                      <a:pt x="240683" y="354419"/>
                    </a:cubicBezTo>
                    <a:cubicBezTo>
                      <a:pt x="240683" y="340428"/>
                      <a:pt x="229401" y="315833"/>
                      <a:pt x="241586" y="309289"/>
                    </a:cubicBezTo>
                    <a:cubicBezTo>
                      <a:pt x="253771" y="302746"/>
                      <a:pt x="250160" y="275442"/>
                      <a:pt x="259412" y="275442"/>
                    </a:cubicBezTo>
                    <a:cubicBezTo>
                      <a:pt x="268889" y="275442"/>
                      <a:pt x="269792" y="269801"/>
                      <a:pt x="281977" y="270704"/>
                    </a:cubicBezTo>
                    <a:cubicBezTo>
                      <a:pt x="294161" y="271606"/>
                      <a:pt x="301833" y="265063"/>
                      <a:pt x="311085" y="263257"/>
                    </a:cubicBezTo>
                    <a:cubicBezTo>
                      <a:pt x="320562" y="261452"/>
                      <a:pt x="322367" y="251975"/>
                      <a:pt x="338388" y="260324"/>
                    </a:cubicBezTo>
                    <a:cubicBezTo>
                      <a:pt x="354409" y="268899"/>
                      <a:pt x="337486" y="260324"/>
                      <a:pt x="346963" y="266868"/>
                    </a:cubicBezTo>
                    <a:cubicBezTo>
                      <a:pt x="356440" y="273412"/>
                      <a:pt x="353506" y="282889"/>
                      <a:pt x="361178" y="283791"/>
                    </a:cubicBezTo>
                    <a:cubicBezTo>
                      <a:pt x="368625" y="284694"/>
                      <a:pt x="386676" y="279955"/>
                      <a:pt x="387579" y="274314"/>
                    </a:cubicBezTo>
                    <a:cubicBezTo>
                      <a:pt x="388256" y="270253"/>
                      <a:pt x="380810" y="261001"/>
                      <a:pt x="379230" y="252652"/>
                    </a:cubicBezTo>
                    <a:cubicBezTo>
                      <a:pt x="374491" y="252878"/>
                      <a:pt x="369753" y="251975"/>
                      <a:pt x="366594" y="247462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xmlns="" id="{5082E742-5753-4116-AFD7-711D3C70434B}"/>
                  </a:ext>
                </a:extLst>
              </p:cNvPr>
              <p:cNvSpPr/>
              <p:nvPr/>
            </p:nvSpPr>
            <p:spPr>
              <a:xfrm>
                <a:off x="8713360" y="1151546"/>
                <a:ext cx="857455" cy="654374"/>
              </a:xfrm>
              <a:custGeom>
                <a:avLst/>
                <a:gdLst>
                  <a:gd name="connsiteX0" fmla="*/ 660936 w 857455"/>
                  <a:gd name="connsiteY0" fmla="*/ 636655 h 654373"/>
                  <a:gd name="connsiteX1" fmla="*/ 660485 w 857455"/>
                  <a:gd name="connsiteY1" fmla="*/ 635752 h 654373"/>
                  <a:gd name="connsiteX2" fmla="*/ 666577 w 857455"/>
                  <a:gd name="connsiteY2" fmla="*/ 620634 h 654373"/>
                  <a:gd name="connsiteX3" fmla="*/ 692075 w 857455"/>
                  <a:gd name="connsiteY3" fmla="*/ 615218 h 654373"/>
                  <a:gd name="connsiteX4" fmla="*/ 707645 w 857455"/>
                  <a:gd name="connsiteY4" fmla="*/ 635978 h 654373"/>
                  <a:gd name="connsiteX5" fmla="*/ 727727 w 857455"/>
                  <a:gd name="connsiteY5" fmla="*/ 647937 h 654373"/>
                  <a:gd name="connsiteX6" fmla="*/ 752097 w 857455"/>
                  <a:gd name="connsiteY6" fmla="*/ 629660 h 654373"/>
                  <a:gd name="connsiteX7" fmla="*/ 774662 w 857455"/>
                  <a:gd name="connsiteY7" fmla="*/ 622213 h 654373"/>
                  <a:gd name="connsiteX8" fmla="*/ 789780 w 857455"/>
                  <a:gd name="connsiteY8" fmla="*/ 603936 h 654373"/>
                  <a:gd name="connsiteX9" fmla="*/ 775338 w 857455"/>
                  <a:gd name="connsiteY9" fmla="*/ 570766 h 654373"/>
                  <a:gd name="connsiteX10" fmla="*/ 772856 w 857455"/>
                  <a:gd name="connsiteY10" fmla="*/ 532632 h 654373"/>
                  <a:gd name="connsiteX11" fmla="*/ 730886 w 857455"/>
                  <a:gd name="connsiteY11" fmla="*/ 518190 h 654373"/>
                  <a:gd name="connsiteX12" fmla="*/ 718250 w 857455"/>
                  <a:gd name="connsiteY12" fmla="*/ 496303 h 654373"/>
                  <a:gd name="connsiteX13" fmla="*/ 732014 w 857455"/>
                  <a:gd name="connsiteY13" fmla="*/ 475092 h 654373"/>
                  <a:gd name="connsiteX14" fmla="*/ 718250 w 857455"/>
                  <a:gd name="connsiteY14" fmla="*/ 436958 h 654373"/>
                  <a:gd name="connsiteX15" fmla="*/ 740815 w 857455"/>
                  <a:gd name="connsiteY15" fmla="*/ 420034 h 654373"/>
                  <a:gd name="connsiteX16" fmla="*/ 777821 w 857455"/>
                  <a:gd name="connsiteY16" fmla="*/ 413039 h 654373"/>
                  <a:gd name="connsiteX17" fmla="*/ 784816 w 857455"/>
                  <a:gd name="connsiteY17" fmla="*/ 387993 h 654373"/>
                  <a:gd name="connsiteX18" fmla="*/ 794293 w 857455"/>
                  <a:gd name="connsiteY18" fmla="*/ 364074 h 654373"/>
                  <a:gd name="connsiteX19" fmla="*/ 813698 w 857455"/>
                  <a:gd name="connsiteY19" fmla="*/ 350987 h 654373"/>
                  <a:gd name="connsiteX20" fmla="*/ 829945 w 857455"/>
                  <a:gd name="connsiteY20" fmla="*/ 335868 h 654373"/>
                  <a:gd name="connsiteX21" fmla="*/ 848673 w 857455"/>
                  <a:gd name="connsiteY21" fmla="*/ 309468 h 654373"/>
                  <a:gd name="connsiteX22" fmla="*/ 868079 w 857455"/>
                  <a:gd name="connsiteY22" fmla="*/ 256215 h 654373"/>
                  <a:gd name="connsiteX23" fmla="*/ 870561 w 857455"/>
                  <a:gd name="connsiteY23" fmla="*/ 210409 h 654373"/>
                  <a:gd name="connsiteX24" fmla="*/ 831073 w 857455"/>
                  <a:gd name="connsiteY24" fmla="*/ 188522 h 654373"/>
                  <a:gd name="connsiteX25" fmla="*/ 772179 w 857455"/>
                  <a:gd name="connsiteY25" fmla="*/ 161670 h 654373"/>
                  <a:gd name="connsiteX26" fmla="*/ 750969 w 857455"/>
                  <a:gd name="connsiteY26" fmla="*/ 170470 h 654373"/>
                  <a:gd name="connsiteX27" fmla="*/ 683275 w 857455"/>
                  <a:gd name="connsiteY27" fmla="*/ 173629 h 654373"/>
                  <a:gd name="connsiteX28" fmla="*/ 627540 w 857455"/>
                  <a:gd name="connsiteY28" fmla="*/ 211312 h 654373"/>
                  <a:gd name="connsiteX29" fmla="*/ 584893 w 857455"/>
                  <a:gd name="connsiteY29" fmla="*/ 220789 h 654373"/>
                  <a:gd name="connsiteX30" fmla="*/ 546082 w 857455"/>
                  <a:gd name="connsiteY30" fmla="*/ 196870 h 654373"/>
                  <a:gd name="connsiteX31" fmla="*/ 495989 w 857455"/>
                  <a:gd name="connsiteY31" fmla="*/ 176788 h 654373"/>
                  <a:gd name="connsiteX32" fmla="*/ 486060 w 857455"/>
                  <a:gd name="connsiteY32" fmla="*/ 146777 h 654373"/>
                  <a:gd name="connsiteX33" fmla="*/ 457854 w 857455"/>
                  <a:gd name="connsiteY33" fmla="*/ 118571 h 654373"/>
                  <a:gd name="connsiteX34" fmla="*/ 422202 w 857455"/>
                  <a:gd name="connsiteY34" fmla="*/ 86078 h 654373"/>
                  <a:gd name="connsiteX35" fmla="*/ 375719 w 857455"/>
                  <a:gd name="connsiteY35" fmla="*/ 59678 h 654373"/>
                  <a:gd name="connsiteX36" fmla="*/ 327431 w 857455"/>
                  <a:gd name="connsiteY36" fmla="*/ 8230 h 654373"/>
                  <a:gd name="connsiteX37" fmla="*/ 286589 w 857455"/>
                  <a:gd name="connsiteY37" fmla="*/ 8907 h 654373"/>
                  <a:gd name="connsiteX38" fmla="*/ 254096 w 857455"/>
                  <a:gd name="connsiteY38" fmla="*/ 107 h 654373"/>
                  <a:gd name="connsiteX39" fmla="*/ 221603 w 857455"/>
                  <a:gd name="connsiteY39" fmla="*/ 3943 h 654373"/>
                  <a:gd name="connsiteX40" fmla="*/ 180761 w 857455"/>
                  <a:gd name="connsiteY40" fmla="*/ 18384 h 654373"/>
                  <a:gd name="connsiteX41" fmla="*/ 148719 w 857455"/>
                  <a:gd name="connsiteY41" fmla="*/ 32826 h 654373"/>
                  <a:gd name="connsiteX42" fmla="*/ 90954 w 857455"/>
                  <a:gd name="connsiteY42" fmla="*/ 30344 h 654373"/>
                  <a:gd name="connsiteX43" fmla="*/ 63425 w 857455"/>
                  <a:gd name="connsiteY43" fmla="*/ 41626 h 654373"/>
                  <a:gd name="connsiteX44" fmla="*/ 45824 w 857455"/>
                  <a:gd name="connsiteY44" fmla="*/ 72991 h 654373"/>
                  <a:gd name="connsiteX45" fmla="*/ 7013 w 857455"/>
                  <a:gd name="connsiteY45" fmla="*/ 95555 h 654373"/>
                  <a:gd name="connsiteX46" fmla="*/ 10172 w 857455"/>
                  <a:gd name="connsiteY46" fmla="*/ 144069 h 654373"/>
                  <a:gd name="connsiteX47" fmla="*/ 47855 w 857455"/>
                  <a:gd name="connsiteY47" fmla="*/ 149710 h 654373"/>
                  <a:gd name="connsiteX48" fmla="*/ 91631 w 857455"/>
                  <a:gd name="connsiteY48" fmla="*/ 195517 h 654373"/>
                  <a:gd name="connsiteX49" fmla="*/ 126155 w 857455"/>
                  <a:gd name="connsiteY49" fmla="*/ 211763 h 654373"/>
                  <a:gd name="connsiteX50" fmla="*/ 148719 w 857455"/>
                  <a:gd name="connsiteY50" fmla="*/ 241323 h 654373"/>
                  <a:gd name="connsiteX51" fmla="*/ 162484 w 857455"/>
                  <a:gd name="connsiteY51" fmla="*/ 282616 h 654373"/>
                  <a:gd name="connsiteX52" fmla="*/ 131119 w 857455"/>
                  <a:gd name="connsiteY52" fmla="*/ 308340 h 654373"/>
                  <a:gd name="connsiteX53" fmla="*/ 124124 w 857455"/>
                  <a:gd name="connsiteY53" fmla="*/ 332258 h 654373"/>
                  <a:gd name="connsiteX54" fmla="*/ 100205 w 857455"/>
                  <a:gd name="connsiteY54" fmla="*/ 349859 h 654373"/>
                  <a:gd name="connsiteX55" fmla="*/ 105169 w 857455"/>
                  <a:gd name="connsiteY55" fmla="*/ 384382 h 654373"/>
                  <a:gd name="connsiteX56" fmla="*/ 109005 w 857455"/>
                  <a:gd name="connsiteY56" fmla="*/ 415747 h 654373"/>
                  <a:gd name="connsiteX57" fmla="*/ 107200 w 857455"/>
                  <a:gd name="connsiteY57" fmla="*/ 470354 h 654373"/>
                  <a:gd name="connsiteX58" fmla="*/ 111036 w 857455"/>
                  <a:gd name="connsiteY58" fmla="*/ 520447 h 654373"/>
                  <a:gd name="connsiteX59" fmla="*/ 126606 w 857455"/>
                  <a:gd name="connsiteY59" fmla="*/ 546848 h 654373"/>
                  <a:gd name="connsiteX60" fmla="*/ 145786 w 857455"/>
                  <a:gd name="connsiteY60" fmla="*/ 554745 h 654373"/>
                  <a:gd name="connsiteX61" fmla="*/ 166545 w 857455"/>
                  <a:gd name="connsiteY61" fmla="*/ 566479 h 654373"/>
                  <a:gd name="connsiteX62" fmla="*/ 199038 w 857455"/>
                  <a:gd name="connsiteY62" fmla="*/ 583402 h 654373"/>
                  <a:gd name="connsiteX63" fmla="*/ 228598 w 857455"/>
                  <a:gd name="connsiteY63" fmla="*/ 589043 h 654373"/>
                  <a:gd name="connsiteX64" fmla="*/ 228147 w 857455"/>
                  <a:gd name="connsiteY64" fmla="*/ 610254 h 654373"/>
                  <a:gd name="connsiteX65" fmla="*/ 231983 w 857455"/>
                  <a:gd name="connsiteY65" fmla="*/ 621988 h 654373"/>
                  <a:gd name="connsiteX66" fmla="*/ 243265 w 857455"/>
                  <a:gd name="connsiteY66" fmla="*/ 627629 h 654373"/>
                  <a:gd name="connsiteX67" fmla="*/ 273727 w 857455"/>
                  <a:gd name="connsiteY67" fmla="*/ 628531 h 654373"/>
                  <a:gd name="connsiteX68" fmla="*/ 298097 w 857455"/>
                  <a:gd name="connsiteY68" fmla="*/ 645004 h 654373"/>
                  <a:gd name="connsiteX69" fmla="*/ 301707 w 857455"/>
                  <a:gd name="connsiteY69" fmla="*/ 649517 h 654373"/>
                  <a:gd name="connsiteX70" fmla="*/ 315923 w 857455"/>
                  <a:gd name="connsiteY70" fmla="*/ 653353 h 654373"/>
                  <a:gd name="connsiteX71" fmla="*/ 337134 w 857455"/>
                  <a:gd name="connsiteY71" fmla="*/ 638234 h 654373"/>
                  <a:gd name="connsiteX72" fmla="*/ 362857 w 857455"/>
                  <a:gd name="connsiteY72" fmla="*/ 623793 h 654373"/>
                  <a:gd name="connsiteX73" fmla="*/ 368499 w 857455"/>
                  <a:gd name="connsiteY73" fmla="*/ 594233 h 654373"/>
                  <a:gd name="connsiteX74" fmla="*/ 373463 w 857455"/>
                  <a:gd name="connsiteY74" fmla="*/ 575956 h 654373"/>
                  <a:gd name="connsiteX75" fmla="*/ 400315 w 857455"/>
                  <a:gd name="connsiteY75" fmla="*/ 560838 h 654373"/>
                  <a:gd name="connsiteX76" fmla="*/ 434162 w 857455"/>
                  <a:gd name="connsiteY76" fmla="*/ 547750 h 654373"/>
                  <a:gd name="connsiteX77" fmla="*/ 472973 w 857455"/>
                  <a:gd name="connsiteY77" fmla="*/ 550909 h 654373"/>
                  <a:gd name="connsiteX78" fmla="*/ 534348 w 857455"/>
                  <a:gd name="connsiteY78" fmla="*/ 587915 h 654373"/>
                  <a:gd name="connsiteX79" fmla="*/ 586473 w 857455"/>
                  <a:gd name="connsiteY79" fmla="*/ 591074 h 654373"/>
                  <a:gd name="connsiteX80" fmla="*/ 602042 w 857455"/>
                  <a:gd name="connsiteY80" fmla="*/ 621762 h 654373"/>
                  <a:gd name="connsiteX81" fmla="*/ 647171 w 857455"/>
                  <a:gd name="connsiteY81" fmla="*/ 624244 h 654373"/>
                  <a:gd name="connsiteX82" fmla="*/ 660936 w 857455"/>
                  <a:gd name="connsiteY82" fmla="*/ 636655 h 65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857455" h="654373">
                    <a:moveTo>
                      <a:pt x="660936" y="636655"/>
                    </a:moveTo>
                    <a:cubicBezTo>
                      <a:pt x="660710" y="636429"/>
                      <a:pt x="660710" y="636203"/>
                      <a:pt x="660485" y="635752"/>
                    </a:cubicBezTo>
                    <a:cubicBezTo>
                      <a:pt x="655746" y="627178"/>
                      <a:pt x="663418" y="620634"/>
                      <a:pt x="666577" y="620634"/>
                    </a:cubicBezTo>
                    <a:cubicBezTo>
                      <a:pt x="669962" y="620634"/>
                      <a:pt x="685080" y="612736"/>
                      <a:pt x="692075" y="615218"/>
                    </a:cubicBezTo>
                    <a:cubicBezTo>
                      <a:pt x="699070" y="617700"/>
                      <a:pt x="704711" y="633947"/>
                      <a:pt x="707645" y="635978"/>
                    </a:cubicBezTo>
                    <a:cubicBezTo>
                      <a:pt x="710804" y="637783"/>
                      <a:pt x="718927" y="647260"/>
                      <a:pt x="727727" y="647937"/>
                    </a:cubicBezTo>
                    <a:cubicBezTo>
                      <a:pt x="736527" y="648614"/>
                      <a:pt x="741492" y="641619"/>
                      <a:pt x="752097" y="629660"/>
                    </a:cubicBezTo>
                    <a:cubicBezTo>
                      <a:pt x="762702" y="617700"/>
                      <a:pt x="767667" y="621536"/>
                      <a:pt x="774662" y="622213"/>
                    </a:cubicBezTo>
                    <a:cubicBezTo>
                      <a:pt x="781657" y="622890"/>
                      <a:pt x="785267" y="619731"/>
                      <a:pt x="789780" y="603936"/>
                    </a:cubicBezTo>
                    <a:cubicBezTo>
                      <a:pt x="794067" y="588366"/>
                      <a:pt x="785493" y="581371"/>
                      <a:pt x="775338" y="570766"/>
                    </a:cubicBezTo>
                    <a:cubicBezTo>
                      <a:pt x="765410" y="560161"/>
                      <a:pt x="776692" y="540755"/>
                      <a:pt x="772856" y="532632"/>
                    </a:cubicBezTo>
                    <a:cubicBezTo>
                      <a:pt x="769020" y="524509"/>
                      <a:pt x="743974" y="520673"/>
                      <a:pt x="730886" y="518190"/>
                    </a:cubicBezTo>
                    <a:cubicBezTo>
                      <a:pt x="717799" y="515708"/>
                      <a:pt x="718250" y="511872"/>
                      <a:pt x="718250" y="496303"/>
                    </a:cubicBezTo>
                    <a:cubicBezTo>
                      <a:pt x="718250" y="480733"/>
                      <a:pt x="729532" y="481861"/>
                      <a:pt x="732014" y="475092"/>
                    </a:cubicBezTo>
                    <a:cubicBezTo>
                      <a:pt x="734497" y="468097"/>
                      <a:pt x="718927" y="445532"/>
                      <a:pt x="718250" y="436958"/>
                    </a:cubicBezTo>
                    <a:cubicBezTo>
                      <a:pt x="717573" y="428158"/>
                      <a:pt x="726373" y="424999"/>
                      <a:pt x="740815" y="420034"/>
                    </a:cubicBezTo>
                    <a:cubicBezTo>
                      <a:pt x="755256" y="415070"/>
                      <a:pt x="773308" y="419357"/>
                      <a:pt x="777821" y="413039"/>
                    </a:cubicBezTo>
                    <a:cubicBezTo>
                      <a:pt x="782108" y="406721"/>
                      <a:pt x="786621" y="398598"/>
                      <a:pt x="784816" y="387993"/>
                    </a:cubicBezTo>
                    <a:cubicBezTo>
                      <a:pt x="783010" y="377387"/>
                      <a:pt x="786169" y="369264"/>
                      <a:pt x="794293" y="364074"/>
                    </a:cubicBezTo>
                    <a:cubicBezTo>
                      <a:pt x="802416" y="359110"/>
                      <a:pt x="810539" y="361592"/>
                      <a:pt x="813698" y="350987"/>
                    </a:cubicBezTo>
                    <a:cubicBezTo>
                      <a:pt x="816857" y="340381"/>
                      <a:pt x="821145" y="341058"/>
                      <a:pt x="829945" y="335868"/>
                    </a:cubicBezTo>
                    <a:cubicBezTo>
                      <a:pt x="838745" y="330904"/>
                      <a:pt x="844386" y="323232"/>
                      <a:pt x="848673" y="309468"/>
                    </a:cubicBezTo>
                    <a:cubicBezTo>
                      <a:pt x="852961" y="295703"/>
                      <a:pt x="854992" y="289385"/>
                      <a:pt x="868079" y="256215"/>
                    </a:cubicBezTo>
                    <a:cubicBezTo>
                      <a:pt x="881167" y="223045"/>
                      <a:pt x="881843" y="220563"/>
                      <a:pt x="870561" y="210409"/>
                    </a:cubicBezTo>
                    <a:cubicBezTo>
                      <a:pt x="859279" y="200481"/>
                      <a:pt x="856797" y="195291"/>
                      <a:pt x="831073" y="188522"/>
                    </a:cubicBezTo>
                    <a:cubicBezTo>
                      <a:pt x="805349" y="181527"/>
                      <a:pt x="788426" y="161670"/>
                      <a:pt x="772179" y="161670"/>
                    </a:cubicBezTo>
                    <a:cubicBezTo>
                      <a:pt x="755933" y="161670"/>
                      <a:pt x="759543" y="167311"/>
                      <a:pt x="750969" y="170470"/>
                    </a:cubicBezTo>
                    <a:cubicBezTo>
                      <a:pt x="742168" y="173629"/>
                      <a:pt x="698393" y="168665"/>
                      <a:pt x="683275" y="173629"/>
                    </a:cubicBezTo>
                    <a:cubicBezTo>
                      <a:pt x="668157" y="178593"/>
                      <a:pt x="640628" y="201835"/>
                      <a:pt x="627540" y="211312"/>
                    </a:cubicBezTo>
                    <a:cubicBezTo>
                      <a:pt x="614453" y="220789"/>
                      <a:pt x="604299" y="221240"/>
                      <a:pt x="584893" y="220789"/>
                    </a:cubicBezTo>
                    <a:cubicBezTo>
                      <a:pt x="565488" y="220112"/>
                      <a:pt x="566616" y="210861"/>
                      <a:pt x="546082" y="196870"/>
                    </a:cubicBezTo>
                    <a:cubicBezTo>
                      <a:pt x="525323" y="183106"/>
                      <a:pt x="499148" y="177465"/>
                      <a:pt x="495989" y="176788"/>
                    </a:cubicBezTo>
                    <a:cubicBezTo>
                      <a:pt x="492829" y="176111"/>
                      <a:pt x="488993" y="158059"/>
                      <a:pt x="486060" y="146777"/>
                    </a:cubicBezTo>
                    <a:cubicBezTo>
                      <a:pt x="482901" y="135495"/>
                      <a:pt x="471619" y="128500"/>
                      <a:pt x="457854" y="118571"/>
                    </a:cubicBezTo>
                    <a:cubicBezTo>
                      <a:pt x="444090" y="108643"/>
                      <a:pt x="442736" y="99166"/>
                      <a:pt x="422202" y="86078"/>
                    </a:cubicBezTo>
                    <a:cubicBezTo>
                      <a:pt x="401443" y="72991"/>
                      <a:pt x="395350" y="72314"/>
                      <a:pt x="375719" y="59678"/>
                    </a:cubicBezTo>
                    <a:cubicBezTo>
                      <a:pt x="356314" y="47041"/>
                      <a:pt x="336908" y="17030"/>
                      <a:pt x="327431" y="8230"/>
                    </a:cubicBezTo>
                    <a:cubicBezTo>
                      <a:pt x="317954" y="-570"/>
                      <a:pt x="305543" y="10712"/>
                      <a:pt x="286589" y="8907"/>
                    </a:cubicBezTo>
                    <a:cubicBezTo>
                      <a:pt x="267860" y="7102"/>
                      <a:pt x="268312" y="-1021"/>
                      <a:pt x="254096" y="107"/>
                    </a:cubicBezTo>
                    <a:cubicBezTo>
                      <a:pt x="239654" y="1461"/>
                      <a:pt x="235367" y="3943"/>
                      <a:pt x="221603" y="3943"/>
                    </a:cubicBezTo>
                    <a:cubicBezTo>
                      <a:pt x="207838" y="3943"/>
                      <a:pt x="194074" y="11389"/>
                      <a:pt x="180761" y="18384"/>
                    </a:cubicBezTo>
                    <a:cubicBezTo>
                      <a:pt x="167673" y="25379"/>
                      <a:pt x="161355" y="30344"/>
                      <a:pt x="148719" y="32826"/>
                    </a:cubicBezTo>
                    <a:cubicBezTo>
                      <a:pt x="136083" y="35308"/>
                      <a:pt x="110585" y="30344"/>
                      <a:pt x="90954" y="30344"/>
                    </a:cubicBezTo>
                    <a:cubicBezTo>
                      <a:pt x="71548" y="30344"/>
                      <a:pt x="68389" y="34631"/>
                      <a:pt x="63425" y="41626"/>
                    </a:cubicBezTo>
                    <a:cubicBezTo>
                      <a:pt x="58461" y="48621"/>
                      <a:pt x="52820" y="68478"/>
                      <a:pt x="45824" y="72991"/>
                    </a:cubicBezTo>
                    <a:cubicBezTo>
                      <a:pt x="38829" y="77278"/>
                      <a:pt x="20778" y="87432"/>
                      <a:pt x="7013" y="95555"/>
                    </a:cubicBezTo>
                    <a:cubicBezTo>
                      <a:pt x="-6751" y="103453"/>
                      <a:pt x="2726" y="138428"/>
                      <a:pt x="10172" y="144069"/>
                    </a:cubicBezTo>
                    <a:cubicBezTo>
                      <a:pt x="17619" y="149710"/>
                      <a:pt x="34091" y="149033"/>
                      <a:pt x="47855" y="149710"/>
                    </a:cubicBezTo>
                    <a:cubicBezTo>
                      <a:pt x="61620" y="150387"/>
                      <a:pt x="81702" y="188522"/>
                      <a:pt x="91631" y="195517"/>
                    </a:cubicBezTo>
                    <a:cubicBezTo>
                      <a:pt x="101559" y="202512"/>
                      <a:pt x="117354" y="204317"/>
                      <a:pt x="126155" y="211763"/>
                    </a:cubicBezTo>
                    <a:cubicBezTo>
                      <a:pt x="134955" y="219209"/>
                      <a:pt x="137437" y="232974"/>
                      <a:pt x="148719" y="241323"/>
                    </a:cubicBezTo>
                    <a:cubicBezTo>
                      <a:pt x="160001" y="249446"/>
                      <a:pt x="171284" y="275847"/>
                      <a:pt x="162484" y="282616"/>
                    </a:cubicBezTo>
                    <a:cubicBezTo>
                      <a:pt x="153683" y="289611"/>
                      <a:pt x="148719" y="306534"/>
                      <a:pt x="131119" y="308340"/>
                    </a:cubicBezTo>
                    <a:cubicBezTo>
                      <a:pt x="113518" y="310145"/>
                      <a:pt x="130442" y="328422"/>
                      <a:pt x="124124" y="332258"/>
                    </a:cubicBezTo>
                    <a:cubicBezTo>
                      <a:pt x="117806" y="336094"/>
                      <a:pt x="107200" y="339704"/>
                      <a:pt x="100205" y="349859"/>
                    </a:cubicBezTo>
                    <a:cubicBezTo>
                      <a:pt x="93210" y="359787"/>
                      <a:pt x="103364" y="374228"/>
                      <a:pt x="105169" y="384382"/>
                    </a:cubicBezTo>
                    <a:cubicBezTo>
                      <a:pt x="106975" y="394311"/>
                      <a:pt x="107652" y="403111"/>
                      <a:pt x="109005" y="415747"/>
                    </a:cubicBezTo>
                    <a:cubicBezTo>
                      <a:pt x="110359" y="428383"/>
                      <a:pt x="111487" y="445307"/>
                      <a:pt x="107200" y="470354"/>
                    </a:cubicBezTo>
                    <a:cubicBezTo>
                      <a:pt x="102913" y="495400"/>
                      <a:pt x="108554" y="508036"/>
                      <a:pt x="111036" y="520447"/>
                    </a:cubicBezTo>
                    <a:cubicBezTo>
                      <a:pt x="113518" y="533083"/>
                      <a:pt x="119159" y="543012"/>
                      <a:pt x="126606" y="546848"/>
                    </a:cubicBezTo>
                    <a:cubicBezTo>
                      <a:pt x="134052" y="550684"/>
                      <a:pt x="145786" y="554745"/>
                      <a:pt x="145786" y="554745"/>
                    </a:cubicBezTo>
                    <a:cubicBezTo>
                      <a:pt x="154812" y="558130"/>
                      <a:pt x="160453" y="562191"/>
                      <a:pt x="166545" y="566479"/>
                    </a:cubicBezTo>
                    <a:cubicBezTo>
                      <a:pt x="172638" y="570766"/>
                      <a:pt x="178730" y="578664"/>
                      <a:pt x="199038" y="583402"/>
                    </a:cubicBezTo>
                    <a:cubicBezTo>
                      <a:pt x="219346" y="588141"/>
                      <a:pt x="229500" y="586336"/>
                      <a:pt x="228598" y="589043"/>
                    </a:cubicBezTo>
                    <a:cubicBezTo>
                      <a:pt x="227695" y="591751"/>
                      <a:pt x="227695" y="601680"/>
                      <a:pt x="228147" y="610254"/>
                    </a:cubicBezTo>
                    <a:cubicBezTo>
                      <a:pt x="228598" y="618829"/>
                      <a:pt x="229500" y="618152"/>
                      <a:pt x="231983" y="621988"/>
                    </a:cubicBezTo>
                    <a:cubicBezTo>
                      <a:pt x="234239" y="625824"/>
                      <a:pt x="238075" y="625824"/>
                      <a:pt x="243265" y="627629"/>
                    </a:cubicBezTo>
                    <a:cubicBezTo>
                      <a:pt x="248455" y="629434"/>
                      <a:pt x="268086" y="628080"/>
                      <a:pt x="273727" y="628531"/>
                    </a:cubicBezTo>
                    <a:cubicBezTo>
                      <a:pt x="279368" y="628983"/>
                      <a:pt x="292907" y="641619"/>
                      <a:pt x="298097" y="645004"/>
                    </a:cubicBezTo>
                    <a:cubicBezTo>
                      <a:pt x="299451" y="645906"/>
                      <a:pt x="300805" y="647486"/>
                      <a:pt x="301707" y="649517"/>
                    </a:cubicBezTo>
                    <a:cubicBezTo>
                      <a:pt x="306897" y="649517"/>
                      <a:pt x="311861" y="650645"/>
                      <a:pt x="315923" y="653353"/>
                    </a:cubicBezTo>
                    <a:cubicBezTo>
                      <a:pt x="329010" y="662153"/>
                      <a:pt x="324046" y="638234"/>
                      <a:pt x="337134" y="638234"/>
                    </a:cubicBezTo>
                    <a:cubicBezTo>
                      <a:pt x="350221" y="638234"/>
                      <a:pt x="356539" y="629434"/>
                      <a:pt x="362857" y="623793"/>
                    </a:cubicBezTo>
                    <a:cubicBezTo>
                      <a:pt x="369175" y="618152"/>
                      <a:pt x="372334" y="605064"/>
                      <a:pt x="368499" y="594233"/>
                    </a:cubicBezTo>
                    <a:cubicBezTo>
                      <a:pt x="364662" y="583628"/>
                      <a:pt x="355411" y="582951"/>
                      <a:pt x="373463" y="575956"/>
                    </a:cubicBezTo>
                    <a:cubicBezTo>
                      <a:pt x="391740" y="568961"/>
                      <a:pt x="392191" y="568510"/>
                      <a:pt x="400315" y="560838"/>
                    </a:cubicBezTo>
                    <a:cubicBezTo>
                      <a:pt x="408438" y="553391"/>
                      <a:pt x="414756" y="548201"/>
                      <a:pt x="434162" y="547750"/>
                    </a:cubicBezTo>
                    <a:cubicBezTo>
                      <a:pt x="453567" y="547073"/>
                      <a:pt x="464172" y="542786"/>
                      <a:pt x="472973" y="550909"/>
                    </a:cubicBezTo>
                    <a:cubicBezTo>
                      <a:pt x="481773" y="559032"/>
                      <a:pt x="514943" y="590397"/>
                      <a:pt x="534348" y="587915"/>
                    </a:cubicBezTo>
                    <a:cubicBezTo>
                      <a:pt x="553754" y="585433"/>
                      <a:pt x="576996" y="580469"/>
                      <a:pt x="586473" y="591074"/>
                    </a:cubicBezTo>
                    <a:cubicBezTo>
                      <a:pt x="595950" y="601680"/>
                      <a:pt x="588278" y="621085"/>
                      <a:pt x="602042" y="621762"/>
                    </a:cubicBezTo>
                    <a:cubicBezTo>
                      <a:pt x="615807" y="622439"/>
                      <a:pt x="649654" y="612285"/>
                      <a:pt x="647171" y="624244"/>
                    </a:cubicBezTo>
                    <a:cubicBezTo>
                      <a:pt x="645592" y="634173"/>
                      <a:pt x="653490" y="636203"/>
                      <a:pt x="660936" y="636655"/>
                    </a:cubicBezTo>
                    <a:close/>
                  </a:path>
                </a:pathLst>
              </a:custGeom>
              <a:solidFill>
                <a:srgbClr val="80C342">
                  <a:alpha val="70000"/>
                </a:srgbClr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xmlns="" id="{FE054115-0766-44CC-9C7C-4A3E25E7C80E}"/>
                  </a:ext>
                </a:extLst>
              </p:cNvPr>
              <p:cNvSpPr/>
              <p:nvPr/>
            </p:nvSpPr>
            <p:spPr>
              <a:xfrm>
                <a:off x="9271401" y="1941756"/>
                <a:ext cx="383598" cy="338469"/>
              </a:xfrm>
              <a:custGeom>
                <a:avLst/>
                <a:gdLst>
                  <a:gd name="connsiteX0" fmla="*/ 272581 w 383598"/>
                  <a:gd name="connsiteY0" fmla="*/ 346702 h 338469"/>
                  <a:gd name="connsiteX1" fmla="*/ 285668 w 383598"/>
                  <a:gd name="connsiteY1" fmla="*/ 360467 h 338469"/>
                  <a:gd name="connsiteX2" fmla="*/ 298530 w 383598"/>
                  <a:gd name="connsiteY2" fmla="*/ 344446 h 338469"/>
                  <a:gd name="connsiteX3" fmla="*/ 295597 w 383598"/>
                  <a:gd name="connsiteY3" fmla="*/ 336323 h 338469"/>
                  <a:gd name="connsiteX4" fmla="*/ 311617 w 383598"/>
                  <a:gd name="connsiteY4" fmla="*/ 286455 h 338469"/>
                  <a:gd name="connsiteX5" fmla="*/ 326736 w 383598"/>
                  <a:gd name="connsiteY5" fmla="*/ 252608 h 338469"/>
                  <a:gd name="connsiteX6" fmla="*/ 340951 w 383598"/>
                  <a:gd name="connsiteY6" fmla="*/ 214925 h 338469"/>
                  <a:gd name="connsiteX7" fmla="*/ 365321 w 383598"/>
                  <a:gd name="connsiteY7" fmla="*/ 191458 h 338469"/>
                  <a:gd name="connsiteX8" fmla="*/ 386080 w 383598"/>
                  <a:gd name="connsiteY8" fmla="*/ 149036 h 338469"/>
                  <a:gd name="connsiteX9" fmla="*/ 364870 w 383598"/>
                  <a:gd name="connsiteY9" fmla="*/ 124215 h 338469"/>
                  <a:gd name="connsiteX10" fmla="*/ 337567 w 383598"/>
                  <a:gd name="connsiteY10" fmla="*/ 112933 h 338469"/>
                  <a:gd name="connsiteX11" fmla="*/ 315453 w 383598"/>
                  <a:gd name="connsiteY11" fmla="*/ 93753 h 338469"/>
                  <a:gd name="connsiteX12" fmla="*/ 297176 w 383598"/>
                  <a:gd name="connsiteY12" fmla="*/ 75476 h 338469"/>
                  <a:gd name="connsiteX13" fmla="*/ 265586 w 383598"/>
                  <a:gd name="connsiteY13" fmla="*/ 55168 h 338469"/>
                  <a:gd name="connsiteX14" fmla="*/ 238282 w 383598"/>
                  <a:gd name="connsiteY14" fmla="*/ 52234 h 338469"/>
                  <a:gd name="connsiteX15" fmla="*/ 203533 w 383598"/>
                  <a:gd name="connsiteY15" fmla="*/ 24480 h 338469"/>
                  <a:gd name="connsiteX16" fmla="*/ 185707 w 383598"/>
                  <a:gd name="connsiteY16" fmla="*/ 561 h 338469"/>
                  <a:gd name="connsiteX17" fmla="*/ 164947 w 383598"/>
                  <a:gd name="connsiteY17" fmla="*/ 7105 h 338469"/>
                  <a:gd name="connsiteX18" fmla="*/ 160434 w 383598"/>
                  <a:gd name="connsiteY18" fmla="*/ 8008 h 338469"/>
                  <a:gd name="connsiteX19" fmla="*/ 160434 w 383598"/>
                  <a:gd name="connsiteY19" fmla="*/ 8008 h 338469"/>
                  <a:gd name="connsiteX20" fmla="*/ 168783 w 383598"/>
                  <a:gd name="connsiteY20" fmla="*/ 29670 h 338469"/>
                  <a:gd name="connsiteX21" fmla="*/ 142383 w 383598"/>
                  <a:gd name="connsiteY21" fmla="*/ 39147 h 338469"/>
                  <a:gd name="connsiteX22" fmla="*/ 128167 w 383598"/>
                  <a:gd name="connsiteY22" fmla="*/ 22223 h 338469"/>
                  <a:gd name="connsiteX23" fmla="*/ 119592 w 383598"/>
                  <a:gd name="connsiteY23" fmla="*/ 15680 h 338469"/>
                  <a:gd name="connsiteX24" fmla="*/ 92289 w 383598"/>
                  <a:gd name="connsiteY24" fmla="*/ 18613 h 338469"/>
                  <a:gd name="connsiteX25" fmla="*/ 63181 w 383598"/>
                  <a:gd name="connsiteY25" fmla="*/ 26059 h 338469"/>
                  <a:gd name="connsiteX26" fmla="*/ 40616 w 383598"/>
                  <a:gd name="connsiteY26" fmla="*/ 30798 h 338469"/>
                  <a:gd name="connsiteX27" fmla="*/ 22790 w 383598"/>
                  <a:gd name="connsiteY27" fmla="*/ 64645 h 338469"/>
                  <a:gd name="connsiteX28" fmla="*/ 21888 w 383598"/>
                  <a:gd name="connsiteY28" fmla="*/ 109774 h 338469"/>
                  <a:gd name="connsiteX29" fmla="*/ 9703 w 383598"/>
                  <a:gd name="connsiteY29" fmla="*/ 127600 h 338469"/>
                  <a:gd name="connsiteX30" fmla="*/ 451 w 383598"/>
                  <a:gd name="connsiteY30" fmla="*/ 131887 h 338469"/>
                  <a:gd name="connsiteX31" fmla="*/ 0 w 383598"/>
                  <a:gd name="connsiteY31" fmla="*/ 132339 h 338469"/>
                  <a:gd name="connsiteX32" fmla="*/ 4964 w 383598"/>
                  <a:gd name="connsiteY32" fmla="*/ 138882 h 338469"/>
                  <a:gd name="connsiteX33" fmla="*/ 20985 w 383598"/>
                  <a:gd name="connsiteY33" fmla="*/ 148359 h 338469"/>
                  <a:gd name="connsiteX34" fmla="*/ 37006 w 383598"/>
                  <a:gd name="connsiteY34" fmla="*/ 163478 h 338469"/>
                  <a:gd name="connsiteX35" fmla="*/ 36555 w 383598"/>
                  <a:gd name="connsiteY35" fmla="*/ 179499 h 338469"/>
                  <a:gd name="connsiteX36" fmla="*/ 25724 w 383598"/>
                  <a:gd name="connsiteY36" fmla="*/ 199355 h 338469"/>
                  <a:gd name="connsiteX37" fmla="*/ 20082 w 383598"/>
                  <a:gd name="connsiteY37" fmla="*/ 215828 h 338469"/>
                  <a:gd name="connsiteX38" fmla="*/ 35201 w 383598"/>
                  <a:gd name="connsiteY38" fmla="*/ 240197 h 338469"/>
                  <a:gd name="connsiteX39" fmla="*/ 51673 w 383598"/>
                  <a:gd name="connsiteY39" fmla="*/ 251931 h 338469"/>
                  <a:gd name="connsiteX40" fmla="*/ 68145 w 383598"/>
                  <a:gd name="connsiteY40" fmla="*/ 245387 h 338469"/>
                  <a:gd name="connsiteX41" fmla="*/ 83263 w 383598"/>
                  <a:gd name="connsiteY41" fmla="*/ 235910 h 338469"/>
                  <a:gd name="connsiteX42" fmla="*/ 97479 w 383598"/>
                  <a:gd name="connsiteY42" fmla="*/ 231172 h 338469"/>
                  <a:gd name="connsiteX43" fmla="*/ 109213 w 383598"/>
                  <a:gd name="connsiteY43" fmla="*/ 244710 h 338469"/>
                  <a:gd name="connsiteX44" fmla="*/ 133583 w 383598"/>
                  <a:gd name="connsiteY44" fmla="*/ 257347 h 338469"/>
                  <a:gd name="connsiteX45" fmla="*/ 154342 w 383598"/>
                  <a:gd name="connsiteY45" fmla="*/ 268178 h 338469"/>
                  <a:gd name="connsiteX46" fmla="*/ 142157 w 383598"/>
                  <a:gd name="connsiteY46" fmla="*/ 279460 h 338469"/>
                  <a:gd name="connsiteX47" fmla="*/ 135162 w 383598"/>
                  <a:gd name="connsiteY47" fmla="*/ 288034 h 338469"/>
                  <a:gd name="connsiteX48" fmla="*/ 160660 w 383598"/>
                  <a:gd name="connsiteY48" fmla="*/ 304507 h 338469"/>
                  <a:gd name="connsiteX49" fmla="*/ 186158 w 383598"/>
                  <a:gd name="connsiteY49" fmla="*/ 317594 h 338469"/>
                  <a:gd name="connsiteX50" fmla="*/ 216620 w 383598"/>
                  <a:gd name="connsiteY50" fmla="*/ 336097 h 338469"/>
                  <a:gd name="connsiteX51" fmla="*/ 243021 w 383598"/>
                  <a:gd name="connsiteY51" fmla="*/ 346702 h 338469"/>
                  <a:gd name="connsiteX52" fmla="*/ 272581 w 383598"/>
                  <a:gd name="connsiteY52" fmla="*/ 346702 h 338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383598" h="338469">
                    <a:moveTo>
                      <a:pt x="272581" y="346702"/>
                    </a:moveTo>
                    <a:cubicBezTo>
                      <a:pt x="280027" y="355503"/>
                      <a:pt x="281381" y="361144"/>
                      <a:pt x="285668" y="360467"/>
                    </a:cubicBezTo>
                    <a:cubicBezTo>
                      <a:pt x="288601" y="360015"/>
                      <a:pt x="293114" y="351215"/>
                      <a:pt x="298530" y="344446"/>
                    </a:cubicBezTo>
                    <a:cubicBezTo>
                      <a:pt x="296499" y="341287"/>
                      <a:pt x="295371" y="338353"/>
                      <a:pt x="295597" y="336323"/>
                    </a:cubicBezTo>
                    <a:cubicBezTo>
                      <a:pt x="296499" y="327748"/>
                      <a:pt x="313423" y="302476"/>
                      <a:pt x="311617" y="286455"/>
                    </a:cubicBezTo>
                    <a:cubicBezTo>
                      <a:pt x="309812" y="270434"/>
                      <a:pt x="314551" y="264793"/>
                      <a:pt x="326736" y="252608"/>
                    </a:cubicBezTo>
                    <a:cubicBezTo>
                      <a:pt x="338921" y="240423"/>
                      <a:pt x="335310" y="229141"/>
                      <a:pt x="340951" y="214925"/>
                    </a:cubicBezTo>
                    <a:cubicBezTo>
                      <a:pt x="346592" y="200709"/>
                      <a:pt x="357875" y="201838"/>
                      <a:pt x="365321" y="191458"/>
                    </a:cubicBezTo>
                    <a:cubicBezTo>
                      <a:pt x="372767" y="181078"/>
                      <a:pt x="392624" y="161447"/>
                      <a:pt x="386080" y="149036"/>
                    </a:cubicBezTo>
                    <a:cubicBezTo>
                      <a:pt x="379537" y="136851"/>
                      <a:pt x="375701" y="127374"/>
                      <a:pt x="364870" y="124215"/>
                    </a:cubicBezTo>
                    <a:cubicBezTo>
                      <a:pt x="354039" y="120831"/>
                      <a:pt x="348398" y="119025"/>
                      <a:pt x="337567" y="112933"/>
                    </a:cubicBezTo>
                    <a:cubicBezTo>
                      <a:pt x="326736" y="106841"/>
                      <a:pt x="323351" y="101199"/>
                      <a:pt x="315453" y="93753"/>
                    </a:cubicBezTo>
                    <a:cubicBezTo>
                      <a:pt x="307556" y="86307"/>
                      <a:pt x="306427" y="81568"/>
                      <a:pt x="297176" y="75476"/>
                    </a:cubicBezTo>
                    <a:cubicBezTo>
                      <a:pt x="287699" y="69383"/>
                      <a:pt x="273709" y="59455"/>
                      <a:pt x="265586" y="55168"/>
                    </a:cubicBezTo>
                    <a:cubicBezTo>
                      <a:pt x="257462" y="50880"/>
                      <a:pt x="253401" y="54265"/>
                      <a:pt x="238282" y="52234"/>
                    </a:cubicBezTo>
                    <a:cubicBezTo>
                      <a:pt x="223164" y="50429"/>
                      <a:pt x="206241" y="29670"/>
                      <a:pt x="203533" y="24480"/>
                    </a:cubicBezTo>
                    <a:cubicBezTo>
                      <a:pt x="200599" y="19290"/>
                      <a:pt x="192702" y="3269"/>
                      <a:pt x="185707" y="561"/>
                    </a:cubicBezTo>
                    <a:cubicBezTo>
                      <a:pt x="178712" y="-2147"/>
                      <a:pt x="168332" y="5751"/>
                      <a:pt x="164947" y="7105"/>
                    </a:cubicBezTo>
                    <a:cubicBezTo>
                      <a:pt x="163819" y="7556"/>
                      <a:pt x="162240" y="8008"/>
                      <a:pt x="160434" y="8008"/>
                    </a:cubicBezTo>
                    <a:lnTo>
                      <a:pt x="160434" y="8008"/>
                    </a:lnTo>
                    <a:cubicBezTo>
                      <a:pt x="162014" y="16356"/>
                      <a:pt x="169460" y="25608"/>
                      <a:pt x="168783" y="29670"/>
                    </a:cubicBezTo>
                    <a:cubicBezTo>
                      <a:pt x="167881" y="35311"/>
                      <a:pt x="150055" y="40049"/>
                      <a:pt x="142383" y="39147"/>
                    </a:cubicBezTo>
                    <a:cubicBezTo>
                      <a:pt x="134936" y="38244"/>
                      <a:pt x="137644" y="28767"/>
                      <a:pt x="128167" y="22223"/>
                    </a:cubicBezTo>
                    <a:cubicBezTo>
                      <a:pt x="118690" y="15680"/>
                      <a:pt x="135613" y="24028"/>
                      <a:pt x="119592" y="15680"/>
                    </a:cubicBezTo>
                    <a:cubicBezTo>
                      <a:pt x="103572" y="7105"/>
                      <a:pt x="101766" y="16582"/>
                      <a:pt x="92289" y="18613"/>
                    </a:cubicBezTo>
                    <a:cubicBezTo>
                      <a:pt x="82812" y="20418"/>
                      <a:pt x="75366" y="27187"/>
                      <a:pt x="63181" y="26059"/>
                    </a:cubicBezTo>
                    <a:cubicBezTo>
                      <a:pt x="50996" y="25157"/>
                      <a:pt x="50093" y="30798"/>
                      <a:pt x="40616" y="30798"/>
                    </a:cubicBezTo>
                    <a:cubicBezTo>
                      <a:pt x="31139" y="30798"/>
                      <a:pt x="34975" y="58101"/>
                      <a:pt x="22790" y="64645"/>
                    </a:cubicBezTo>
                    <a:cubicBezTo>
                      <a:pt x="10605" y="71188"/>
                      <a:pt x="21888" y="95784"/>
                      <a:pt x="21888" y="109774"/>
                    </a:cubicBezTo>
                    <a:cubicBezTo>
                      <a:pt x="21888" y="123764"/>
                      <a:pt x="18954" y="125795"/>
                      <a:pt x="9703" y="127600"/>
                    </a:cubicBezTo>
                    <a:cubicBezTo>
                      <a:pt x="5641" y="128503"/>
                      <a:pt x="2933" y="130308"/>
                      <a:pt x="451" y="131887"/>
                    </a:cubicBezTo>
                    <a:lnTo>
                      <a:pt x="0" y="132339"/>
                    </a:lnTo>
                    <a:cubicBezTo>
                      <a:pt x="1128" y="135046"/>
                      <a:pt x="2708" y="137303"/>
                      <a:pt x="4964" y="138882"/>
                    </a:cubicBezTo>
                    <a:cubicBezTo>
                      <a:pt x="13990" y="144523"/>
                      <a:pt x="14441" y="143170"/>
                      <a:pt x="20985" y="148359"/>
                    </a:cubicBezTo>
                    <a:cubicBezTo>
                      <a:pt x="27529" y="153549"/>
                      <a:pt x="29560" y="156257"/>
                      <a:pt x="37006" y="163478"/>
                    </a:cubicBezTo>
                    <a:cubicBezTo>
                      <a:pt x="44452" y="170698"/>
                      <a:pt x="41293" y="170924"/>
                      <a:pt x="36555" y="179499"/>
                    </a:cubicBezTo>
                    <a:cubicBezTo>
                      <a:pt x="31816" y="188073"/>
                      <a:pt x="27529" y="192135"/>
                      <a:pt x="25724" y="199355"/>
                    </a:cubicBezTo>
                    <a:cubicBezTo>
                      <a:pt x="23919" y="206576"/>
                      <a:pt x="18277" y="204997"/>
                      <a:pt x="20082" y="215828"/>
                    </a:cubicBezTo>
                    <a:cubicBezTo>
                      <a:pt x="21888" y="226659"/>
                      <a:pt x="27529" y="236136"/>
                      <a:pt x="35201" y="240197"/>
                    </a:cubicBezTo>
                    <a:cubicBezTo>
                      <a:pt x="42647" y="244485"/>
                      <a:pt x="44227" y="244936"/>
                      <a:pt x="51673" y="251931"/>
                    </a:cubicBezTo>
                    <a:cubicBezTo>
                      <a:pt x="59119" y="258926"/>
                      <a:pt x="64760" y="250577"/>
                      <a:pt x="68145" y="245387"/>
                    </a:cubicBezTo>
                    <a:cubicBezTo>
                      <a:pt x="71530" y="240197"/>
                      <a:pt x="74238" y="238392"/>
                      <a:pt x="83263" y="235910"/>
                    </a:cubicBezTo>
                    <a:cubicBezTo>
                      <a:pt x="92289" y="233654"/>
                      <a:pt x="93192" y="228915"/>
                      <a:pt x="97479" y="231172"/>
                    </a:cubicBezTo>
                    <a:cubicBezTo>
                      <a:pt x="101766" y="233428"/>
                      <a:pt x="100413" y="240197"/>
                      <a:pt x="109213" y="244710"/>
                    </a:cubicBezTo>
                    <a:cubicBezTo>
                      <a:pt x="118239" y="249449"/>
                      <a:pt x="121849" y="251705"/>
                      <a:pt x="133583" y="257347"/>
                    </a:cubicBezTo>
                    <a:cubicBezTo>
                      <a:pt x="145316" y="262988"/>
                      <a:pt x="152762" y="264342"/>
                      <a:pt x="154342" y="268178"/>
                    </a:cubicBezTo>
                    <a:cubicBezTo>
                      <a:pt x="155696" y="272014"/>
                      <a:pt x="145767" y="275624"/>
                      <a:pt x="142157" y="279460"/>
                    </a:cubicBezTo>
                    <a:cubicBezTo>
                      <a:pt x="138321" y="283296"/>
                      <a:pt x="131326" y="284650"/>
                      <a:pt x="135162" y="288034"/>
                    </a:cubicBezTo>
                    <a:cubicBezTo>
                      <a:pt x="138998" y="291419"/>
                      <a:pt x="158629" y="292322"/>
                      <a:pt x="160660" y="304507"/>
                    </a:cubicBezTo>
                    <a:cubicBezTo>
                      <a:pt x="162465" y="316691"/>
                      <a:pt x="178486" y="305409"/>
                      <a:pt x="186158" y="317594"/>
                    </a:cubicBezTo>
                    <a:cubicBezTo>
                      <a:pt x="193604" y="329779"/>
                      <a:pt x="216620" y="329779"/>
                      <a:pt x="216620" y="336097"/>
                    </a:cubicBezTo>
                    <a:cubicBezTo>
                      <a:pt x="216620" y="342415"/>
                      <a:pt x="226549" y="346702"/>
                      <a:pt x="243021" y="346702"/>
                    </a:cubicBezTo>
                    <a:cubicBezTo>
                      <a:pt x="259493" y="346702"/>
                      <a:pt x="265134" y="337902"/>
                      <a:pt x="272581" y="346702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xmlns="" id="{92E84F28-33FD-4BA4-BFA6-2D37CDD741BD}"/>
                  </a:ext>
                </a:extLst>
              </p:cNvPr>
              <p:cNvSpPr/>
              <p:nvPr/>
            </p:nvSpPr>
            <p:spPr>
              <a:xfrm>
                <a:off x="8283071" y="2091921"/>
                <a:ext cx="1060537" cy="947714"/>
              </a:xfrm>
              <a:custGeom>
                <a:avLst/>
                <a:gdLst>
                  <a:gd name="connsiteX0" fmla="*/ 863773 w 1060536"/>
                  <a:gd name="connsiteY0" fmla="*/ 597060 h 947713"/>
                  <a:gd name="connsiteX1" fmla="*/ 936206 w 1060536"/>
                  <a:gd name="connsiteY1" fmla="*/ 553736 h 947713"/>
                  <a:gd name="connsiteX2" fmla="*/ 1002997 w 1060536"/>
                  <a:gd name="connsiteY2" fmla="*/ 521694 h 947713"/>
                  <a:gd name="connsiteX3" fmla="*/ 1066178 w 1060536"/>
                  <a:gd name="connsiteY3" fmla="*/ 467539 h 947713"/>
                  <a:gd name="connsiteX4" fmla="*/ 1055347 w 1060536"/>
                  <a:gd name="connsiteY4" fmla="*/ 456708 h 947713"/>
                  <a:gd name="connsiteX5" fmla="*/ 1040229 w 1060536"/>
                  <a:gd name="connsiteY5" fmla="*/ 460092 h 947713"/>
                  <a:gd name="connsiteX6" fmla="*/ 1022403 w 1060536"/>
                  <a:gd name="connsiteY6" fmla="*/ 467990 h 947713"/>
                  <a:gd name="connsiteX7" fmla="*/ 1000741 w 1060536"/>
                  <a:gd name="connsiteY7" fmla="*/ 460092 h 947713"/>
                  <a:gd name="connsiteX8" fmla="*/ 978176 w 1060536"/>
                  <a:gd name="connsiteY8" fmla="*/ 470021 h 947713"/>
                  <a:gd name="connsiteX9" fmla="*/ 976822 w 1060536"/>
                  <a:gd name="connsiteY9" fmla="*/ 458739 h 947713"/>
                  <a:gd name="connsiteX10" fmla="*/ 988104 w 1060536"/>
                  <a:gd name="connsiteY10" fmla="*/ 445200 h 947713"/>
                  <a:gd name="connsiteX11" fmla="*/ 975468 w 1060536"/>
                  <a:gd name="connsiteY11" fmla="*/ 439559 h 947713"/>
                  <a:gd name="connsiteX12" fmla="*/ 984043 w 1060536"/>
                  <a:gd name="connsiteY12" fmla="*/ 426020 h 947713"/>
                  <a:gd name="connsiteX13" fmla="*/ 983592 w 1060536"/>
                  <a:gd name="connsiteY13" fmla="*/ 411353 h 947713"/>
                  <a:gd name="connsiteX14" fmla="*/ 966217 w 1060536"/>
                  <a:gd name="connsiteY14" fmla="*/ 395783 h 947713"/>
                  <a:gd name="connsiteX15" fmla="*/ 950647 w 1060536"/>
                  <a:gd name="connsiteY15" fmla="*/ 370962 h 947713"/>
                  <a:gd name="connsiteX16" fmla="*/ 948842 w 1060536"/>
                  <a:gd name="connsiteY16" fmla="*/ 344562 h 947713"/>
                  <a:gd name="connsiteX17" fmla="*/ 945909 w 1060536"/>
                  <a:gd name="connsiteY17" fmla="*/ 334182 h 947713"/>
                  <a:gd name="connsiteX18" fmla="*/ 944329 w 1060536"/>
                  <a:gd name="connsiteY18" fmla="*/ 334408 h 947713"/>
                  <a:gd name="connsiteX19" fmla="*/ 924924 w 1060536"/>
                  <a:gd name="connsiteY19" fmla="*/ 337567 h 947713"/>
                  <a:gd name="connsiteX20" fmla="*/ 910482 w 1060536"/>
                  <a:gd name="connsiteY20" fmla="*/ 347495 h 947713"/>
                  <a:gd name="connsiteX21" fmla="*/ 897846 w 1060536"/>
                  <a:gd name="connsiteY21" fmla="*/ 351331 h 947713"/>
                  <a:gd name="connsiteX22" fmla="*/ 899200 w 1060536"/>
                  <a:gd name="connsiteY22" fmla="*/ 336213 h 947713"/>
                  <a:gd name="connsiteX23" fmla="*/ 898523 w 1060536"/>
                  <a:gd name="connsiteY23" fmla="*/ 310489 h 947713"/>
                  <a:gd name="connsiteX24" fmla="*/ 900328 w 1060536"/>
                  <a:gd name="connsiteY24" fmla="*/ 296048 h 947713"/>
                  <a:gd name="connsiteX25" fmla="*/ 896041 w 1060536"/>
                  <a:gd name="connsiteY25" fmla="*/ 284765 h 947713"/>
                  <a:gd name="connsiteX26" fmla="*/ 879117 w 1060536"/>
                  <a:gd name="connsiteY26" fmla="*/ 290407 h 947713"/>
                  <a:gd name="connsiteX27" fmla="*/ 870994 w 1060536"/>
                  <a:gd name="connsiteY27" fmla="*/ 303043 h 947713"/>
                  <a:gd name="connsiteX28" fmla="*/ 851589 w 1060536"/>
                  <a:gd name="connsiteY28" fmla="*/ 308007 h 947713"/>
                  <a:gd name="connsiteX29" fmla="*/ 847301 w 1060536"/>
                  <a:gd name="connsiteY29" fmla="*/ 299884 h 947713"/>
                  <a:gd name="connsiteX30" fmla="*/ 837824 w 1060536"/>
                  <a:gd name="connsiteY30" fmla="*/ 287247 h 947713"/>
                  <a:gd name="connsiteX31" fmla="*/ 829024 w 1060536"/>
                  <a:gd name="connsiteY31" fmla="*/ 294243 h 947713"/>
                  <a:gd name="connsiteX32" fmla="*/ 817742 w 1060536"/>
                  <a:gd name="connsiteY32" fmla="*/ 301689 h 947713"/>
                  <a:gd name="connsiteX33" fmla="*/ 809618 w 1060536"/>
                  <a:gd name="connsiteY33" fmla="*/ 316807 h 947713"/>
                  <a:gd name="connsiteX34" fmla="*/ 806459 w 1060536"/>
                  <a:gd name="connsiteY34" fmla="*/ 327413 h 947713"/>
                  <a:gd name="connsiteX35" fmla="*/ 786377 w 1060536"/>
                  <a:gd name="connsiteY35" fmla="*/ 328766 h 947713"/>
                  <a:gd name="connsiteX36" fmla="*/ 782090 w 1060536"/>
                  <a:gd name="connsiteY36" fmla="*/ 315679 h 947713"/>
                  <a:gd name="connsiteX37" fmla="*/ 788408 w 1060536"/>
                  <a:gd name="connsiteY37" fmla="*/ 298078 h 947713"/>
                  <a:gd name="connsiteX38" fmla="*/ 792244 w 1060536"/>
                  <a:gd name="connsiteY38" fmla="*/ 282960 h 947713"/>
                  <a:gd name="connsiteX39" fmla="*/ 786602 w 1060536"/>
                  <a:gd name="connsiteY39" fmla="*/ 262201 h 947713"/>
                  <a:gd name="connsiteX40" fmla="*/ 763361 w 1060536"/>
                  <a:gd name="connsiteY40" fmla="*/ 247759 h 947713"/>
                  <a:gd name="connsiteX41" fmla="*/ 741473 w 1060536"/>
                  <a:gd name="connsiteY41" fmla="*/ 221359 h 947713"/>
                  <a:gd name="connsiteX42" fmla="*/ 736509 w 1060536"/>
                  <a:gd name="connsiteY42" fmla="*/ 201276 h 947713"/>
                  <a:gd name="connsiteX43" fmla="*/ 731545 w 1060536"/>
                  <a:gd name="connsiteY43" fmla="*/ 183676 h 947713"/>
                  <a:gd name="connsiteX44" fmla="*/ 732222 w 1060536"/>
                  <a:gd name="connsiteY44" fmla="*/ 165399 h 947713"/>
                  <a:gd name="connsiteX45" fmla="*/ 721616 w 1060536"/>
                  <a:gd name="connsiteY45" fmla="*/ 141029 h 947713"/>
                  <a:gd name="connsiteX46" fmla="*/ 707175 w 1060536"/>
                  <a:gd name="connsiteY46" fmla="*/ 130423 h 947713"/>
                  <a:gd name="connsiteX47" fmla="*/ 689575 w 1060536"/>
                  <a:gd name="connsiteY47" fmla="*/ 130423 h 947713"/>
                  <a:gd name="connsiteX48" fmla="*/ 675810 w 1060536"/>
                  <a:gd name="connsiteY48" fmla="*/ 122300 h 947713"/>
                  <a:gd name="connsiteX49" fmla="*/ 664528 w 1060536"/>
                  <a:gd name="connsiteY49" fmla="*/ 116659 h 947713"/>
                  <a:gd name="connsiteX50" fmla="*/ 653923 w 1060536"/>
                  <a:gd name="connsiteY50" fmla="*/ 115305 h 947713"/>
                  <a:gd name="connsiteX51" fmla="*/ 632035 w 1060536"/>
                  <a:gd name="connsiteY51" fmla="*/ 122300 h 947713"/>
                  <a:gd name="connsiteX52" fmla="*/ 625040 w 1060536"/>
                  <a:gd name="connsiteY52" fmla="*/ 97930 h 947713"/>
                  <a:gd name="connsiteX53" fmla="*/ 627522 w 1060536"/>
                  <a:gd name="connsiteY53" fmla="*/ 80330 h 947713"/>
                  <a:gd name="connsiteX54" fmla="*/ 630681 w 1060536"/>
                  <a:gd name="connsiteY54" fmla="*/ 64760 h 947713"/>
                  <a:gd name="connsiteX55" fmla="*/ 615563 w 1060536"/>
                  <a:gd name="connsiteY55" fmla="*/ 59119 h 947713"/>
                  <a:gd name="connsiteX56" fmla="*/ 616465 w 1060536"/>
                  <a:gd name="connsiteY56" fmla="*/ 52124 h 947713"/>
                  <a:gd name="connsiteX57" fmla="*/ 621204 w 1060536"/>
                  <a:gd name="connsiteY57" fmla="*/ 44678 h 947713"/>
                  <a:gd name="connsiteX58" fmla="*/ 624589 w 1060536"/>
                  <a:gd name="connsiteY58" fmla="*/ 39262 h 947713"/>
                  <a:gd name="connsiteX59" fmla="*/ 626394 w 1060536"/>
                  <a:gd name="connsiteY59" fmla="*/ 39488 h 947713"/>
                  <a:gd name="connsiteX60" fmla="*/ 608116 w 1060536"/>
                  <a:gd name="connsiteY60" fmla="*/ 37232 h 947713"/>
                  <a:gd name="connsiteX61" fmla="*/ 582618 w 1060536"/>
                  <a:gd name="connsiteY61" fmla="*/ 30688 h 947713"/>
                  <a:gd name="connsiteX62" fmla="*/ 563438 w 1060536"/>
                  <a:gd name="connsiteY62" fmla="*/ 30237 h 947713"/>
                  <a:gd name="connsiteX63" fmla="*/ 551254 w 1060536"/>
                  <a:gd name="connsiteY63" fmla="*/ 22339 h 947713"/>
                  <a:gd name="connsiteX64" fmla="*/ 558700 w 1060536"/>
                  <a:gd name="connsiteY64" fmla="*/ 5867 h 947713"/>
                  <a:gd name="connsiteX65" fmla="*/ 559828 w 1060536"/>
                  <a:gd name="connsiteY65" fmla="*/ 0 h 947713"/>
                  <a:gd name="connsiteX66" fmla="*/ 559828 w 1060536"/>
                  <a:gd name="connsiteY66" fmla="*/ 0 h 947713"/>
                  <a:gd name="connsiteX67" fmla="*/ 559377 w 1060536"/>
                  <a:gd name="connsiteY67" fmla="*/ 226 h 947713"/>
                  <a:gd name="connsiteX68" fmla="*/ 553961 w 1060536"/>
                  <a:gd name="connsiteY68" fmla="*/ 4062 h 947713"/>
                  <a:gd name="connsiteX69" fmla="*/ 538843 w 1060536"/>
                  <a:gd name="connsiteY69" fmla="*/ 16698 h 947713"/>
                  <a:gd name="connsiteX70" fmla="*/ 518986 w 1060536"/>
                  <a:gd name="connsiteY70" fmla="*/ 19631 h 947713"/>
                  <a:gd name="connsiteX71" fmla="*/ 492586 w 1060536"/>
                  <a:gd name="connsiteY71" fmla="*/ 28657 h 947713"/>
                  <a:gd name="connsiteX72" fmla="*/ 488750 w 1060536"/>
                  <a:gd name="connsiteY72" fmla="*/ 43775 h 947713"/>
                  <a:gd name="connsiteX73" fmla="*/ 484914 w 1060536"/>
                  <a:gd name="connsiteY73" fmla="*/ 65889 h 947713"/>
                  <a:gd name="connsiteX74" fmla="*/ 470698 w 1060536"/>
                  <a:gd name="connsiteY74" fmla="*/ 91838 h 947713"/>
                  <a:gd name="connsiteX75" fmla="*/ 454226 w 1060536"/>
                  <a:gd name="connsiteY75" fmla="*/ 117336 h 947713"/>
                  <a:gd name="connsiteX76" fmla="*/ 437754 w 1060536"/>
                  <a:gd name="connsiteY76" fmla="*/ 137193 h 947713"/>
                  <a:gd name="connsiteX77" fmla="*/ 427825 w 1060536"/>
                  <a:gd name="connsiteY77" fmla="*/ 157952 h 947713"/>
                  <a:gd name="connsiteX78" fmla="*/ 415640 w 1060536"/>
                  <a:gd name="connsiteY78" fmla="*/ 158855 h 947713"/>
                  <a:gd name="connsiteX79" fmla="*/ 392624 w 1060536"/>
                  <a:gd name="connsiteY79" fmla="*/ 170137 h 947713"/>
                  <a:gd name="connsiteX80" fmla="*/ 363065 w 1060536"/>
                  <a:gd name="connsiteY80" fmla="*/ 187512 h 947713"/>
                  <a:gd name="connsiteX81" fmla="*/ 353362 w 1060536"/>
                  <a:gd name="connsiteY81" fmla="*/ 207820 h 947713"/>
                  <a:gd name="connsiteX82" fmla="*/ 343433 w 1060536"/>
                  <a:gd name="connsiteY82" fmla="*/ 230836 h 947713"/>
                  <a:gd name="connsiteX83" fmla="*/ 329895 w 1060536"/>
                  <a:gd name="connsiteY83" fmla="*/ 244375 h 947713"/>
                  <a:gd name="connsiteX84" fmla="*/ 313422 w 1060536"/>
                  <a:gd name="connsiteY84" fmla="*/ 256560 h 947713"/>
                  <a:gd name="connsiteX85" fmla="*/ 304397 w 1060536"/>
                  <a:gd name="connsiteY85" fmla="*/ 269196 h 947713"/>
                  <a:gd name="connsiteX86" fmla="*/ 298304 w 1060536"/>
                  <a:gd name="connsiteY86" fmla="*/ 285668 h 947713"/>
                  <a:gd name="connsiteX87" fmla="*/ 287473 w 1060536"/>
                  <a:gd name="connsiteY87" fmla="*/ 293114 h 947713"/>
                  <a:gd name="connsiteX88" fmla="*/ 264457 w 1060536"/>
                  <a:gd name="connsiteY88" fmla="*/ 302140 h 947713"/>
                  <a:gd name="connsiteX89" fmla="*/ 244600 w 1060536"/>
                  <a:gd name="connsiteY89" fmla="*/ 301238 h 947713"/>
                  <a:gd name="connsiteX90" fmla="*/ 218651 w 1060536"/>
                  <a:gd name="connsiteY90" fmla="*/ 302140 h 947713"/>
                  <a:gd name="connsiteX91" fmla="*/ 186609 w 1060536"/>
                  <a:gd name="connsiteY91" fmla="*/ 313874 h 947713"/>
                  <a:gd name="connsiteX92" fmla="*/ 162240 w 1060536"/>
                  <a:gd name="connsiteY92" fmla="*/ 316130 h 947713"/>
                  <a:gd name="connsiteX93" fmla="*/ 155245 w 1060536"/>
                  <a:gd name="connsiteY93" fmla="*/ 305299 h 947713"/>
                  <a:gd name="connsiteX94" fmla="*/ 150957 w 1060536"/>
                  <a:gd name="connsiteY94" fmla="*/ 289730 h 947713"/>
                  <a:gd name="connsiteX95" fmla="*/ 145316 w 1060536"/>
                  <a:gd name="connsiteY95" fmla="*/ 272355 h 947713"/>
                  <a:gd name="connsiteX96" fmla="*/ 124557 w 1060536"/>
                  <a:gd name="connsiteY96" fmla="*/ 267616 h 947713"/>
                  <a:gd name="connsiteX97" fmla="*/ 106279 w 1060536"/>
                  <a:gd name="connsiteY97" fmla="*/ 278899 h 947713"/>
                  <a:gd name="connsiteX98" fmla="*/ 89356 w 1060536"/>
                  <a:gd name="connsiteY98" fmla="*/ 289278 h 947713"/>
                  <a:gd name="connsiteX99" fmla="*/ 79879 w 1060536"/>
                  <a:gd name="connsiteY99" fmla="*/ 308458 h 947713"/>
                  <a:gd name="connsiteX100" fmla="*/ 72432 w 1060536"/>
                  <a:gd name="connsiteY100" fmla="*/ 327638 h 947713"/>
                  <a:gd name="connsiteX101" fmla="*/ 60699 w 1060536"/>
                  <a:gd name="connsiteY101" fmla="*/ 337567 h 947713"/>
                  <a:gd name="connsiteX102" fmla="*/ 42873 w 1060536"/>
                  <a:gd name="connsiteY102" fmla="*/ 351105 h 947713"/>
                  <a:gd name="connsiteX103" fmla="*/ 22113 w 1060536"/>
                  <a:gd name="connsiteY103" fmla="*/ 366224 h 947713"/>
                  <a:gd name="connsiteX104" fmla="*/ 9477 w 1060536"/>
                  <a:gd name="connsiteY104" fmla="*/ 386532 h 947713"/>
                  <a:gd name="connsiteX105" fmla="*/ 0 w 1060536"/>
                  <a:gd name="connsiteY105" fmla="*/ 412481 h 947713"/>
                  <a:gd name="connsiteX106" fmla="*/ 2933 w 1060536"/>
                  <a:gd name="connsiteY106" fmla="*/ 436851 h 947713"/>
                  <a:gd name="connsiteX107" fmla="*/ 18503 w 1060536"/>
                  <a:gd name="connsiteY107" fmla="*/ 446328 h 947713"/>
                  <a:gd name="connsiteX108" fmla="*/ 36780 w 1060536"/>
                  <a:gd name="connsiteY108" fmla="*/ 458964 h 947713"/>
                  <a:gd name="connsiteX109" fmla="*/ 57991 w 1060536"/>
                  <a:gd name="connsiteY109" fmla="*/ 458513 h 947713"/>
                  <a:gd name="connsiteX110" fmla="*/ 73109 w 1060536"/>
                  <a:gd name="connsiteY110" fmla="*/ 463703 h 947713"/>
                  <a:gd name="connsiteX111" fmla="*/ 77397 w 1060536"/>
                  <a:gd name="connsiteY111" fmla="*/ 473180 h 947713"/>
                  <a:gd name="connsiteX112" fmla="*/ 77848 w 1060536"/>
                  <a:gd name="connsiteY112" fmla="*/ 496647 h 947713"/>
                  <a:gd name="connsiteX113" fmla="*/ 64760 w 1060536"/>
                  <a:gd name="connsiteY113" fmla="*/ 523950 h 947713"/>
                  <a:gd name="connsiteX114" fmla="*/ 65663 w 1060536"/>
                  <a:gd name="connsiteY114" fmla="*/ 536586 h 947713"/>
                  <a:gd name="connsiteX115" fmla="*/ 67468 w 1060536"/>
                  <a:gd name="connsiteY115" fmla="*/ 556895 h 947713"/>
                  <a:gd name="connsiteX116" fmla="*/ 79653 w 1060536"/>
                  <a:gd name="connsiteY116" fmla="*/ 571110 h 947713"/>
                  <a:gd name="connsiteX117" fmla="*/ 92741 w 1060536"/>
                  <a:gd name="connsiteY117" fmla="*/ 586680 h 947713"/>
                  <a:gd name="connsiteX118" fmla="*/ 118239 w 1060536"/>
                  <a:gd name="connsiteY118" fmla="*/ 583747 h 947713"/>
                  <a:gd name="connsiteX119" fmla="*/ 129521 w 1060536"/>
                  <a:gd name="connsiteY119" fmla="*/ 590742 h 947713"/>
                  <a:gd name="connsiteX120" fmla="*/ 129521 w 1060536"/>
                  <a:gd name="connsiteY120" fmla="*/ 608116 h 947713"/>
                  <a:gd name="connsiteX121" fmla="*/ 136065 w 1060536"/>
                  <a:gd name="connsiteY121" fmla="*/ 645799 h 947713"/>
                  <a:gd name="connsiteX122" fmla="*/ 155245 w 1060536"/>
                  <a:gd name="connsiteY122" fmla="*/ 662271 h 947713"/>
                  <a:gd name="connsiteX123" fmla="*/ 158178 w 1060536"/>
                  <a:gd name="connsiteY123" fmla="*/ 689574 h 947713"/>
                  <a:gd name="connsiteX124" fmla="*/ 168558 w 1060536"/>
                  <a:gd name="connsiteY124" fmla="*/ 715073 h 947713"/>
                  <a:gd name="connsiteX125" fmla="*/ 176455 w 1060536"/>
                  <a:gd name="connsiteY125" fmla="*/ 733350 h 947713"/>
                  <a:gd name="connsiteX126" fmla="*/ 170137 w 1060536"/>
                  <a:gd name="connsiteY126" fmla="*/ 736735 h 947713"/>
                  <a:gd name="connsiteX127" fmla="*/ 189768 w 1060536"/>
                  <a:gd name="connsiteY127" fmla="*/ 738991 h 947713"/>
                  <a:gd name="connsiteX128" fmla="*/ 245277 w 1060536"/>
                  <a:gd name="connsiteY128" fmla="*/ 738991 h 947713"/>
                  <a:gd name="connsiteX129" fmla="*/ 275288 w 1060536"/>
                  <a:gd name="connsiteY129" fmla="*/ 741924 h 947713"/>
                  <a:gd name="connsiteX130" fmla="*/ 313874 w 1060536"/>
                  <a:gd name="connsiteY130" fmla="*/ 746663 h 947713"/>
                  <a:gd name="connsiteX131" fmla="*/ 340274 w 1060536"/>
                  <a:gd name="connsiteY131" fmla="*/ 761781 h 947713"/>
                  <a:gd name="connsiteX132" fmla="*/ 364644 w 1060536"/>
                  <a:gd name="connsiteY132" fmla="*/ 773966 h 947713"/>
                  <a:gd name="connsiteX133" fmla="*/ 386306 w 1060536"/>
                  <a:gd name="connsiteY133" fmla="*/ 773966 h 947713"/>
                  <a:gd name="connsiteX134" fmla="*/ 406163 w 1060536"/>
                  <a:gd name="connsiteY134" fmla="*/ 773966 h 947713"/>
                  <a:gd name="connsiteX135" fmla="*/ 423989 w 1060536"/>
                  <a:gd name="connsiteY135" fmla="*/ 801269 h 947713"/>
                  <a:gd name="connsiteX136" fmla="*/ 425794 w 1060536"/>
                  <a:gd name="connsiteY136" fmla="*/ 824737 h 947713"/>
                  <a:gd name="connsiteX137" fmla="*/ 446554 w 1060536"/>
                  <a:gd name="connsiteY137" fmla="*/ 848204 h 947713"/>
                  <a:gd name="connsiteX138" fmla="*/ 456031 w 1060536"/>
                  <a:gd name="connsiteY138" fmla="*/ 855650 h 947713"/>
                  <a:gd name="connsiteX139" fmla="*/ 466411 w 1060536"/>
                  <a:gd name="connsiteY139" fmla="*/ 886789 h 947713"/>
                  <a:gd name="connsiteX140" fmla="*/ 498452 w 1060536"/>
                  <a:gd name="connsiteY140" fmla="*/ 914092 h 947713"/>
                  <a:gd name="connsiteX141" fmla="*/ 533202 w 1060536"/>
                  <a:gd name="connsiteY141" fmla="*/ 931016 h 947713"/>
                  <a:gd name="connsiteX142" fmla="*/ 544484 w 1060536"/>
                  <a:gd name="connsiteY142" fmla="*/ 953581 h 947713"/>
                  <a:gd name="connsiteX143" fmla="*/ 566146 w 1060536"/>
                  <a:gd name="connsiteY143" fmla="*/ 963058 h 947713"/>
                  <a:gd name="connsiteX144" fmla="*/ 587808 w 1060536"/>
                  <a:gd name="connsiteY144" fmla="*/ 961252 h 947713"/>
                  <a:gd name="connsiteX145" fmla="*/ 602927 w 1060536"/>
                  <a:gd name="connsiteY145" fmla="*/ 942524 h 947713"/>
                  <a:gd name="connsiteX146" fmla="*/ 601121 w 1060536"/>
                  <a:gd name="connsiteY146" fmla="*/ 920862 h 947713"/>
                  <a:gd name="connsiteX147" fmla="*/ 630230 w 1060536"/>
                  <a:gd name="connsiteY147" fmla="*/ 905743 h 947713"/>
                  <a:gd name="connsiteX148" fmla="*/ 634066 w 1060536"/>
                  <a:gd name="connsiteY148" fmla="*/ 868061 h 947713"/>
                  <a:gd name="connsiteX149" fmla="*/ 648281 w 1060536"/>
                  <a:gd name="connsiteY149" fmla="*/ 833311 h 947713"/>
                  <a:gd name="connsiteX150" fmla="*/ 635194 w 1060536"/>
                  <a:gd name="connsiteY150" fmla="*/ 804203 h 947713"/>
                  <a:gd name="connsiteX151" fmla="*/ 632261 w 1060536"/>
                  <a:gd name="connsiteY151" fmla="*/ 761781 h 947713"/>
                  <a:gd name="connsiteX152" fmla="*/ 641738 w 1060536"/>
                  <a:gd name="connsiteY152" fmla="*/ 728837 h 947713"/>
                  <a:gd name="connsiteX153" fmla="*/ 651215 w 1060536"/>
                  <a:gd name="connsiteY153" fmla="*/ 719360 h 947713"/>
                  <a:gd name="connsiteX154" fmla="*/ 661595 w 1060536"/>
                  <a:gd name="connsiteY154" fmla="*/ 731545 h 947713"/>
                  <a:gd name="connsiteX155" fmla="*/ 687093 w 1060536"/>
                  <a:gd name="connsiteY155" fmla="*/ 711688 h 947713"/>
                  <a:gd name="connsiteX156" fmla="*/ 701308 w 1060536"/>
                  <a:gd name="connsiteY156" fmla="*/ 706047 h 947713"/>
                  <a:gd name="connsiteX157" fmla="*/ 692734 w 1060536"/>
                  <a:gd name="connsiteY157" fmla="*/ 743730 h 947713"/>
                  <a:gd name="connsiteX158" fmla="*/ 709657 w 1060536"/>
                  <a:gd name="connsiteY158" fmla="*/ 755012 h 947713"/>
                  <a:gd name="connsiteX159" fmla="*/ 733124 w 1060536"/>
                  <a:gd name="connsiteY159" fmla="*/ 750273 h 947713"/>
                  <a:gd name="connsiteX160" fmla="*/ 754786 w 1060536"/>
                  <a:gd name="connsiteY160" fmla="*/ 742827 h 947713"/>
                  <a:gd name="connsiteX161" fmla="*/ 757720 w 1060536"/>
                  <a:gd name="connsiteY161" fmla="*/ 777576 h 947713"/>
                  <a:gd name="connsiteX162" fmla="*/ 748243 w 1060536"/>
                  <a:gd name="connsiteY162" fmla="*/ 801946 h 947713"/>
                  <a:gd name="connsiteX163" fmla="*/ 753884 w 1060536"/>
                  <a:gd name="connsiteY163" fmla="*/ 826316 h 947713"/>
                  <a:gd name="connsiteX164" fmla="*/ 750048 w 1060536"/>
                  <a:gd name="connsiteY164" fmla="*/ 846173 h 947713"/>
                  <a:gd name="connsiteX165" fmla="*/ 724550 w 1060536"/>
                  <a:gd name="connsiteY165" fmla="*/ 842337 h 947713"/>
                  <a:gd name="connsiteX166" fmla="*/ 711462 w 1060536"/>
                  <a:gd name="connsiteY166" fmla="*/ 876184 h 947713"/>
                  <a:gd name="connsiteX167" fmla="*/ 747114 w 1060536"/>
                  <a:gd name="connsiteY167" fmla="*/ 873250 h 947713"/>
                  <a:gd name="connsiteX168" fmla="*/ 766971 w 1060536"/>
                  <a:gd name="connsiteY168" fmla="*/ 865804 h 947713"/>
                  <a:gd name="connsiteX169" fmla="*/ 785700 w 1060536"/>
                  <a:gd name="connsiteY169" fmla="*/ 841434 h 947713"/>
                  <a:gd name="connsiteX170" fmla="*/ 795177 w 1060536"/>
                  <a:gd name="connsiteY170" fmla="*/ 818870 h 947713"/>
                  <a:gd name="connsiteX171" fmla="*/ 811198 w 1060536"/>
                  <a:gd name="connsiteY171" fmla="*/ 820675 h 947713"/>
                  <a:gd name="connsiteX172" fmla="*/ 859260 w 1060536"/>
                  <a:gd name="connsiteY172" fmla="*/ 823608 h 947713"/>
                  <a:gd name="connsiteX173" fmla="*/ 887466 w 1060536"/>
                  <a:gd name="connsiteY173" fmla="*/ 829249 h 947713"/>
                  <a:gd name="connsiteX174" fmla="*/ 888369 w 1060536"/>
                  <a:gd name="connsiteY174" fmla="*/ 801946 h 947713"/>
                  <a:gd name="connsiteX175" fmla="*/ 906195 w 1060536"/>
                  <a:gd name="connsiteY175" fmla="*/ 788859 h 947713"/>
                  <a:gd name="connsiteX176" fmla="*/ 910933 w 1060536"/>
                  <a:gd name="connsiteY176" fmla="*/ 771033 h 947713"/>
                  <a:gd name="connsiteX177" fmla="*/ 900554 w 1060536"/>
                  <a:gd name="connsiteY177" fmla="*/ 752304 h 947713"/>
                  <a:gd name="connsiteX178" fmla="*/ 884533 w 1060536"/>
                  <a:gd name="connsiteY178" fmla="*/ 728837 h 947713"/>
                  <a:gd name="connsiteX179" fmla="*/ 905292 w 1060536"/>
                  <a:gd name="connsiteY179" fmla="*/ 703339 h 947713"/>
                  <a:gd name="connsiteX180" fmla="*/ 940042 w 1060536"/>
                  <a:gd name="connsiteY180" fmla="*/ 697698 h 947713"/>
                  <a:gd name="connsiteX181" fmla="*/ 940944 w 1060536"/>
                  <a:gd name="connsiteY181" fmla="*/ 666559 h 947713"/>
                  <a:gd name="connsiteX182" fmla="*/ 899651 w 1060536"/>
                  <a:gd name="connsiteY182" fmla="*/ 669492 h 947713"/>
                  <a:gd name="connsiteX183" fmla="*/ 857230 w 1060536"/>
                  <a:gd name="connsiteY183" fmla="*/ 672425 h 947713"/>
                  <a:gd name="connsiteX184" fmla="*/ 845947 w 1060536"/>
                  <a:gd name="connsiteY184" fmla="*/ 618722 h 947713"/>
                  <a:gd name="connsiteX185" fmla="*/ 863773 w 1060536"/>
                  <a:gd name="connsiteY185" fmla="*/ 597060 h 947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1060536" h="947713">
                    <a:moveTo>
                      <a:pt x="863773" y="597060"/>
                    </a:moveTo>
                    <a:cubicBezTo>
                      <a:pt x="888143" y="589613"/>
                      <a:pt x="926729" y="564115"/>
                      <a:pt x="936206" y="553736"/>
                    </a:cubicBezTo>
                    <a:cubicBezTo>
                      <a:pt x="945683" y="543356"/>
                      <a:pt x="986074" y="525530"/>
                      <a:pt x="1002997" y="521694"/>
                    </a:cubicBezTo>
                    <a:cubicBezTo>
                      <a:pt x="1018115" y="518309"/>
                      <a:pt x="1035716" y="495293"/>
                      <a:pt x="1066178" y="467539"/>
                    </a:cubicBezTo>
                    <a:cubicBezTo>
                      <a:pt x="1059634" y="467313"/>
                      <a:pt x="1063019" y="460092"/>
                      <a:pt x="1055347" y="456708"/>
                    </a:cubicBezTo>
                    <a:cubicBezTo>
                      <a:pt x="1047449" y="453323"/>
                      <a:pt x="1049706" y="456256"/>
                      <a:pt x="1040229" y="460092"/>
                    </a:cubicBezTo>
                    <a:cubicBezTo>
                      <a:pt x="1030752" y="463928"/>
                      <a:pt x="1026690" y="467990"/>
                      <a:pt x="1022403" y="467990"/>
                    </a:cubicBezTo>
                    <a:cubicBezTo>
                      <a:pt x="1018115" y="467990"/>
                      <a:pt x="1009315" y="461446"/>
                      <a:pt x="1000741" y="460092"/>
                    </a:cubicBezTo>
                    <a:cubicBezTo>
                      <a:pt x="992166" y="458739"/>
                      <a:pt x="985622" y="470021"/>
                      <a:pt x="978176" y="470021"/>
                    </a:cubicBezTo>
                    <a:cubicBezTo>
                      <a:pt x="970730" y="470021"/>
                      <a:pt x="966442" y="462123"/>
                      <a:pt x="976822" y="458739"/>
                    </a:cubicBezTo>
                    <a:cubicBezTo>
                      <a:pt x="987202" y="455354"/>
                      <a:pt x="991038" y="449261"/>
                      <a:pt x="988104" y="445200"/>
                    </a:cubicBezTo>
                    <a:cubicBezTo>
                      <a:pt x="985171" y="441138"/>
                      <a:pt x="980658" y="441364"/>
                      <a:pt x="975468" y="439559"/>
                    </a:cubicBezTo>
                    <a:cubicBezTo>
                      <a:pt x="970278" y="437753"/>
                      <a:pt x="979756" y="431661"/>
                      <a:pt x="984043" y="426020"/>
                    </a:cubicBezTo>
                    <a:cubicBezTo>
                      <a:pt x="988330" y="420379"/>
                      <a:pt x="986299" y="415640"/>
                      <a:pt x="983592" y="411353"/>
                    </a:cubicBezTo>
                    <a:cubicBezTo>
                      <a:pt x="980884" y="407066"/>
                      <a:pt x="975017" y="401424"/>
                      <a:pt x="966217" y="395783"/>
                    </a:cubicBezTo>
                    <a:cubicBezTo>
                      <a:pt x="957191" y="390142"/>
                      <a:pt x="956740" y="387886"/>
                      <a:pt x="950647" y="370962"/>
                    </a:cubicBezTo>
                    <a:cubicBezTo>
                      <a:pt x="944555" y="354039"/>
                      <a:pt x="951099" y="354039"/>
                      <a:pt x="948842" y="344562"/>
                    </a:cubicBezTo>
                    <a:cubicBezTo>
                      <a:pt x="948165" y="342080"/>
                      <a:pt x="947037" y="338244"/>
                      <a:pt x="945909" y="334182"/>
                    </a:cubicBezTo>
                    <a:cubicBezTo>
                      <a:pt x="945457" y="334182"/>
                      <a:pt x="944780" y="334408"/>
                      <a:pt x="944329" y="334408"/>
                    </a:cubicBezTo>
                    <a:cubicBezTo>
                      <a:pt x="937334" y="335761"/>
                      <a:pt x="932370" y="333731"/>
                      <a:pt x="924924" y="337567"/>
                    </a:cubicBezTo>
                    <a:cubicBezTo>
                      <a:pt x="917477" y="341403"/>
                      <a:pt x="914318" y="340726"/>
                      <a:pt x="910482" y="347495"/>
                    </a:cubicBezTo>
                    <a:cubicBezTo>
                      <a:pt x="906646" y="354490"/>
                      <a:pt x="901682" y="353136"/>
                      <a:pt x="897846" y="351331"/>
                    </a:cubicBezTo>
                    <a:cubicBezTo>
                      <a:pt x="894010" y="349526"/>
                      <a:pt x="896041" y="341403"/>
                      <a:pt x="899200" y="336213"/>
                    </a:cubicBezTo>
                    <a:cubicBezTo>
                      <a:pt x="902359" y="331248"/>
                      <a:pt x="894913" y="319289"/>
                      <a:pt x="898523" y="310489"/>
                    </a:cubicBezTo>
                    <a:cubicBezTo>
                      <a:pt x="902359" y="301689"/>
                      <a:pt x="902810" y="300561"/>
                      <a:pt x="900328" y="296048"/>
                    </a:cubicBezTo>
                    <a:cubicBezTo>
                      <a:pt x="897846" y="291760"/>
                      <a:pt x="898523" y="285442"/>
                      <a:pt x="896041" y="284765"/>
                    </a:cubicBezTo>
                    <a:cubicBezTo>
                      <a:pt x="893559" y="284088"/>
                      <a:pt x="883405" y="284088"/>
                      <a:pt x="879117" y="290407"/>
                    </a:cubicBezTo>
                    <a:cubicBezTo>
                      <a:pt x="874830" y="296725"/>
                      <a:pt x="873476" y="297853"/>
                      <a:pt x="870994" y="303043"/>
                    </a:cubicBezTo>
                    <a:cubicBezTo>
                      <a:pt x="868512" y="308007"/>
                      <a:pt x="854071" y="308007"/>
                      <a:pt x="851589" y="308007"/>
                    </a:cubicBezTo>
                    <a:cubicBezTo>
                      <a:pt x="849106" y="308007"/>
                      <a:pt x="849783" y="305525"/>
                      <a:pt x="847301" y="299884"/>
                    </a:cubicBezTo>
                    <a:cubicBezTo>
                      <a:pt x="844819" y="294243"/>
                      <a:pt x="843465" y="287924"/>
                      <a:pt x="837824" y="287247"/>
                    </a:cubicBezTo>
                    <a:cubicBezTo>
                      <a:pt x="832183" y="286571"/>
                      <a:pt x="831506" y="289730"/>
                      <a:pt x="829024" y="294243"/>
                    </a:cubicBezTo>
                    <a:cubicBezTo>
                      <a:pt x="826542" y="298530"/>
                      <a:pt x="821578" y="299884"/>
                      <a:pt x="817742" y="301689"/>
                    </a:cubicBezTo>
                    <a:cubicBezTo>
                      <a:pt x="813906" y="303494"/>
                      <a:pt x="814583" y="313648"/>
                      <a:pt x="809618" y="316807"/>
                    </a:cubicBezTo>
                    <a:cubicBezTo>
                      <a:pt x="804654" y="319966"/>
                      <a:pt x="806459" y="323802"/>
                      <a:pt x="806459" y="327413"/>
                    </a:cubicBezTo>
                    <a:cubicBezTo>
                      <a:pt x="806459" y="331248"/>
                      <a:pt x="792018" y="331700"/>
                      <a:pt x="786377" y="328766"/>
                    </a:cubicBezTo>
                    <a:cubicBezTo>
                      <a:pt x="780736" y="325833"/>
                      <a:pt x="776900" y="321771"/>
                      <a:pt x="782090" y="315679"/>
                    </a:cubicBezTo>
                    <a:cubicBezTo>
                      <a:pt x="787054" y="309361"/>
                      <a:pt x="786377" y="303043"/>
                      <a:pt x="788408" y="298078"/>
                    </a:cubicBezTo>
                    <a:cubicBezTo>
                      <a:pt x="790213" y="293114"/>
                      <a:pt x="790890" y="286796"/>
                      <a:pt x="792244" y="282960"/>
                    </a:cubicBezTo>
                    <a:cubicBezTo>
                      <a:pt x="793597" y="279124"/>
                      <a:pt x="793597" y="271678"/>
                      <a:pt x="786602" y="262201"/>
                    </a:cubicBezTo>
                    <a:cubicBezTo>
                      <a:pt x="779607" y="252724"/>
                      <a:pt x="767197" y="252272"/>
                      <a:pt x="763361" y="247759"/>
                    </a:cubicBezTo>
                    <a:cubicBezTo>
                      <a:pt x="759525" y="243472"/>
                      <a:pt x="747114" y="223841"/>
                      <a:pt x="741473" y="221359"/>
                    </a:cubicBezTo>
                    <a:cubicBezTo>
                      <a:pt x="735832" y="218877"/>
                      <a:pt x="734027" y="206918"/>
                      <a:pt x="736509" y="201276"/>
                    </a:cubicBezTo>
                    <a:cubicBezTo>
                      <a:pt x="738991" y="195635"/>
                      <a:pt x="728386" y="189994"/>
                      <a:pt x="731545" y="183676"/>
                    </a:cubicBezTo>
                    <a:cubicBezTo>
                      <a:pt x="734704" y="177358"/>
                      <a:pt x="736509" y="175553"/>
                      <a:pt x="732222" y="165399"/>
                    </a:cubicBezTo>
                    <a:cubicBezTo>
                      <a:pt x="727934" y="155470"/>
                      <a:pt x="720262" y="150280"/>
                      <a:pt x="721616" y="141029"/>
                    </a:cubicBezTo>
                    <a:cubicBezTo>
                      <a:pt x="722970" y="131552"/>
                      <a:pt x="712816" y="127941"/>
                      <a:pt x="707175" y="130423"/>
                    </a:cubicBezTo>
                    <a:cubicBezTo>
                      <a:pt x="701534" y="132906"/>
                      <a:pt x="694539" y="134711"/>
                      <a:pt x="689575" y="130423"/>
                    </a:cubicBezTo>
                    <a:cubicBezTo>
                      <a:pt x="684610" y="126136"/>
                      <a:pt x="680774" y="125459"/>
                      <a:pt x="675810" y="122300"/>
                    </a:cubicBezTo>
                    <a:cubicBezTo>
                      <a:pt x="670846" y="119141"/>
                      <a:pt x="667687" y="117336"/>
                      <a:pt x="664528" y="116659"/>
                    </a:cubicBezTo>
                    <a:cubicBezTo>
                      <a:pt x="661369" y="115982"/>
                      <a:pt x="667687" y="109213"/>
                      <a:pt x="653923" y="115305"/>
                    </a:cubicBezTo>
                    <a:cubicBezTo>
                      <a:pt x="640158" y="121623"/>
                      <a:pt x="635645" y="125911"/>
                      <a:pt x="632035" y="122300"/>
                    </a:cubicBezTo>
                    <a:cubicBezTo>
                      <a:pt x="628199" y="118464"/>
                      <a:pt x="623235" y="104023"/>
                      <a:pt x="625040" y="97930"/>
                    </a:cubicBezTo>
                    <a:cubicBezTo>
                      <a:pt x="626845" y="91612"/>
                      <a:pt x="623686" y="84843"/>
                      <a:pt x="627522" y="80330"/>
                    </a:cubicBezTo>
                    <a:cubicBezTo>
                      <a:pt x="631358" y="76043"/>
                      <a:pt x="636322" y="66566"/>
                      <a:pt x="630681" y="64760"/>
                    </a:cubicBezTo>
                    <a:cubicBezTo>
                      <a:pt x="625040" y="62955"/>
                      <a:pt x="618045" y="60924"/>
                      <a:pt x="615563" y="59119"/>
                    </a:cubicBezTo>
                    <a:cubicBezTo>
                      <a:pt x="615563" y="59119"/>
                      <a:pt x="614209" y="53704"/>
                      <a:pt x="616465" y="52124"/>
                    </a:cubicBezTo>
                    <a:cubicBezTo>
                      <a:pt x="618722" y="50545"/>
                      <a:pt x="618722" y="46257"/>
                      <a:pt x="621204" y="44678"/>
                    </a:cubicBezTo>
                    <a:cubicBezTo>
                      <a:pt x="623686" y="43098"/>
                      <a:pt x="621881" y="38811"/>
                      <a:pt x="624589" y="39262"/>
                    </a:cubicBezTo>
                    <a:cubicBezTo>
                      <a:pt x="625265" y="39262"/>
                      <a:pt x="625717" y="39488"/>
                      <a:pt x="626394" y="39488"/>
                    </a:cubicBezTo>
                    <a:cubicBezTo>
                      <a:pt x="622106" y="32493"/>
                      <a:pt x="616014" y="37683"/>
                      <a:pt x="608116" y="37232"/>
                    </a:cubicBezTo>
                    <a:cubicBezTo>
                      <a:pt x="600219" y="36780"/>
                      <a:pt x="592547" y="33847"/>
                      <a:pt x="582618" y="30688"/>
                    </a:cubicBezTo>
                    <a:cubicBezTo>
                      <a:pt x="572690" y="27303"/>
                      <a:pt x="571336" y="30237"/>
                      <a:pt x="563438" y="30237"/>
                    </a:cubicBezTo>
                    <a:cubicBezTo>
                      <a:pt x="555541" y="30237"/>
                      <a:pt x="557346" y="29334"/>
                      <a:pt x="551254" y="22339"/>
                    </a:cubicBezTo>
                    <a:cubicBezTo>
                      <a:pt x="545161" y="15344"/>
                      <a:pt x="552607" y="14893"/>
                      <a:pt x="558700" y="5867"/>
                    </a:cubicBezTo>
                    <a:cubicBezTo>
                      <a:pt x="560054" y="3836"/>
                      <a:pt x="560279" y="1805"/>
                      <a:pt x="559828" y="0"/>
                    </a:cubicBezTo>
                    <a:lnTo>
                      <a:pt x="559828" y="0"/>
                    </a:lnTo>
                    <a:cubicBezTo>
                      <a:pt x="559602" y="0"/>
                      <a:pt x="559602" y="226"/>
                      <a:pt x="559377" y="226"/>
                    </a:cubicBezTo>
                    <a:cubicBezTo>
                      <a:pt x="555089" y="1580"/>
                      <a:pt x="555766" y="2482"/>
                      <a:pt x="553961" y="4062"/>
                    </a:cubicBezTo>
                    <a:cubicBezTo>
                      <a:pt x="552156" y="5416"/>
                      <a:pt x="547869" y="8800"/>
                      <a:pt x="538843" y="16698"/>
                    </a:cubicBezTo>
                    <a:cubicBezTo>
                      <a:pt x="529817" y="24595"/>
                      <a:pt x="528012" y="19631"/>
                      <a:pt x="518986" y="19631"/>
                    </a:cubicBezTo>
                    <a:cubicBezTo>
                      <a:pt x="509960" y="19631"/>
                      <a:pt x="496873" y="24370"/>
                      <a:pt x="492586" y="28657"/>
                    </a:cubicBezTo>
                    <a:cubicBezTo>
                      <a:pt x="488298" y="32944"/>
                      <a:pt x="490329" y="38134"/>
                      <a:pt x="488750" y="43775"/>
                    </a:cubicBezTo>
                    <a:cubicBezTo>
                      <a:pt x="487170" y="49417"/>
                      <a:pt x="487396" y="57314"/>
                      <a:pt x="484914" y="65889"/>
                    </a:cubicBezTo>
                    <a:cubicBezTo>
                      <a:pt x="482657" y="74463"/>
                      <a:pt x="474534" y="87551"/>
                      <a:pt x="470698" y="91838"/>
                    </a:cubicBezTo>
                    <a:cubicBezTo>
                      <a:pt x="466862" y="96125"/>
                      <a:pt x="464154" y="109213"/>
                      <a:pt x="454226" y="117336"/>
                    </a:cubicBezTo>
                    <a:cubicBezTo>
                      <a:pt x="444297" y="125234"/>
                      <a:pt x="442041" y="132906"/>
                      <a:pt x="437754" y="137193"/>
                    </a:cubicBezTo>
                    <a:cubicBezTo>
                      <a:pt x="433466" y="141480"/>
                      <a:pt x="434369" y="157050"/>
                      <a:pt x="427825" y="157952"/>
                    </a:cubicBezTo>
                    <a:cubicBezTo>
                      <a:pt x="421281" y="158855"/>
                      <a:pt x="423538" y="157050"/>
                      <a:pt x="415640" y="158855"/>
                    </a:cubicBezTo>
                    <a:cubicBezTo>
                      <a:pt x="407743" y="160660"/>
                      <a:pt x="402553" y="167881"/>
                      <a:pt x="392624" y="170137"/>
                    </a:cubicBezTo>
                    <a:cubicBezTo>
                      <a:pt x="382696" y="172394"/>
                      <a:pt x="371414" y="180517"/>
                      <a:pt x="363065" y="187512"/>
                    </a:cubicBezTo>
                    <a:cubicBezTo>
                      <a:pt x="354716" y="194507"/>
                      <a:pt x="356972" y="202179"/>
                      <a:pt x="353362" y="207820"/>
                    </a:cubicBezTo>
                    <a:cubicBezTo>
                      <a:pt x="349526" y="213461"/>
                      <a:pt x="347721" y="225195"/>
                      <a:pt x="343433" y="230836"/>
                    </a:cubicBezTo>
                    <a:cubicBezTo>
                      <a:pt x="339146" y="236477"/>
                      <a:pt x="334859" y="243021"/>
                      <a:pt x="329895" y="244375"/>
                    </a:cubicBezTo>
                    <a:cubicBezTo>
                      <a:pt x="324705" y="245729"/>
                      <a:pt x="317710" y="252949"/>
                      <a:pt x="313422" y="256560"/>
                    </a:cubicBezTo>
                    <a:cubicBezTo>
                      <a:pt x="309135" y="260396"/>
                      <a:pt x="305976" y="263103"/>
                      <a:pt x="304397" y="269196"/>
                    </a:cubicBezTo>
                    <a:cubicBezTo>
                      <a:pt x="303043" y="275288"/>
                      <a:pt x="299658" y="282283"/>
                      <a:pt x="298304" y="285668"/>
                    </a:cubicBezTo>
                    <a:cubicBezTo>
                      <a:pt x="296950" y="289053"/>
                      <a:pt x="293114" y="291309"/>
                      <a:pt x="287473" y="293114"/>
                    </a:cubicBezTo>
                    <a:cubicBezTo>
                      <a:pt x="281832" y="294919"/>
                      <a:pt x="275288" y="300561"/>
                      <a:pt x="264457" y="302140"/>
                    </a:cubicBezTo>
                    <a:cubicBezTo>
                      <a:pt x="253626" y="303494"/>
                      <a:pt x="252272" y="301238"/>
                      <a:pt x="244600" y="301238"/>
                    </a:cubicBezTo>
                    <a:cubicBezTo>
                      <a:pt x="237154" y="301238"/>
                      <a:pt x="224744" y="299884"/>
                      <a:pt x="218651" y="302140"/>
                    </a:cubicBezTo>
                    <a:cubicBezTo>
                      <a:pt x="212559" y="304397"/>
                      <a:pt x="196989" y="309586"/>
                      <a:pt x="186609" y="313874"/>
                    </a:cubicBezTo>
                    <a:cubicBezTo>
                      <a:pt x="176230" y="318161"/>
                      <a:pt x="165850" y="319515"/>
                      <a:pt x="162240" y="316130"/>
                    </a:cubicBezTo>
                    <a:cubicBezTo>
                      <a:pt x="158404" y="312746"/>
                      <a:pt x="158855" y="307556"/>
                      <a:pt x="155245" y="305299"/>
                    </a:cubicBezTo>
                    <a:cubicBezTo>
                      <a:pt x="151409" y="303043"/>
                      <a:pt x="150957" y="294017"/>
                      <a:pt x="150957" y="289730"/>
                    </a:cubicBezTo>
                    <a:cubicBezTo>
                      <a:pt x="150957" y="285442"/>
                      <a:pt x="148701" y="274611"/>
                      <a:pt x="145316" y="272355"/>
                    </a:cubicBezTo>
                    <a:cubicBezTo>
                      <a:pt x="141931" y="270098"/>
                      <a:pt x="129295" y="267165"/>
                      <a:pt x="124557" y="267616"/>
                    </a:cubicBezTo>
                    <a:cubicBezTo>
                      <a:pt x="119818" y="268068"/>
                      <a:pt x="114628" y="273709"/>
                      <a:pt x="106279" y="278899"/>
                    </a:cubicBezTo>
                    <a:cubicBezTo>
                      <a:pt x="97705" y="284088"/>
                      <a:pt x="95448" y="285894"/>
                      <a:pt x="89356" y="289278"/>
                    </a:cubicBezTo>
                    <a:cubicBezTo>
                      <a:pt x="83263" y="292663"/>
                      <a:pt x="80781" y="303945"/>
                      <a:pt x="79879" y="308458"/>
                    </a:cubicBezTo>
                    <a:cubicBezTo>
                      <a:pt x="78976" y="313197"/>
                      <a:pt x="76494" y="325833"/>
                      <a:pt x="72432" y="327638"/>
                    </a:cubicBezTo>
                    <a:cubicBezTo>
                      <a:pt x="68145" y="329443"/>
                      <a:pt x="65437" y="335085"/>
                      <a:pt x="60699" y="337567"/>
                    </a:cubicBezTo>
                    <a:cubicBezTo>
                      <a:pt x="55960" y="339823"/>
                      <a:pt x="52124" y="345464"/>
                      <a:pt x="42873" y="351105"/>
                    </a:cubicBezTo>
                    <a:cubicBezTo>
                      <a:pt x="33396" y="356747"/>
                      <a:pt x="29334" y="363742"/>
                      <a:pt x="22113" y="366224"/>
                    </a:cubicBezTo>
                    <a:cubicBezTo>
                      <a:pt x="15118" y="368480"/>
                      <a:pt x="16472" y="381793"/>
                      <a:pt x="9477" y="386532"/>
                    </a:cubicBezTo>
                    <a:cubicBezTo>
                      <a:pt x="2482" y="391270"/>
                      <a:pt x="0" y="398717"/>
                      <a:pt x="0" y="412481"/>
                    </a:cubicBezTo>
                    <a:cubicBezTo>
                      <a:pt x="0" y="426020"/>
                      <a:pt x="0" y="430758"/>
                      <a:pt x="2933" y="436851"/>
                    </a:cubicBezTo>
                    <a:cubicBezTo>
                      <a:pt x="5867" y="442943"/>
                      <a:pt x="10831" y="441138"/>
                      <a:pt x="18503" y="446328"/>
                    </a:cubicBezTo>
                    <a:cubicBezTo>
                      <a:pt x="25949" y="451518"/>
                      <a:pt x="28883" y="457610"/>
                      <a:pt x="36780" y="458964"/>
                    </a:cubicBezTo>
                    <a:cubicBezTo>
                      <a:pt x="44678" y="460318"/>
                      <a:pt x="50319" y="459415"/>
                      <a:pt x="57991" y="458513"/>
                    </a:cubicBezTo>
                    <a:cubicBezTo>
                      <a:pt x="65437" y="457610"/>
                      <a:pt x="70627" y="462349"/>
                      <a:pt x="73109" y="463703"/>
                    </a:cubicBezTo>
                    <a:cubicBezTo>
                      <a:pt x="75366" y="465057"/>
                      <a:pt x="80104" y="467539"/>
                      <a:pt x="77397" y="473180"/>
                    </a:cubicBezTo>
                    <a:cubicBezTo>
                      <a:pt x="74689" y="478821"/>
                      <a:pt x="80330" y="484462"/>
                      <a:pt x="77848" y="496647"/>
                    </a:cubicBezTo>
                    <a:cubicBezTo>
                      <a:pt x="75591" y="508832"/>
                      <a:pt x="74463" y="517407"/>
                      <a:pt x="64760" y="523950"/>
                    </a:cubicBezTo>
                    <a:cubicBezTo>
                      <a:pt x="54832" y="530494"/>
                      <a:pt x="66566" y="533879"/>
                      <a:pt x="65663" y="536586"/>
                    </a:cubicBezTo>
                    <a:cubicBezTo>
                      <a:pt x="64760" y="539520"/>
                      <a:pt x="63858" y="550802"/>
                      <a:pt x="67468" y="556895"/>
                    </a:cubicBezTo>
                    <a:cubicBezTo>
                      <a:pt x="71304" y="562987"/>
                      <a:pt x="76043" y="565469"/>
                      <a:pt x="79653" y="571110"/>
                    </a:cubicBezTo>
                    <a:cubicBezTo>
                      <a:pt x="83489" y="576751"/>
                      <a:pt x="86648" y="583295"/>
                      <a:pt x="92741" y="586680"/>
                    </a:cubicBezTo>
                    <a:cubicBezTo>
                      <a:pt x="98833" y="590065"/>
                      <a:pt x="105828" y="586229"/>
                      <a:pt x="118239" y="583747"/>
                    </a:cubicBezTo>
                    <a:cubicBezTo>
                      <a:pt x="130423" y="581490"/>
                      <a:pt x="133357" y="584198"/>
                      <a:pt x="129521" y="590742"/>
                    </a:cubicBezTo>
                    <a:cubicBezTo>
                      <a:pt x="125685" y="597285"/>
                      <a:pt x="129521" y="604280"/>
                      <a:pt x="129521" y="608116"/>
                    </a:cubicBezTo>
                    <a:cubicBezTo>
                      <a:pt x="129521" y="611952"/>
                      <a:pt x="131777" y="639255"/>
                      <a:pt x="136065" y="645799"/>
                    </a:cubicBezTo>
                    <a:cubicBezTo>
                      <a:pt x="140352" y="652343"/>
                      <a:pt x="153439" y="657082"/>
                      <a:pt x="155245" y="662271"/>
                    </a:cubicBezTo>
                    <a:cubicBezTo>
                      <a:pt x="157050" y="667461"/>
                      <a:pt x="151409" y="680549"/>
                      <a:pt x="158178" y="689574"/>
                    </a:cubicBezTo>
                    <a:cubicBezTo>
                      <a:pt x="164722" y="698600"/>
                      <a:pt x="163819" y="708303"/>
                      <a:pt x="168558" y="715073"/>
                    </a:cubicBezTo>
                    <a:cubicBezTo>
                      <a:pt x="173296" y="721616"/>
                      <a:pt x="183225" y="730642"/>
                      <a:pt x="176455" y="733350"/>
                    </a:cubicBezTo>
                    <a:cubicBezTo>
                      <a:pt x="171040" y="735606"/>
                      <a:pt x="172168" y="734252"/>
                      <a:pt x="170137" y="736735"/>
                    </a:cubicBezTo>
                    <a:cubicBezTo>
                      <a:pt x="176230" y="738314"/>
                      <a:pt x="182773" y="739442"/>
                      <a:pt x="189768" y="738991"/>
                    </a:cubicBezTo>
                    <a:cubicBezTo>
                      <a:pt x="223615" y="737186"/>
                      <a:pt x="234898" y="734252"/>
                      <a:pt x="245277" y="738991"/>
                    </a:cubicBezTo>
                    <a:cubicBezTo>
                      <a:pt x="255657" y="743730"/>
                      <a:pt x="254754" y="736058"/>
                      <a:pt x="275288" y="741924"/>
                    </a:cubicBezTo>
                    <a:cubicBezTo>
                      <a:pt x="296048" y="747566"/>
                      <a:pt x="296048" y="741022"/>
                      <a:pt x="313874" y="746663"/>
                    </a:cubicBezTo>
                    <a:cubicBezTo>
                      <a:pt x="331700" y="752304"/>
                      <a:pt x="328992" y="750499"/>
                      <a:pt x="340274" y="761781"/>
                    </a:cubicBezTo>
                    <a:cubicBezTo>
                      <a:pt x="351557" y="773064"/>
                      <a:pt x="350654" y="773966"/>
                      <a:pt x="364644" y="773966"/>
                    </a:cubicBezTo>
                    <a:cubicBezTo>
                      <a:pt x="378860" y="773966"/>
                      <a:pt x="374121" y="773966"/>
                      <a:pt x="386306" y="773966"/>
                    </a:cubicBezTo>
                    <a:cubicBezTo>
                      <a:pt x="398491" y="773966"/>
                      <a:pt x="391947" y="765392"/>
                      <a:pt x="406163" y="773966"/>
                    </a:cubicBezTo>
                    <a:cubicBezTo>
                      <a:pt x="420379" y="782541"/>
                      <a:pt x="427825" y="790890"/>
                      <a:pt x="423989" y="801269"/>
                    </a:cubicBezTo>
                    <a:cubicBezTo>
                      <a:pt x="420153" y="811649"/>
                      <a:pt x="417445" y="817290"/>
                      <a:pt x="425794" y="824737"/>
                    </a:cubicBezTo>
                    <a:cubicBezTo>
                      <a:pt x="434369" y="832183"/>
                      <a:pt x="446554" y="830378"/>
                      <a:pt x="446554" y="848204"/>
                    </a:cubicBezTo>
                    <a:cubicBezTo>
                      <a:pt x="446554" y="866030"/>
                      <a:pt x="448359" y="842563"/>
                      <a:pt x="456031" y="855650"/>
                    </a:cubicBezTo>
                    <a:cubicBezTo>
                      <a:pt x="463477" y="868738"/>
                      <a:pt x="456933" y="880020"/>
                      <a:pt x="466411" y="886789"/>
                    </a:cubicBezTo>
                    <a:cubicBezTo>
                      <a:pt x="475888" y="893333"/>
                      <a:pt x="480626" y="904615"/>
                      <a:pt x="498452" y="914092"/>
                    </a:cubicBezTo>
                    <a:cubicBezTo>
                      <a:pt x="516278" y="923570"/>
                      <a:pt x="524853" y="912287"/>
                      <a:pt x="533202" y="931016"/>
                    </a:cubicBezTo>
                    <a:cubicBezTo>
                      <a:pt x="541776" y="949745"/>
                      <a:pt x="533202" y="953581"/>
                      <a:pt x="544484" y="953581"/>
                    </a:cubicBezTo>
                    <a:cubicBezTo>
                      <a:pt x="555766" y="953581"/>
                      <a:pt x="557572" y="959222"/>
                      <a:pt x="566146" y="963058"/>
                    </a:cubicBezTo>
                    <a:cubicBezTo>
                      <a:pt x="574721" y="966894"/>
                      <a:pt x="572690" y="965991"/>
                      <a:pt x="587808" y="961252"/>
                    </a:cubicBezTo>
                    <a:cubicBezTo>
                      <a:pt x="602927" y="956514"/>
                      <a:pt x="606537" y="949970"/>
                      <a:pt x="602927" y="942524"/>
                    </a:cubicBezTo>
                    <a:cubicBezTo>
                      <a:pt x="599091" y="935078"/>
                      <a:pt x="587808" y="925600"/>
                      <a:pt x="601121" y="920862"/>
                    </a:cubicBezTo>
                    <a:cubicBezTo>
                      <a:pt x="614209" y="916123"/>
                      <a:pt x="624589" y="909579"/>
                      <a:pt x="630230" y="905743"/>
                    </a:cubicBezTo>
                    <a:cubicBezTo>
                      <a:pt x="635871" y="901908"/>
                      <a:pt x="620753" y="889723"/>
                      <a:pt x="634066" y="868061"/>
                    </a:cubicBezTo>
                    <a:cubicBezTo>
                      <a:pt x="647153" y="846399"/>
                      <a:pt x="656630" y="843691"/>
                      <a:pt x="648281" y="833311"/>
                    </a:cubicBezTo>
                    <a:cubicBezTo>
                      <a:pt x="639707" y="822931"/>
                      <a:pt x="635194" y="824737"/>
                      <a:pt x="635194" y="804203"/>
                    </a:cubicBezTo>
                    <a:cubicBezTo>
                      <a:pt x="635194" y="783443"/>
                      <a:pt x="632261" y="775997"/>
                      <a:pt x="632261" y="761781"/>
                    </a:cubicBezTo>
                    <a:cubicBezTo>
                      <a:pt x="632261" y="747566"/>
                      <a:pt x="639707" y="731770"/>
                      <a:pt x="641738" y="728837"/>
                    </a:cubicBezTo>
                    <a:cubicBezTo>
                      <a:pt x="643543" y="725903"/>
                      <a:pt x="641738" y="711011"/>
                      <a:pt x="651215" y="719360"/>
                    </a:cubicBezTo>
                    <a:cubicBezTo>
                      <a:pt x="660692" y="727709"/>
                      <a:pt x="646476" y="737186"/>
                      <a:pt x="661595" y="731545"/>
                    </a:cubicBezTo>
                    <a:cubicBezTo>
                      <a:pt x="676713" y="725903"/>
                      <a:pt x="681451" y="717329"/>
                      <a:pt x="687093" y="711688"/>
                    </a:cubicBezTo>
                    <a:cubicBezTo>
                      <a:pt x="692734" y="706047"/>
                      <a:pt x="698375" y="694764"/>
                      <a:pt x="701308" y="706047"/>
                    </a:cubicBezTo>
                    <a:cubicBezTo>
                      <a:pt x="704242" y="717329"/>
                      <a:pt x="690928" y="736058"/>
                      <a:pt x="692734" y="743730"/>
                    </a:cubicBezTo>
                    <a:cubicBezTo>
                      <a:pt x="694539" y="751176"/>
                      <a:pt x="696570" y="755012"/>
                      <a:pt x="709657" y="755012"/>
                    </a:cubicBezTo>
                    <a:cubicBezTo>
                      <a:pt x="722745" y="755012"/>
                      <a:pt x="726581" y="753207"/>
                      <a:pt x="733124" y="750273"/>
                    </a:cubicBezTo>
                    <a:cubicBezTo>
                      <a:pt x="739668" y="747340"/>
                      <a:pt x="750048" y="731545"/>
                      <a:pt x="754786" y="742827"/>
                    </a:cubicBezTo>
                    <a:cubicBezTo>
                      <a:pt x="759525" y="754109"/>
                      <a:pt x="759525" y="763587"/>
                      <a:pt x="757720" y="777576"/>
                    </a:cubicBezTo>
                    <a:cubicBezTo>
                      <a:pt x="755915" y="791792"/>
                      <a:pt x="746437" y="790664"/>
                      <a:pt x="748243" y="801946"/>
                    </a:cubicBezTo>
                    <a:cubicBezTo>
                      <a:pt x="750048" y="813229"/>
                      <a:pt x="753884" y="813229"/>
                      <a:pt x="753884" y="826316"/>
                    </a:cubicBezTo>
                    <a:cubicBezTo>
                      <a:pt x="753884" y="839403"/>
                      <a:pt x="765166" y="846173"/>
                      <a:pt x="750048" y="846173"/>
                    </a:cubicBezTo>
                    <a:cubicBezTo>
                      <a:pt x="734929" y="846173"/>
                      <a:pt x="735832" y="834891"/>
                      <a:pt x="724550" y="842337"/>
                    </a:cubicBezTo>
                    <a:cubicBezTo>
                      <a:pt x="713267" y="849783"/>
                      <a:pt x="701985" y="869640"/>
                      <a:pt x="711462" y="876184"/>
                    </a:cubicBezTo>
                    <a:cubicBezTo>
                      <a:pt x="720939" y="882728"/>
                      <a:pt x="739668" y="877989"/>
                      <a:pt x="747114" y="873250"/>
                    </a:cubicBezTo>
                    <a:cubicBezTo>
                      <a:pt x="754561" y="868512"/>
                      <a:pt x="750048" y="866707"/>
                      <a:pt x="766971" y="865804"/>
                    </a:cubicBezTo>
                    <a:cubicBezTo>
                      <a:pt x="783895" y="864902"/>
                      <a:pt x="785700" y="845947"/>
                      <a:pt x="785700" y="841434"/>
                    </a:cubicBezTo>
                    <a:cubicBezTo>
                      <a:pt x="785700" y="836696"/>
                      <a:pt x="789536" y="818870"/>
                      <a:pt x="795177" y="818870"/>
                    </a:cubicBezTo>
                    <a:cubicBezTo>
                      <a:pt x="800818" y="818870"/>
                      <a:pt x="801721" y="817065"/>
                      <a:pt x="811198" y="820675"/>
                    </a:cubicBezTo>
                    <a:cubicBezTo>
                      <a:pt x="820675" y="824511"/>
                      <a:pt x="846850" y="815936"/>
                      <a:pt x="859260" y="823608"/>
                    </a:cubicBezTo>
                    <a:cubicBezTo>
                      <a:pt x="871445" y="831055"/>
                      <a:pt x="880923" y="834891"/>
                      <a:pt x="887466" y="829249"/>
                    </a:cubicBezTo>
                    <a:cubicBezTo>
                      <a:pt x="894010" y="823608"/>
                      <a:pt x="889271" y="811423"/>
                      <a:pt x="888369" y="801946"/>
                    </a:cubicBezTo>
                    <a:cubicBezTo>
                      <a:pt x="887466" y="792469"/>
                      <a:pt x="902585" y="789761"/>
                      <a:pt x="906195" y="788859"/>
                    </a:cubicBezTo>
                    <a:cubicBezTo>
                      <a:pt x="910031" y="787956"/>
                      <a:pt x="916575" y="777576"/>
                      <a:pt x="910933" y="771033"/>
                    </a:cubicBezTo>
                    <a:cubicBezTo>
                      <a:pt x="905292" y="764489"/>
                      <a:pt x="909128" y="750273"/>
                      <a:pt x="900554" y="752304"/>
                    </a:cubicBezTo>
                    <a:cubicBezTo>
                      <a:pt x="891979" y="754109"/>
                      <a:pt x="880697" y="745760"/>
                      <a:pt x="884533" y="728837"/>
                    </a:cubicBezTo>
                    <a:cubicBezTo>
                      <a:pt x="888369" y="711914"/>
                      <a:pt x="894913" y="703339"/>
                      <a:pt x="905292" y="703339"/>
                    </a:cubicBezTo>
                    <a:cubicBezTo>
                      <a:pt x="915672" y="703339"/>
                      <a:pt x="928760" y="701534"/>
                      <a:pt x="940042" y="697698"/>
                    </a:cubicBezTo>
                    <a:cubicBezTo>
                      <a:pt x="951324" y="693862"/>
                      <a:pt x="944780" y="674231"/>
                      <a:pt x="940944" y="666559"/>
                    </a:cubicBezTo>
                    <a:cubicBezTo>
                      <a:pt x="937108" y="659112"/>
                      <a:pt x="911836" y="661820"/>
                      <a:pt x="899651" y="669492"/>
                    </a:cubicBezTo>
                    <a:cubicBezTo>
                      <a:pt x="887466" y="676938"/>
                      <a:pt x="870543" y="684610"/>
                      <a:pt x="857230" y="672425"/>
                    </a:cubicBezTo>
                    <a:cubicBezTo>
                      <a:pt x="844142" y="660241"/>
                      <a:pt x="843014" y="625491"/>
                      <a:pt x="845947" y="618722"/>
                    </a:cubicBezTo>
                    <a:cubicBezTo>
                      <a:pt x="847753" y="612178"/>
                      <a:pt x="839404" y="604732"/>
                      <a:pt x="863773" y="597060"/>
                    </a:cubicBezTo>
                    <a:close/>
                  </a:path>
                </a:pathLst>
              </a:custGeom>
              <a:solidFill>
                <a:srgbClr val="80C342">
                  <a:alpha val="70000"/>
                </a:srgbClr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xmlns="" id="{04F40527-6D53-4B4F-A7D3-CBF779C15E6D}"/>
                  </a:ext>
                </a:extLst>
              </p:cNvPr>
              <p:cNvSpPr/>
              <p:nvPr/>
            </p:nvSpPr>
            <p:spPr>
              <a:xfrm>
                <a:off x="8080569" y="2827978"/>
                <a:ext cx="767197" cy="609244"/>
              </a:xfrm>
              <a:custGeom>
                <a:avLst/>
                <a:gdLst>
                  <a:gd name="connsiteX0" fmla="*/ 372639 w 767196"/>
                  <a:gd name="connsiteY0" fmla="*/ 903 h 609244"/>
                  <a:gd name="connsiteX1" fmla="*/ 372639 w 767196"/>
                  <a:gd name="connsiteY1" fmla="*/ 903 h 609244"/>
                  <a:gd name="connsiteX2" fmla="*/ 372639 w 767196"/>
                  <a:gd name="connsiteY2" fmla="*/ 903 h 609244"/>
                  <a:gd name="connsiteX3" fmla="*/ 372639 w 767196"/>
                  <a:gd name="connsiteY3" fmla="*/ 903 h 609244"/>
                  <a:gd name="connsiteX4" fmla="*/ 372865 w 767196"/>
                  <a:gd name="connsiteY4" fmla="*/ 677 h 609244"/>
                  <a:gd name="connsiteX5" fmla="*/ 373316 w 767196"/>
                  <a:gd name="connsiteY5" fmla="*/ 0 h 609244"/>
                  <a:gd name="connsiteX6" fmla="*/ 372865 w 767196"/>
                  <a:gd name="connsiteY6" fmla="*/ 677 h 609244"/>
                  <a:gd name="connsiteX7" fmla="*/ 772936 w 767196"/>
                  <a:gd name="connsiteY7" fmla="*/ 262426 h 609244"/>
                  <a:gd name="connsiteX8" fmla="*/ 759848 w 767196"/>
                  <a:gd name="connsiteY8" fmla="*/ 231287 h 609244"/>
                  <a:gd name="connsiteX9" fmla="*/ 753756 w 767196"/>
                  <a:gd name="connsiteY9" fmla="*/ 218200 h 609244"/>
                  <a:gd name="connsiteX10" fmla="*/ 746761 w 767196"/>
                  <a:gd name="connsiteY10" fmla="*/ 217297 h 609244"/>
                  <a:gd name="connsiteX11" fmla="*/ 735478 w 767196"/>
                  <a:gd name="connsiteY11" fmla="*/ 194733 h 609244"/>
                  <a:gd name="connsiteX12" fmla="*/ 700729 w 767196"/>
                  <a:gd name="connsiteY12" fmla="*/ 177809 h 609244"/>
                  <a:gd name="connsiteX13" fmla="*/ 668687 w 767196"/>
                  <a:gd name="connsiteY13" fmla="*/ 150506 h 609244"/>
                  <a:gd name="connsiteX14" fmla="*/ 658307 w 767196"/>
                  <a:gd name="connsiteY14" fmla="*/ 119367 h 609244"/>
                  <a:gd name="connsiteX15" fmla="*/ 648830 w 767196"/>
                  <a:gd name="connsiteY15" fmla="*/ 111920 h 609244"/>
                  <a:gd name="connsiteX16" fmla="*/ 628071 w 767196"/>
                  <a:gd name="connsiteY16" fmla="*/ 88453 h 609244"/>
                  <a:gd name="connsiteX17" fmla="*/ 626266 w 767196"/>
                  <a:gd name="connsiteY17" fmla="*/ 64986 h 609244"/>
                  <a:gd name="connsiteX18" fmla="*/ 608440 w 767196"/>
                  <a:gd name="connsiteY18" fmla="*/ 37683 h 609244"/>
                  <a:gd name="connsiteX19" fmla="*/ 588583 w 767196"/>
                  <a:gd name="connsiteY19" fmla="*/ 37683 h 609244"/>
                  <a:gd name="connsiteX20" fmla="*/ 566921 w 767196"/>
                  <a:gd name="connsiteY20" fmla="*/ 37683 h 609244"/>
                  <a:gd name="connsiteX21" fmla="*/ 542551 w 767196"/>
                  <a:gd name="connsiteY21" fmla="*/ 25498 h 609244"/>
                  <a:gd name="connsiteX22" fmla="*/ 516150 w 767196"/>
                  <a:gd name="connsiteY22" fmla="*/ 10380 h 609244"/>
                  <a:gd name="connsiteX23" fmla="*/ 477565 w 767196"/>
                  <a:gd name="connsiteY23" fmla="*/ 5641 h 609244"/>
                  <a:gd name="connsiteX24" fmla="*/ 447554 w 767196"/>
                  <a:gd name="connsiteY24" fmla="*/ 2708 h 609244"/>
                  <a:gd name="connsiteX25" fmla="*/ 392045 w 767196"/>
                  <a:gd name="connsiteY25" fmla="*/ 2708 h 609244"/>
                  <a:gd name="connsiteX26" fmla="*/ 372414 w 767196"/>
                  <a:gd name="connsiteY26" fmla="*/ 451 h 609244"/>
                  <a:gd name="connsiteX27" fmla="*/ 370383 w 767196"/>
                  <a:gd name="connsiteY27" fmla="*/ 2933 h 609244"/>
                  <a:gd name="connsiteX28" fmla="*/ 365644 w 767196"/>
                  <a:gd name="connsiteY28" fmla="*/ 14441 h 609244"/>
                  <a:gd name="connsiteX29" fmla="*/ 374219 w 767196"/>
                  <a:gd name="connsiteY29" fmla="*/ 23242 h 609244"/>
                  <a:gd name="connsiteX30" fmla="*/ 377152 w 767196"/>
                  <a:gd name="connsiteY30" fmla="*/ 33170 h 609244"/>
                  <a:gd name="connsiteX31" fmla="*/ 367675 w 767196"/>
                  <a:gd name="connsiteY31" fmla="*/ 39037 h 609244"/>
                  <a:gd name="connsiteX32" fmla="*/ 357747 w 767196"/>
                  <a:gd name="connsiteY32" fmla="*/ 40391 h 609244"/>
                  <a:gd name="connsiteX33" fmla="*/ 348044 w 767196"/>
                  <a:gd name="connsiteY33" fmla="*/ 50996 h 609244"/>
                  <a:gd name="connsiteX34" fmla="*/ 328864 w 767196"/>
                  <a:gd name="connsiteY34" fmla="*/ 55283 h 609244"/>
                  <a:gd name="connsiteX35" fmla="*/ 306525 w 767196"/>
                  <a:gd name="connsiteY35" fmla="*/ 43324 h 609244"/>
                  <a:gd name="connsiteX36" fmla="*/ 309684 w 767196"/>
                  <a:gd name="connsiteY36" fmla="*/ 25724 h 609244"/>
                  <a:gd name="connsiteX37" fmla="*/ 293438 w 767196"/>
                  <a:gd name="connsiteY37" fmla="*/ 30462 h 609244"/>
                  <a:gd name="connsiteX38" fmla="*/ 277417 w 767196"/>
                  <a:gd name="connsiteY38" fmla="*/ 36103 h 609244"/>
                  <a:gd name="connsiteX39" fmla="*/ 256206 w 767196"/>
                  <a:gd name="connsiteY39" fmla="*/ 40842 h 609244"/>
                  <a:gd name="connsiteX40" fmla="*/ 241539 w 767196"/>
                  <a:gd name="connsiteY40" fmla="*/ 52801 h 609244"/>
                  <a:gd name="connsiteX41" fmla="*/ 217621 w 767196"/>
                  <a:gd name="connsiteY41" fmla="*/ 54155 h 609244"/>
                  <a:gd name="connsiteX42" fmla="*/ 195056 w 767196"/>
                  <a:gd name="connsiteY42" fmla="*/ 44452 h 609244"/>
                  <a:gd name="connsiteX43" fmla="*/ 185127 w 767196"/>
                  <a:gd name="connsiteY43" fmla="*/ 37232 h 609244"/>
                  <a:gd name="connsiteX44" fmla="*/ 160758 w 767196"/>
                  <a:gd name="connsiteY44" fmla="*/ 35878 h 609244"/>
                  <a:gd name="connsiteX45" fmla="*/ 141352 w 767196"/>
                  <a:gd name="connsiteY45" fmla="*/ 38811 h 609244"/>
                  <a:gd name="connsiteX46" fmla="*/ 121947 w 767196"/>
                  <a:gd name="connsiteY46" fmla="*/ 38811 h 609244"/>
                  <a:gd name="connsiteX47" fmla="*/ 107731 w 767196"/>
                  <a:gd name="connsiteY47" fmla="*/ 33396 h 609244"/>
                  <a:gd name="connsiteX48" fmla="*/ 97351 w 767196"/>
                  <a:gd name="connsiteY48" fmla="*/ 32719 h 609244"/>
                  <a:gd name="connsiteX49" fmla="*/ 85392 w 767196"/>
                  <a:gd name="connsiteY49" fmla="*/ 26175 h 609244"/>
                  <a:gd name="connsiteX50" fmla="*/ 82007 w 767196"/>
                  <a:gd name="connsiteY50" fmla="*/ 44904 h 609244"/>
                  <a:gd name="connsiteX51" fmla="*/ 78848 w 767196"/>
                  <a:gd name="connsiteY51" fmla="*/ 54381 h 609244"/>
                  <a:gd name="connsiteX52" fmla="*/ 75012 w 767196"/>
                  <a:gd name="connsiteY52" fmla="*/ 67468 h 609244"/>
                  <a:gd name="connsiteX53" fmla="*/ 53350 w 767196"/>
                  <a:gd name="connsiteY53" fmla="*/ 71304 h 609244"/>
                  <a:gd name="connsiteX54" fmla="*/ 32591 w 767196"/>
                  <a:gd name="connsiteY54" fmla="*/ 67242 h 609244"/>
                  <a:gd name="connsiteX55" fmla="*/ 8447 w 767196"/>
                  <a:gd name="connsiteY55" fmla="*/ 77848 h 609244"/>
                  <a:gd name="connsiteX56" fmla="*/ 11380 w 767196"/>
                  <a:gd name="connsiteY56" fmla="*/ 94546 h 609244"/>
                  <a:gd name="connsiteX57" fmla="*/ 14765 w 767196"/>
                  <a:gd name="connsiteY57" fmla="*/ 100187 h 609244"/>
                  <a:gd name="connsiteX58" fmla="*/ 2580 w 767196"/>
                  <a:gd name="connsiteY58" fmla="*/ 110115 h 609244"/>
                  <a:gd name="connsiteX59" fmla="*/ 4385 w 767196"/>
                  <a:gd name="connsiteY59" fmla="*/ 117562 h 609244"/>
                  <a:gd name="connsiteX60" fmla="*/ 19729 w 767196"/>
                  <a:gd name="connsiteY60" fmla="*/ 115756 h 609244"/>
                  <a:gd name="connsiteX61" fmla="*/ 30109 w 767196"/>
                  <a:gd name="connsiteY61" fmla="*/ 102218 h 609244"/>
                  <a:gd name="connsiteX62" fmla="*/ 42970 w 767196"/>
                  <a:gd name="connsiteY62" fmla="*/ 97479 h 609244"/>
                  <a:gd name="connsiteX63" fmla="*/ 52673 w 767196"/>
                  <a:gd name="connsiteY63" fmla="*/ 87099 h 609244"/>
                  <a:gd name="connsiteX64" fmla="*/ 72756 w 767196"/>
                  <a:gd name="connsiteY64" fmla="*/ 81458 h 609244"/>
                  <a:gd name="connsiteX65" fmla="*/ 84038 w 767196"/>
                  <a:gd name="connsiteY65" fmla="*/ 83038 h 609244"/>
                  <a:gd name="connsiteX66" fmla="*/ 67791 w 767196"/>
                  <a:gd name="connsiteY66" fmla="*/ 92741 h 609244"/>
                  <a:gd name="connsiteX67" fmla="*/ 57412 w 767196"/>
                  <a:gd name="connsiteY67" fmla="*/ 102218 h 609244"/>
                  <a:gd name="connsiteX68" fmla="*/ 41391 w 767196"/>
                  <a:gd name="connsiteY68" fmla="*/ 108536 h 609244"/>
                  <a:gd name="connsiteX69" fmla="*/ 34847 w 767196"/>
                  <a:gd name="connsiteY69" fmla="*/ 113500 h 609244"/>
                  <a:gd name="connsiteX70" fmla="*/ 34170 w 767196"/>
                  <a:gd name="connsiteY70" fmla="*/ 127264 h 609244"/>
                  <a:gd name="connsiteX71" fmla="*/ 34847 w 767196"/>
                  <a:gd name="connsiteY71" fmla="*/ 139449 h 609244"/>
                  <a:gd name="connsiteX72" fmla="*/ 46355 w 767196"/>
                  <a:gd name="connsiteY72" fmla="*/ 151409 h 609244"/>
                  <a:gd name="connsiteX73" fmla="*/ 45678 w 767196"/>
                  <a:gd name="connsiteY73" fmla="*/ 158178 h 609244"/>
                  <a:gd name="connsiteX74" fmla="*/ 50191 w 767196"/>
                  <a:gd name="connsiteY74" fmla="*/ 170363 h 609244"/>
                  <a:gd name="connsiteX75" fmla="*/ 61473 w 767196"/>
                  <a:gd name="connsiteY75" fmla="*/ 185481 h 609244"/>
                  <a:gd name="connsiteX76" fmla="*/ 82458 w 767196"/>
                  <a:gd name="connsiteY76" fmla="*/ 201502 h 609244"/>
                  <a:gd name="connsiteX77" fmla="*/ 118336 w 767196"/>
                  <a:gd name="connsiteY77" fmla="*/ 225872 h 609244"/>
                  <a:gd name="connsiteX78" fmla="*/ 136162 w 767196"/>
                  <a:gd name="connsiteY78" fmla="*/ 231738 h 609244"/>
                  <a:gd name="connsiteX79" fmla="*/ 167978 w 767196"/>
                  <a:gd name="connsiteY79" fmla="*/ 233995 h 609244"/>
                  <a:gd name="connsiteX80" fmla="*/ 184902 w 767196"/>
                  <a:gd name="connsiteY80" fmla="*/ 234446 h 609244"/>
                  <a:gd name="connsiteX81" fmla="*/ 198215 w 767196"/>
                  <a:gd name="connsiteY81" fmla="*/ 229933 h 609244"/>
                  <a:gd name="connsiteX82" fmla="*/ 220103 w 767196"/>
                  <a:gd name="connsiteY82" fmla="*/ 225420 h 609244"/>
                  <a:gd name="connsiteX83" fmla="*/ 232288 w 767196"/>
                  <a:gd name="connsiteY83" fmla="*/ 217974 h 609244"/>
                  <a:gd name="connsiteX84" fmla="*/ 244924 w 767196"/>
                  <a:gd name="connsiteY84" fmla="*/ 215718 h 609244"/>
                  <a:gd name="connsiteX85" fmla="*/ 246278 w 767196"/>
                  <a:gd name="connsiteY85" fmla="*/ 201051 h 609244"/>
                  <a:gd name="connsiteX86" fmla="*/ 261847 w 767196"/>
                  <a:gd name="connsiteY86" fmla="*/ 185932 h 609244"/>
                  <a:gd name="connsiteX87" fmla="*/ 278319 w 767196"/>
                  <a:gd name="connsiteY87" fmla="*/ 188866 h 609244"/>
                  <a:gd name="connsiteX88" fmla="*/ 293889 w 767196"/>
                  <a:gd name="connsiteY88" fmla="*/ 194056 h 609244"/>
                  <a:gd name="connsiteX89" fmla="*/ 308556 w 767196"/>
                  <a:gd name="connsiteY89" fmla="*/ 188866 h 609244"/>
                  <a:gd name="connsiteX90" fmla="*/ 317130 w 767196"/>
                  <a:gd name="connsiteY90" fmla="*/ 196312 h 609244"/>
                  <a:gd name="connsiteX91" fmla="*/ 299756 w 767196"/>
                  <a:gd name="connsiteY91" fmla="*/ 211430 h 609244"/>
                  <a:gd name="connsiteX92" fmla="*/ 290279 w 767196"/>
                  <a:gd name="connsiteY92" fmla="*/ 216620 h 609244"/>
                  <a:gd name="connsiteX93" fmla="*/ 283284 w 767196"/>
                  <a:gd name="connsiteY93" fmla="*/ 230836 h 609244"/>
                  <a:gd name="connsiteX94" fmla="*/ 269745 w 767196"/>
                  <a:gd name="connsiteY94" fmla="*/ 240313 h 609244"/>
                  <a:gd name="connsiteX95" fmla="*/ 265458 w 767196"/>
                  <a:gd name="connsiteY95" fmla="*/ 233769 h 609244"/>
                  <a:gd name="connsiteX96" fmla="*/ 244247 w 767196"/>
                  <a:gd name="connsiteY96" fmla="*/ 272806 h 609244"/>
                  <a:gd name="connsiteX97" fmla="*/ 225067 w 767196"/>
                  <a:gd name="connsiteY97" fmla="*/ 275062 h 609244"/>
                  <a:gd name="connsiteX98" fmla="*/ 214687 w 767196"/>
                  <a:gd name="connsiteY98" fmla="*/ 273709 h 609244"/>
                  <a:gd name="connsiteX99" fmla="*/ 202954 w 767196"/>
                  <a:gd name="connsiteY99" fmla="*/ 286345 h 609244"/>
                  <a:gd name="connsiteX100" fmla="*/ 193025 w 767196"/>
                  <a:gd name="connsiteY100" fmla="*/ 291535 h 609244"/>
                  <a:gd name="connsiteX101" fmla="*/ 178358 w 767196"/>
                  <a:gd name="connsiteY101" fmla="*/ 285894 h 609244"/>
                  <a:gd name="connsiteX102" fmla="*/ 175425 w 767196"/>
                  <a:gd name="connsiteY102" fmla="*/ 296725 h 609244"/>
                  <a:gd name="connsiteX103" fmla="*/ 158501 w 767196"/>
                  <a:gd name="connsiteY103" fmla="*/ 295822 h 609244"/>
                  <a:gd name="connsiteX104" fmla="*/ 149927 w 767196"/>
                  <a:gd name="connsiteY104" fmla="*/ 302366 h 609244"/>
                  <a:gd name="connsiteX105" fmla="*/ 143834 w 767196"/>
                  <a:gd name="connsiteY105" fmla="*/ 301463 h 609244"/>
                  <a:gd name="connsiteX106" fmla="*/ 129619 w 767196"/>
                  <a:gd name="connsiteY106" fmla="*/ 302817 h 609244"/>
                  <a:gd name="connsiteX107" fmla="*/ 116531 w 767196"/>
                  <a:gd name="connsiteY107" fmla="*/ 308458 h 609244"/>
                  <a:gd name="connsiteX108" fmla="*/ 107505 w 767196"/>
                  <a:gd name="connsiteY108" fmla="*/ 304171 h 609244"/>
                  <a:gd name="connsiteX109" fmla="*/ 112244 w 767196"/>
                  <a:gd name="connsiteY109" fmla="*/ 287247 h 609244"/>
                  <a:gd name="connsiteX110" fmla="*/ 104572 w 767196"/>
                  <a:gd name="connsiteY110" fmla="*/ 287473 h 609244"/>
                  <a:gd name="connsiteX111" fmla="*/ 100285 w 767196"/>
                  <a:gd name="connsiteY111" fmla="*/ 274386 h 609244"/>
                  <a:gd name="connsiteX112" fmla="*/ 86069 w 767196"/>
                  <a:gd name="connsiteY112" fmla="*/ 293114 h 609244"/>
                  <a:gd name="connsiteX113" fmla="*/ 90356 w 767196"/>
                  <a:gd name="connsiteY113" fmla="*/ 314325 h 609244"/>
                  <a:gd name="connsiteX114" fmla="*/ 142932 w 767196"/>
                  <a:gd name="connsiteY114" fmla="*/ 377280 h 609244"/>
                  <a:gd name="connsiteX115" fmla="*/ 188061 w 767196"/>
                  <a:gd name="connsiteY115" fmla="*/ 430984 h 609244"/>
                  <a:gd name="connsiteX116" fmla="*/ 217169 w 767196"/>
                  <a:gd name="connsiteY116" fmla="*/ 468667 h 609244"/>
                  <a:gd name="connsiteX117" fmla="*/ 261396 w 767196"/>
                  <a:gd name="connsiteY117" fmla="*/ 508606 h 609244"/>
                  <a:gd name="connsiteX118" fmla="*/ 291858 w 767196"/>
                  <a:gd name="connsiteY118" fmla="*/ 525530 h 609244"/>
                  <a:gd name="connsiteX119" fmla="*/ 313971 w 767196"/>
                  <a:gd name="connsiteY119" fmla="*/ 526432 h 609244"/>
                  <a:gd name="connsiteX120" fmla="*/ 339469 w 767196"/>
                  <a:gd name="connsiteY120" fmla="*/ 522145 h 609244"/>
                  <a:gd name="connsiteX121" fmla="*/ 363388 w 767196"/>
                  <a:gd name="connsiteY121" fmla="*/ 515601 h 609244"/>
                  <a:gd name="connsiteX122" fmla="*/ 396784 w 767196"/>
                  <a:gd name="connsiteY122" fmla="*/ 500483 h 609244"/>
                  <a:gd name="connsiteX123" fmla="*/ 415512 w 767196"/>
                  <a:gd name="connsiteY123" fmla="*/ 497098 h 609244"/>
                  <a:gd name="connsiteX124" fmla="*/ 463124 w 767196"/>
                  <a:gd name="connsiteY124" fmla="*/ 476339 h 609244"/>
                  <a:gd name="connsiteX125" fmla="*/ 471021 w 767196"/>
                  <a:gd name="connsiteY125" fmla="*/ 464380 h 609244"/>
                  <a:gd name="connsiteX126" fmla="*/ 479596 w 767196"/>
                  <a:gd name="connsiteY126" fmla="*/ 451743 h 609244"/>
                  <a:gd name="connsiteX127" fmla="*/ 497422 w 767196"/>
                  <a:gd name="connsiteY127" fmla="*/ 429179 h 609244"/>
                  <a:gd name="connsiteX128" fmla="*/ 493360 w 767196"/>
                  <a:gd name="connsiteY128" fmla="*/ 409096 h 609244"/>
                  <a:gd name="connsiteX129" fmla="*/ 487042 w 767196"/>
                  <a:gd name="connsiteY129" fmla="*/ 396911 h 609244"/>
                  <a:gd name="connsiteX130" fmla="*/ 473955 w 767196"/>
                  <a:gd name="connsiteY130" fmla="*/ 393752 h 609244"/>
                  <a:gd name="connsiteX131" fmla="*/ 467636 w 767196"/>
                  <a:gd name="connsiteY131" fmla="*/ 383147 h 609244"/>
                  <a:gd name="connsiteX132" fmla="*/ 482755 w 767196"/>
                  <a:gd name="connsiteY132" fmla="*/ 380214 h 609244"/>
                  <a:gd name="connsiteX133" fmla="*/ 479370 w 767196"/>
                  <a:gd name="connsiteY133" fmla="*/ 368254 h 609244"/>
                  <a:gd name="connsiteX134" fmla="*/ 488170 w 767196"/>
                  <a:gd name="connsiteY134" fmla="*/ 361034 h 609244"/>
                  <a:gd name="connsiteX135" fmla="*/ 496068 w 767196"/>
                  <a:gd name="connsiteY135" fmla="*/ 352008 h 609244"/>
                  <a:gd name="connsiteX136" fmla="*/ 501935 w 767196"/>
                  <a:gd name="connsiteY136" fmla="*/ 337792 h 609244"/>
                  <a:gd name="connsiteX137" fmla="*/ 515022 w 767196"/>
                  <a:gd name="connsiteY137" fmla="*/ 321546 h 609244"/>
                  <a:gd name="connsiteX138" fmla="*/ 518858 w 767196"/>
                  <a:gd name="connsiteY138" fmla="*/ 327412 h 609244"/>
                  <a:gd name="connsiteX139" fmla="*/ 521792 w 767196"/>
                  <a:gd name="connsiteY139" fmla="*/ 336438 h 609244"/>
                  <a:gd name="connsiteX140" fmla="*/ 526756 w 767196"/>
                  <a:gd name="connsiteY140" fmla="*/ 335536 h 609244"/>
                  <a:gd name="connsiteX141" fmla="*/ 534879 w 767196"/>
                  <a:gd name="connsiteY141" fmla="*/ 331248 h 609244"/>
                  <a:gd name="connsiteX142" fmla="*/ 562408 w 767196"/>
                  <a:gd name="connsiteY142" fmla="*/ 331925 h 609244"/>
                  <a:gd name="connsiteX143" fmla="*/ 580234 w 767196"/>
                  <a:gd name="connsiteY143" fmla="*/ 334859 h 609244"/>
                  <a:gd name="connsiteX144" fmla="*/ 569854 w 767196"/>
                  <a:gd name="connsiteY144" fmla="*/ 347495 h 609244"/>
                  <a:gd name="connsiteX145" fmla="*/ 547741 w 767196"/>
                  <a:gd name="connsiteY145" fmla="*/ 341403 h 609244"/>
                  <a:gd name="connsiteX146" fmla="*/ 538264 w 767196"/>
                  <a:gd name="connsiteY146" fmla="*/ 359229 h 609244"/>
                  <a:gd name="connsiteX147" fmla="*/ 542551 w 767196"/>
                  <a:gd name="connsiteY147" fmla="*/ 371865 h 609244"/>
                  <a:gd name="connsiteX148" fmla="*/ 559474 w 767196"/>
                  <a:gd name="connsiteY148" fmla="*/ 368931 h 609244"/>
                  <a:gd name="connsiteX149" fmla="*/ 559474 w 767196"/>
                  <a:gd name="connsiteY149" fmla="*/ 378408 h 609244"/>
                  <a:gd name="connsiteX150" fmla="*/ 548643 w 767196"/>
                  <a:gd name="connsiteY150" fmla="*/ 381342 h 609244"/>
                  <a:gd name="connsiteX151" fmla="*/ 538715 w 767196"/>
                  <a:gd name="connsiteY151" fmla="*/ 404809 h 609244"/>
                  <a:gd name="connsiteX152" fmla="*/ 554285 w 767196"/>
                  <a:gd name="connsiteY152" fmla="*/ 412255 h 609244"/>
                  <a:gd name="connsiteX153" fmla="*/ 564213 w 767196"/>
                  <a:gd name="connsiteY153" fmla="*/ 420830 h 609244"/>
                  <a:gd name="connsiteX154" fmla="*/ 550223 w 767196"/>
                  <a:gd name="connsiteY154" fmla="*/ 432112 h 609244"/>
                  <a:gd name="connsiteX155" fmla="*/ 549772 w 767196"/>
                  <a:gd name="connsiteY155" fmla="*/ 447682 h 609244"/>
                  <a:gd name="connsiteX156" fmla="*/ 539392 w 767196"/>
                  <a:gd name="connsiteY156" fmla="*/ 470698 h 609244"/>
                  <a:gd name="connsiteX157" fmla="*/ 558121 w 767196"/>
                  <a:gd name="connsiteY157" fmla="*/ 486267 h 609244"/>
                  <a:gd name="connsiteX158" fmla="*/ 564213 w 767196"/>
                  <a:gd name="connsiteY158" fmla="*/ 507478 h 609244"/>
                  <a:gd name="connsiteX159" fmla="*/ 570305 w 767196"/>
                  <a:gd name="connsiteY159" fmla="*/ 523499 h 609244"/>
                  <a:gd name="connsiteX160" fmla="*/ 569403 w 767196"/>
                  <a:gd name="connsiteY160" fmla="*/ 542228 h 609244"/>
                  <a:gd name="connsiteX161" fmla="*/ 568500 w 767196"/>
                  <a:gd name="connsiteY161" fmla="*/ 565243 h 609244"/>
                  <a:gd name="connsiteX162" fmla="*/ 562633 w 767196"/>
                  <a:gd name="connsiteY162" fmla="*/ 579910 h 609244"/>
                  <a:gd name="connsiteX163" fmla="*/ 568952 w 767196"/>
                  <a:gd name="connsiteY163" fmla="*/ 594352 h 609244"/>
                  <a:gd name="connsiteX164" fmla="*/ 569854 w 767196"/>
                  <a:gd name="connsiteY164" fmla="*/ 610373 h 609244"/>
                  <a:gd name="connsiteX165" fmla="*/ 582039 w 767196"/>
                  <a:gd name="connsiteY165" fmla="*/ 619850 h 609244"/>
                  <a:gd name="connsiteX166" fmla="*/ 610245 w 767196"/>
                  <a:gd name="connsiteY166" fmla="*/ 618947 h 609244"/>
                  <a:gd name="connsiteX167" fmla="*/ 632809 w 767196"/>
                  <a:gd name="connsiteY167" fmla="*/ 589839 h 609244"/>
                  <a:gd name="connsiteX168" fmla="*/ 636645 w 767196"/>
                  <a:gd name="connsiteY168" fmla="*/ 569080 h 609244"/>
                  <a:gd name="connsiteX169" fmla="*/ 642287 w 767196"/>
                  <a:gd name="connsiteY169" fmla="*/ 552156 h 609244"/>
                  <a:gd name="connsiteX170" fmla="*/ 662143 w 767196"/>
                  <a:gd name="connsiteY170" fmla="*/ 565243 h 609244"/>
                  <a:gd name="connsiteX171" fmla="*/ 686513 w 767196"/>
                  <a:gd name="connsiteY171" fmla="*/ 552156 h 609244"/>
                  <a:gd name="connsiteX172" fmla="*/ 695088 w 767196"/>
                  <a:gd name="connsiteY172" fmla="*/ 523048 h 609244"/>
                  <a:gd name="connsiteX173" fmla="*/ 672523 w 767196"/>
                  <a:gd name="connsiteY173" fmla="*/ 491006 h 609244"/>
                  <a:gd name="connsiteX174" fmla="*/ 689447 w 767196"/>
                  <a:gd name="connsiteY174" fmla="*/ 483560 h 609244"/>
                  <a:gd name="connsiteX175" fmla="*/ 708175 w 767196"/>
                  <a:gd name="connsiteY175" fmla="*/ 463703 h 609244"/>
                  <a:gd name="connsiteX176" fmla="*/ 743827 w 767196"/>
                  <a:gd name="connsiteY176" fmla="*/ 449487 h 609244"/>
                  <a:gd name="connsiteX177" fmla="*/ 734350 w 767196"/>
                  <a:gd name="connsiteY177" fmla="*/ 435271 h 609244"/>
                  <a:gd name="connsiteX178" fmla="*/ 714493 w 767196"/>
                  <a:gd name="connsiteY178" fmla="*/ 439107 h 609244"/>
                  <a:gd name="connsiteX179" fmla="*/ 695765 w 767196"/>
                  <a:gd name="connsiteY179" fmla="*/ 426020 h 609244"/>
                  <a:gd name="connsiteX180" fmla="*/ 702308 w 767196"/>
                  <a:gd name="connsiteY180" fmla="*/ 401650 h 609244"/>
                  <a:gd name="connsiteX181" fmla="*/ 722165 w 767196"/>
                  <a:gd name="connsiteY181" fmla="*/ 383824 h 609244"/>
                  <a:gd name="connsiteX182" fmla="*/ 734350 w 767196"/>
                  <a:gd name="connsiteY182" fmla="*/ 357423 h 609244"/>
                  <a:gd name="connsiteX183" fmla="*/ 733448 w 767196"/>
                  <a:gd name="connsiteY183" fmla="*/ 333054 h 609244"/>
                  <a:gd name="connsiteX184" fmla="*/ 731642 w 767196"/>
                  <a:gd name="connsiteY184" fmla="*/ 311392 h 609244"/>
                  <a:gd name="connsiteX185" fmla="*/ 745858 w 767196"/>
                  <a:gd name="connsiteY185" fmla="*/ 295371 h 609244"/>
                  <a:gd name="connsiteX186" fmla="*/ 770228 w 767196"/>
                  <a:gd name="connsiteY186" fmla="*/ 279350 h 609244"/>
                  <a:gd name="connsiteX187" fmla="*/ 772936 w 767196"/>
                  <a:gd name="connsiteY187" fmla="*/ 262426 h 609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767196" h="609244">
                    <a:moveTo>
                      <a:pt x="372639" y="903"/>
                    </a:moveTo>
                    <a:lnTo>
                      <a:pt x="372639" y="903"/>
                    </a:lnTo>
                    <a:cubicBezTo>
                      <a:pt x="372639" y="677"/>
                      <a:pt x="372865" y="677"/>
                      <a:pt x="372639" y="903"/>
                    </a:cubicBezTo>
                    <a:cubicBezTo>
                      <a:pt x="372639" y="677"/>
                      <a:pt x="372639" y="677"/>
                      <a:pt x="372639" y="903"/>
                    </a:cubicBezTo>
                    <a:close/>
                    <a:moveTo>
                      <a:pt x="372865" y="677"/>
                    </a:moveTo>
                    <a:cubicBezTo>
                      <a:pt x="373091" y="451"/>
                      <a:pt x="373316" y="226"/>
                      <a:pt x="373316" y="0"/>
                    </a:cubicBezTo>
                    <a:cubicBezTo>
                      <a:pt x="373091" y="226"/>
                      <a:pt x="372865" y="451"/>
                      <a:pt x="372865" y="677"/>
                    </a:cubicBezTo>
                    <a:close/>
                    <a:moveTo>
                      <a:pt x="772936" y="262426"/>
                    </a:moveTo>
                    <a:cubicBezTo>
                      <a:pt x="768197" y="254980"/>
                      <a:pt x="770002" y="243698"/>
                      <a:pt x="759848" y="231287"/>
                    </a:cubicBezTo>
                    <a:cubicBezTo>
                      <a:pt x="757366" y="228354"/>
                      <a:pt x="755335" y="223615"/>
                      <a:pt x="753756" y="218200"/>
                    </a:cubicBezTo>
                    <a:cubicBezTo>
                      <a:pt x="751951" y="217523"/>
                      <a:pt x="749694" y="217297"/>
                      <a:pt x="746761" y="217297"/>
                    </a:cubicBezTo>
                    <a:cubicBezTo>
                      <a:pt x="735478" y="217297"/>
                      <a:pt x="743827" y="213461"/>
                      <a:pt x="735478" y="194733"/>
                    </a:cubicBezTo>
                    <a:cubicBezTo>
                      <a:pt x="726904" y="176004"/>
                      <a:pt x="718555" y="187286"/>
                      <a:pt x="700729" y="177809"/>
                    </a:cubicBezTo>
                    <a:cubicBezTo>
                      <a:pt x="682903" y="168332"/>
                      <a:pt x="678164" y="157050"/>
                      <a:pt x="668687" y="150506"/>
                    </a:cubicBezTo>
                    <a:cubicBezTo>
                      <a:pt x="659210" y="143962"/>
                      <a:pt x="665754" y="132680"/>
                      <a:pt x="658307" y="119367"/>
                    </a:cubicBezTo>
                    <a:cubicBezTo>
                      <a:pt x="650861" y="106279"/>
                      <a:pt x="648830" y="129747"/>
                      <a:pt x="648830" y="111920"/>
                    </a:cubicBezTo>
                    <a:cubicBezTo>
                      <a:pt x="648830" y="94094"/>
                      <a:pt x="636645" y="95900"/>
                      <a:pt x="628071" y="88453"/>
                    </a:cubicBezTo>
                    <a:cubicBezTo>
                      <a:pt x="619496" y="81007"/>
                      <a:pt x="622430" y="75366"/>
                      <a:pt x="626266" y="64986"/>
                    </a:cubicBezTo>
                    <a:cubicBezTo>
                      <a:pt x="630102" y="54606"/>
                      <a:pt x="622430" y="46257"/>
                      <a:pt x="608440" y="37683"/>
                    </a:cubicBezTo>
                    <a:cubicBezTo>
                      <a:pt x="594450" y="29108"/>
                      <a:pt x="600993" y="37683"/>
                      <a:pt x="588583" y="37683"/>
                    </a:cubicBezTo>
                    <a:cubicBezTo>
                      <a:pt x="576398" y="37683"/>
                      <a:pt x="581136" y="37683"/>
                      <a:pt x="566921" y="37683"/>
                    </a:cubicBezTo>
                    <a:cubicBezTo>
                      <a:pt x="552931" y="37683"/>
                      <a:pt x="553833" y="36780"/>
                      <a:pt x="542551" y="25498"/>
                    </a:cubicBezTo>
                    <a:cubicBezTo>
                      <a:pt x="531269" y="14216"/>
                      <a:pt x="533976" y="16021"/>
                      <a:pt x="516150" y="10380"/>
                    </a:cubicBezTo>
                    <a:cubicBezTo>
                      <a:pt x="498324" y="4739"/>
                      <a:pt x="498324" y="11282"/>
                      <a:pt x="477565" y="5641"/>
                    </a:cubicBezTo>
                    <a:cubicBezTo>
                      <a:pt x="456805" y="0"/>
                      <a:pt x="457708" y="7446"/>
                      <a:pt x="447554" y="2708"/>
                    </a:cubicBezTo>
                    <a:cubicBezTo>
                      <a:pt x="437174" y="-2031"/>
                      <a:pt x="425892" y="903"/>
                      <a:pt x="392045" y="2708"/>
                    </a:cubicBezTo>
                    <a:cubicBezTo>
                      <a:pt x="385276" y="3159"/>
                      <a:pt x="378732" y="2256"/>
                      <a:pt x="372414" y="451"/>
                    </a:cubicBezTo>
                    <a:cubicBezTo>
                      <a:pt x="371962" y="1128"/>
                      <a:pt x="371286" y="1805"/>
                      <a:pt x="370383" y="2933"/>
                    </a:cubicBezTo>
                    <a:cubicBezTo>
                      <a:pt x="365419" y="8800"/>
                      <a:pt x="365644" y="11508"/>
                      <a:pt x="365644" y="14441"/>
                    </a:cubicBezTo>
                    <a:cubicBezTo>
                      <a:pt x="365644" y="17375"/>
                      <a:pt x="368803" y="20308"/>
                      <a:pt x="374219" y="23242"/>
                    </a:cubicBezTo>
                    <a:cubicBezTo>
                      <a:pt x="379634" y="26175"/>
                      <a:pt x="380086" y="30462"/>
                      <a:pt x="377152" y="33170"/>
                    </a:cubicBezTo>
                    <a:cubicBezTo>
                      <a:pt x="373993" y="36103"/>
                      <a:pt x="375573" y="39037"/>
                      <a:pt x="367675" y="39037"/>
                    </a:cubicBezTo>
                    <a:cubicBezTo>
                      <a:pt x="359778" y="39037"/>
                      <a:pt x="362937" y="39037"/>
                      <a:pt x="357747" y="40391"/>
                    </a:cubicBezTo>
                    <a:cubicBezTo>
                      <a:pt x="352331" y="41744"/>
                      <a:pt x="352331" y="47837"/>
                      <a:pt x="348044" y="50996"/>
                    </a:cubicBezTo>
                    <a:cubicBezTo>
                      <a:pt x="343757" y="54155"/>
                      <a:pt x="334280" y="55283"/>
                      <a:pt x="328864" y="55283"/>
                    </a:cubicBezTo>
                    <a:cubicBezTo>
                      <a:pt x="323449" y="55283"/>
                      <a:pt x="311264" y="50319"/>
                      <a:pt x="306525" y="43324"/>
                    </a:cubicBezTo>
                    <a:cubicBezTo>
                      <a:pt x="301787" y="36329"/>
                      <a:pt x="315325" y="29560"/>
                      <a:pt x="309684" y="25724"/>
                    </a:cubicBezTo>
                    <a:cubicBezTo>
                      <a:pt x="304043" y="21888"/>
                      <a:pt x="301110" y="27077"/>
                      <a:pt x="293438" y="30462"/>
                    </a:cubicBezTo>
                    <a:cubicBezTo>
                      <a:pt x="285540" y="33847"/>
                      <a:pt x="287796" y="36780"/>
                      <a:pt x="277417" y="36103"/>
                    </a:cubicBezTo>
                    <a:cubicBezTo>
                      <a:pt x="267037" y="35426"/>
                      <a:pt x="262750" y="37457"/>
                      <a:pt x="256206" y="40842"/>
                    </a:cubicBezTo>
                    <a:cubicBezTo>
                      <a:pt x="249662" y="44227"/>
                      <a:pt x="246729" y="51447"/>
                      <a:pt x="241539" y="52801"/>
                    </a:cubicBezTo>
                    <a:cubicBezTo>
                      <a:pt x="236123" y="54155"/>
                      <a:pt x="228452" y="53704"/>
                      <a:pt x="217621" y="54155"/>
                    </a:cubicBezTo>
                    <a:cubicBezTo>
                      <a:pt x="207015" y="54381"/>
                      <a:pt x="200020" y="51222"/>
                      <a:pt x="195056" y="44452"/>
                    </a:cubicBezTo>
                    <a:cubicBezTo>
                      <a:pt x="190092" y="37457"/>
                      <a:pt x="189189" y="38134"/>
                      <a:pt x="185127" y="37232"/>
                    </a:cubicBezTo>
                    <a:cubicBezTo>
                      <a:pt x="181066" y="36329"/>
                      <a:pt x="172266" y="34298"/>
                      <a:pt x="160758" y="35878"/>
                    </a:cubicBezTo>
                    <a:cubicBezTo>
                      <a:pt x="149250" y="37457"/>
                      <a:pt x="152183" y="39714"/>
                      <a:pt x="141352" y="38811"/>
                    </a:cubicBezTo>
                    <a:cubicBezTo>
                      <a:pt x="130295" y="37909"/>
                      <a:pt x="127588" y="36329"/>
                      <a:pt x="121947" y="38811"/>
                    </a:cubicBezTo>
                    <a:cubicBezTo>
                      <a:pt x="116305" y="41293"/>
                      <a:pt x="112018" y="42647"/>
                      <a:pt x="107731" y="33396"/>
                    </a:cubicBezTo>
                    <a:cubicBezTo>
                      <a:pt x="103669" y="24370"/>
                      <a:pt x="104346" y="37683"/>
                      <a:pt x="97351" y="32719"/>
                    </a:cubicBezTo>
                    <a:cubicBezTo>
                      <a:pt x="90356" y="27754"/>
                      <a:pt x="94192" y="22339"/>
                      <a:pt x="85392" y="26175"/>
                    </a:cubicBezTo>
                    <a:cubicBezTo>
                      <a:pt x="76592" y="30011"/>
                      <a:pt x="81105" y="38811"/>
                      <a:pt x="82007" y="44904"/>
                    </a:cubicBezTo>
                    <a:cubicBezTo>
                      <a:pt x="82910" y="51222"/>
                      <a:pt x="79525" y="49868"/>
                      <a:pt x="78848" y="54381"/>
                    </a:cubicBezTo>
                    <a:cubicBezTo>
                      <a:pt x="78171" y="58668"/>
                      <a:pt x="79074" y="65663"/>
                      <a:pt x="75012" y="67468"/>
                    </a:cubicBezTo>
                    <a:cubicBezTo>
                      <a:pt x="70951" y="69273"/>
                      <a:pt x="65986" y="71304"/>
                      <a:pt x="53350" y="71304"/>
                    </a:cubicBezTo>
                    <a:cubicBezTo>
                      <a:pt x="40714" y="71304"/>
                      <a:pt x="42745" y="70401"/>
                      <a:pt x="32591" y="67242"/>
                    </a:cubicBezTo>
                    <a:cubicBezTo>
                      <a:pt x="22662" y="64083"/>
                      <a:pt x="8447" y="71530"/>
                      <a:pt x="8447" y="77848"/>
                    </a:cubicBezTo>
                    <a:cubicBezTo>
                      <a:pt x="8447" y="84166"/>
                      <a:pt x="10703" y="90710"/>
                      <a:pt x="11380" y="94546"/>
                    </a:cubicBezTo>
                    <a:cubicBezTo>
                      <a:pt x="12057" y="98382"/>
                      <a:pt x="14765" y="97705"/>
                      <a:pt x="14765" y="100187"/>
                    </a:cubicBezTo>
                    <a:cubicBezTo>
                      <a:pt x="14765" y="102669"/>
                      <a:pt x="5964" y="108987"/>
                      <a:pt x="2580" y="110115"/>
                    </a:cubicBezTo>
                    <a:cubicBezTo>
                      <a:pt x="-805" y="111469"/>
                      <a:pt x="-1482" y="117562"/>
                      <a:pt x="4385" y="117562"/>
                    </a:cubicBezTo>
                    <a:cubicBezTo>
                      <a:pt x="10252" y="117562"/>
                      <a:pt x="17472" y="117787"/>
                      <a:pt x="19729" y="115756"/>
                    </a:cubicBezTo>
                    <a:cubicBezTo>
                      <a:pt x="21985" y="113500"/>
                      <a:pt x="28303" y="106279"/>
                      <a:pt x="30109" y="102218"/>
                    </a:cubicBezTo>
                    <a:cubicBezTo>
                      <a:pt x="31914" y="98156"/>
                      <a:pt x="38683" y="97930"/>
                      <a:pt x="42970" y="97479"/>
                    </a:cubicBezTo>
                    <a:cubicBezTo>
                      <a:pt x="47258" y="97253"/>
                      <a:pt x="49288" y="91161"/>
                      <a:pt x="52673" y="87099"/>
                    </a:cubicBezTo>
                    <a:cubicBezTo>
                      <a:pt x="56058" y="83038"/>
                      <a:pt x="67115" y="83940"/>
                      <a:pt x="72756" y="81458"/>
                    </a:cubicBezTo>
                    <a:cubicBezTo>
                      <a:pt x="78397" y="78976"/>
                      <a:pt x="86520" y="80781"/>
                      <a:pt x="84038" y="83038"/>
                    </a:cubicBezTo>
                    <a:cubicBezTo>
                      <a:pt x="81556" y="85294"/>
                      <a:pt x="75463" y="92063"/>
                      <a:pt x="67791" y="92741"/>
                    </a:cubicBezTo>
                    <a:cubicBezTo>
                      <a:pt x="59894" y="93417"/>
                      <a:pt x="62376" y="97479"/>
                      <a:pt x="57412" y="102218"/>
                    </a:cubicBezTo>
                    <a:cubicBezTo>
                      <a:pt x="52448" y="106956"/>
                      <a:pt x="45453" y="107182"/>
                      <a:pt x="41391" y="108536"/>
                    </a:cubicBezTo>
                    <a:cubicBezTo>
                      <a:pt x="37329" y="109890"/>
                      <a:pt x="37555" y="110115"/>
                      <a:pt x="34847" y="113500"/>
                    </a:cubicBezTo>
                    <a:cubicBezTo>
                      <a:pt x="31914" y="116885"/>
                      <a:pt x="32365" y="121398"/>
                      <a:pt x="34170" y="127264"/>
                    </a:cubicBezTo>
                    <a:cubicBezTo>
                      <a:pt x="35975" y="133131"/>
                      <a:pt x="30786" y="134485"/>
                      <a:pt x="34847" y="139449"/>
                    </a:cubicBezTo>
                    <a:cubicBezTo>
                      <a:pt x="38909" y="144414"/>
                      <a:pt x="46355" y="150280"/>
                      <a:pt x="46355" y="151409"/>
                    </a:cubicBezTo>
                    <a:cubicBezTo>
                      <a:pt x="46355" y="152537"/>
                      <a:pt x="45678" y="156824"/>
                      <a:pt x="45678" y="158178"/>
                    </a:cubicBezTo>
                    <a:cubicBezTo>
                      <a:pt x="45678" y="159306"/>
                      <a:pt x="48837" y="165398"/>
                      <a:pt x="50191" y="170363"/>
                    </a:cubicBezTo>
                    <a:cubicBezTo>
                      <a:pt x="51545" y="175327"/>
                      <a:pt x="56735" y="182548"/>
                      <a:pt x="61473" y="185481"/>
                    </a:cubicBezTo>
                    <a:cubicBezTo>
                      <a:pt x="66212" y="188414"/>
                      <a:pt x="71627" y="194507"/>
                      <a:pt x="82458" y="201502"/>
                    </a:cubicBezTo>
                    <a:cubicBezTo>
                      <a:pt x="93289" y="208497"/>
                      <a:pt x="109310" y="218425"/>
                      <a:pt x="118336" y="225872"/>
                    </a:cubicBezTo>
                    <a:cubicBezTo>
                      <a:pt x="127588" y="233318"/>
                      <a:pt x="128265" y="233318"/>
                      <a:pt x="136162" y="231738"/>
                    </a:cubicBezTo>
                    <a:cubicBezTo>
                      <a:pt x="144060" y="230159"/>
                      <a:pt x="158953" y="233995"/>
                      <a:pt x="167978" y="233995"/>
                    </a:cubicBezTo>
                    <a:cubicBezTo>
                      <a:pt x="177004" y="233995"/>
                      <a:pt x="181517" y="238508"/>
                      <a:pt x="184902" y="234446"/>
                    </a:cubicBezTo>
                    <a:cubicBezTo>
                      <a:pt x="188287" y="230385"/>
                      <a:pt x="192123" y="232641"/>
                      <a:pt x="198215" y="229933"/>
                    </a:cubicBezTo>
                    <a:cubicBezTo>
                      <a:pt x="204307" y="227451"/>
                      <a:pt x="209723" y="225420"/>
                      <a:pt x="220103" y="225420"/>
                    </a:cubicBezTo>
                    <a:cubicBezTo>
                      <a:pt x="230482" y="225420"/>
                      <a:pt x="230031" y="221584"/>
                      <a:pt x="232288" y="217974"/>
                    </a:cubicBezTo>
                    <a:cubicBezTo>
                      <a:pt x="234544" y="214138"/>
                      <a:pt x="238831" y="216620"/>
                      <a:pt x="244924" y="215718"/>
                    </a:cubicBezTo>
                    <a:cubicBezTo>
                      <a:pt x="251016" y="214815"/>
                      <a:pt x="245826" y="206241"/>
                      <a:pt x="246278" y="201051"/>
                    </a:cubicBezTo>
                    <a:cubicBezTo>
                      <a:pt x="246729" y="195861"/>
                      <a:pt x="252370" y="191122"/>
                      <a:pt x="261847" y="185932"/>
                    </a:cubicBezTo>
                    <a:cubicBezTo>
                      <a:pt x="271324" y="180742"/>
                      <a:pt x="272678" y="186384"/>
                      <a:pt x="278319" y="188866"/>
                    </a:cubicBezTo>
                    <a:cubicBezTo>
                      <a:pt x="283960" y="191122"/>
                      <a:pt x="289602" y="193153"/>
                      <a:pt x="293889" y="194056"/>
                    </a:cubicBezTo>
                    <a:cubicBezTo>
                      <a:pt x="298176" y="194958"/>
                      <a:pt x="300884" y="193604"/>
                      <a:pt x="308556" y="188866"/>
                    </a:cubicBezTo>
                    <a:cubicBezTo>
                      <a:pt x="316002" y="184127"/>
                      <a:pt x="317582" y="193153"/>
                      <a:pt x="317130" y="196312"/>
                    </a:cubicBezTo>
                    <a:cubicBezTo>
                      <a:pt x="316679" y="199697"/>
                      <a:pt x="304946" y="207594"/>
                      <a:pt x="299756" y="211430"/>
                    </a:cubicBezTo>
                    <a:cubicBezTo>
                      <a:pt x="294566" y="215266"/>
                      <a:pt x="292309" y="213236"/>
                      <a:pt x="290279" y="216620"/>
                    </a:cubicBezTo>
                    <a:cubicBezTo>
                      <a:pt x="288473" y="220005"/>
                      <a:pt x="289376" y="228354"/>
                      <a:pt x="283284" y="230836"/>
                    </a:cubicBezTo>
                    <a:cubicBezTo>
                      <a:pt x="277191" y="233092"/>
                      <a:pt x="273806" y="242570"/>
                      <a:pt x="269745" y="240313"/>
                    </a:cubicBezTo>
                    <a:cubicBezTo>
                      <a:pt x="265458" y="238057"/>
                      <a:pt x="270196" y="225646"/>
                      <a:pt x="265458" y="233769"/>
                    </a:cubicBezTo>
                    <a:cubicBezTo>
                      <a:pt x="260719" y="241667"/>
                      <a:pt x="251242" y="261073"/>
                      <a:pt x="244247" y="272806"/>
                    </a:cubicBezTo>
                    <a:cubicBezTo>
                      <a:pt x="237252" y="284540"/>
                      <a:pt x="231611" y="283186"/>
                      <a:pt x="225067" y="275062"/>
                    </a:cubicBezTo>
                    <a:cubicBezTo>
                      <a:pt x="218523" y="267165"/>
                      <a:pt x="219426" y="271227"/>
                      <a:pt x="214687" y="273709"/>
                    </a:cubicBezTo>
                    <a:cubicBezTo>
                      <a:pt x="209949" y="275965"/>
                      <a:pt x="211302" y="286796"/>
                      <a:pt x="202954" y="286345"/>
                    </a:cubicBezTo>
                    <a:cubicBezTo>
                      <a:pt x="194379" y="285894"/>
                      <a:pt x="198215" y="290632"/>
                      <a:pt x="193025" y="291535"/>
                    </a:cubicBezTo>
                    <a:cubicBezTo>
                      <a:pt x="187835" y="292437"/>
                      <a:pt x="186933" y="285442"/>
                      <a:pt x="178358" y="285894"/>
                    </a:cubicBezTo>
                    <a:cubicBezTo>
                      <a:pt x="169784" y="286345"/>
                      <a:pt x="179712" y="295822"/>
                      <a:pt x="175425" y="296725"/>
                    </a:cubicBezTo>
                    <a:cubicBezTo>
                      <a:pt x="171137" y="297627"/>
                      <a:pt x="169332" y="295371"/>
                      <a:pt x="158501" y="295822"/>
                    </a:cubicBezTo>
                    <a:cubicBezTo>
                      <a:pt x="147670" y="296273"/>
                      <a:pt x="155568" y="299658"/>
                      <a:pt x="149927" y="302366"/>
                    </a:cubicBezTo>
                    <a:cubicBezTo>
                      <a:pt x="144286" y="305073"/>
                      <a:pt x="143834" y="301463"/>
                      <a:pt x="143834" y="301463"/>
                    </a:cubicBezTo>
                    <a:cubicBezTo>
                      <a:pt x="143834" y="301463"/>
                      <a:pt x="134808" y="302817"/>
                      <a:pt x="129619" y="302817"/>
                    </a:cubicBezTo>
                    <a:cubicBezTo>
                      <a:pt x="124429" y="302817"/>
                      <a:pt x="120593" y="306202"/>
                      <a:pt x="116531" y="308458"/>
                    </a:cubicBezTo>
                    <a:cubicBezTo>
                      <a:pt x="112244" y="310715"/>
                      <a:pt x="107505" y="308909"/>
                      <a:pt x="107505" y="304171"/>
                    </a:cubicBezTo>
                    <a:cubicBezTo>
                      <a:pt x="107505" y="299432"/>
                      <a:pt x="113598" y="291986"/>
                      <a:pt x="112244" y="287247"/>
                    </a:cubicBezTo>
                    <a:cubicBezTo>
                      <a:pt x="111116" y="283186"/>
                      <a:pt x="108182" y="287473"/>
                      <a:pt x="104572" y="287473"/>
                    </a:cubicBezTo>
                    <a:cubicBezTo>
                      <a:pt x="100736" y="287473"/>
                      <a:pt x="105023" y="271001"/>
                      <a:pt x="100285" y="274386"/>
                    </a:cubicBezTo>
                    <a:cubicBezTo>
                      <a:pt x="95546" y="277770"/>
                      <a:pt x="87197" y="286119"/>
                      <a:pt x="86069" y="293114"/>
                    </a:cubicBezTo>
                    <a:cubicBezTo>
                      <a:pt x="85166" y="300109"/>
                      <a:pt x="85618" y="305299"/>
                      <a:pt x="90356" y="314325"/>
                    </a:cubicBezTo>
                    <a:cubicBezTo>
                      <a:pt x="95095" y="323351"/>
                      <a:pt x="115854" y="349977"/>
                      <a:pt x="142932" y="377280"/>
                    </a:cubicBezTo>
                    <a:cubicBezTo>
                      <a:pt x="170235" y="404583"/>
                      <a:pt x="175425" y="415414"/>
                      <a:pt x="188061" y="430984"/>
                    </a:cubicBezTo>
                    <a:cubicBezTo>
                      <a:pt x="200697" y="446554"/>
                      <a:pt x="205436" y="455354"/>
                      <a:pt x="217169" y="468667"/>
                    </a:cubicBezTo>
                    <a:cubicBezTo>
                      <a:pt x="228903" y="481754"/>
                      <a:pt x="245826" y="499806"/>
                      <a:pt x="261396" y="508606"/>
                    </a:cubicBezTo>
                    <a:cubicBezTo>
                      <a:pt x="276965" y="517632"/>
                      <a:pt x="270422" y="519889"/>
                      <a:pt x="291858" y="525530"/>
                    </a:cubicBezTo>
                    <a:cubicBezTo>
                      <a:pt x="313520" y="531171"/>
                      <a:pt x="314423" y="532525"/>
                      <a:pt x="313971" y="526432"/>
                    </a:cubicBezTo>
                    <a:cubicBezTo>
                      <a:pt x="313520" y="520340"/>
                      <a:pt x="329541" y="526884"/>
                      <a:pt x="339469" y="522145"/>
                    </a:cubicBezTo>
                    <a:cubicBezTo>
                      <a:pt x="349398" y="517407"/>
                      <a:pt x="355490" y="519889"/>
                      <a:pt x="363388" y="515601"/>
                    </a:cubicBezTo>
                    <a:cubicBezTo>
                      <a:pt x="371286" y="511314"/>
                      <a:pt x="386404" y="508606"/>
                      <a:pt x="396784" y="500483"/>
                    </a:cubicBezTo>
                    <a:cubicBezTo>
                      <a:pt x="407163" y="492585"/>
                      <a:pt x="407615" y="500483"/>
                      <a:pt x="415512" y="497098"/>
                    </a:cubicBezTo>
                    <a:cubicBezTo>
                      <a:pt x="423410" y="493714"/>
                      <a:pt x="453421" y="479498"/>
                      <a:pt x="463124" y="476339"/>
                    </a:cubicBezTo>
                    <a:cubicBezTo>
                      <a:pt x="472826" y="473180"/>
                      <a:pt x="473729" y="469795"/>
                      <a:pt x="471021" y="464380"/>
                    </a:cubicBezTo>
                    <a:cubicBezTo>
                      <a:pt x="468088" y="458964"/>
                      <a:pt x="474406" y="456482"/>
                      <a:pt x="479596" y="451743"/>
                    </a:cubicBezTo>
                    <a:cubicBezTo>
                      <a:pt x="484560" y="447005"/>
                      <a:pt x="492232" y="442041"/>
                      <a:pt x="497422" y="429179"/>
                    </a:cubicBezTo>
                    <a:cubicBezTo>
                      <a:pt x="502837" y="416317"/>
                      <a:pt x="500355" y="412255"/>
                      <a:pt x="493360" y="409096"/>
                    </a:cubicBezTo>
                    <a:cubicBezTo>
                      <a:pt x="486365" y="405937"/>
                      <a:pt x="490427" y="403681"/>
                      <a:pt x="487042" y="396911"/>
                    </a:cubicBezTo>
                    <a:cubicBezTo>
                      <a:pt x="483657" y="389916"/>
                      <a:pt x="479821" y="393978"/>
                      <a:pt x="473955" y="393752"/>
                    </a:cubicBezTo>
                    <a:cubicBezTo>
                      <a:pt x="468088" y="393527"/>
                      <a:pt x="462898" y="382696"/>
                      <a:pt x="467636" y="383147"/>
                    </a:cubicBezTo>
                    <a:cubicBezTo>
                      <a:pt x="472375" y="383373"/>
                      <a:pt x="480498" y="382921"/>
                      <a:pt x="482755" y="380214"/>
                    </a:cubicBezTo>
                    <a:cubicBezTo>
                      <a:pt x="485011" y="377506"/>
                      <a:pt x="479370" y="374573"/>
                      <a:pt x="479370" y="368254"/>
                    </a:cubicBezTo>
                    <a:cubicBezTo>
                      <a:pt x="479370" y="361936"/>
                      <a:pt x="485688" y="364870"/>
                      <a:pt x="488170" y="361034"/>
                    </a:cubicBezTo>
                    <a:cubicBezTo>
                      <a:pt x="490652" y="357198"/>
                      <a:pt x="493134" y="354039"/>
                      <a:pt x="496068" y="352008"/>
                    </a:cubicBezTo>
                    <a:cubicBezTo>
                      <a:pt x="499001" y="349977"/>
                      <a:pt x="501935" y="347044"/>
                      <a:pt x="501935" y="337792"/>
                    </a:cubicBezTo>
                    <a:cubicBezTo>
                      <a:pt x="501935" y="328541"/>
                      <a:pt x="510961" y="321546"/>
                      <a:pt x="515022" y="321546"/>
                    </a:cubicBezTo>
                    <a:cubicBezTo>
                      <a:pt x="519084" y="321546"/>
                      <a:pt x="519986" y="325833"/>
                      <a:pt x="518858" y="327412"/>
                    </a:cubicBezTo>
                    <a:cubicBezTo>
                      <a:pt x="517504" y="328992"/>
                      <a:pt x="516602" y="335310"/>
                      <a:pt x="521792" y="336438"/>
                    </a:cubicBezTo>
                    <a:cubicBezTo>
                      <a:pt x="526756" y="337792"/>
                      <a:pt x="524951" y="338920"/>
                      <a:pt x="526756" y="335536"/>
                    </a:cubicBezTo>
                    <a:cubicBezTo>
                      <a:pt x="528561" y="332151"/>
                      <a:pt x="528561" y="331474"/>
                      <a:pt x="534879" y="331248"/>
                    </a:cubicBezTo>
                    <a:cubicBezTo>
                      <a:pt x="541197" y="331023"/>
                      <a:pt x="552028" y="331925"/>
                      <a:pt x="562408" y="331925"/>
                    </a:cubicBezTo>
                    <a:cubicBezTo>
                      <a:pt x="572788" y="331925"/>
                      <a:pt x="582716" y="332828"/>
                      <a:pt x="580234" y="334859"/>
                    </a:cubicBezTo>
                    <a:cubicBezTo>
                      <a:pt x="577977" y="336664"/>
                      <a:pt x="575044" y="347495"/>
                      <a:pt x="569854" y="347495"/>
                    </a:cubicBezTo>
                    <a:cubicBezTo>
                      <a:pt x="564664" y="347495"/>
                      <a:pt x="553382" y="341854"/>
                      <a:pt x="547741" y="341403"/>
                    </a:cubicBezTo>
                    <a:cubicBezTo>
                      <a:pt x="542100" y="340951"/>
                      <a:pt x="538264" y="351331"/>
                      <a:pt x="538264" y="359229"/>
                    </a:cubicBezTo>
                    <a:cubicBezTo>
                      <a:pt x="538264" y="367126"/>
                      <a:pt x="540520" y="374347"/>
                      <a:pt x="542551" y="371865"/>
                    </a:cubicBezTo>
                    <a:cubicBezTo>
                      <a:pt x="544356" y="369608"/>
                      <a:pt x="551577" y="368029"/>
                      <a:pt x="559474" y="368931"/>
                    </a:cubicBezTo>
                    <a:cubicBezTo>
                      <a:pt x="567372" y="369834"/>
                      <a:pt x="564213" y="374573"/>
                      <a:pt x="559474" y="378408"/>
                    </a:cubicBezTo>
                    <a:cubicBezTo>
                      <a:pt x="554736" y="382244"/>
                      <a:pt x="552931" y="381342"/>
                      <a:pt x="548643" y="381342"/>
                    </a:cubicBezTo>
                    <a:cubicBezTo>
                      <a:pt x="544356" y="381342"/>
                      <a:pt x="541648" y="398717"/>
                      <a:pt x="538715" y="404809"/>
                    </a:cubicBezTo>
                    <a:cubicBezTo>
                      <a:pt x="535782" y="410902"/>
                      <a:pt x="539166" y="411804"/>
                      <a:pt x="554285" y="412255"/>
                    </a:cubicBezTo>
                    <a:cubicBezTo>
                      <a:pt x="569403" y="412707"/>
                      <a:pt x="565567" y="416091"/>
                      <a:pt x="564213" y="420830"/>
                    </a:cubicBezTo>
                    <a:cubicBezTo>
                      <a:pt x="562859" y="425569"/>
                      <a:pt x="554736" y="429405"/>
                      <a:pt x="550223" y="432112"/>
                    </a:cubicBezTo>
                    <a:cubicBezTo>
                      <a:pt x="545484" y="435046"/>
                      <a:pt x="557218" y="444297"/>
                      <a:pt x="549772" y="447682"/>
                    </a:cubicBezTo>
                    <a:cubicBezTo>
                      <a:pt x="542325" y="451067"/>
                      <a:pt x="544130" y="460318"/>
                      <a:pt x="539392" y="470698"/>
                    </a:cubicBezTo>
                    <a:cubicBezTo>
                      <a:pt x="534653" y="481077"/>
                      <a:pt x="546838" y="480626"/>
                      <a:pt x="558121" y="486267"/>
                    </a:cubicBezTo>
                    <a:cubicBezTo>
                      <a:pt x="569403" y="491908"/>
                      <a:pt x="565567" y="502740"/>
                      <a:pt x="564213" y="507478"/>
                    </a:cubicBezTo>
                    <a:cubicBezTo>
                      <a:pt x="562859" y="512217"/>
                      <a:pt x="564213" y="514473"/>
                      <a:pt x="570305" y="523499"/>
                    </a:cubicBezTo>
                    <a:cubicBezTo>
                      <a:pt x="576398" y="532525"/>
                      <a:pt x="573239" y="537715"/>
                      <a:pt x="569403" y="542228"/>
                    </a:cubicBezTo>
                    <a:cubicBezTo>
                      <a:pt x="565567" y="546966"/>
                      <a:pt x="568500" y="557346"/>
                      <a:pt x="568500" y="565243"/>
                    </a:cubicBezTo>
                    <a:cubicBezTo>
                      <a:pt x="568500" y="569756"/>
                      <a:pt x="565567" y="574946"/>
                      <a:pt x="562633" y="579910"/>
                    </a:cubicBezTo>
                    <a:cubicBezTo>
                      <a:pt x="580685" y="583746"/>
                      <a:pt x="566469" y="589388"/>
                      <a:pt x="568952" y="594352"/>
                    </a:cubicBezTo>
                    <a:cubicBezTo>
                      <a:pt x="571885" y="599993"/>
                      <a:pt x="568952" y="601798"/>
                      <a:pt x="569854" y="610373"/>
                    </a:cubicBezTo>
                    <a:cubicBezTo>
                      <a:pt x="570757" y="618947"/>
                      <a:pt x="574593" y="616014"/>
                      <a:pt x="582039" y="619850"/>
                    </a:cubicBezTo>
                    <a:cubicBezTo>
                      <a:pt x="589485" y="623686"/>
                      <a:pt x="596255" y="622783"/>
                      <a:pt x="610245" y="618947"/>
                    </a:cubicBezTo>
                    <a:cubicBezTo>
                      <a:pt x="624461" y="615111"/>
                      <a:pt x="631004" y="603829"/>
                      <a:pt x="632809" y="589839"/>
                    </a:cubicBezTo>
                    <a:cubicBezTo>
                      <a:pt x="634615" y="575849"/>
                      <a:pt x="637548" y="576751"/>
                      <a:pt x="636645" y="569080"/>
                    </a:cubicBezTo>
                    <a:cubicBezTo>
                      <a:pt x="635743" y="561633"/>
                      <a:pt x="631907" y="550351"/>
                      <a:pt x="642287" y="552156"/>
                    </a:cubicBezTo>
                    <a:cubicBezTo>
                      <a:pt x="652666" y="553961"/>
                      <a:pt x="652666" y="559602"/>
                      <a:pt x="662143" y="565243"/>
                    </a:cubicBezTo>
                    <a:cubicBezTo>
                      <a:pt x="671621" y="570885"/>
                      <a:pt x="665979" y="562310"/>
                      <a:pt x="686513" y="552156"/>
                    </a:cubicBezTo>
                    <a:cubicBezTo>
                      <a:pt x="707273" y="541776"/>
                      <a:pt x="695990" y="532299"/>
                      <a:pt x="695088" y="523048"/>
                    </a:cubicBezTo>
                    <a:cubicBezTo>
                      <a:pt x="694185" y="513570"/>
                      <a:pt x="679969" y="497550"/>
                      <a:pt x="672523" y="491006"/>
                    </a:cubicBezTo>
                    <a:cubicBezTo>
                      <a:pt x="665077" y="484462"/>
                      <a:pt x="681098" y="487170"/>
                      <a:pt x="689447" y="483560"/>
                    </a:cubicBezTo>
                    <a:cubicBezTo>
                      <a:pt x="698021" y="479724"/>
                      <a:pt x="702534" y="472277"/>
                      <a:pt x="708175" y="463703"/>
                    </a:cubicBezTo>
                    <a:cubicBezTo>
                      <a:pt x="713816" y="455128"/>
                      <a:pt x="722391" y="456256"/>
                      <a:pt x="743827" y="449487"/>
                    </a:cubicBezTo>
                    <a:cubicBezTo>
                      <a:pt x="765489" y="442943"/>
                      <a:pt x="744730" y="438205"/>
                      <a:pt x="734350" y="435271"/>
                    </a:cubicBezTo>
                    <a:cubicBezTo>
                      <a:pt x="723970" y="432338"/>
                      <a:pt x="724873" y="435271"/>
                      <a:pt x="714493" y="439107"/>
                    </a:cubicBezTo>
                    <a:cubicBezTo>
                      <a:pt x="704114" y="442943"/>
                      <a:pt x="691929" y="435271"/>
                      <a:pt x="695765" y="426020"/>
                    </a:cubicBezTo>
                    <a:cubicBezTo>
                      <a:pt x="699601" y="416543"/>
                      <a:pt x="696667" y="409999"/>
                      <a:pt x="702308" y="401650"/>
                    </a:cubicBezTo>
                    <a:cubicBezTo>
                      <a:pt x="707950" y="393301"/>
                      <a:pt x="706144" y="394204"/>
                      <a:pt x="722165" y="383824"/>
                    </a:cubicBezTo>
                    <a:cubicBezTo>
                      <a:pt x="738186" y="373444"/>
                      <a:pt x="731642" y="369608"/>
                      <a:pt x="734350" y="357423"/>
                    </a:cubicBezTo>
                    <a:cubicBezTo>
                      <a:pt x="737284" y="345238"/>
                      <a:pt x="725776" y="340500"/>
                      <a:pt x="733448" y="333054"/>
                    </a:cubicBezTo>
                    <a:cubicBezTo>
                      <a:pt x="740894" y="325607"/>
                      <a:pt x="745633" y="320869"/>
                      <a:pt x="731642" y="311392"/>
                    </a:cubicBezTo>
                    <a:cubicBezTo>
                      <a:pt x="717427" y="301914"/>
                      <a:pt x="729837" y="303945"/>
                      <a:pt x="745858" y="295371"/>
                    </a:cubicBezTo>
                    <a:cubicBezTo>
                      <a:pt x="761879" y="286796"/>
                      <a:pt x="762782" y="287924"/>
                      <a:pt x="770228" y="279350"/>
                    </a:cubicBezTo>
                    <a:cubicBezTo>
                      <a:pt x="777674" y="271001"/>
                      <a:pt x="777674" y="270098"/>
                      <a:pt x="772936" y="262426"/>
                    </a:cubicBezTo>
                    <a:close/>
                  </a:path>
                </a:pathLst>
              </a:custGeom>
              <a:solidFill>
                <a:srgbClr val="80C342">
                  <a:alpha val="70000"/>
                </a:srgbClr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xmlns="" id="{0F10D3BD-E12C-4145-BEAD-3F8D400F83E6}"/>
                  </a:ext>
                </a:extLst>
              </p:cNvPr>
              <p:cNvSpPr/>
              <p:nvPr/>
            </p:nvSpPr>
            <p:spPr>
              <a:xfrm>
                <a:off x="8619284" y="3204890"/>
                <a:ext cx="1037972" cy="857455"/>
              </a:xfrm>
              <a:custGeom>
                <a:avLst/>
                <a:gdLst>
                  <a:gd name="connsiteX0" fmla="*/ 1025562 w 1037972"/>
                  <a:gd name="connsiteY0" fmla="*/ 341094 h 857455"/>
                  <a:gd name="connsiteX1" fmla="*/ 1012474 w 1037972"/>
                  <a:gd name="connsiteY1" fmla="*/ 319207 h 857455"/>
                  <a:gd name="connsiteX2" fmla="*/ 996228 w 1037972"/>
                  <a:gd name="connsiteY2" fmla="*/ 300929 h 857455"/>
                  <a:gd name="connsiteX3" fmla="*/ 1003674 w 1037972"/>
                  <a:gd name="connsiteY3" fmla="*/ 287165 h 857455"/>
                  <a:gd name="connsiteX4" fmla="*/ 996228 w 1037972"/>
                  <a:gd name="connsiteY4" fmla="*/ 267759 h 857455"/>
                  <a:gd name="connsiteX5" fmla="*/ 999387 w 1037972"/>
                  <a:gd name="connsiteY5" fmla="*/ 249031 h 857455"/>
                  <a:gd name="connsiteX6" fmla="*/ 1008187 w 1037972"/>
                  <a:gd name="connsiteY6" fmla="*/ 232784 h 857455"/>
                  <a:gd name="connsiteX7" fmla="*/ 1008864 w 1037972"/>
                  <a:gd name="connsiteY7" fmla="*/ 217214 h 857455"/>
                  <a:gd name="connsiteX8" fmla="*/ 1004577 w 1037972"/>
                  <a:gd name="connsiteY8" fmla="*/ 200291 h 857455"/>
                  <a:gd name="connsiteX9" fmla="*/ 1005931 w 1037972"/>
                  <a:gd name="connsiteY9" fmla="*/ 174567 h 857455"/>
                  <a:gd name="connsiteX10" fmla="*/ 994648 w 1037972"/>
                  <a:gd name="connsiteY10" fmla="*/ 151326 h 857455"/>
                  <a:gd name="connsiteX11" fmla="*/ 1005931 w 1037972"/>
                  <a:gd name="connsiteY11" fmla="*/ 117479 h 857455"/>
                  <a:gd name="connsiteX12" fmla="*/ 1004125 w 1037972"/>
                  <a:gd name="connsiteY12" fmla="*/ 108002 h 857455"/>
                  <a:gd name="connsiteX13" fmla="*/ 996679 w 1037972"/>
                  <a:gd name="connsiteY13" fmla="*/ 98525 h 857455"/>
                  <a:gd name="connsiteX14" fmla="*/ 983592 w 1037972"/>
                  <a:gd name="connsiteY14" fmla="*/ 88596 h 857455"/>
                  <a:gd name="connsiteX15" fmla="*/ 967345 w 1037972"/>
                  <a:gd name="connsiteY15" fmla="*/ 74155 h 857455"/>
                  <a:gd name="connsiteX16" fmla="*/ 951099 w 1037972"/>
                  <a:gd name="connsiteY16" fmla="*/ 79796 h 857455"/>
                  <a:gd name="connsiteX17" fmla="*/ 926729 w 1037972"/>
                  <a:gd name="connsiteY17" fmla="*/ 84083 h 857455"/>
                  <a:gd name="connsiteX18" fmla="*/ 911611 w 1037972"/>
                  <a:gd name="connsiteY18" fmla="*/ 77088 h 857455"/>
                  <a:gd name="connsiteX19" fmla="*/ 872799 w 1037972"/>
                  <a:gd name="connsiteY19" fmla="*/ 82052 h 857455"/>
                  <a:gd name="connsiteX20" fmla="*/ 863999 w 1037972"/>
                  <a:gd name="connsiteY20" fmla="*/ 65806 h 857455"/>
                  <a:gd name="connsiteX21" fmla="*/ 820224 w 1037972"/>
                  <a:gd name="connsiteY21" fmla="*/ 72801 h 857455"/>
                  <a:gd name="connsiteX22" fmla="*/ 788859 w 1037972"/>
                  <a:gd name="connsiteY22" fmla="*/ 88371 h 857455"/>
                  <a:gd name="connsiteX23" fmla="*/ 757494 w 1037972"/>
                  <a:gd name="connsiteY23" fmla="*/ 92658 h 857455"/>
                  <a:gd name="connsiteX24" fmla="*/ 725001 w 1037972"/>
                  <a:gd name="connsiteY24" fmla="*/ 80022 h 857455"/>
                  <a:gd name="connsiteX25" fmla="*/ 703113 w 1037972"/>
                  <a:gd name="connsiteY25" fmla="*/ 93109 h 857455"/>
                  <a:gd name="connsiteX26" fmla="*/ 659789 w 1037972"/>
                  <a:gd name="connsiteY26" fmla="*/ 93109 h 857455"/>
                  <a:gd name="connsiteX27" fmla="*/ 625266 w 1037972"/>
                  <a:gd name="connsiteY27" fmla="*/ 94463 h 857455"/>
                  <a:gd name="connsiteX28" fmla="*/ 610147 w 1037972"/>
                  <a:gd name="connsiteY28" fmla="*/ 76863 h 857455"/>
                  <a:gd name="connsiteX29" fmla="*/ 631358 w 1037972"/>
                  <a:gd name="connsiteY29" fmla="*/ 78668 h 857455"/>
                  <a:gd name="connsiteX30" fmla="*/ 628199 w 1037972"/>
                  <a:gd name="connsiteY30" fmla="*/ 48657 h 857455"/>
                  <a:gd name="connsiteX31" fmla="*/ 591193 w 1037972"/>
                  <a:gd name="connsiteY31" fmla="*/ 41662 h 857455"/>
                  <a:gd name="connsiteX32" fmla="*/ 569305 w 1037972"/>
                  <a:gd name="connsiteY32" fmla="*/ 55426 h 857455"/>
                  <a:gd name="connsiteX33" fmla="*/ 546064 w 1037972"/>
                  <a:gd name="connsiteY33" fmla="*/ 61067 h 857455"/>
                  <a:gd name="connsiteX34" fmla="*/ 529817 w 1037972"/>
                  <a:gd name="connsiteY34" fmla="*/ 84309 h 857455"/>
                  <a:gd name="connsiteX35" fmla="*/ 516730 w 1037972"/>
                  <a:gd name="connsiteY35" fmla="*/ 96268 h 857455"/>
                  <a:gd name="connsiteX36" fmla="*/ 512442 w 1037972"/>
                  <a:gd name="connsiteY36" fmla="*/ 118833 h 857455"/>
                  <a:gd name="connsiteX37" fmla="*/ 481755 w 1037972"/>
                  <a:gd name="connsiteY37" fmla="*/ 121315 h 857455"/>
                  <a:gd name="connsiteX38" fmla="*/ 457836 w 1037972"/>
                  <a:gd name="connsiteY38" fmla="*/ 128761 h 857455"/>
                  <a:gd name="connsiteX39" fmla="*/ 440913 w 1037972"/>
                  <a:gd name="connsiteY39" fmla="*/ 101232 h 857455"/>
                  <a:gd name="connsiteX40" fmla="*/ 403230 w 1037972"/>
                  <a:gd name="connsiteY40" fmla="*/ 84986 h 857455"/>
                  <a:gd name="connsiteX41" fmla="*/ 356747 w 1037972"/>
                  <a:gd name="connsiteY41" fmla="*/ 86791 h 857455"/>
                  <a:gd name="connsiteX42" fmla="*/ 330346 w 1037972"/>
                  <a:gd name="connsiteY42" fmla="*/ 71673 h 857455"/>
                  <a:gd name="connsiteX43" fmla="*/ 283412 w 1037972"/>
                  <a:gd name="connsiteY43" fmla="*/ 56555 h 857455"/>
                  <a:gd name="connsiteX44" fmla="*/ 248211 w 1037972"/>
                  <a:gd name="connsiteY44" fmla="*/ 44595 h 857455"/>
                  <a:gd name="connsiteX45" fmla="*/ 250693 w 1037972"/>
                  <a:gd name="connsiteY45" fmla="*/ 20226 h 857455"/>
                  <a:gd name="connsiteX46" fmla="*/ 233769 w 1037972"/>
                  <a:gd name="connsiteY46" fmla="*/ 820 h 857455"/>
                  <a:gd name="connsiteX47" fmla="*/ 200599 w 1037972"/>
                  <a:gd name="connsiteY47" fmla="*/ 10748 h 857455"/>
                  <a:gd name="connsiteX48" fmla="*/ 182096 w 1037972"/>
                  <a:gd name="connsiteY48" fmla="*/ 7589 h 857455"/>
                  <a:gd name="connsiteX49" fmla="*/ 164045 w 1037972"/>
                  <a:gd name="connsiteY49" fmla="*/ 24287 h 857455"/>
                  <a:gd name="connsiteX50" fmla="*/ 157501 w 1037972"/>
                  <a:gd name="connsiteY50" fmla="*/ 48657 h 857455"/>
                  <a:gd name="connsiteX51" fmla="*/ 176230 w 1037972"/>
                  <a:gd name="connsiteY51" fmla="*/ 61744 h 857455"/>
                  <a:gd name="connsiteX52" fmla="*/ 196087 w 1037972"/>
                  <a:gd name="connsiteY52" fmla="*/ 57908 h 857455"/>
                  <a:gd name="connsiteX53" fmla="*/ 205564 w 1037972"/>
                  <a:gd name="connsiteY53" fmla="*/ 72124 h 857455"/>
                  <a:gd name="connsiteX54" fmla="*/ 169912 w 1037972"/>
                  <a:gd name="connsiteY54" fmla="*/ 86340 h 857455"/>
                  <a:gd name="connsiteX55" fmla="*/ 151183 w 1037972"/>
                  <a:gd name="connsiteY55" fmla="*/ 106197 h 857455"/>
                  <a:gd name="connsiteX56" fmla="*/ 134259 w 1037972"/>
                  <a:gd name="connsiteY56" fmla="*/ 113643 h 857455"/>
                  <a:gd name="connsiteX57" fmla="*/ 156824 w 1037972"/>
                  <a:gd name="connsiteY57" fmla="*/ 145685 h 857455"/>
                  <a:gd name="connsiteX58" fmla="*/ 148250 w 1037972"/>
                  <a:gd name="connsiteY58" fmla="*/ 174793 h 857455"/>
                  <a:gd name="connsiteX59" fmla="*/ 123880 w 1037972"/>
                  <a:gd name="connsiteY59" fmla="*/ 187881 h 857455"/>
                  <a:gd name="connsiteX60" fmla="*/ 104023 w 1037972"/>
                  <a:gd name="connsiteY60" fmla="*/ 174793 h 857455"/>
                  <a:gd name="connsiteX61" fmla="*/ 98382 w 1037972"/>
                  <a:gd name="connsiteY61" fmla="*/ 191717 h 857455"/>
                  <a:gd name="connsiteX62" fmla="*/ 94546 w 1037972"/>
                  <a:gd name="connsiteY62" fmla="*/ 212476 h 857455"/>
                  <a:gd name="connsiteX63" fmla="*/ 71981 w 1037972"/>
                  <a:gd name="connsiteY63" fmla="*/ 241584 h 857455"/>
                  <a:gd name="connsiteX64" fmla="*/ 43775 w 1037972"/>
                  <a:gd name="connsiteY64" fmla="*/ 242487 h 857455"/>
                  <a:gd name="connsiteX65" fmla="*/ 31590 w 1037972"/>
                  <a:gd name="connsiteY65" fmla="*/ 233010 h 857455"/>
                  <a:gd name="connsiteX66" fmla="*/ 30688 w 1037972"/>
                  <a:gd name="connsiteY66" fmla="*/ 216989 h 857455"/>
                  <a:gd name="connsiteX67" fmla="*/ 24370 w 1037972"/>
                  <a:gd name="connsiteY67" fmla="*/ 202548 h 857455"/>
                  <a:gd name="connsiteX68" fmla="*/ 18503 w 1037972"/>
                  <a:gd name="connsiteY68" fmla="*/ 212702 h 857455"/>
                  <a:gd name="connsiteX69" fmla="*/ 16247 w 1037972"/>
                  <a:gd name="connsiteY69" fmla="*/ 242036 h 857455"/>
                  <a:gd name="connsiteX70" fmla="*/ 9928 w 1037972"/>
                  <a:gd name="connsiteY70" fmla="*/ 261441 h 857455"/>
                  <a:gd name="connsiteX71" fmla="*/ 0 w 1037972"/>
                  <a:gd name="connsiteY71" fmla="*/ 287842 h 857455"/>
                  <a:gd name="connsiteX72" fmla="*/ 9477 w 1037972"/>
                  <a:gd name="connsiteY72" fmla="*/ 317853 h 857455"/>
                  <a:gd name="connsiteX73" fmla="*/ 11282 w 1037972"/>
                  <a:gd name="connsiteY73" fmla="*/ 346059 h 857455"/>
                  <a:gd name="connsiteX74" fmla="*/ 12636 w 1037972"/>
                  <a:gd name="connsiteY74" fmla="*/ 377423 h 857455"/>
                  <a:gd name="connsiteX75" fmla="*/ 16472 w 1037972"/>
                  <a:gd name="connsiteY75" fmla="*/ 401342 h 857455"/>
                  <a:gd name="connsiteX76" fmla="*/ 17826 w 1037972"/>
                  <a:gd name="connsiteY76" fmla="*/ 417588 h 857455"/>
                  <a:gd name="connsiteX77" fmla="*/ 17149 w 1037972"/>
                  <a:gd name="connsiteY77" fmla="*/ 432707 h 857455"/>
                  <a:gd name="connsiteX78" fmla="*/ 20308 w 1037972"/>
                  <a:gd name="connsiteY78" fmla="*/ 457753 h 857455"/>
                  <a:gd name="connsiteX79" fmla="*/ 22113 w 1037972"/>
                  <a:gd name="connsiteY79" fmla="*/ 482123 h 857455"/>
                  <a:gd name="connsiteX80" fmla="*/ 25949 w 1037972"/>
                  <a:gd name="connsiteY80" fmla="*/ 506042 h 857455"/>
                  <a:gd name="connsiteX81" fmla="*/ 30914 w 1037972"/>
                  <a:gd name="connsiteY81" fmla="*/ 532894 h 857455"/>
                  <a:gd name="connsiteX82" fmla="*/ 41293 w 1037972"/>
                  <a:gd name="connsiteY82" fmla="*/ 558391 h 857455"/>
                  <a:gd name="connsiteX83" fmla="*/ 49868 w 1037972"/>
                  <a:gd name="connsiteY83" fmla="*/ 585695 h 857455"/>
                  <a:gd name="connsiteX84" fmla="*/ 53704 w 1037972"/>
                  <a:gd name="connsiteY84" fmla="*/ 618639 h 857455"/>
                  <a:gd name="connsiteX85" fmla="*/ 61150 w 1037972"/>
                  <a:gd name="connsiteY85" fmla="*/ 649778 h 857455"/>
                  <a:gd name="connsiteX86" fmla="*/ 57765 w 1037972"/>
                  <a:gd name="connsiteY86" fmla="*/ 663994 h 857455"/>
                  <a:gd name="connsiteX87" fmla="*/ 62955 w 1037972"/>
                  <a:gd name="connsiteY87" fmla="*/ 707769 h 857455"/>
                  <a:gd name="connsiteX88" fmla="*/ 65889 w 1037972"/>
                  <a:gd name="connsiteY88" fmla="*/ 758088 h 857455"/>
                  <a:gd name="connsiteX89" fmla="*/ 72884 w 1037972"/>
                  <a:gd name="connsiteY89" fmla="*/ 786745 h 857455"/>
                  <a:gd name="connsiteX90" fmla="*/ 82361 w 1037972"/>
                  <a:gd name="connsiteY90" fmla="*/ 818787 h 857455"/>
                  <a:gd name="connsiteX91" fmla="*/ 96577 w 1037972"/>
                  <a:gd name="connsiteY91" fmla="*/ 836162 h 857455"/>
                  <a:gd name="connsiteX92" fmla="*/ 104474 w 1037972"/>
                  <a:gd name="connsiteY92" fmla="*/ 848347 h 857455"/>
                  <a:gd name="connsiteX93" fmla="*/ 113049 w 1037972"/>
                  <a:gd name="connsiteY93" fmla="*/ 845188 h 857455"/>
                  <a:gd name="connsiteX94" fmla="*/ 125234 w 1037972"/>
                  <a:gd name="connsiteY94" fmla="*/ 849926 h 857455"/>
                  <a:gd name="connsiteX95" fmla="*/ 135613 w 1037972"/>
                  <a:gd name="connsiteY95" fmla="*/ 863014 h 857455"/>
                  <a:gd name="connsiteX96" fmla="*/ 148250 w 1037972"/>
                  <a:gd name="connsiteY96" fmla="*/ 865270 h 857455"/>
                  <a:gd name="connsiteX97" fmla="*/ 161788 w 1037972"/>
                  <a:gd name="connsiteY97" fmla="*/ 853988 h 857455"/>
                  <a:gd name="connsiteX98" fmla="*/ 183902 w 1037972"/>
                  <a:gd name="connsiteY98" fmla="*/ 850603 h 857455"/>
                  <a:gd name="connsiteX99" fmla="*/ 194281 w 1037972"/>
                  <a:gd name="connsiteY99" fmla="*/ 830295 h 857455"/>
                  <a:gd name="connsiteX100" fmla="*/ 204435 w 1037972"/>
                  <a:gd name="connsiteY100" fmla="*/ 790581 h 857455"/>
                  <a:gd name="connsiteX101" fmla="*/ 188189 w 1037972"/>
                  <a:gd name="connsiteY101" fmla="*/ 779976 h 857455"/>
                  <a:gd name="connsiteX102" fmla="*/ 189994 w 1037972"/>
                  <a:gd name="connsiteY102" fmla="*/ 762376 h 857455"/>
                  <a:gd name="connsiteX103" fmla="*/ 195861 w 1037972"/>
                  <a:gd name="connsiteY103" fmla="*/ 744549 h 857455"/>
                  <a:gd name="connsiteX104" fmla="*/ 210979 w 1037972"/>
                  <a:gd name="connsiteY104" fmla="*/ 731462 h 857455"/>
                  <a:gd name="connsiteX105" fmla="*/ 227226 w 1037972"/>
                  <a:gd name="connsiteY105" fmla="*/ 740262 h 857455"/>
                  <a:gd name="connsiteX106" fmla="*/ 239862 w 1037972"/>
                  <a:gd name="connsiteY106" fmla="*/ 726498 h 857455"/>
                  <a:gd name="connsiteX107" fmla="*/ 252949 w 1037972"/>
                  <a:gd name="connsiteY107" fmla="*/ 716569 h 857455"/>
                  <a:gd name="connsiteX108" fmla="*/ 272355 w 1037972"/>
                  <a:gd name="connsiteY108" fmla="*/ 703933 h 857455"/>
                  <a:gd name="connsiteX109" fmla="*/ 286119 w 1037972"/>
                  <a:gd name="connsiteY109" fmla="*/ 691974 h 857455"/>
                  <a:gd name="connsiteX110" fmla="*/ 304848 w 1037972"/>
                  <a:gd name="connsiteY110" fmla="*/ 704610 h 857455"/>
                  <a:gd name="connsiteX111" fmla="*/ 327413 w 1037972"/>
                  <a:gd name="connsiteY111" fmla="*/ 694682 h 857455"/>
                  <a:gd name="connsiteX112" fmla="*/ 345690 w 1037972"/>
                  <a:gd name="connsiteY112" fmla="*/ 696036 h 857455"/>
                  <a:gd name="connsiteX113" fmla="*/ 364419 w 1037972"/>
                  <a:gd name="connsiteY113" fmla="*/ 688589 h 857455"/>
                  <a:gd name="connsiteX114" fmla="*/ 368255 w 1037972"/>
                  <a:gd name="connsiteY114" fmla="*/ 667379 h 857455"/>
                  <a:gd name="connsiteX115" fmla="*/ 361936 w 1037972"/>
                  <a:gd name="connsiteY115" fmla="*/ 636691 h 857455"/>
                  <a:gd name="connsiteX116" fmla="*/ 390142 w 1037972"/>
                  <a:gd name="connsiteY116" fmla="*/ 637368 h 857455"/>
                  <a:gd name="connsiteX117" fmla="*/ 418348 w 1037972"/>
                  <a:gd name="connsiteY117" fmla="*/ 639173 h 857455"/>
                  <a:gd name="connsiteX118" fmla="*/ 454000 w 1037972"/>
                  <a:gd name="connsiteY118" fmla="*/ 633532 h 857455"/>
                  <a:gd name="connsiteX119" fmla="*/ 465282 w 1037972"/>
                  <a:gd name="connsiteY119" fmla="*/ 616608 h 857455"/>
                  <a:gd name="connsiteX120" fmla="*/ 486042 w 1037972"/>
                  <a:gd name="connsiteY120" fmla="*/ 601490 h 857455"/>
                  <a:gd name="connsiteX121" fmla="*/ 510412 w 1037972"/>
                  <a:gd name="connsiteY121" fmla="*/ 575089 h 857455"/>
                  <a:gd name="connsiteX122" fmla="*/ 540423 w 1037972"/>
                  <a:gd name="connsiteY122" fmla="*/ 554330 h 857455"/>
                  <a:gd name="connsiteX123" fmla="*/ 563664 w 1037972"/>
                  <a:gd name="connsiteY123" fmla="*/ 527478 h 857455"/>
                  <a:gd name="connsiteX124" fmla="*/ 584424 w 1037972"/>
                  <a:gd name="connsiteY124" fmla="*/ 502431 h 857455"/>
                  <a:gd name="connsiteX125" fmla="*/ 603829 w 1037972"/>
                  <a:gd name="connsiteY125" fmla="*/ 513037 h 857455"/>
                  <a:gd name="connsiteX126" fmla="*/ 619399 w 1037972"/>
                  <a:gd name="connsiteY126" fmla="*/ 507395 h 857455"/>
                  <a:gd name="connsiteX127" fmla="*/ 625717 w 1037972"/>
                  <a:gd name="connsiteY127" fmla="*/ 486636 h 857455"/>
                  <a:gd name="connsiteX128" fmla="*/ 648958 w 1037972"/>
                  <a:gd name="connsiteY128" fmla="*/ 467907 h 857455"/>
                  <a:gd name="connsiteX129" fmla="*/ 658435 w 1037972"/>
                  <a:gd name="connsiteY129" fmla="*/ 437219 h 857455"/>
                  <a:gd name="connsiteX130" fmla="*/ 656630 w 1037972"/>
                  <a:gd name="connsiteY130" fmla="*/ 404050 h 857455"/>
                  <a:gd name="connsiteX131" fmla="*/ 668590 w 1037972"/>
                  <a:gd name="connsiteY131" fmla="*/ 381485 h 857455"/>
                  <a:gd name="connsiteX132" fmla="*/ 687995 w 1037972"/>
                  <a:gd name="connsiteY132" fmla="*/ 391413 h 857455"/>
                  <a:gd name="connsiteX133" fmla="*/ 700631 w 1037972"/>
                  <a:gd name="connsiteY133" fmla="*/ 378777 h 857455"/>
                  <a:gd name="connsiteX134" fmla="*/ 714396 w 1037972"/>
                  <a:gd name="connsiteY134" fmla="*/ 360049 h 857455"/>
                  <a:gd name="connsiteX135" fmla="*/ 716201 w 1037972"/>
                  <a:gd name="connsiteY135" fmla="*/ 337484 h 857455"/>
                  <a:gd name="connsiteX136" fmla="*/ 714396 w 1037972"/>
                  <a:gd name="connsiteY136" fmla="*/ 313565 h 857455"/>
                  <a:gd name="connsiteX137" fmla="*/ 717555 w 1037972"/>
                  <a:gd name="connsiteY137" fmla="*/ 304765 h 857455"/>
                  <a:gd name="connsiteX138" fmla="*/ 733124 w 1037972"/>
                  <a:gd name="connsiteY138" fmla="*/ 313565 h 857455"/>
                  <a:gd name="connsiteX139" fmla="*/ 767648 w 1037972"/>
                  <a:gd name="connsiteY139" fmla="*/ 317853 h 857455"/>
                  <a:gd name="connsiteX140" fmla="*/ 789536 w 1037972"/>
                  <a:gd name="connsiteY140" fmla="*/ 339740 h 857455"/>
                  <a:gd name="connsiteX141" fmla="*/ 827219 w 1037972"/>
                  <a:gd name="connsiteY141" fmla="*/ 355310 h 857455"/>
                  <a:gd name="connsiteX142" fmla="*/ 845496 w 1037972"/>
                  <a:gd name="connsiteY142" fmla="*/ 350346 h 857455"/>
                  <a:gd name="connsiteX143" fmla="*/ 869415 w 1037972"/>
                  <a:gd name="connsiteY143" fmla="*/ 351700 h 857455"/>
                  <a:gd name="connsiteX144" fmla="*/ 901456 w 1037972"/>
                  <a:gd name="connsiteY144" fmla="*/ 345381 h 857455"/>
                  <a:gd name="connsiteX145" fmla="*/ 935980 w 1037972"/>
                  <a:gd name="connsiteY145" fmla="*/ 369751 h 857455"/>
                  <a:gd name="connsiteX146" fmla="*/ 926503 w 1037972"/>
                  <a:gd name="connsiteY146" fmla="*/ 406757 h 857455"/>
                  <a:gd name="connsiteX147" fmla="*/ 933498 w 1037972"/>
                  <a:gd name="connsiteY147" fmla="*/ 435640 h 857455"/>
                  <a:gd name="connsiteX148" fmla="*/ 936657 w 1037972"/>
                  <a:gd name="connsiteY148" fmla="*/ 456851 h 857455"/>
                  <a:gd name="connsiteX149" fmla="*/ 967345 w 1037972"/>
                  <a:gd name="connsiteY149" fmla="*/ 461138 h 857455"/>
                  <a:gd name="connsiteX150" fmla="*/ 971632 w 1037972"/>
                  <a:gd name="connsiteY150" fmla="*/ 439927 h 857455"/>
                  <a:gd name="connsiteX151" fmla="*/ 976597 w 1037972"/>
                  <a:gd name="connsiteY151" fmla="*/ 415557 h 857455"/>
                  <a:gd name="connsiteX152" fmla="*/ 994197 w 1037972"/>
                  <a:gd name="connsiteY152" fmla="*/ 384870 h 857455"/>
                  <a:gd name="connsiteX153" fmla="*/ 1015408 w 1037972"/>
                  <a:gd name="connsiteY153" fmla="*/ 379228 h 857455"/>
                  <a:gd name="connsiteX154" fmla="*/ 1030526 w 1037972"/>
                  <a:gd name="connsiteY154" fmla="*/ 381711 h 857455"/>
                  <a:gd name="connsiteX155" fmla="*/ 1044967 w 1037972"/>
                  <a:gd name="connsiteY155" fmla="*/ 362982 h 857455"/>
                  <a:gd name="connsiteX156" fmla="*/ 1025562 w 1037972"/>
                  <a:gd name="connsiteY156" fmla="*/ 341094 h 85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</a:cxnLst>
                <a:rect l="l" t="t" r="r" b="b"/>
                <a:pathLst>
                  <a:path w="1037972" h="857455">
                    <a:moveTo>
                      <a:pt x="1025562" y="341094"/>
                    </a:moveTo>
                    <a:cubicBezTo>
                      <a:pt x="1019244" y="337258"/>
                      <a:pt x="1016085" y="328007"/>
                      <a:pt x="1012474" y="319207"/>
                    </a:cubicBezTo>
                    <a:cubicBezTo>
                      <a:pt x="1008638" y="310406"/>
                      <a:pt x="998033" y="309730"/>
                      <a:pt x="996228" y="300929"/>
                    </a:cubicBezTo>
                    <a:cubicBezTo>
                      <a:pt x="994423" y="292129"/>
                      <a:pt x="1003223" y="292129"/>
                      <a:pt x="1003674" y="287165"/>
                    </a:cubicBezTo>
                    <a:cubicBezTo>
                      <a:pt x="1004351" y="282201"/>
                      <a:pt x="1006156" y="270918"/>
                      <a:pt x="996228" y="267759"/>
                    </a:cubicBezTo>
                    <a:cubicBezTo>
                      <a:pt x="986299" y="264600"/>
                      <a:pt x="992392" y="255800"/>
                      <a:pt x="999387" y="249031"/>
                    </a:cubicBezTo>
                    <a:cubicBezTo>
                      <a:pt x="1006382" y="242036"/>
                      <a:pt x="1009992" y="244066"/>
                      <a:pt x="1008187" y="232784"/>
                    </a:cubicBezTo>
                    <a:cubicBezTo>
                      <a:pt x="1006382" y="221502"/>
                      <a:pt x="1016310" y="219697"/>
                      <a:pt x="1008864" y="217214"/>
                    </a:cubicBezTo>
                    <a:cubicBezTo>
                      <a:pt x="1001418" y="214733"/>
                      <a:pt x="1000741" y="209091"/>
                      <a:pt x="1004577" y="200291"/>
                    </a:cubicBezTo>
                    <a:cubicBezTo>
                      <a:pt x="1008413" y="191491"/>
                      <a:pt x="1005254" y="192168"/>
                      <a:pt x="1005931" y="174567"/>
                    </a:cubicBezTo>
                    <a:cubicBezTo>
                      <a:pt x="1006608" y="156967"/>
                      <a:pt x="1003448" y="169603"/>
                      <a:pt x="994648" y="151326"/>
                    </a:cubicBezTo>
                    <a:cubicBezTo>
                      <a:pt x="985848" y="133049"/>
                      <a:pt x="998484" y="124925"/>
                      <a:pt x="1005931" y="117479"/>
                    </a:cubicBezTo>
                    <a:cubicBezTo>
                      <a:pt x="1013377" y="110033"/>
                      <a:pt x="1004125" y="111161"/>
                      <a:pt x="1004125" y="108002"/>
                    </a:cubicBezTo>
                    <a:cubicBezTo>
                      <a:pt x="1004125" y="104843"/>
                      <a:pt x="1003448" y="104166"/>
                      <a:pt x="996679" y="98525"/>
                    </a:cubicBezTo>
                    <a:cubicBezTo>
                      <a:pt x="989684" y="92884"/>
                      <a:pt x="991038" y="94689"/>
                      <a:pt x="983592" y="88596"/>
                    </a:cubicBezTo>
                    <a:cubicBezTo>
                      <a:pt x="976145" y="82278"/>
                      <a:pt x="974114" y="81601"/>
                      <a:pt x="967345" y="74155"/>
                    </a:cubicBezTo>
                    <a:cubicBezTo>
                      <a:pt x="960350" y="66709"/>
                      <a:pt x="956740" y="77314"/>
                      <a:pt x="951099" y="79796"/>
                    </a:cubicBezTo>
                    <a:cubicBezTo>
                      <a:pt x="945457" y="82278"/>
                      <a:pt x="938011" y="84760"/>
                      <a:pt x="926729" y="84083"/>
                    </a:cubicBezTo>
                    <a:cubicBezTo>
                      <a:pt x="915446" y="83406"/>
                      <a:pt x="922893" y="80924"/>
                      <a:pt x="911611" y="77088"/>
                    </a:cubicBezTo>
                    <a:cubicBezTo>
                      <a:pt x="900328" y="73252"/>
                      <a:pt x="889046" y="84083"/>
                      <a:pt x="872799" y="82052"/>
                    </a:cubicBezTo>
                    <a:cubicBezTo>
                      <a:pt x="856553" y="80247"/>
                      <a:pt x="868512" y="73929"/>
                      <a:pt x="863999" y="65806"/>
                    </a:cubicBezTo>
                    <a:cubicBezTo>
                      <a:pt x="859712" y="57683"/>
                      <a:pt x="848881" y="62647"/>
                      <a:pt x="820224" y="72801"/>
                    </a:cubicBezTo>
                    <a:cubicBezTo>
                      <a:pt x="791341" y="82729"/>
                      <a:pt x="810295" y="88371"/>
                      <a:pt x="788859" y="88371"/>
                    </a:cubicBezTo>
                    <a:cubicBezTo>
                      <a:pt x="767648" y="88371"/>
                      <a:pt x="771258" y="92658"/>
                      <a:pt x="757494" y="92658"/>
                    </a:cubicBezTo>
                    <a:cubicBezTo>
                      <a:pt x="743730" y="92658"/>
                      <a:pt x="735606" y="81376"/>
                      <a:pt x="725001" y="80022"/>
                    </a:cubicBezTo>
                    <a:cubicBezTo>
                      <a:pt x="714396" y="78668"/>
                      <a:pt x="713042" y="87468"/>
                      <a:pt x="703113" y="93109"/>
                    </a:cubicBezTo>
                    <a:cubicBezTo>
                      <a:pt x="693185" y="98750"/>
                      <a:pt x="673102" y="93786"/>
                      <a:pt x="659789" y="93109"/>
                    </a:cubicBezTo>
                    <a:cubicBezTo>
                      <a:pt x="646702" y="92432"/>
                      <a:pt x="636548" y="94914"/>
                      <a:pt x="625266" y="94463"/>
                    </a:cubicBezTo>
                    <a:cubicBezTo>
                      <a:pt x="613983" y="93786"/>
                      <a:pt x="610824" y="87017"/>
                      <a:pt x="610147" y="76863"/>
                    </a:cubicBezTo>
                    <a:cubicBezTo>
                      <a:pt x="609470" y="66934"/>
                      <a:pt x="619624" y="76863"/>
                      <a:pt x="631358" y="78668"/>
                    </a:cubicBezTo>
                    <a:cubicBezTo>
                      <a:pt x="643317" y="80473"/>
                      <a:pt x="641963" y="59939"/>
                      <a:pt x="628199" y="48657"/>
                    </a:cubicBezTo>
                    <a:cubicBezTo>
                      <a:pt x="614435" y="37375"/>
                      <a:pt x="603829" y="38728"/>
                      <a:pt x="591193" y="41662"/>
                    </a:cubicBezTo>
                    <a:cubicBezTo>
                      <a:pt x="578557" y="44821"/>
                      <a:pt x="584198" y="55426"/>
                      <a:pt x="569305" y="55426"/>
                    </a:cubicBezTo>
                    <a:cubicBezTo>
                      <a:pt x="554187" y="55426"/>
                      <a:pt x="559377" y="61067"/>
                      <a:pt x="546064" y="61067"/>
                    </a:cubicBezTo>
                    <a:cubicBezTo>
                      <a:pt x="532751" y="61067"/>
                      <a:pt x="541776" y="79796"/>
                      <a:pt x="529817" y="84309"/>
                    </a:cubicBezTo>
                    <a:cubicBezTo>
                      <a:pt x="517858" y="88596"/>
                      <a:pt x="528463" y="92432"/>
                      <a:pt x="516730" y="96268"/>
                    </a:cubicBezTo>
                    <a:cubicBezTo>
                      <a:pt x="504770" y="100104"/>
                      <a:pt x="515376" y="118833"/>
                      <a:pt x="512442" y="118833"/>
                    </a:cubicBezTo>
                    <a:cubicBezTo>
                      <a:pt x="509283" y="118833"/>
                      <a:pt x="494842" y="124474"/>
                      <a:pt x="481755" y="121315"/>
                    </a:cubicBezTo>
                    <a:cubicBezTo>
                      <a:pt x="468667" y="118156"/>
                      <a:pt x="470472" y="132597"/>
                      <a:pt x="457836" y="128761"/>
                    </a:cubicBezTo>
                    <a:cubicBezTo>
                      <a:pt x="445200" y="124925"/>
                      <a:pt x="442266" y="118156"/>
                      <a:pt x="440913" y="101232"/>
                    </a:cubicBezTo>
                    <a:cubicBezTo>
                      <a:pt x="439559" y="84309"/>
                      <a:pt x="419025" y="84986"/>
                      <a:pt x="403230" y="84986"/>
                    </a:cubicBezTo>
                    <a:cubicBezTo>
                      <a:pt x="387660" y="84986"/>
                      <a:pt x="375024" y="86791"/>
                      <a:pt x="356747" y="86791"/>
                    </a:cubicBezTo>
                    <a:cubicBezTo>
                      <a:pt x="338469" y="86791"/>
                      <a:pt x="338469" y="82504"/>
                      <a:pt x="330346" y="71673"/>
                    </a:cubicBezTo>
                    <a:cubicBezTo>
                      <a:pt x="322223" y="61067"/>
                      <a:pt x="293340" y="57231"/>
                      <a:pt x="283412" y="56555"/>
                    </a:cubicBezTo>
                    <a:cubicBezTo>
                      <a:pt x="273483" y="55878"/>
                      <a:pt x="259493" y="50913"/>
                      <a:pt x="248211" y="44595"/>
                    </a:cubicBezTo>
                    <a:cubicBezTo>
                      <a:pt x="236928" y="38277"/>
                      <a:pt x="248211" y="33313"/>
                      <a:pt x="250693" y="20226"/>
                    </a:cubicBezTo>
                    <a:cubicBezTo>
                      <a:pt x="253175" y="7138"/>
                      <a:pt x="243247" y="-3016"/>
                      <a:pt x="233769" y="820"/>
                    </a:cubicBezTo>
                    <a:cubicBezTo>
                      <a:pt x="224292" y="4656"/>
                      <a:pt x="216169" y="13907"/>
                      <a:pt x="200599" y="10748"/>
                    </a:cubicBezTo>
                    <a:cubicBezTo>
                      <a:pt x="196312" y="9846"/>
                      <a:pt x="189543" y="8718"/>
                      <a:pt x="182096" y="7589"/>
                    </a:cubicBezTo>
                    <a:cubicBezTo>
                      <a:pt x="168106" y="16615"/>
                      <a:pt x="169460" y="16164"/>
                      <a:pt x="164045" y="24287"/>
                    </a:cubicBezTo>
                    <a:cubicBezTo>
                      <a:pt x="158404" y="32862"/>
                      <a:pt x="161111" y="39405"/>
                      <a:pt x="157501" y="48657"/>
                    </a:cubicBezTo>
                    <a:cubicBezTo>
                      <a:pt x="153665" y="58134"/>
                      <a:pt x="166076" y="65580"/>
                      <a:pt x="176230" y="61744"/>
                    </a:cubicBezTo>
                    <a:cubicBezTo>
                      <a:pt x="186609" y="57908"/>
                      <a:pt x="185707" y="55201"/>
                      <a:pt x="196087" y="57908"/>
                    </a:cubicBezTo>
                    <a:cubicBezTo>
                      <a:pt x="206466" y="60842"/>
                      <a:pt x="227226" y="65355"/>
                      <a:pt x="205564" y="72124"/>
                    </a:cubicBezTo>
                    <a:cubicBezTo>
                      <a:pt x="183902" y="78668"/>
                      <a:pt x="175553" y="77765"/>
                      <a:pt x="169912" y="86340"/>
                    </a:cubicBezTo>
                    <a:cubicBezTo>
                      <a:pt x="164270" y="94914"/>
                      <a:pt x="159532" y="102361"/>
                      <a:pt x="151183" y="106197"/>
                    </a:cubicBezTo>
                    <a:cubicBezTo>
                      <a:pt x="142608" y="110033"/>
                      <a:pt x="126813" y="107099"/>
                      <a:pt x="134259" y="113643"/>
                    </a:cubicBezTo>
                    <a:cubicBezTo>
                      <a:pt x="141706" y="120187"/>
                      <a:pt x="155921" y="136208"/>
                      <a:pt x="156824" y="145685"/>
                    </a:cubicBezTo>
                    <a:cubicBezTo>
                      <a:pt x="157727" y="155162"/>
                      <a:pt x="169009" y="164413"/>
                      <a:pt x="148250" y="174793"/>
                    </a:cubicBezTo>
                    <a:cubicBezTo>
                      <a:pt x="127490" y="185173"/>
                      <a:pt x="133131" y="193522"/>
                      <a:pt x="123880" y="187881"/>
                    </a:cubicBezTo>
                    <a:cubicBezTo>
                      <a:pt x="114403" y="182239"/>
                      <a:pt x="114403" y="176598"/>
                      <a:pt x="104023" y="174793"/>
                    </a:cubicBezTo>
                    <a:cubicBezTo>
                      <a:pt x="93643" y="172988"/>
                      <a:pt x="97479" y="184270"/>
                      <a:pt x="98382" y="191717"/>
                    </a:cubicBezTo>
                    <a:cubicBezTo>
                      <a:pt x="99284" y="199163"/>
                      <a:pt x="96577" y="198260"/>
                      <a:pt x="94546" y="212476"/>
                    </a:cubicBezTo>
                    <a:cubicBezTo>
                      <a:pt x="92515" y="226692"/>
                      <a:pt x="85971" y="237974"/>
                      <a:pt x="71981" y="241584"/>
                    </a:cubicBezTo>
                    <a:cubicBezTo>
                      <a:pt x="57765" y="245420"/>
                      <a:pt x="51222" y="246323"/>
                      <a:pt x="43775" y="242487"/>
                    </a:cubicBezTo>
                    <a:cubicBezTo>
                      <a:pt x="36329" y="238651"/>
                      <a:pt x="32493" y="241584"/>
                      <a:pt x="31590" y="233010"/>
                    </a:cubicBezTo>
                    <a:cubicBezTo>
                      <a:pt x="30688" y="224435"/>
                      <a:pt x="33396" y="222630"/>
                      <a:pt x="30688" y="216989"/>
                    </a:cubicBezTo>
                    <a:cubicBezTo>
                      <a:pt x="28206" y="212025"/>
                      <a:pt x="42421" y="206384"/>
                      <a:pt x="24370" y="202548"/>
                    </a:cubicBezTo>
                    <a:cubicBezTo>
                      <a:pt x="22113" y="206384"/>
                      <a:pt x="19631" y="209994"/>
                      <a:pt x="18503" y="212702"/>
                    </a:cubicBezTo>
                    <a:cubicBezTo>
                      <a:pt x="15570" y="219245"/>
                      <a:pt x="20082" y="239554"/>
                      <a:pt x="16247" y="242036"/>
                    </a:cubicBezTo>
                    <a:cubicBezTo>
                      <a:pt x="12411" y="244518"/>
                      <a:pt x="16923" y="255123"/>
                      <a:pt x="9928" y="261441"/>
                    </a:cubicBezTo>
                    <a:cubicBezTo>
                      <a:pt x="2933" y="267759"/>
                      <a:pt x="0" y="280847"/>
                      <a:pt x="0" y="287842"/>
                    </a:cubicBezTo>
                    <a:cubicBezTo>
                      <a:pt x="0" y="294837"/>
                      <a:pt x="6318" y="307247"/>
                      <a:pt x="9477" y="317853"/>
                    </a:cubicBezTo>
                    <a:cubicBezTo>
                      <a:pt x="12636" y="328458"/>
                      <a:pt x="13764" y="342222"/>
                      <a:pt x="11282" y="346059"/>
                    </a:cubicBezTo>
                    <a:cubicBezTo>
                      <a:pt x="8800" y="349894"/>
                      <a:pt x="10605" y="364787"/>
                      <a:pt x="12636" y="377423"/>
                    </a:cubicBezTo>
                    <a:cubicBezTo>
                      <a:pt x="14441" y="390059"/>
                      <a:pt x="15118" y="393670"/>
                      <a:pt x="16472" y="401342"/>
                    </a:cubicBezTo>
                    <a:cubicBezTo>
                      <a:pt x="17826" y="408788"/>
                      <a:pt x="17826" y="417588"/>
                      <a:pt x="17826" y="417588"/>
                    </a:cubicBezTo>
                    <a:cubicBezTo>
                      <a:pt x="17826" y="417588"/>
                      <a:pt x="13539" y="427065"/>
                      <a:pt x="17149" y="432707"/>
                    </a:cubicBezTo>
                    <a:cubicBezTo>
                      <a:pt x="20985" y="438348"/>
                      <a:pt x="20985" y="449630"/>
                      <a:pt x="20308" y="457753"/>
                    </a:cubicBezTo>
                    <a:cubicBezTo>
                      <a:pt x="19631" y="465877"/>
                      <a:pt x="24595" y="476031"/>
                      <a:pt x="22113" y="482123"/>
                    </a:cubicBezTo>
                    <a:cubicBezTo>
                      <a:pt x="19631" y="488441"/>
                      <a:pt x="27078" y="500852"/>
                      <a:pt x="25949" y="506042"/>
                    </a:cubicBezTo>
                    <a:cubicBezTo>
                      <a:pt x="24595" y="511006"/>
                      <a:pt x="27303" y="524545"/>
                      <a:pt x="30914" y="532894"/>
                    </a:cubicBezTo>
                    <a:cubicBezTo>
                      <a:pt x="34750" y="541468"/>
                      <a:pt x="41293" y="548012"/>
                      <a:pt x="41293" y="558391"/>
                    </a:cubicBezTo>
                    <a:cubicBezTo>
                      <a:pt x="41293" y="568771"/>
                      <a:pt x="49868" y="580053"/>
                      <a:pt x="49868" y="585695"/>
                    </a:cubicBezTo>
                    <a:cubicBezTo>
                      <a:pt x="49868" y="591336"/>
                      <a:pt x="54606" y="612095"/>
                      <a:pt x="53704" y="618639"/>
                    </a:cubicBezTo>
                    <a:cubicBezTo>
                      <a:pt x="52801" y="625183"/>
                      <a:pt x="61150" y="642106"/>
                      <a:pt x="61150" y="649778"/>
                    </a:cubicBezTo>
                    <a:cubicBezTo>
                      <a:pt x="61150" y="657224"/>
                      <a:pt x="57765" y="653163"/>
                      <a:pt x="57765" y="663994"/>
                    </a:cubicBezTo>
                    <a:cubicBezTo>
                      <a:pt x="57765" y="674825"/>
                      <a:pt x="61601" y="692200"/>
                      <a:pt x="62955" y="707769"/>
                    </a:cubicBezTo>
                    <a:cubicBezTo>
                      <a:pt x="64309" y="723339"/>
                      <a:pt x="66791" y="735975"/>
                      <a:pt x="65889" y="758088"/>
                    </a:cubicBezTo>
                    <a:cubicBezTo>
                      <a:pt x="64986" y="780202"/>
                      <a:pt x="70176" y="776366"/>
                      <a:pt x="72884" y="786745"/>
                    </a:cubicBezTo>
                    <a:cubicBezTo>
                      <a:pt x="75817" y="797125"/>
                      <a:pt x="78976" y="810664"/>
                      <a:pt x="82361" y="818787"/>
                    </a:cubicBezTo>
                    <a:cubicBezTo>
                      <a:pt x="85746" y="826685"/>
                      <a:pt x="90258" y="830069"/>
                      <a:pt x="96577" y="836162"/>
                    </a:cubicBezTo>
                    <a:cubicBezTo>
                      <a:pt x="101766" y="841352"/>
                      <a:pt x="103120" y="845413"/>
                      <a:pt x="104474" y="848347"/>
                    </a:cubicBezTo>
                    <a:cubicBezTo>
                      <a:pt x="107408" y="847218"/>
                      <a:pt x="110115" y="845639"/>
                      <a:pt x="113049" y="845188"/>
                    </a:cubicBezTo>
                    <a:cubicBezTo>
                      <a:pt x="118690" y="844285"/>
                      <a:pt x="123428" y="848121"/>
                      <a:pt x="125234" y="849926"/>
                    </a:cubicBezTo>
                    <a:cubicBezTo>
                      <a:pt x="127039" y="851732"/>
                      <a:pt x="133808" y="859403"/>
                      <a:pt x="135613" y="863014"/>
                    </a:cubicBezTo>
                    <a:cubicBezTo>
                      <a:pt x="137419" y="866850"/>
                      <a:pt x="145090" y="869106"/>
                      <a:pt x="148250" y="865270"/>
                    </a:cubicBezTo>
                    <a:cubicBezTo>
                      <a:pt x="151634" y="861434"/>
                      <a:pt x="158629" y="858275"/>
                      <a:pt x="161788" y="853988"/>
                    </a:cubicBezTo>
                    <a:cubicBezTo>
                      <a:pt x="165173" y="849700"/>
                      <a:pt x="175327" y="853085"/>
                      <a:pt x="183902" y="850603"/>
                    </a:cubicBezTo>
                    <a:cubicBezTo>
                      <a:pt x="192476" y="848121"/>
                      <a:pt x="192476" y="841577"/>
                      <a:pt x="194281" y="830295"/>
                    </a:cubicBezTo>
                    <a:cubicBezTo>
                      <a:pt x="196087" y="819013"/>
                      <a:pt x="207369" y="801187"/>
                      <a:pt x="204435" y="790581"/>
                    </a:cubicBezTo>
                    <a:cubicBezTo>
                      <a:pt x="201502" y="779976"/>
                      <a:pt x="193830" y="783361"/>
                      <a:pt x="188189" y="779976"/>
                    </a:cubicBezTo>
                    <a:cubicBezTo>
                      <a:pt x="182548" y="776591"/>
                      <a:pt x="190445" y="773658"/>
                      <a:pt x="189994" y="762376"/>
                    </a:cubicBezTo>
                    <a:cubicBezTo>
                      <a:pt x="189543" y="751093"/>
                      <a:pt x="194056" y="744549"/>
                      <a:pt x="195861" y="744549"/>
                    </a:cubicBezTo>
                    <a:cubicBezTo>
                      <a:pt x="197666" y="744549"/>
                      <a:pt x="199020" y="733944"/>
                      <a:pt x="210979" y="731462"/>
                    </a:cubicBezTo>
                    <a:cubicBezTo>
                      <a:pt x="222938" y="728980"/>
                      <a:pt x="227226" y="740262"/>
                      <a:pt x="227226" y="740262"/>
                    </a:cubicBezTo>
                    <a:cubicBezTo>
                      <a:pt x="227226" y="740262"/>
                      <a:pt x="236703" y="730334"/>
                      <a:pt x="239862" y="726498"/>
                    </a:cubicBezTo>
                    <a:cubicBezTo>
                      <a:pt x="243021" y="722662"/>
                      <a:pt x="245503" y="717698"/>
                      <a:pt x="252949" y="716569"/>
                    </a:cubicBezTo>
                    <a:cubicBezTo>
                      <a:pt x="260396" y="715216"/>
                      <a:pt x="269196" y="710251"/>
                      <a:pt x="272355" y="703933"/>
                    </a:cubicBezTo>
                    <a:cubicBezTo>
                      <a:pt x="275514" y="697615"/>
                      <a:pt x="281832" y="692651"/>
                      <a:pt x="286119" y="691974"/>
                    </a:cubicBezTo>
                    <a:cubicBezTo>
                      <a:pt x="290407" y="691297"/>
                      <a:pt x="294920" y="701902"/>
                      <a:pt x="304848" y="704610"/>
                    </a:cubicBezTo>
                    <a:cubicBezTo>
                      <a:pt x="314776" y="707092"/>
                      <a:pt x="323125" y="699646"/>
                      <a:pt x="327413" y="694682"/>
                    </a:cubicBezTo>
                    <a:cubicBezTo>
                      <a:pt x="331700" y="689717"/>
                      <a:pt x="336890" y="697841"/>
                      <a:pt x="345690" y="696036"/>
                    </a:cubicBezTo>
                    <a:cubicBezTo>
                      <a:pt x="354490" y="694231"/>
                      <a:pt x="363967" y="694682"/>
                      <a:pt x="364419" y="688589"/>
                    </a:cubicBezTo>
                    <a:cubicBezTo>
                      <a:pt x="365095" y="682271"/>
                      <a:pt x="368255" y="677984"/>
                      <a:pt x="368255" y="667379"/>
                    </a:cubicBezTo>
                    <a:cubicBezTo>
                      <a:pt x="368255" y="656773"/>
                      <a:pt x="354490" y="644814"/>
                      <a:pt x="361936" y="636691"/>
                    </a:cubicBezTo>
                    <a:cubicBezTo>
                      <a:pt x="369383" y="628567"/>
                      <a:pt x="382696" y="633532"/>
                      <a:pt x="390142" y="637368"/>
                    </a:cubicBezTo>
                    <a:cubicBezTo>
                      <a:pt x="397589" y="641204"/>
                      <a:pt x="408871" y="639173"/>
                      <a:pt x="418348" y="639173"/>
                    </a:cubicBezTo>
                    <a:cubicBezTo>
                      <a:pt x="427825" y="639173"/>
                      <a:pt x="446554" y="639173"/>
                      <a:pt x="454000" y="633532"/>
                    </a:cubicBezTo>
                    <a:cubicBezTo>
                      <a:pt x="461446" y="627891"/>
                      <a:pt x="454000" y="620444"/>
                      <a:pt x="465282" y="616608"/>
                    </a:cubicBezTo>
                    <a:cubicBezTo>
                      <a:pt x="476565" y="612772"/>
                      <a:pt x="484011" y="620444"/>
                      <a:pt x="486042" y="601490"/>
                    </a:cubicBezTo>
                    <a:cubicBezTo>
                      <a:pt x="487847" y="582761"/>
                      <a:pt x="499129" y="594044"/>
                      <a:pt x="510412" y="575089"/>
                    </a:cubicBezTo>
                    <a:cubicBezTo>
                      <a:pt x="521694" y="556361"/>
                      <a:pt x="527335" y="563807"/>
                      <a:pt x="540423" y="554330"/>
                    </a:cubicBezTo>
                    <a:cubicBezTo>
                      <a:pt x="553510" y="544853"/>
                      <a:pt x="561633" y="534247"/>
                      <a:pt x="563664" y="527478"/>
                    </a:cubicBezTo>
                    <a:cubicBezTo>
                      <a:pt x="565469" y="520483"/>
                      <a:pt x="567500" y="508749"/>
                      <a:pt x="584424" y="502431"/>
                    </a:cubicBezTo>
                    <a:cubicBezTo>
                      <a:pt x="601347" y="496113"/>
                      <a:pt x="595029" y="509426"/>
                      <a:pt x="603829" y="513037"/>
                    </a:cubicBezTo>
                    <a:cubicBezTo>
                      <a:pt x="612629" y="516873"/>
                      <a:pt x="610147" y="511683"/>
                      <a:pt x="619399" y="507395"/>
                    </a:cubicBezTo>
                    <a:cubicBezTo>
                      <a:pt x="628876" y="503108"/>
                      <a:pt x="625717" y="498595"/>
                      <a:pt x="625717" y="486636"/>
                    </a:cubicBezTo>
                    <a:cubicBezTo>
                      <a:pt x="625717" y="474677"/>
                      <a:pt x="641286" y="478513"/>
                      <a:pt x="648958" y="467907"/>
                    </a:cubicBezTo>
                    <a:cubicBezTo>
                      <a:pt x="656405" y="457302"/>
                      <a:pt x="655276" y="450307"/>
                      <a:pt x="658435" y="437219"/>
                    </a:cubicBezTo>
                    <a:cubicBezTo>
                      <a:pt x="661595" y="424132"/>
                      <a:pt x="650312" y="416460"/>
                      <a:pt x="656630" y="404050"/>
                    </a:cubicBezTo>
                    <a:cubicBezTo>
                      <a:pt x="662948" y="391413"/>
                      <a:pt x="660466" y="384644"/>
                      <a:pt x="668590" y="381485"/>
                    </a:cubicBezTo>
                    <a:cubicBezTo>
                      <a:pt x="676713" y="378326"/>
                      <a:pt x="685513" y="389608"/>
                      <a:pt x="687995" y="391413"/>
                    </a:cubicBezTo>
                    <a:cubicBezTo>
                      <a:pt x="690477" y="393219"/>
                      <a:pt x="701760" y="385772"/>
                      <a:pt x="700631" y="378777"/>
                    </a:cubicBezTo>
                    <a:cubicBezTo>
                      <a:pt x="699277" y="371782"/>
                      <a:pt x="710560" y="361854"/>
                      <a:pt x="714396" y="360049"/>
                    </a:cubicBezTo>
                    <a:cubicBezTo>
                      <a:pt x="718232" y="358243"/>
                      <a:pt x="720037" y="350571"/>
                      <a:pt x="716201" y="337484"/>
                    </a:cubicBezTo>
                    <a:cubicBezTo>
                      <a:pt x="712365" y="324396"/>
                      <a:pt x="718683" y="317401"/>
                      <a:pt x="714396" y="313565"/>
                    </a:cubicBezTo>
                    <a:cubicBezTo>
                      <a:pt x="710108" y="309730"/>
                      <a:pt x="715073" y="301606"/>
                      <a:pt x="717555" y="304765"/>
                    </a:cubicBezTo>
                    <a:cubicBezTo>
                      <a:pt x="720037" y="307924"/>
                      <a:pt x="728837" y="310406"/>
                      <a:pt x="733124" y="313565"/>
                    </a:cubicBezTo>
                    <a:cubicBezTo>
                      <a:pt x="737412" y="316724"/>
                      <a:pt x="762007" y="314242"/>
                      <a:pt x="767648" y="317853"/>
                    </a:cubicBezTo>
                    <a:cubicBezTo>
                      <a:pt x="773289" y="321689"/>
                      <a:pt x="783218" y="332971"/>
                      <a:pt x="789536" y="339740"/>
                    </a:cubicBezTo>
                    <a:cubicBezTo>
                      <a:pt x="795854" y="346735"/>
                      <a:pt x="818419" y="355310"/>
                      <a:pt x="827219" y="355310"/>
                    </a:cubicBezTo>
                    <a:cubicBezTo>
                      <a:pt x="836019" y="355310"/>
                      <a:pt x="837824" y="350346"/>
                      <a:pt x="845496" y="350346"/>
                    </a:cubicBezTo>
                    <a:cubicBezTo>
                      <a:pt x="853168" y="350346"/>
                      <a:pt x="858584" y="347864"/>
                      <a:pt x="869415" y="351700"/>
                    </a:cubicBezTo>
                    <a:cubicBezTo>
                      <a:pt x="880020" y="355536"/>
                      <a:pt x="879343" y="345381"/>
                      <a:pt x="901456" y="345381"/>
                    </a:cubicBezTo>
                    <a:cubicBezTo>
                      <a:pt x="923570" y="345381"/>
                      <a:pt x="935980" y="363659"/>
                      <a:pt x="935980" y="369751"/>
                    </a:cubicBezTo>
                    <a:cubicBezTo>
                      <a:pt x="935980" y="376069"/>
                      <a:pt x="933498" y="396603"/>
                      <a:pt x="926503" y="406757"/>
                    </a:cubicBezTo>
                    <a:cubicBezTo>
                      <a:pt x="919508" y="416686"/>
                      <a:pt x="930790" y="425486"/>
                      <a:pt x="933498" y="435640"/>
                    </a:cubicBezTo>
                    <a:cubicBezTo>
                      <a:pt x="935980" y="445568"/>
                      <a:pt x="925375" y="452563"/>
                      <a:pt x="936657" y="456851"/>
                    </a:cubicBezTo>
                    <a:cubicBezTo>
                      <a:pt x="947939" y="461138"/>
                      <a:pt x="959222" y="462492"/>
                      <a:pt x="967345" y="461138"/>
                    </a:cubicBezTo>
                    <a:cubicBezTo>
                      <a:pt x="975468" y="459784"/>
                      <a:pt x="965991" y="446020"/>
                      <a:pt x="971632" y="439927"/>
                    </a:cubicBezTo>
                    <a:cubicBezTo>
                      <a:pt x="977273" y="433609"/>
                      <a:pt x="977950" y="427291"/>
                      <a:pt x="976597" y="415557"/>
                    </a:cubicBezTo>
                    <a:cubicBezTo>
                      <a:pt x="975243" y="403598"/>
                      <a:pt x="989233" y="390511"/>
                      <a:pt x="994197" y="384870"/>
                    </a:cubicBezTo>
                    <a:cubicBezTo>
                      <a:pt x="999161" y="379228"/>
                      <a:pt x="1011120" y="373587"/>
                      <a:pt x="1015408" y="379228"/>
                    </a:cubicBezTo>
                    <a:cubicBezTo>
                      <a:pt x="1019695" y="384870"/>
                      <a:pt x="1026690" y="381711"/>
                      <a:pt x="1030526" y="381711"/>
                    </a:cubicBezTo>
                    <a:cubicBezTo>
                      <a:pt x="1034362" y="381711"/>
                      <a:pt x="1044290" y="375392"/>
                      <a:pt x="1044967" y="362982"/>
                    </a:cubicBezTo>
                    <a:cubicBezTo>
                      <a:pt x="1044516" y="350346"/>
                      <a:pt x="1031880" y="344705"/>
                      <a:pt x="1025562" y="341094"/>
                    </a:cubicBezTo>
                    <a:close/>
                  </a:path>
                </a:pathLst>
              </a:custGeom>
              <a:solidFill>
                <a:srgbClr val="80C342">
                  <a:alpha val="70000"/>
                </a:srgbClr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xmlns="" id="{29D40AD5-03D3-48DC-A6C3-9BA70FCDC95D}"/>
                  </a:ext>
                </a:extLst>
              </p:cNvPr>
              <p:cNvSpPr/>
              <p:nvPr/>
            </p:nvSpPr>
            <p:spPr>
              <a:xfrm>
                <a:off x="8783103" y="2559435"/>
                <a:ext cx="1105666" cy="767197"/>
              </a:xfrm>
              <a:custGeom>
                <a:avLst/>
                <a:gdLst>
                  <a:gd name="connsiteX0" fmla="*/ 1114466 w 1105666"/>
                  <a:gd name="connsiteY0" fmla="*/ 360381 h 767196"/>
                  <a:gd name="connsiteX1" fmla="*/ 1112661 w 1105666"/>
                  <a:gd name="connsiteY1" fmla="*/ 340975 h 767196"/>
                  <a:gd name="connsiteX2" fmla="*/ 1105666 w 1105666"/>
                  <a:gd name="connsiteY2" fmla="*/ 319764 h 767196"/>
                  <a:gd name="connsiteX3" fmla="*/ 1109502 w 1105666"/>
                  <a:gd name="connsiteY3" fmla="*/ 300359 h 767196"/>
                  <a:gd name="connsiteX4" fmla="*/ 1089420 w 1105666"/>
                  <a:gd name="connsiteY4" fmla="*/ 294041 h 767196"/>
                  <a:gd name="connsiteX5" fmla="*/ 1064373 w 1105666"/>
                  <a:gd name="connsiteY5" fmla="*/ 295846 h 767196"/>
                  <a:gd name="connsiteX6" fmla="*/ 1035490 w 1105666"/>
                  <a:gd name="connsiteY6" fmla="*/ 274635 h 767196"/>
                  <a:gd name="connsiteX7" fmla="*/ 998484 w 1105666"/>
                  <a:gd name="connsiteY7" fmla="*/ 250265 h 767196"/>
                  <a:gd name="connsiteX8" fmla="*/ 972084 w 1105666"/>
                  <a:gd name="connsiteY8" fmla="*/ 245301 h 767196"/>
                  <a:gd name="connsiteX9" fmla="*/ 960124 w 1105666"/>
                  <a:gd name="connsiteY9" fmla="*/ 227701 h 767196"/>
                  <a:gd name="connsiteX10" fmla="*/ 945006 w 1105666"/>
                  <a:gd name="connsiteY10" fmla="*/ 244624 h 767196"/>
                  <a:gd name="connsiteX11" fmla="*/ 927406 w 1105666"/>
                  <a:gd name="connsiteY11" fmla="*/ 243270 h 767196"/>
                  <a:gd name="connsiteX12" fmla="*/ 921765 w 1105666"/>
                  <a:gd name="connsiteY12" fmla="*/ 265158 h 767196"/>
                  <a:gd name="connsiteX13" fmla="*/ 896041 w 1105666"/>
                  <a:gd name="connsiteY13" fmla="*/ 266512 h 767196"/>
                  <a:gd name="connsiteX14" fmla="*/ 875281 w 1105666"/>
                  <a:gd name="connsiteY14" fmla="*/ 258389 h 767196"/>
                  <a:gd name="connsiteX15" fmla="*/ 867158 w 1105666"/>
                  <a:gd name="connsiteY15" fmla="*/ 246429 h 767196"/>
                  <a:gd name="connsiteX16" fmla="*/ 860163 w 1105666"/>
                  <a:gd name="connsiteY16" fmla="*/ 234470 h 767196"/>
                  <a:gd name="connsiteX17" fmla="*/ 838952 w 1105666"/>
                  <a:gd name="connsiteY17" fmla="*/ 255229 h 767196"/>
                  <a:gd name="connsiteX18" fmla="*/ 809393 w 1105666"/>
                  <a:gd name="connsiteY18" fmla="*/ 255906 h 767196"/>
                  <a:gd name="connsiteX19" fmla="*/ 823834 w 1105666"/>
                  <a:gd name="connsiteY19" fmla="*/ 238983 h 767196"/>
                  <a:gd name="connsiteX20" fmla="*/ 830152 w 1105666"/>
                  <a:gd name="connsiteY20" fmla="*/ 226347 h 767196"/>
                  <a:gd name="connsiteX21" fmla="*/ 806911 w 1105666"/>
                  <a:gd name="connsiteY21" fmla="*/ 212582 h 767196"/>
                  <a:gd name="connsiteX22" fmla="*/ 776900 w 1105666"/>
                  <a:gd name="connsiteY22" fmla="*/ 215065 h 767196"/>
                  <a:gd name="connsiteX23" fmla="*/ 752981 w 1105666"/>
                  <a:gd name="connsiteY23" fmla="*/ 236275 h 767196"/>
                  <a:gd name="connsiteX24" fmla="*/ 733576 w 1105666"/>
                  <a:gd name="connsiteY24" fmla="*/ 236275 h 767196"/>
                  <a:gd name="connsiteX25" fmla="*/ 709657 w 1105666"/>
                  <a:gd name="connsiteY25" fmla="*/ 245752 h 767196"/>
                  <a:gd name="connsiteX26" fmla="*/ 702662 w 1105666"/>
                  <a:gd name="connsiteY26" fmla="*/ 227024 h 767196"/>
                  <a:gd name="connsiteX27" fmla="*/ 684385 w 1105666"/>
                  <a:gd name="connsiteY27" fmla="*/ 224542 h 767196"/>
                  <a:gd name="connsiteX28" fmla="*/ 673102 w 1105666"/>
                  <a:gd name="connsiteY28" fmla="*/ 237629 h 767196"/>
                  <a:gd name="connsiteX29" fmla="*/ 663174 w 1105666"/>
                  <a:gd name="connsiteY29" fmla="*/ 230634 h 767196"/>
                  <a:gd name="connsiteX30" fmla="*/ 650087 w 1105666"/>
                  <a:gd name="connsiteY30" fmla="*/ 222511 h 767196"/>
                  <a:gd name="connsiteX31" fmla="*/ 638127 w 1105666"/>
                  <a:gd name="connsiteY31" fmla="*/ 212582 h 767196"/>
                  <a:gd name="connsiteX32" fmla="*/ 637450 w 1105666"/>
                  <a:gd name="connsiteY32" fmla="*/ 201300 h 767196"/>
                  <a:gd name="connsiteX33" fmla="*/ 635645 w 1105666"/>
                  <a:gd name="connsiteY33" fmla="*/ 183700 h 767196"/>
                  <a:gd name="connsiteX34" fmla="*/ 616917 w 1105666"/>
                  <a:gd name="connsiteY34" fmla="*/ 195659 h 767196"/>
                  <a:gd name="connsiteX35" fmla="*/ 604280 w 1105666"/>
                  <a:gd name="connsiteY35" fmla="*/ 194982 h 767196"/>
                  <a:gd name="connsiteX36" fmla="*/ 599993 w 1105666"/>
                  <a:gd name="connsiteY36" fmla="*/ 208070 h 767196"/>
                  <a:gd name="connsiteX37" fmla="*/ 602475 w 1105666"/>
                  <a:gd name="connsiteY37" fmla="*/ 229280 h 767196"/>
                  <a:gd name="connsiteX38" fmla="*/ 606311 w 1105666"/>
                  <a:gd name="connsiteY38" fmla="*/ 245527 h 767196"/>
                  <a:gd name="connsiteX39" fmla="*/ 612629 w 1105666"/>
                  <a:gd name="connsiteY39" fmla="*/ 261096 h 767196"/>
                  <a:gd name="connsiteX40" fmla="*/ 616917 w 1105666"/>
                  <a:gd name="connsiteY40" fmla="*/ 276215 h 767196"/>
                  <a:gd name="connsiteX41" fmla="*/ 624363 w 1105666"/>
                  <a:gd name="connsiteY41" fmla="*/ 292461 h 767196"/>
                  <a:gd name="connsiteX42" fmla="*/ 634968 w 1105666"/>
                  <a:gd name="connsiteY42" fmla="*/ 305097 h 767196"/>
                  <a:gd name="connsiteX43" fmla="*/ 642415 w 1105666"/>
                  <a:gd name="connsiteY43" fmla="*/ 317057 h 767196"/>
                  <a:gd name="connsiteX44" fmla="*/ 649861 w 1105666"/>
                  <a:gd name="connsiteY44" fmla="*/ 339621 h 767196"/>
                  <a:gd name="connsiteX45" fmla="*/ 634743 w 1105666"/>
                  <a:gd name="connsiteY45" fmla="*/ 355191 h 767196"/>
                  <a:gd name="connsiteX46" fmla="*/ 614660 w 1105666"/>
                  <a:gd name="connsiteY46" fmla="*/ 356545 h 767196"/>
                  <a:gd name="connsiteX47" fmla="*/ 604732 w 1105666"/>
                  <a:gd name="connsiteY47" fmla="*/ 349098 h 767196"/>
                  <a:gd name="connsiteX48" fmla="*/ 587808 w 1105666"/>
                  <a:gd name="connsiteY48" fmla="*/ 339170 h 767196"/>
                  <a:gd name="connsiteX49" fmla="*/ 564567 w 1105666"/>
                  <a:gd name="connsiteY49" fmla="*/ 344811 h 767196"/>
                  <a:gd name="connsiteX50" fmla="*/ 560731 w 1105666"/>
                  <a:gd name="connsiteY50" fmla="*/ 327888 h 767196"/>
                  <a:gd name="connsiteX51" fmla="*/ 556443 w 1105666"/>
                  <a:gd name="connsiteY51" fmla="*/ 310287 h 767196"/>
                  <a:gd name="connsiteX52" fmla="*/ 554638 w 1105666"/>
                  <a:gd name="connsiteY52" fmla="*/ 282758 h 767196"/>
                  <a:gd name="connsiteX53" fmla="*/ 564792 w 1105666"/>
                  <a:gd name="connsiteY53" fmla="*/ 245978 h 767196"/>
                  <a:gd name="connsiteX54" fmla="*/ 574269 w 1105666"/>
                  <a:gd name="connsiteY54" fmla="*/ 225670 h 767196"/>
                  <a:gd name="connsiteX55" fmla="*/ 565695 w 1105666"/>
                  <a:gd name="connsiteY55" fmla="*/ 209198 h 767196"/>
                  <a:gd name="connsiteX56" fmla="*/ 571336 w 1105666"/>
                  <a:gd name="connsiteY56" fmla="*/ 187987 h 767196"/>
                  <a:gd name="connsiteX57" fmla="*/ 586003 w 1105666"/>
                  <a:gd name="connsiteY57" fmla="*/ 177156 h 767196"/>
                  <a:gd name="connsiteX58" fmla="*/ 612855 w 1105666"/>
                  <a:gd name="connsiteY58" fmla="*/ 172417 h 767196"/>
                  <a:gd name="connsiteX59" fmla="*/ 622332 w 1105666"/>
                  <a:gd name="connsiteY59" fmla="*/ 163843 h 767196"/>
                  <a:gd name="connsiteX60" fmla="*/ 630907 w 1105666"/>
                  <a:gd name="connsiteY60" fmla="*/ 151207 h 767196"/>
                  <a:gd name="connsiteX61" fmla="*/ 639932 w 1105666"/>
                  <a:gd name="connsiteY61" fmla="*/ 132929 h 767196"/>
                  <a:gd name="connsiteX62" fmla="*/ 650312 w 1105666"/>
                  <a:gd name="connsiteY62" fmla="*/ 105626 h 767196"/>
                  <a:gd name="connsiteX63" fmla="*/ 660241 w 1105666"/>
                  <a:gd name="connsiteY63" fmla="*/ 85318 h 767196"/>
                  <a:gd name="connsiteX64" fmla="*/ 660241 w 1105666"/>
                  <a:gd name="connsiteY64" fmla="*/ 57112 h 767196"/>
                  <a:gd name="connsiteX65" fmla="*/ 648958 w 1105666"/>
                  <a:gd name="connsiteY65" fmla="*/ 29358 h 767196"/>
                  <a:gd name="connsiteX66" fmla="*/ 611275 w 1105666"/>
                  <a:gd name="connsiteY66" fmla="*/ 8147 h 767196"/>
                  <a:gd name="connsiteX67" fmla="*/ 588711 w 1105666"/>
                  <a:gd name="connsiteY67" fmla="*/ 5214 h 767196"/>
                  <a:gd name="connsiteX68" fmla="*/ 566146 w 1105666"/>
                  <a:gd name="connsiteY68" fmla="*/ 24 h 767196"/>
                  <a:gd name="connsiteX69" fmla="*/ 565695 w 1105666"/>
                  <a:gd name="connsiteY69" fmla="*/ 24 h 767196"/>
                  <a:gd name="connsiteX70" fmla="*/ 565695 w 1105666"/>
                  <a:gd name="connsiteY70" fmla="*/ 24 h 767196"/>
                  <a:gd name="connsiteX71" fmla="*/ 502514 w 1105666"/>
                  <a:gd name="connsiteY71" fmla="*/ 54179 h 767196"/>
                  <a:gd name="connsiteX72" fmla="*/ 435723 w 1105666"/>
                  <a:gd name="connsiteY72" fmla="*/ 86221 h 767196"/>
                  <a:gd name="connsiteX73" fmla="*/ 363290 w 1105666"/>
                  <a:gd name="connsiteY73" fmla="*/ 129545 h 767196"/>
                  <a:gd name="connsiteX74" fmla="*/ 344562 w 1105666"/>
                  <a:gd name="connsiteY74" fmla="*/ 151207 h 767196"/>
                  <a:gd name="connsiteX75" fmla="*/ 355844 w 1105666"/>
                  <a:gd name="connsiteY75" fmla="*/ 204911 h 767196"/>
                  <a:gd name="connsiteX76" fmla="*/ 398265 w 1105666"/>
                  <a:gd name="connsiteY76" fmla="*/ 201977 h 767196"/>
                  <a:gd name="connsiteX77" fmla="*/ 439559 w 1105666"/>
                  <a:gd name="connsiteY77" fmla="*/ 199044 h 767196"/>
                  <a:gd name="connsiteX78" fmla="*/ 438656 w 1105666"/>
                  <a:gd name="connsiteY78" fmla="*/ 230183 h 767196"/>
                  <a:gd name="connsiteX79" fmla="*/ 403907 w 1105666"/>
                  <a:gd name="connsiteY79" fmla="*/ 235824 h 767196"/>
                  <a:gd name="connsiteX80" fmla="*/ 383147 w 1105666"/>
                  <a:gd name="connsiteY80" fmla="*/ 261322 h 767196"/>
                  <a:gd name="connsiteX81" fmla="*/ 399168 w 1105666"/>
                  <a:gd name="connsiteY81" fmla="*/ 284789 h 767196"/>
                  <a:gd name="connsiteX82" fmla="*/ 409548 w 1105666"/>
                  <a:gd name="connsiteY82" fmla="*/ 303518 h 767196"/>
                  <a:gd name="connsiteX83" fmla="*/ 404809 w 1105666"/>
                  <a:gd name="connsiteY83" fmla="*/ 321344 h 767196"/>
                  <a:gd name="connsiteX84" fmla="*/ 386983 w 1105666"/>
                  <a:gd name="connsiteY84" fmla="*/ 334431 h 767196"/>
                  <a:gd name="connsiteX85" fmla="*/ 386081 w 1105666"/>
                  <a:gd name="connsiteY85" fmla="*/ 361734 h 767196"/>
                  <a:gd name="connsiteX86" fmla="*/ 357875 w 1105666"/>
                  <a:gd name="connsiteY86" fmla="*/ 356093 h 767196"/>
                  <a:gd name="connsiteX87" fmla="*/ 309812 w 1105666"/>
                  <a:gd name="connsiteY87" fmla="*/ 353160 h 767196"/>
                  <a:gd name="connsiteX88" fmla="*/ 293791 w 1105666"/>
                  <a:gd name="connsiteY88" fmla="*/ 351355 h 767196"/>
                  <a:gd name="connsiteX89" fmla="*/ 284314 w 1105666"/>
                  <a:gd name="connsiteY89" fmla="*/ 373919 h 767196"/>
                  <a:gd name="connsiteX90" fmla="*/ 265586 w 1105666"/>
                  <a:gd name="connsiteY90" fmla="*/ 398289 h 767196"/>
                  <a:gd name="connsiteX91" fmla="*/ 245729 w 1105666"/>
                  <a:gd name="connsiteY91" fmla="*/ 405735 h 767196"/>
                  <a:gd name="connsiteX92" fmla="*/ 210077 w 1105666"/>
                  <a:gd name="connsiteY92" fmla="*/ 408669 h 767196"/>
                  <a:gd name="connsiteX93" fmla="*/ 223164 w 1105666"/>
                  <a:gd name="connsiteY93" fmla="*/ 374822 h 767196"/>
                  <a:gd name="connsiteX94" fmla="*/ 248662 w 1105666"/>
                  <a:gd name="connsiteY94" fmla="*/ 378658 h 767196"/>
                  <a:gd name="connsiteX95" fmla="*/ 252498 w 1105666"/>
                  <a:gd name="connsiteY95" fmla="*/ 358801 h 767196"/>
                  <a:gd name="connsiteX96" fmla="*/ 246857 w 1105666"/>
                  <a:gd name="connsiteY96" fmla="*/ 334431 h 767196"/>
                  <a:gd name="connsiteX97" fmla="*/ 256334 w 1105666"/>
                  <a:gd name="connsiteY97" fmla="*/ 310062 h 767196"/>
                  <a:gd name="connsiteX98" fmla="*/ 253401 w 1105666"/>
                  <a:gd name="connsiteY98" fmla="*/ 275312 h 767196"/>
                  <a:gd name="connsiteX99" fmla="*/ 231739 w 1105666"/>
                  <a:gd name="connsiteY99" fmla="*/ 282758 h 767196"/>
                  <a:gd name="connsiteX100" fmla="*/ 208271 w 1105666"/>
                  <a:gd name="connsiteY100" fmla="*/ 287497 h 767196"/>
                  <a:gd name="connsiteX101" fmla="*/ 191348 w 1105666"/>
                  <a:gd name="connsiteY101" fmla="*/ 276215 h 767196"/>
                  <a:gd name="connsiteX102" fmla="*/ 199923 w 1105666"/>
                  <a:gd name="connsiteY102" fmla="*/ 238532 h 767196"/>
                  <a:gd name="connsiteX103" fmla="*/ 185707 w 1105666"/>
                  <a:gd name="connsiteY103" fmla="*/ 244173 h 767196"/>
                  <a:gd name="connsiteX104" fmla="*/ 160209 w 1105666"/>
                  <a:gd name="connsiteY104" fmla="*/ 264030 h 767196"/>
                  <a:gd name="connsiteX105" fmla="*/ 149829 w 1105666"/>
                  <a:gd name="connsiteY105" fmla="*/ 251845 h 767196"/>
                  <a:gd name="connsiteX106" fmla="*/ 140352 w 1105666"/>
                  <a:gd name="connsiteY106" fmla="*/ 261322 h 767196"/>
                  <a:gd name="connsiteX107" fmla="*/ 130875 w 1105666"/>
                  <a:gd name="connsiteY107" fmla="*/ 294266 h 767196"/>
                  <a:gd name="connsiteX108" fmla="*/ 133808 w 1105666"/>
                  <a:gd name="connsiteY108" fmla="*/ 336688 h 767196"/>
                  <a:gd name="connsiteX109" fmla="*/ 146896 w 1105666"/>
                  <a:gd name="connsiteY109" fmla="*/ 365796 h 767196"/>
                  <a:gd name="connsiteX110" fmla="*/ 132680 w 1105666"/>
                  <a:gd name="connsiteY110" fmla="*/ 400546 h 767196"/>
                  <a:gd name="connsiteX111" fmla="*/ 128844 w 1105666"/>
                  <a:gd name="connsiteY111" fmla="*/ 438229 h 767196"/>
                  <a:gd name="connsiteX112" fmla="*/ 99736 w 1105666"/>
                  <a:gd name="connsiteY112" fmla="*/ 453347 h 767196"/>
                  <a:gd name="connsiteX113" fmla="*/ 101541 w 1105666"/>
                  <a:gd name="connsiteY113" fmla="*/ 475009 h 767196"/>
                  <a:gd name="connsiteX114" fmla="*/ 86422 w 1105666"/>
                  <a:gd name="connsiteY114" fmla="*/ 493737 h 767196"/>
                  <a:gd name="connsiteX115" fmla="*/ 64760 w 1105666"/>
                  <a:gd name="connsiteY115" fmla="*/ 495543 h 767196"/>
                  <a:gd name="connsiteX116" fmla="*/ 50093 w 1105666"/>
                  <a:gd name="connsiteY116" fmla="*/ 487194 h 767196"/>
                  <a:gd name="connsiteX117" fmla="*/ 56186 w 1105666"/>
                  <a:gd name="connsiteY117" fmla="*/ 500281 h 767196"/>
                  <a:gd name="connsiteX118" fmla="*/ 69273 w 1105666"/>
                  <a:gd name="connsiteY118" fmla="*/ 531420 h 767196"/>
                  <a:gd name="connsiteX119" fmla="*/ 66340 w 1105666"/>
                  <a:gd name="connsiteY119" fmla="*/ 548344 h 767196"/>
                  <a:gd name="connsiteX120" fmla="*/ 41970 w 1105666"/>
                  <a:gd name="connsiteY120" fmla="*/ 564365 h 767196"/>
                  <a:gd name="connsiteX121" fmla="*/ 27754 w 1105666"/>
                  <a:gd name="connsiteY121" fmla="*/ 580386 h 767196"/>
                  <a:gd name="connsiteX122" fmla="*/ 29560 w 1105666"/>
                  <a:gd name="connsiteY122" fmla="*/ 602048 h 767196"/>
                  <a:gd name="connsiteX123" fmla="*/ 30462 w 1105666"/>
                  <a:gd name="connsiteY123" fmla="*/ 626417 h 767196"/>
                  <a:gd name="connsiteX124" fmla="*/ 18277 w 1105666"/>
                  <a:gd name="connsiteY124" fmla="*/ 652818 h 767196"/>
                  <a:gd name="connsiteX125" fmla="*/ 16472 w 1105666"/>
                  <a:gd name="connsiteY125" fmla="*/ 653946 h 767196"/>
                  <a:gd name="connsiteX126" fmla="*/ 34975 w 1105666"/>
                  <a:gd name="connsiteY126" fmla="*/ 657105 h 767196"/>
                  <a:gd name="connsiteX127" fmla="*/ 68145 w 1105666"/>
                  <a:gd name="connsiteY127" fmla="*/ 647177 h 767196"/>
                  <a:gd name="connsiteX128" fmla="*/ 85069 w 1105666"/>
                  <a:gd name="connsiteY128" fmla="*/ 666582 h 767196"/>
                  <a:gd name="connsiteX129" fmla="*/ 82586 w 1105666"/>
                  <a:gd name="connsiteY129" fmla="*/ 690952 h 767196"/>
                  <a:gd name="connsiteX130" fmla="*/ 117787 w 1105666"/>
                  <a:gd name="connsiteY130" fmla="*/ 702911 h 767196"/>
                  <a:gd name="connsiteX131" fmla="*/ 164722 w 1105666"/>
                  <a:gd name="connsiteY131" fmla="*/ 718030 h 767196"/>
                  <a:gd name="connsiteX132" fmla="*/ 191122 w 1105666"/>
                  <a:gd name="connsiteY132" fmla="*/ 733148 h 767196"/>
                  <a:gd name="connsiteX133" fmla="*/ 237605 w 1105666"/>
                  <a:gd name="connsiteY133" fmla="*/ 731343 h 767196"/>
                  <a:gd name="connsiteX134" fmla="*/ 275288 w 1105666"/>
                  <a:gd name="connsiteY134" fmla="*/ 747589 h 767196"/>
                  <a:gd name="connsiteX135" fmla="*/ 292212 w 1105666"/>
                  <a:gd name="connsiteY135" fmla="*/ 775118 h 767196"/>
                  <a:gd name="connsiteX136" fmla="*/ 316130 w 1105666"/>
                  <a:gd name="connsiteY136" fmla="*/ 767672 h 767196"/>
                  <a:gd name="connsiteX137" fmla="*/ 346818 w 1105666"/>
                  <a:gd name="connsiteY137" fmla="*/ 765190 h 767196"/>
                  <a:gd name="connsiteX138" fmla="*/ 351105 w 1105666"/>
                  <a:gd name="connsiteY138" fmla="*/ 742625 h 767196"/>
                  <a:gd name="connsiteX139" fmla="*/ 364193 w 1105666"/>
                  <a:gd name="connsiteY139" fmla="*/ 730666 h 767196"/>
                  <a:gd name="connsiteX140" fmla="*/ 380439 w 1105666"/>
                  <a:gd name="connsiteY140" fmla="*/ 707424 h 767196"/>
                  <a:gd name="connsiteX141" fmla="*/ 403681 w 1105666"/>
                  <a:gd name="connsiteY141" fmla="*/ 701783 h 767196"/>
                  <a:gd name="connsiteX142" fmla="*/ 425569 w 1105666"/>
                  <a:gd name="connsiteY142" fmla="*/ 688019 h 767196"/>
                  <a:gd name="connsiteX143" fmla="*/ 462575 w 1105666"/>
                  <a:gd name="connsiteY143" fmla="*/ 695014 h 767196"/>
                  <a:gd name="connsiteX144" fmla="*/ 465734 w 1105666"/>
                  <a:gd name="connsiteY144" fmla="*/ 725025 h 767196"/>
                  <a:gd name="connsiteX145" fmla="*/ 444523 w 1105666"/>
                  <a:gd name="connsiteY145" fmla="*/ 723220 h 767196"/>
                  <a:gd name="connsiteX146" fmla="*/ 459641 w 1105666"/>
                  <a:gd name="connsiteY146" fmla="*/ 740820 h 767196"/>
                  <a:gd name="connsiteX147" fmla="*/ 494165 w 1105666"/>
                  <a:gd name="connsiteY147" fmla="*/ 739466 h 767196"/>
                  <a:gd name="connsiteX148" fmla="*/ 537489 w 1105666"/>
                  <a:gd name="connsiteY148" fmla="*/ 739466 h 767196"/>
                  <a:gd name="connsiteX149" fmla="*/ 559377 w 1105666"/>
                  <a:gd name="connsiteY149" fmla="*/ 726379 h 767196"/>
                  <a:gd name="connsiteX150" fmla="*/ 591870 w 1105666"/>
                  <a:gd name="connsiteY150" fmla="*/ 739015 h 767196"/>
                  <a:gd name="connsiteX151" fmla="*/ 623235 w 1105666"/>
                  <a:gd name="connsiteY151" fmla="*/ 734727 h 767196"/>
                  <a:gd name="connsiteX152" fmla="*/ 654599 w 1105666"/>
                  <a:gd name="connsiteY152" fmla="*/ 719158 h 767196"/>
                  <a:gd name="connsiteX153" fmla="*/ 698375 w 1105666"/>
                  <a:gd name="connsiteY153" fmla="*/ 712163 h 767196"/>
                  <a:gd name="connsiteX154" fmla="*/ 707175 w 1105666"/>
                  <a:gd name="connsiteY154" fmla="*/ 728409 h 767196"/>
                  <a:gd name="connsiteX155" fmla="*/ 745986 w 1105666"/>
                  <a:gd name="connsiteY155" fmla="*/ 723445 h 767196"/>
                  <a:gd name="connsiteX156" fmla="*/ 761104 w 1105666"/>
                  <a:gd name="connsiteY156" fmla="*/ 730440 h 767196"/>
                  <a:gd name="connsiteX157" fmla="*/ 785474 w 1105666"/>
                  <a:gd name="connsiteY157" fmla="*/ 726153 h 767196"/>
                  <a:gd name="connsiteX158" fmla="*/ 801721 w 1105666"/>
                  <a:gd name="connsiteY158" fmla="*/ 720512 h 767196"/>
                  <a:gd name="connsiteX159" fmla="*/ 817967 w 1105666"/>
                  <a:gd name="connsiteY159" fmla="*/ 734953 h 767196"/>
                  <a:gd name="connsiteX160" fmla="*/ 831055 w 1105666"/>
                  <a:gd name="connsiteY160" fmla="*/ 744882 h 767196"/>
                  <a:gd name="connsiteX161" fmla="*/ 838501 w 1105666"/>
                  <a:gd name="connsiteY161" fmla="*/ 754359 h 767196"/>
                  <a:gd name="connsiteX162" fmla="*/ 842112 w 1105666"/>
                  <a:gd name="connsiteY162" fmla="*/ 761805 h 767196"/>
                  <a:gd name="connsiteX163" fmla="*/ 852942 w 1105666"/>
                  <a:gd name="connsiteY163" fmla="*/ 761354 h 767196"/>
                  <a:gd name="connsiteX164" fmla="*/ 859937 w 1105666"/>
                  <a:gd name="connsiteY164" fmla="*/ 748718 h 767196"/>
                  <a:gd name="connsiteX165" fmla="*/ 863096 w 1105666"/>
                  <a:gd name="connsiteY165" fmla="*/ 716676 h 767196"/>
                  <a:gd name="connsiteX166" fmla="*/ 875056 w 1105666"/>
                  <a:gd name="connsiteY166" fmla="*/ 689147 h 767196"/>
                  <a:gd name="connsiteX167" fmla="*/ 882502 w 1105666"/>
                  <a:gd name="connsiteY167" fmla="*/ 660264 h 767196"/>
                  <a:gd name="connsiteX168" fmla="*/ 895138 w 1105666"/>
                  <a:gd name="connsiteY168" fmla="*/ 640182 h 767196"/>
                  <a:gd name="connsiteX169" fmla="*/ 911385 w 1105666"/>
                  <a:gd name="connsiteY169" fmla="*/ 618971 h 767196"/>
                  <a:gd name="connsiteX170" fmla="*/ 925826 w 1105666"/>
                  <a:gd name="connsiteY170" fmla="*/ 597083 h 767196"/>
                  <a:gd name="connsiteX171" fmla="*/ 947714 w 1105666"/>
                  <a:gd name="connsiteY171" fmla="*/ 595278 h 767196"/>
                  <a:gd name="connsiteX172" fmla="*/ 980884 w 1105666"/>
                  <a:gd name="connsiteY172" fmla="*/ 579709 h 767196"/>
                  <a:gd name="connsiteX173" fmla="*/ 989684 w 1105666"/>
                  <a:gd name="connsiteY173" fmla="*/ 567072 h 767196"/>
                  <a:gd name="connsiteX174" fmla="*/ 999161 w 1105666"/>
                  <a:gd name="connsiteY174" fmla="*/ 538867 h 767196"/>
                  <a:gd name="connsiteX175" fmla="*/ 1014731 w 1105666"/>
                  <a:gd name="connsiteY175" fmla="*/ 528261 h 767196"/>
                  <a:gd name="connsiteX176" fmla="*/ 1027818 w 1105666"/>
                  <a:gd name="connsiteY176" fmla="*/ 513143 h 767196"/>
                  <a:gd name="connsiteX177" fmla="*/ 1037295 w 1105666"/>
                  <a:gd name="connsiteY177" fmla="*/ 503666 h 767196"/>
                  <a:gd name="connsiteX178" fmla="*/ 1042260 w 1105666"/>
                  <a:gd name="connsiteY178" fmla="*/ 492384 h 767196"/>
                  <a:gd name="connsiteX179" fmla="*/ 1031654 w 1105666"/>
                  <a:gd name="connsiteY179" fmla="*/ 475460 h 767196"/>
                  <a:gd name="connsiteX180" fmla="*/ 1018567 w 1105666"/>
                  <a:gd name="connsiteY180" fmla="*/ 465532 h 767196"/>
                  <a:gd name="connsiteX181" fmla="*/ 1004125 w 1105666"/>
                  <a:gd name="connsiteY181" fmla="*/ 457408 h 767196"/>
                  <a:gd name="connsiteX182" fmla="*/ 988556 w 1105666"/>
                  <a:gd name="connsiteY182" fmla="*/ 459891 h 767196"/>
                  <a:gd name="connsiteX183" fmla="*/ 972309 w 1105666"/>
                  <a:gd name="connsiteY183" fmla="*/ 451090 h 767196"/>
                  <a:gd name="connsiteX184" fmla="*/ 979756 w 1105666"/>
                  <a:gd name="connsiteY184" fmla="*/ 433490 h 767196"/>
                  <a:gd name="connsiteX185" fmla="*/ 970955 w 1105666"/>
                  <a:gd name="connsiteY185" fmla="*/ 400997 h 767196"/>
                  <a:gd name="connsiteX186" fmla="*/ 1006156 w 1105666"/>
                  <a:gd name="connsiteY186" fmla="*/ 415438 h 767196"/>
                  <a:gd name="connsiteX187" fmla="*/ 1032557 w 1105666"/>
                  <a:gd name="connsiteY187" fmla="*/ 414084 h 767196"/>
                  <a:gd name="connsiteX188" fmla="*/ 1071368 w 1105666"/>
                  <a:gd name="connsiteY188" fmla="*/ 414084 h 767196"/>
                  <a:gd name="connsiteX189" fmla="*/ 1106569 w 1105666"/>
                  <a:gd name="connsiteY189" fmla="*/ 396484 h 767196"/>
                  <a:gd name="connsiteX190" fmla="*/ 1116497 w 1105666"/>
                  <a:gd name="connsiteY190" fmla="*/ 383622 h 767196"/>
                  <a:gd name="connsiteX191" fmla="*/ 1114918 w 1105666"/>
                  <a:gd name="connsiteY191" fmla="*/ 382043 h 767196"/>
                  <a:gd name="connsiteX192" fmla="*/ 1114466 w 1105666"/>
                  <a:gd name="connsiteY192" fmla="*/ 360381 h 767196"/>
                  <a:gd name="connsiteX193" fmla="*/ 4964 w 1105666"/>
                  <a:gd name="connsiteY193" fmla="*/ 662972 h 767196"/>
                  <a:gd name="connsiteX194" fmla="*/ 0 w 1105666"/>
                  <a:gd name="connsiteY194" fmla="*/ 670193 h 767196"/>
                  <a:gd name="connsiteX195" fmla="*/ 4964 w 1105666"/>
                  <a:gd name="connsiteY195" fmla="*/ 662972 h 767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</a:cxnLst>
                <a:rect l="l" t="t" r="r" b="b"/>
                <a:pathLst>
                  <a:path w="1105666" h="767196">
                    <a:moveTo>
                      <a:pt x="1114466" y="360381"/>
                    </a:moveTo>
                    <a:cubicBezTo>
                      <a:pt x="1120108" y="353386"/>
                      <a:pt x="1118302" y="348421"/>
                      <a:pt x="1112661" y="340975"/>
                    </a:cubicBezTo>
                    <a:cubicBezTo>
                      <a:pt x="1107020" y="333529"/>
                      <a:pt x="1109502" y="333529"/>
                      <a:pt x="1105666" y="319764"/>
                    </a:cubicBezTo>
                    <a:cubicBezTo>
                      <a:pt x="1101830" y="306000"/>
                      <a:pt x="1112661" y="307128"/>
                      <a:pt x="1109502" y="300359"/>
                    </a:cubicBezTo>
                    <a:cubicBezTo>
                      <a:pt x="1106343" y="293364"/>
                      <a:pt x="1098220" y="296523"/>
                      <a:pt x="1089420" y="294041"/>
                    </a:cubicBezTo>
                    <a:cubicBezTo>
                      <a:pt x="1080619" y="291559"/>
                      <a:pt x="1076332" y="291559"/>
                      <a:pt x="1064373" y="295846"/>
                    </a:cubicBezTo>
                    <a:cubicBezTo>
                      <a:pt x="1052414" y="300133"/>
                      <a:pt x="1036844" y="285917"/>
                      <a:pt x="1035490" y="274635"/>
                    </a:cubicBezTo>
                    <a:cubicBezTo>
                      <a:pt x="1034136" y="263353"/>
                      <a:pt x="1008638" y="258389"/>
                      <a:pt x="998484" y="250265"/>
                    </a:cubicBezTo>
                    <a:cubicBezTo>
                      <a:pt x="988556" y="242142"/>
                      <a:pt x="977273" y="250265"/>
                      <a:pt x="972084" y="245301"/>
                    </a:cubicBezTo>
                    <a:cubicBezTo>
                      <a:pt x="967119" y="240337"/>
                      <a:pt x="966442" y="226573"/>
                      <a:pt x="960124" y="227701"/>
                    </a:cubicBezTo>
                    <a:cubicBezTo>
                      <a:pt x="953806" y="229055"/>
                      <a:pt x="958771" y="246429"/>
                      <a:pt x="945006" y="244624"/>
                    </a:cubicBezTo>
                    <a:cubicBezTo>
                      <a:pt x="931242" y="242819"/>
                      <a:pt x="935078" y="242142"/>
                      <a:pt x="927406" y="243270"/>
                    </a:cubicBezTo>
                    <a:cubicBezTo>
                      <a:pt x="919959" y="244624"/>
                      <a:pt x="935529" y="267189"/>
                      <a:pt x="921765" y="265158"/>
                    </a:cubicBezTo>
                    <a:cubicBezTo>
                      <a:pt x="908000" y="263353"/>
                      <a:pt x="915446" y="260871"/>
                      <a:pt x="896041" y="266512"/>
                    </a:cubicBezTo>
                    <a:cubicBezTo>
                      <a:pt x="876635" y="272153"/>
                      <a:pt x="870994" y="262676"/>
                      <a:pt x="875281" y="258389"/>
                    </a:cubicBezTo>
                    <a:cubicBezTo>
                      <a:pt x="879569" y="254101"/>
                      <a:pt x="875281" y="245752"/>
                      <a:pt x="867158" y="246429"/>
                    </a:cubicBezTo>
                    <a:cubicBezTo>
                      <a:pt x="859035" y="247106"/>
                      <a:pt x="869640" y="233342"/>
                      <a:pt x="860163" y="234470"/>
                    </a:cubicBezTo>
                    <a:cubicBezTo>
                      <a:pt x="850686" y="235824"/>
                      <a:pt x="845045" y="248911"/>
                      <a:pt x="838952" y="255229"/>
                    </a:cubicBezTo>
                    <a:cubicBezTo>
                      <a:pt x="832634" y="261548"/>
                      <a:pt x="825865" y="259065"/>
                      <a:pt x="809393" y="255906"/>
                    </a:cubicBezTo>
                    <a:cubicBezTo>
                      <a:pt x="792921" y="252747"/>
                      <a:pt x="813680" y="243947"/>
                      <a:pt x="823834" y="238983"/>
                    </a:cubicBezTo>
                    <a:cubicBezTo>
                      <a:pt x="833763" y="234019"/>
                      <a:pt x="840758" y="220254"/>
                      <a:pt x="830152" y="226347"/>
                    </a:cubicBezTo>
                    <a:cubicBezTo>
                      <a:pt x="819547" y="232665"/>
                      <a:pt x="815711" y="223188"/>
                      <a:pt x="806911" y="212582"/>
                    </a:cubicBezTo>
                    <a:cubicBezTo>
                      <a:pt x="798110" y="201977"/>
                      <a:pt x="793823" y="210777"/>
                      <a:pt x="776900" y="215065"/>
                    </a:cubicBezTo>
                    <a:cubicBezTo>
                      <a:pt x="759976" y="219352"/>
                      <a:pt x="757494" y="222511"/>
                      <a:pt x="752981" y="236275"/>
                    </a:cubicBezTo>
                    <a:cubicBezTo>
                      <a:pt x="748694" y="250040"/>
                      <a:pt x="735381" y="251845"/>
                      <a:pt x="733576" y="236275"/>
                    </a:cubicBezTo>
                    <a:cubicBezTo>
                      <a:pt x="731770" y="220706"/>
                      <a:pt x="721616" y="237629"/>
                      <a:pt x="709657" y="245752"/>
                    </a:cubicBezTo>
                    <a:cubicBezTo>
                      <a:pt x="697698" y="253876"/>
                      <a:pt x="692734" y="242593"/>
                      <a:pt x="702662" y="227024"/>
                    </a:cubicBezTo>
                    <a:cubicBezTo>
                      <a:pt x="712590" y="211454"/>
                      <a:pt x="689575" y="204459"/>
                      <a:pt x="684385" y="224542"/>
                    </a:cubicBezTo>
                    <a:cubicBezTo>
                      <a:pt x="679421" y="244624"/>
                      <a:pt x="676262" y="240111"/>
                      <a:pt x="673102" y="237629"/>
                    </a:cubicBezTo>
                    <a:cubicBezTo>
                      <a:pt x="669943" y="235147"/>
                      <a:pt x="666107" y="239434"/>
                      <a:pt x="663174" y="230634"/>
                    </a:cubicBezTo>
                    <a:cubicBezTo>
                      <a:pt x="660015" y="221834"/>
                      <a:pt x="650087" y="229280"/>
                      <a:pt x="650087" y="222511"/>
                    </a:cubicBezTo>
                    <a:cubicBezTo>
                      <a:pt x="650087" y="215516"/>
                      <a:pt x="636999" y="221157"/>
                      <a:pt x="638127" y="212582"/>
                    </a:cubicBezTo>
                    <a:cubicBezTo>
                      <a:pt x="639481" y="203782"/>
                      <a:pt x="628199" y="208295"/>
                      <a:pt x="637450" y="201300"/>
                    </a:cubicBezTo>
                    <a:cubicBezTo>
                      <a:pt x="646927" y="194305"/>
                      <a:pt x="639932" y="185054"/>
                      <a:pt x="635645" y="183700"/>
                    </a:cubicBezTo>
                    <a:cubicBezTo>
                      <a:pt x="631358" y="182346"/>
                      <a:pt x="624363" y="187536"/>
                      <a:pt x="616917" y="195659"/>
                    </a:cubicBezTo>
                    <a:cubicBezTo>
                      <a:pt x="609470" y="203782"/>
                      <a:pt x="613081" y="195659"/>
                      <a:pt x="604280" y="194982"/>
                    </a:cubicBezTo>
                    <a:cubicBezTo>
                      <a:pt x="595480" y="194305"/>
                      <a:pt x="599993" y="199946"/>
                      <a:pt x="599993" y="208070"/>
                    </a:cubicBezTo>
                    <a:cubicBezTo>
                      <a:pt x="599993" y="216193"/>
                      <a:pt x="604280" y="226347"/>
                      <a:pt x="602475" y="229280"/>
                    </a:cubicBezTo>
                    <a:cubicBezTo>
                      <a:pt x="600670" y="232439"/>
                      <a:pt x="608116" y="243722"/>
                      <a:pt x="606311" y="245527"/>
                    </a:cubicBezTo>
                    <a:cubicBezTo>
                      <a:pt x="604506" y="247332"/>
                      <a:pt x="606988" y="256132"/>
                      <a:pt x="612629" y="261096"/>
                    </a:cubicBezTo>
                    <a:cubicBezTo>
                      <a:pt x="618270" y="266061"/>
                      <a:pt x="616917" y="269897"/>
                      <a:pt x="616917" y="276215"/>
                    </a:cubicBezTo>
                    <a:cubicBezTo>
                      <a:pt x="616917" y="282533"/>
                      <a:pt x="618270" y="286143"/>
                      <a:pt x="624363" y="292461"/>
                    </a:cubicBezTo>
                    <a:cubicBezTo>
                      <a:pt x="630681" y="298779"/>
                      <a:pt x="628199" y="303743"/>
                      <a:pt x="634968" y="305097"/>
                    </a:cubicBezTo>
                    <a:cubicBezTo>
                      <a:pt x="641963" y="306451"/>
                      <a:pt x="638127" y="308256"/>
                      <a:pt x="642415" y="317057"/>
                    </a:cubicBezTo>
                    <a:cubicBezTo>
                      <a:pt x="646702" y="325857"/>
                      <a:pt x="644897" y="325180"/>
                      <a:pt x="649861" y="339621"/>
                    </a:cubicBezTo>
                    <a:cubicBezTo>
                      <a:pt x="654825" y="354063"/>
                      <a:pt x="644897" y="356545"/>
                      <a:pt x="634743" y="355191"/>
                    </a:cubicBezTo>
                    <a:cubicBezTo>
                      <a:pt x="624814" y="353837"/>
                      <a:pt x="616014" y="364668"/>
                      <a:pt x="614660" y="356545"/>
                    </a:cubicBezTo>
                    <a:cubicBezTo>
                      <a:pt x="613306" y="348421"/>
                      <a:pt x="609696" y="349098"/>
                      <a:pt x="604732" y="349098"/>
                    </a:cubicBezTo>
                    <a:cubicBezTo>
                      <a:pt x="599767" y="349098"/>
                      <a:pt x="592772" y="345939"/>
                      <a:pt x="587808" y="339170"/>
                    </a:cubicBezTo>
                    <a:cubicBezTo>
                      <a:pt x="582844" y="332175"/>
                      <a:pt x="570208" y="351129"/>
                      <a:pt x="564567" y="344811"/>
                    </a:cubicBezTo>
                    <a:cubicBezTo>
                      <a:pt x="558926" y="338493"/>
                      <a:pt x="559602" y="340975"/>
                      <a:pt x="560731" y="327888"/>
                    </a:cubicBezTo>
                    <a:cubicBezTo>
                      <a:pt x="562085" y="314800"/>
                      <a:pt x="552607" y="318410"/>
                      <a:pt x="556443" y="310287"/>
                    </a:cubicBezTo>
                    <a:cubicBezTo>
                      <a:pt x="560279" y="302164"/>
                      <a:pt x="557797" y="298328"/>
                      <a:pt x="554638" y="282758"/>
                    </a:cubicBezTo>
                    <a:cubicBezTo>
                      <a:pt x="551479" y="267189"/>
                      <a:pt x="557346" y="253876"/>
                      <a:pt x="564792" y="245978"/>
                    </a:cubicBezTo>
                    <a:cubicBezTo>
                      <a:pt x="572239" y="238081"/>
                      <a:pt x="571336" y="230860"/>
                      <a:pt x="574269" y="225670"/>
                    </a:cubicBezTo>
                    <a:cubicBezTo>
                      <a:pt x="577203" y="220480"/>
                      <a:pt x="568177" y="212582"/>
                      <a:pt x="565695" y="209198"/>
                    </a:cubicBezTo>
                    <a:cubicBezTo>
                      <a:pt x="563438" y="205813"/>
                      <a:pt x="566146" y="194531"/>
                      <a:pt x="571336" y="187987"/>
                    </a:cubicBezTo>
                    <a:cubicBezTo>
                      <a:pt x="576526" y="181443"/>
                      <a:pt x="581716" y="179412"/>
                      <a:pt x="586003" y="177156"/>
                    </a:cubicBezTo>
                    <a:cubicBezTo>
                      <a:pt x="590290" y="174900"/>
                      <a:pt x="599091" y="176705"/>
                      <a:pt x="612855" y="172417"/>
                    </a:cubicBezTo>
                    <a:cubicBezTo>
                      <a:pt x="626394" y="168130"/>
                      <a:pt x="622332" y="170161"/>
                      <a:pt x="622332" y="163843"/>
                    </a:cubicBezTo>
                    <a:cubicBezTo>
                      <a:pt x="622332" y="157750"/>
                      <a:pt x="627071" y="157750"/>
                      <a:pt x="630907" y="151207"/>
                    </a:cubicBezTo>
                    <a:cubicBezTo>
                      <a:pt x="634743" y="144663"/>
                      <a:pt x="633163" y="140827"/>
                      <a:pt x="639932" y="132929"/>
                    </a:cubicBezTo>
                    <a:cubicBezTo>
                      <a:pt x="646476" y="125032"/>
                      <a:pt x="646476" y="114652"/>
                      <a:pt x="650312" y="105626"/>
                    </a:cubicBezTo>
                    <a:cubicBezTo>
                      <a:pt x="654148" y="96600"/>
                      <a:pt x="655502" y="91411"/>
                      <a:pt x="660241" y="85318"/>
                    </a:cubicBezTo>
                    <a:cubicBezTo>
                      <a:pt x="664979" y="79226"/>
                      <a:pt x="661595" y="71102"/>
                      <a:pt x="660241" y="57112"/>
                    </a:cubicBezTo>
                    <a:cubicBezTo>
                      <a:pt x="658887" y="43122"/>
                      <a:pt x="654599" y="37255"/>
                      <a:pt x="648958" y="29358"/>
                    </a:cubicBezTo>
                    <a:cubicBezTo>
                      <a:pt x="643317" y="21460"/>
                      <a:pt x="623009" y="7244"/>
                      <a:pt x="611275" y="8147"/>
                    </a:cubicBezTo>
                    <a:cubicBezTo>
                      <a:pt x="599542" y="9050"/>
                      <a:pt x="594352" y="11080"/>
                      <a:pt x="588711" y="5214"/>
                    </a:cubicBezTo>
                    <a:cubicBezTo>
                      <a:pt x="583070" y="-653"/>
                      <a:pt x="573141" y="24"/>
                      <a:pt x="566146" y="24"/>
                    </a:cubicBezTo>
                    <a:cubicBezTo>
                      <a:pt x="565921" y="24"/>
                      <a:pt x="565921" y="24"/>
                      <a:pt x="565695" y="24"/>
                    </a:cubicBezTo>
                    <a:lnTo>
                      <a:pt x="565695" y="24"/>
                    </a:lnTo>
                    <a:cubicBezTo>
                      <a:pt x="535233" y="27778"/>
                      <a:pt x="517632" y="50794"/>
                      <a:pt x="502514" y="54179"/>
                    </a:cubicBezTo>
                    <a:cubicBezTo>
                      <a:pt x="485591" y="58015"/>
                      <a:pt x="445200" y="75841"/>
                      <a:pt x="435723" y="86221"/>
                    </a:cubicBezTo>
                    <a:cubicBezTo>
                      <a:pt x="426246" y="96600"/>
                      <a:pt x="387660" y="121873"/>
                      <a:pt x="363290" y="129545"/>
                    </a:cubicBezTo>
                    <a:cubicBezTo>
                      <a:pt x="338921" y="136991"/>
                      <a:pt x="347269" y="144663"/>
                      <a:pt x="344562" y="151207"/>
                    </a:cubicBezTo>
                    <a:cubicBezTo>
                      <a:pt x="341628" y="157750"/>
                      <a:pt x="342756" y="192500"/>
                      <a:pt x="355844" y="204911"/>
                    </a:cubicBezTo>
                    <a:cubicBezTo>
                      <a:pt x="368931" y="217095"/>
                      <a:pt x="385855" y="209649"/>
                      <a:pt x="398265" y="201977"/>
                    </a:cubicBezTo>
                    <a:cubicBezTo>
                      <a:pt x="410450" y="194531"/>
                      <a:pt x="435948" y="191597"/>
                      <a:pt x="439559" y="199044"/>
                    </a:cubicBezTo>
                    <a:cubicBezTo>
                      <a:pt x="443395" y="206490"/>
                      <a:pt x="449938" y="226347"/>
                      <a:pt x="438656" y="230183"/>
                    </a:cubicBezTo>
                    <a:cubicBezTo>
                      <a:pt x="427374" y="234019"/>
                      <a:pt x="414286" y="235824"/>
                      <a:pt x="403907" y="235824"/>
                    </a:cubicBezTo>
                    <a:cubicBezTo>
                      <a:pt x="393527" y="235824"/>
                      <a:pt x="386983" y="244399"/>
                      <a:pt x="383147" y="261322"/>
                    </a:cubicBezTo>
                    <a:cubicBezTo>
                      <a:pt x="379311" y="278245"/>
                      <a:pt x="390594" y="286820"/>
                      <a:pt x="399168" y="284789"/>
                    </a:cubicBezTo>
                    <a:cubicBezTo>
                      <a:pt x="407743" y="282984"/>
                      <a:pt x="403907" y="296974"/>
                      <a:pt x="409548" y="303518"/>
                    </a:cubicBezTo>
                    <a:cubicBezTo>
                      <a:pt x="415189" y="310062"/>
                      <a:pt x="408645" y="320441"/>
                      <a:pt x="404809" y="321344"/>
                    </a:cubicBezTo>
                    <a:cubicBezTo>
                      <a:pt x="400973" y="322246"/>
                      <a:pt x="386081" y="325180"/>
                      <a:pt x="386983" y="334431"/>
                    </a:cubicBezTo>
                    <a:cubicBezTo>
                      <a:pt x="387886" y="343908"/>
                      <a:pt x="392624" y="356093"/>
                      <a:pt x="386081" y="361734"/>
                    </a:cubicBezTo>
                    <a:cubicBezTo>
                      <a:pt x="379537" y="367376"/>
                      <a:pt x="370060" y="363540"/>
                      <a:pt x="357875" y="356093"/>
                    </a:cubicBezTo>
                    <a:cubicBezTo>
                      <a:pt x="345690" y="348647"/>
                      <a:pt x="319289" y="356996"/>
                      <a:pt x="309812" y="353160"/>
                    </a:cubicBezTo>
                    <a:cubicBezTo>
                      <a:pt x="300335" y="349324"/>
                      <a:pt x="299432" y="351355"/>
                      <a:pt x="293791" y="351355"/>
                    </a:cubicBezTo>
                    <a:cubicBezTo>
                      <a:pt x="288150" y="351355"/>
                      <a:pt x="284314" y="369181"/>
                      <a:pt x="284314" y="373919"/>
                    </a:cubicBezTo>
                    <a:cubicBezTo>
                      <a:pt x="284314" y="378658"/>
                      <a:pt x="282509" y="397387"/>
                      <a:pt x="265586" y="398289"/>
                    </a:cubicBezTo>
                    <a:cubicBezTo>
                      <a:pt x="248662" y="399192"/>
                      <a:pt x="253401" y="401223"/>
                      <a:pt x="245729" y="405735"/>
                    </a:cubicBezTo>
                    <a:cubicBezTo>
                      <a:pt x="238282" y="410474"/>
                      <a:pt x="219328" y="415213"/>
                      <a:pt x="210077" y="408669"/>
                    </a:cubicBezTo>
                    <a:cubicBezTo>
                      <a:pt x="200599" y="402125"/>
                      <a:pt x="211882" y="382268"/>
                      <a:pt x="223164" y="374822"/>
                    </a:cubicBezTo>
                    <a:cubicBezTo>
                      <a:pt x="234446" y="367376"/>
                      <a:pt x="233544" y="378658"/>
                      <a:pt x="248662" y="378658"/>
                    </a:cubicBezTo>
                    <a:cubicBezTo>
                      <a:pt x="263780" y="378658"/>
                      <a:pt x="252498" y="372114"/>
                      <a:pt x="252498" y="358801"/>
                    </a:cubicBezTo>
                    <a:cubicBezTo>
                      <a:pt x="252498" y="345714"/>
                      <a:pt x="248662" y="345714"/>
                      <a:pt x="246857" y="334431"/>
                    </a:cubicBezTo>
                    <a:cubicBezTo>
                      <a:pt x="245052" y="323149"/>
                      <a:pt x="254303" y="324052"/>
                      <a:pt x="256334" y="310062"/>
                    </a:cubicBezTo>
                    <a:cubicBezTo>
                      <a:pt x="258139" y="295846"/>
                      <a:pt x="258139" y="286594"/>
                      <a:pt x="253401" y="275312"/>
                    </a:cubicBezTo>
                    <a:cubicBezTo>
                      <a:pt x="248662" y="264030"/>
                      <a:pt x="238282" y="280051"/>
                      <a:pt x="231739" y="282758"/>
                    </a:cubicBezTo>
                    <a:cubicBezTo>
                      <a:pt x="225195" y="285466"/>
                      <a:pt x="221359" y="287497"/>
                      <a:pt x="208271" y="287497"/>
                    </a:cubicBezTo>
                    <a:cubicBezTo>
                      <a:pt x="195184" y="287497"/>
                      <a:pt x="193153" y="283661"/>
                      <a:pt x="191348" y="276215"/>
                    </a:cubicBezTo>
                    <a:cubicBezTo>
                      <a:pt x="189543" y="268768"/>
                      <a:pt x="202630" y="249814"/>
                      <a:pt x="199923" y="238532"/>
                    </a:cubicBezTo>
                    <a:cubicBezTo>
                      <a:pt x="197215" y="227249"/>
                      <a:pt x="191348" y="238532"/>
                      <a:pt x="185707" y="244173"/>
                    </a:cubicBezTo>
                    <a:cubicBezTo>
                      <a:pt x="180066" y="249814"/>
                      <a:pt x="175327" y="258389"/>
                      <a:pt x="160209" y="264030"/>
                    </a:cubicBezTo>
                    <a:cubicBezTo>
                      <a:pt x="145090" y="269671"/>
                      <a:pt x="159306" y="260194"/>
                      <a:pt x="149829" y="251845"/>
                    </a:cubicBezTo>
                    <a:cubicBezTo>
                      <a:pt x="140352" y="243496"/>
                      <a:pt x="142383" y="258389"/>
                      <a:pt x="140352" y="261322"/>
                    </a:cubicBezTo>
                    <a:cubicBezTo>
                      <a:pt x="138547" y="264255"/>
                      <a:pt x="130875" y="280051"/>
                      <a:pt x="130875" y="294266"/>
                    </a:cubicBezTo>
                    <a:cubicBezTo>
                      <a:pt x="130875" y="308482"/>
                      <a:pt x="133808" y="315928"/>
                      <a:pt x="133808" y="336688"/>
                    </a:cubicBezTo>
                    <a:cubicBezTo>
                      <a:pt x="133808" y="357447"/>
                      <a:pt x="138547" y="355416"/>
                      <a:pt x="146896" y="365796"/>
                    </a:cubicBezTo>
                    <a:cubicBezTo>
                      <a:pt x="155470" y="376176"/>
                      <a:pt x="145993" y="378884"/>
                      <a:pt x="132680" y="400546"/>
                    </a:cubicBezTo>
                    <a:cubicBezTo>
                      <a:pt x="119592" y="422208"/>
                      <a:pt x="134485" y="434393"/>
                      <a:pt x="128844" y="438229"/>
                    </a:cubicBezTo>
                    <a:cubicBezTo>
                      <a:pt x="123203" y="442064"/>
                      <a:pt x="112823" y="448608"/>
                      <a:pt x="99736" y="453347"/>
                    </a:cubicBezTo>
                    <a:cubicBezTo>
                      <a:pt x="86648" y="458085"/>
                      <a:pt x="97930" y="467563"/>
                      <a:pt x="101541" y="475009"/>
                    </a:cubicBezTo>
                    <a:cubicBezTo>
                      <a:pt x="105377" y="482455"/>
                      <a:pt x="101541" y="489225"/>
                      <a:pt x="86422" y="493737"/>
                    </a:cubicBezTo>
                    <a:cubicBezTo>
                      <a:pt x="71304" y="498476"/>
                      <a:pt x="73335" y="499379"/>
                      <a:pt x="64760" y="495543"/>
                    </a:cubicBezTo>
                    <a:cubicBezTo>
                      <a:pt x="58442" y="492835"/>
                      <a:pt x="55735" y="488773"/>
                      <a:pt x="50093" y="487194"/>
                    </a:cubicBezTo>
                    <a:cubicBezTo>
                      <a:pt x="51673" y="492609"/>
                      <a:pt x="53704" y="497348"/>
                      <a:pt x="56186" y="500281"/>
                    </a:cubicBezTo>
                    <a:cubicBezTo>
                      <a:pt x="66566" y="512466"/>
                      <a:pt x="64760" y="523748"/>
                      <a:pt x="69273" y="531420"/>
                    </a:cubicBezTo>
                    <a:cubicBezTo>
                      <a:pt x="74012" y="538867"/>
                      <a:pt x="74012" y="539995"/>
                      <a:pt x="66340" y="548344"/>
                    </a:cubicBezTo>
                    <a:cubicBezTo>
                      <a:pt x="58894" y="556918"/>
                      <a:pt x="57765" y="555790"/>
                      <a:pt x="41970" y="564365"/>
                    </a:cubicBezTo>
                    <a:cubicBezTo>
                      <a:pt x="25949" y="572939"/>
                      <a:pt x="13764" y="570909"/>
                      <a:pt x="27754" y="580386"/>
                    </a:cubicBezTo>
                    <a:cubicBezTo>
                      <a:pt x="41970" y="589863"/>
                      <a:pt x="37232" y="594601"/>
                      <a:pt x="29560" y="602048"/>
                    </a:cubicBezTo>
                    <a:cubicBezTo>
                      <a:pt x="22113" y="609494"/>
                      <a:pt x="33396" y="614233"/>
                      <a:pt x="30462" y="626417"/>
                    </a:cubicBezTo>
                    <a:cubicBezTo>
                      <a:pt x="27529" y="638602"/>
                      <a:pt x="34298" y="642438"/>
                      <a:pt x="18277" y="652818"/>
                    </a:cubicBezTo>
                    <a:cubicBezTo>
                      <a:pt x="17600" y="653269"/>
                      <a:pt x="17149" y="653495"/>
                      <a:pt x="16472" y="653946"/>
                    </a:cubicBezTo>
                    <a:cubicBezTo>
                      <a:pt x="23919" y="655074"/>
                      <a:pt x="30688" y="656203"/>
                      <a:pt x="34975" y="657105"/>
                    </a:cubicBezTo>
                    <a:cubicBezTo>
                      <a:pt x="50545" y="660264"/>
                      <a:pt x="58894" y="650787"/>
                      <a:pt x="68145" y="647177"/>
                    </a:cubicBezTo>
                    <a:cubicBezTo>
                      <a:pt x="77622" y="643341"/>
                      <a:pt x="87551" y="653495"/>
                      <a:pt x="85069" y="666582"/>
                    </a:cubicBezTo>
                    <a:cubicBezTo>
                      <a:pt x="82586" y="679670"/>
                      <a:pt x="71304" y="684860"/>
                      <a:pt x="82586" y="690952"/>
                    </a:cubicBezTo>
                    <a:cubicBezTo>
                      <a:pt x="93869" y="697270"/>
                      <a:pt x="107633" y="702235"/>
                      <a:pt x="117787" y="702911"/>
                    </a:cubicBezTo>
                    <a:cubicBezTo>
                      <a:pt x="127716" y="703588"/>
                      <a:pt x="156598" y="707199"/>
                      <a:pt x="164722" y="718030"/>
                    </a:cubicBezTo>
                    <a:cubicBezTo>
                      <a:pt x="172845" y="728635"/>
                      <a:pt x="172845" y="733148"/>
                      <a:pt x="191122" y="733148"/>
                    </a:cubicBezTo>
                    <a:cubicBezTo>
                      <a:pt x="209400" y="733148"/>
                      <a:pt x="221810" y="731343"/>
                      <a:pt x="237605" y="731343"/>
                    </a:cubicBezTo>
                    <a:cubicBezTo>
                      <a:pt x="253175" y="731343"/>
                      <a:pt x="273934" y="730666"/>
                      <a:pt x="275288" y="747589"/>
                    </a:cubicBezTo>
                    <a:cubicBezTo>
                      <a:pt x="276642" y="764513"/>
                      <a:pt x="279576" y="771508"/>
                      <a:pt x="292212" y="775118"/>
                    </a:cubicBezTo>
                    <a:cubicBezTo>
                      <a:pt x="304848" y="778954"/>
                      <a:pt x="302817" y="764513"/>
                      <a:pt x="316130" y="767672"/>
                    </a:cubicBezTo>
                    <a:cubicBezTo>
                      <a:pt x="329218" y="770831"/>
                      <a:pt x="343659" y="765190"/>
                      <a:pt x="346818" y="765190"/>
                    </a:cubicBezTo>
                    <a:cubicBezTo>
                      <a:pt x="349977" y="765190"/>
                      <a:pt x="339372" y="746461"/>
                      <a:pt x="351105" y="742625"/>
                    </a:cubicBezTo>
                    <a:cubicBezTo>
                      <a:pt x="363065" y="738789"/>
                      <a:pt x="352459" y="735179"/>
                      <a:pt x="364193" y="730666"/>
                    </a:cubicBezTo>
                    <a:cubicBezTo>
                      <a:pt x="376152" y="726379"/>
                      <a:pt x="367352" y="707424"/>
                      <a:pt x="380439" y="707424"/>
                    </a:cubicBezTo>
                    <a:cubicBezTo>
                      <a:pt x="393527" y="707424"/>
                      <a:pt x="388563" y="701783"/>
                      <a:pt x="403681" y="701783"/>
                    </a:cubicBezTo>
                    <a:cubicBezTo>
                      <a:pt x="418799" y="701783"/>
                      <a:pt x="413158" y="691178"/>
                      <a:pt x="425569" y="688019"/>
                    </a:cubicBezTo>
                    <a:cubicBezTo>
                      <a:pt x="438205" y="684860"/>
                      <a:pt x="448810" y="683732"/>
                      <a:pt x="462575" y="695014"/>
                    </a:cubicBezTo>
                    <a:cubicBezTo>
                      <a:pt x="476339" y="706296"/>
                      <a:pt x="477693" y="727056"/>
                      <a:pt x="465734" y="725025"/>
                    </a:cubicBezTo>
                    <a:cubicBezTo>
                      <a:pt x="453774" y="723220"/>
                      <a:pt x="443846" y="713065"/>
                      <a:pt x="444523" y="723220"/>
                    </a:cubicBezTo>
                    <a:cubicBezTo>
                      <a:pt x="445200" y="733148"/>
                      <a:pt x="448359" y="740143"/>
                      <a:pt x="459641" y="740820"/>
                    </a:cubicBezTo>
                    <a:cubicBezTo>
                      <a:pt x="470923" y="741497"/>
                      <a:pt x="480852" y="739015"/>
                      <a:pt x="494165" y="739466"/>
                    </a:cubicBezTo>
                    <a:cubicBezTo>
                      <a:pt x="507253" y="740143"/>
                      <a:pt x="527335" y="745107"/>
                      <a:pt x="537489" y="739466"/>
                    </a:cubicBezTo>
                    <a:cubicBezTo>
                      <a:pt x="547418" y="733825"/>
                      <a:pt x="548771" y="725025"/>
                      <a:pt x="559377" y="726379"/>
                    </a:cubicBezTo>
                    <a:cubicBezTo>
                      <a:pt x="569982" y="727733"/>
                      <a:pt x="578105" y="739015"/>
                      <a:pt x="591870" y="739015"/>
                    </a:cubicBezTo>
                    <a:cubicBezTo>
                      <a:pt x="605634" y="739015"/>
                      <a:pt x="601798" y="734727"/>
                      <a:pt x="623235" y="734727"/>
                    </a:cubicBezTo>
                    <a:cubicBezTo>
                      <a:pt x="644445" y="734727"/>
                      <a:pt x="625717" y="729086"/>
                      <a:pt x="654599" y="719158"/>
                    </a:cubicBezTo>
                    <a:cubicBezTo>
                      <a:pt x="683482" y="709230"/>
                      <a:pt x="694088" y="704040"/>
                      <a:pt x="698375" y="712163"/>
                    </a:cubicBezTo>
                    <a:cubicBezTo>
                      <a:pt x="702662" y="720286"/>
                      <a:pt x="690928" y="726604"/>
                      <a:pt x="707175" y="728409"/>
                    </a:cubicBezTo>
                    <a:cubicBezTo>
                      <a:pt x="723422" y="730215"/>
                      <a:pt x="734704" y="719609"/>
                      <a:pt x="745986" y="723445"/>
                    </a:cubicBezTo>
                    <a:cubicBezTo>
                      <a:pt x="757269" y="727281"/>
                      <a:pt x="749822" y="729763"/>
                      <a:pt x="761104" y="730440"/>
                    </a:cubicBezTo>
                    <a:cubicBezTo>
                      <a:pt x="772387" y="731117"/>
                      <a:pt x="779833" y="728635"/>
                      <a:pt x="785474" y="726153"/>
                    </a:cubicBezTo>
                    <a:cubicBezTo>
                      <a:pt x="791115" y="723671"/>
                      <a:pt x="794951" y="713065"/>
                      <a:pt x="801721" y="720512"/>
                    </a:cubicBezTo>
                    <a:cubicBezTo>
                      <a:pt x="808716" y="727958"/>
                      <a:pt x="810521" y="728635"/>
                      <a:pt x="817967" y="734953"/>
                    </a:cubicBezTo>
                    <a:cubicBezTo>
                      <a:pt x="825414" y="741271"/>
                      <a:pt x="824285" y="739241"/>
                      <a:pt x="831055" y="744882"/>
                    </a:cubicBezTo>
                    <a:cubicBezTo>
                      <a:pt x="838050" y="750523"/>
                      <a:pt x="838501" y="751200"/>
                      <a:pt x="838501" y="754359"/>
                    </a:cubicBezTo>
                    <a:cubicBezTo>
                      <a:pt x="838501" y="757067"/>
                      <a:pt x="845947" y="756389"/>
                      <a:pt x="842112" y="761805"/>
                    </a:cubicBezTo>
                    <a:cubicBezTo>
                      <a:pt x="849106" y="764062"/>
                      <a:pt x="851137" y="765190"/>
                      <a:pt x="852942" y="761354"/>
                    </a:cubicBezTo>
                    <a:cubicBezTo>
                      <a:pt x="856101" y="754359"/>
                      <a:pt x="854748" y="754359"/>
                      <a:pt x="859937" y="748718"/>
                    </a:cubicBezTo>
                    <a:cubicBezTo>
                      <a:pt x="865127" y="743076"/>
                      <a:pt x="863096" y="728635"/>
                      <a:pt x="863096" y="716676"/>
                    </a:cubicBezTo>
                    <a:cubicBezTo>
                      <a:pt x="863096" y="704717"/>
                      <a:pt x="863096" y="696593"/>
                      <a:pt x="875056" y="689147"/>
                    </a:cubicBezTo>
                    <a:cubicBezTo>
                      <a:pt x="887015" y="681701"/>
                      <a:pt x="881374" y="673577"/>
                      <a:pt x="882502" y="660264"/>
                    </a:cubicBezTo>
                    <a:cubicBezTo>
                      <a:pt x="883856" y="647177"/>
                      <a:pt x="891302" y="655300"/>
                      <a:pt x="895138" y="640182"/>
                    </a:cubicBezTo>
                    <a:cubicBezTo>
                      <a:pt x="898974" y="625063"/>
                      <a:pt x="900779" y="628900"/>
                      <a:pt x="911385" y="618971"/>
                    </a:cubicBezTo>
                    <a:cubicBezTo>
                      <a:pt x="921990" y="609043"/>
                      <a:pt x="918831" y="602048"/>
                      <a:pt x="925826" y="597083"/>
                    </a:cubicBezTo>
                    <a:cubicBezTo>
                      <a:pt x="932821" y="592119"/>
                      <a:pt x="942073" y="595278"/>
                      <a:pt x="947714" y="595278"/>
                    </a:cubicBezTo>
                    <a:cubicBezTo>
                      <a:pt x="953355" y="595278"/>
                      <a:pt x="970278" y="586478"/>
                      <a:pt x="980884" y="579709"/>
                    </a:cubicBezTo>
                    <a:cubicBezTo>
                      <a:pt x="991489" y="572714"/>
                      <a:pt x="984720" y="574068"/>
                      <a:pt x="989684" y="567072"/>
                    </a:cubicBezTo>
                    <a:cubicBezTo>
                      <a:pt x="994648" y="560077"/>
                      <a:pt x="990361" y="549472"/>
                      <a:pt x="999161" y="538867"/>
                    </a:cubicBezTo>
                    <a:cubicBezTo>
                      <a:pt x="1007961" y="528261"/>
                      <a:pt x="1006607" y="533902"/>
                      <a:pt x="1014731" y="528261"/>
                    </a:cubicBezTo>
                    <a:cubicBezTo>
                      <a:pt x="1022854" y="522620"/>
                      <a:pt x="1021726" y="525779"/>
                      <a:pt x="1027818" y="513143"/>
                    </a:cubicBezTo>
                    <a:cubicBezTo>
                      <a:pt x="1034136" y="500507"/>
                      <a:pt x="1037295" y="509984"/>
                      <a:pt x="1037295" y="503666"/>
                    </a:cubicBezTo>
                    <a:cubicBezTo>
                      <a:pt x="1037295" y="497348"/>
                      <a:pt x="1042260" y="500507"/>
                      <a:pt x="1042260" y="492384"/>
                    </a:cubicBezTo>
                    <a:cubicBezTo>
                      <a:pt x="1042260" y="484260"/>
                      <a:pt x="1041583" y="479747"/>
                      <a:pt x="1031654" y="475460"/>
                    </a:cubicBezTo>
                    <a:cubicBezTo>
                      <a:pt x="1021726" y="471173"/>
                      <a:pt x="1022177" y="474106"/>
                      <a:pt x="1018567" y="465532"/>
                    </a:cubicBezTo>
                    <a:cubicBezTo>
                      <a:pt x="1014731" y="456731"/>
                      <a:pt x="1011572" y="463727"/>
                      <a:pt x="1004125" y="457408"/>
                    </a:cubicBezTo>
                    <a:cubicBezTo>
                      <a:pt x="996679" y="451090"/>
                      <a:pt x="999838" y="458085"/>
                      <a:pt x="988556" y="459891"/>
                    </a:cubicBezTo>
                    <a:cubicBezTo>
                      <a:pt x="977273" y="461696"/>
                      <a:pt x="974114" y="460567"/>
                      <a:pt x="972309" y="451090"/>
                    </a:cubicBezTo>
                    <a:cubicBezTo>
                      <a:pt x="970504" y="441613"/>
                      <a:pt x="973663" y="445449"/>
                      <a:pt x="979756" y="433490"/>
                    </a:cubicBezTo>
                    <a:cubicBezTo>
                      <a:pt x="986074" y="421531"/>
                      <a:pt x="956514" y="407089"/>
                      <a:pt x="970955" y="400997"/>
                    </a:cubicBezTo>
                    <a:cubicBezTo>
                      <a:pt x="985397" y="394679"/>
                      <a:pt x="994874" y="416566"/>
                      <a:pt x="1006156" y="415438"/>
                    </a:cubicBezTo>
                    <a:cubicBezTo>
                      <a:pt x="1017438" y="414084"/>
                      <a:pt x="1012474" y="415438"/>
                      <a:pt x="1032557" y="414084"/>
                    </a:cubicBezTo>
                    <a:cubicBezTo>
                      <a:pt x="1052639" y="412731"/>
                      <a:pt x="1056475" y="412731"/>
                      <a:pt x="1071368" y="414084"/>
                    </a:cubicBezTo>
                    <a:cubicBezTo>
                      <a:pt x="1086486" y="415438"/>
                      <a:pt x="1093933" y="414084"/>
                      <a:pt x="1106569" y="396484"/>
                    </a:cubicBezTo>
                    <a:cubicBezTo>
                      <a:pt x="1109728" y="391971"/>
                      <a:pt x="1113112" y="387684"/>
                      <a:pt x="1116497" y="383622"/>
                    </a:cubicBezTo>
                    <a:cubicBezTo>
                      <a:pt x="1116046" y="383171"/>
                      <a:pt x="1115369" y="382720"/>
                      <a:pt x="1114918" y="382043"/>
                    </a:cubicBezTo>
                    <a:cubicBezTo>
                      <a:pt x="1105666" y="372114"/>
                      <a:pt x="1108825" y="367150"/>
                      <a:pt x="1114466" y="360381"/>
                    </a:cubicBezTo>
                    <a:close/>
                    <a:moveTo>
                      <a:pt x="4964" y="662972"/>
                    </a:moveTo>
                    <a:cubicBezTo>
                      <a:pt x="3385" y="664777"/>
                      <a:pt x="2256" y="666582"/>
                      <a:pt x="0" y="670193"/>
                    </a:cubicBezTo>
                    <a:cubicBezTo>
                      <a:pt x="2256" y="666582"/>
                      <a:pt x="3385" y="664777"/>
                      <a:pt x="4964" y="662972"/>
                    </a:cubicBezTo>
                    <a:close/>
                  </a:path>
                </a:pathLst>
              </a:custGeom>
              <a:solidFill>
                <a:srgbClr val="80C342">
                  <a:alpha val="70000"/>
                </a:srgbClr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xmlns="" id="{26808B0A-BF34-4663-9263-4B01AD195F53}"/>
                  </a:ext>
                </a:extLst>
              </p:cNvPr>
              <p:cNvSpPr/>
              <p:nvPr/>
            </p:nvSpPr>
            <p:spPr>
              <a:xfrm>
                <a:off x="9173619" y="2274017"/>
                <a:ext cx="45129" cy="67694"/>
              </a:xfrm>
              <a:custGeom>
                <a:avLst/>
                <a:gdLst>
                  <a:gd name="connsiteX0" fmla="*/ 54233 w 45129"/>
                  <a:gd name="connsiteY0" fmla="*/ 6092 h 67693"/>
                  <a:gd name="connsiteX1" fmla="*/ 45658 w 45129"/>
                  <a:gd name="connsiteY1" fmla="*/ 0 h 67693"/>
                  <a:gd name="connsiteX2" fmla="*/ 30765 w 45129"/>
                  <a:gd name="connsiteY2" fmla="*/ 8349 h 67693"/>
                  <a:gd name="connsiteX3" fmla="*/ 13165 w 45129"/>
                  <a:gd name="connsiteY3" fmla="*/ 20985 h 67693"/>
                  <a:gd name="connsiteX4" fmla="*/ 6170 w 45129"/>
                  <a:gd name="connsiteY4" fmla="*/ 39714 h 67693"/>
                  <a:gd name="connsiteX5" fmla="*/ 3688 w 45129"/>
                  <a:gd name="connsiteY5" fmla="*/ 54155 h 67693"/>
                  <a:gd name="connsiteX6" fmla="*/ 33248 w 45129"/>
                  <a:gd name="connsiteY6" fmla="*/ 59796 h 67693"/>
                  <a:gd name="connsiteX7" fmla="*/ 43176 w 45129"/>
                  <a:gd name="connsiteY7" fmla="*/ 71755 h 67693"/>
                  <a:gd name="connsiteX8" fmla="*/ 53105 w 45129"/>
                  <a:gd name="connsiteY8" fmla="*/ 61827 h 67693"/>
                  <a:gd name="connsiteX9" fmla="*/ 61453 w 45129"/>
                  <a:gd name="connsiteY9" fmla="*/ 60022 h 67693"/>
                  <a:gd name="connsiteX10" fmla="*/ 58520 w 45129"/>
                  <a:gd name="connsiteY10" fmla="*/ 47386 h 67693"/>
                  <a:gd name="connsiteX11" fmla="*/ 64387 w 45129"/>
                  <a:gd name="connsiteY11" fmla="*/ 27078 h 67693"/>
                  <a:gd name="connsiteX12" fmla="*/ 54233 w 45129"/>
                  <a:gd name="connsiteY12" fmla="*/ 6092 h 67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5129" h="67693">
                    <a:moveTo>
                      <a:pt x="54233" y="6092"/>
                    </a:moveTo>
                    <a:cubicBezTo>
                      <a:pt x="50848" y="4513"/>
                      <a:pt x="48140" y="2482"/>
                      <a:pt x="45658" y="0"/>
                    </a:cubicBezTo>
                    <a:cubicBezTo>
                      <a:pt x="42499" y="1354"/>
                      <a:pt x="37084" y="1580"/>
                      <a:pt x="30765" y="8349"/>
                    </a:cubicBezTo>
                    <a:cubicBezTo>
                      <a:pt x="21288" y="18277"/>
                      <a:pt x="19483" y="16472"/>
                      <a:pt x="13165" y="20985"/>
                    </a:cubicBezTo>
                    <a:cubicBezTo>
                      <a:pt x="6847" y="25272"/>
                      <a:pt x="8201" y="31590"/>
                      <a:pt x="6170" y="39714"/>
                    </a:cubicBezTo>
                    <a:cubicBezTo>
                      <a:pt x="4365" y="47837"/>
                      <a:pt x="-5112" y="51673"/>
                      <a:pt x="3688" y="54155"/>
                    </a:cubicBezTo>
                    <a:cubicBezTo>
                      <a:pt x="12488" y="56637"/>
                      <a:pt x="29412" y="54832"/>
                      <a:pt x="33248" y="59796"/>
                    </a:cubicBezTo>
                    <a:cubicBezTo>
                      <a:pt x="37084" y="64760"/>
                      <a:pt x="37084" y="71079"/>
                      <a:pt x="43176" y="71755"/>
                    </a:cubicBezTo>
                    <a:cubicBezTo>
                      <a:pt x="49494" y="72432"/>
                      <a:pt x="48140" y="64760"/>
                      <a:pt x="53105" y="61827"/>
                    </a:cubicBezTo>
                    <a:cubicBezTo>
                      <a:pt x="54684" y="60699"/>
                      <a:pt x="57843" y="60022"/>
                      <a:pt x="61453" y="60022"/>
                    </a:cubicBezTo>
                    <a:cubicBezTo>
                      <a:pt x="60551" y="56863"/>
                      <a:pt x="59423" y="53027"/>
                      <a:pt x="58520" y="47386"/>
                    </a:cubicBezTo>
                    <a:cubicBezTo>
                      <a:pt x="56264" y="34524"/>
                      <a:pt x="61453" y="36329"/>
                      <a:pt x="64387" y="27078"/>
                    </a:cubicBezTo>
                    <a:cubicBezTo>
                      <a:pt x="67546" y="17375"/>
                      <a:pt x="65966" y="11282"/>
                      <a:pt x="54233" y="6092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xmlns="" id="{107BF068-BD92-4A01-BC33-CFC256FE31AD}"/>
                  </a:ext>
                </a:extLst>
              </p:cNvPr>
              <p:cNvSpPr/>
              <p:nvPr/>
            </p:nvSpPr>
            <p:spPr>
              <a:xfrm>
                <a:off x="8766631" y="3704948"/>
                <a:ext cx="586680" cy="925149"/>
              </a:xfrm>
              <a:custGeom>
                <a:avLst/>
                <a:gdLst>
                  <a:gd name="connsiteX0" fmla="*/ 584198 w 586679"/>
                  <a:gd name="connsiteY0" fmla="*/ 707066 h 925149"/>
                  <a:gd name="connsiteX1" fmla="*/ 570659 w 586679"/>
                  <a:gd name="connsiteY1" fmla="*/ 687886 h 925149"/>
                  <a:gd name="connsiteX2" fmla="*/ 565469 w 586679"/>
                  <a:gd name="connsiteY2" fmla="*/ 669157 h 925149"/>
                  <a:gd name="connsiteX3" fmla="*/ 548997 w 586679"/>
                  <a:gd name="connsiteY3" fmla="*/ 663516 h 925149"/>
                  <a:gd name="connsiteX4" fmla="*/ 532976 w 586679"/>
                  <a:gd name="connsiteY4" fmla="*/ 651332 h 925149"/>
                  <a:gd name="connsiteX5" fmla="*/ 535910 w 586679"/>
                  <a:gd name="connsiteY5" fmla="*/ 632152 h 925149"/>
                  <a:gd name="connsiteX6" fmla="*/ 514022 w 586679"/>
                  <a:gd name="connsiteY6" fmla="*/ 625157 h 925149"/>
                  <a:gd name="connsiteX7" fmla="*/ 499581 w 586679"/>
                  <a:gd name="connsiteY7" fmla="*/ 619741 h 925149"/>
                  <a:gd name="connsiteX8" fmla="*/ 483334 w 586679"/>
                  <a:gd name="connsiteY8" fmla="*/ 631249 h 925149"/>
                  <a:gd name="connsiteX9" fmla="*/ 464154 w 586679"/>
                  <a:gd name="connsiteY9" fmla="*/ 644111 h 925149"/>
                  <a:gd name="connsiteX10" fmla="*/ 448810 w 586679"/>
                  <a:gd name="connsiteY10" fmla="*/ 640275 h 925149"/>
                  <a:gd name="connsiteX11" fmla="*/ 433241 w 586679"/>
                  <a:gd name="connsiteY11" fmla="*/ 624931 h 925149"/>
                  <a:gd name="connsiteX12" fmla="*/ 410676 w 586679"/>
                  <a:gd name="connsiteY12" fmla="*/ 626285 h 925149"/>
                  <a:gd name="connsiteX13" fmla="*/ 407291 w 586679"/>
                  <a:gd name="connsiteY13" fmla="*/ 637793 h 925149"/>
                  <a:gd name="connsiteX14" fmla="*/ 385404 w 586679"/>
                  <a:gd name="connsiteY14" fmla="*/ 638470 h 925149"/>
                  <a:gd name="connsiteX15" fmla="*/ 384501 w 586679"/>
                  <a:gd name="connsiteY15" fmla="*/ 620192 h 925149"/>
                  <a:gd name="connsiteX16" fmla="*/ 380214 w 586679"/>
                  <a:gd name="connsiteY16" fmla="*/ 600335 h 925149"/>
                  <a:gd name="connsiteX17" fmla="*/ 380214 w 586679"/>
                  <a:gd name="connsiteY17" fmla="*/ 579576 h 925149"/>
                  <a:gd name="connsiteX18" fmla="*/ 395783 w 586679"/>
                  <a:gd name="connsiteY18" fmla="*/ 593792 h 925149"/>
                  <a:gd name="connsiteX19" fmla="*/ 410902 w 586679"/>
                  <a:gd name="connsiteY19" fmla="*/ 600787 h 925149"/>
                  <a:gd name="connsiteX20" fmla="*/ 432564 w 586679"/>
                  <a:gd name="connsiteY20" fmla="*/ 601689 h 925149"/>
                  <a:gd name="connsiteX21" fmla="*/ 438882 w 586679"/>
                  <a:gd name="connsiteY21" fmla="*/ 585443 h 925149"/>
                  <a:gd name="connsiteX22" fmla="*/ 443169 w 586679"/>
                  <a:gd name="connsiteY22" fmla="*/ 568520 h 925149"/>
                  <a:gd name="connsiteX23" fmla="*/ 424440 w 586679"/>
                  <a:gd name="connsiteY23" fmla="*/ 566714 h 925149"/>
                  <a:gd name="connsiteX24" fmla="*/ 405712 w 586679"/>
                  <a:gd name="connsiteY24" fmla="*/ 561073 h 925149"/>
                  <a:gd name="connsiteX25" fmla="*/ 390142 w 586679"/>
                  <a:gd name="connsiteY25" fmla="*/ 567391 h 925149"/>
                  <a:gd name="connsiteX26" fmla="*/ 373219 w 586679"/>
                  <a:gd name="connsiteY26" fmla="*/ 552950 h 925149"/>
                  <a:gd name="connsiteX27" fmla="*/ 377506 w 586679"/>
                  <a:gd name="connsiteY27" fmla="*/ 544150 h 925149"/>
                  <a:gd name="connsiteX28" fmla="*/ 368706 w 586679"/>
                  <a:gd name="connsiteY28" fmla="*/ 537154 h 925149"/>
                  <a:gd name="connsiteX29" fmla="*/ 356747 w 586679"/>
                  <a:gd name="connsiteY29" fmla="*/ 517749 h 925149"/>
                  <a:gd name="connsiteX30" fmla="*/ 364193 w 586679"/>
                  <a:gd name="connsiteY30" fmla="*/ 494507 h 925149"/>
                  <a:gd name="connsiteX31" fmla="*/ 366675 w 586679"/>
                  <a:gd name="connsiteY31" fmla="*/ 475779 h 925149"/>
                  <a:gd name="connsiteX32" fmla="*/ 361034 w 586679"/>
                  <a:gd name="connsiteY32" fmla="*/ 462691 h 925149"/>
                  <a:gd name="connsiteX33" fmla="*/ 379762 w 586679"/>
                  <a:gd name="connsiteY33" fmla="*/ 462691 h 925149"/>
                  <a:gd name="connsiteX34" fmla="*/ 391045 w 586679"/>
                  <a:gd name="connsiteY34" fmla="*/ 463368 h 925149"/>
                  <a:gd name="connsiteX35" fmla="*/ 409322 w 586679"/>
                  <a:gd name="connsiteY35" fmla="*/ 452086 h 925149"/>
                  <a:gd name="connsiteX36" fmla="*/ 401876 w 586679"/>
                  <a:gd name="connsiteY36" fmla="*/ 422526 h 925149"/>
                  <a:gd name="connsiteX37" fmla="*/ 390593 w 586679"/>
                  <a:gd name="connsiteY37" fmla="*/ 396803 h 925149"/>
                  <a:gd name="connsiteX38" fmla="*/ 401199 w 586679"/>
                  <a:gd name="connsiteY38" fmla="*/ 381684 h 925149"/>
                  <a:gd name="connsiteX39" fmla="*/ 399394 w 586679"/>
                  <a:gd name="connsiteY39" fmla="*/ 361602 h 925149"/>
                  <a:gd name="connsiteX40" fmla="*/ 409322 w 586679"/>
                  <a:gd name="connsiteY40" fmla="*/ 335201 h 925149"/>
                  <a:gd name="connsiteX41" fmla="*/ 432564 w 586679"/>
                  <a:gd name="connsiteY41" fmla="*/ 334524 h 925149"/>
                  <a:gd name="connsiteX42" fmla="*/ 459416 w 586679"/>
                  <a:gd name="connsiteY42" fmla="*/ 335201 h 925149"/>
                  <a:gd name="connsiteX43" fmla="*/ 460092 w 586679"/>
                  <a:gd name="connsiteY43" fmla="*/ 306770 h 925149"/>
                  <a:gd name="connsiteX44" fmla="*/ 471375 w 586679"/>
                  <a:gd name="connsiteY44" fmla="*/ 286913 h 925149"/>
                  <a:gd name="connsiteX45" fmla="*/ 450615 w 586679"/>
                  <a:gd name="connsiteY45" fmla="*/ 280369 h 925149"/>
                  <a:gd name="connsiteX46" fmla="*/ 455805 w 586679"/>
                  <a:gd name="connsiteY46" fmla="*/ 266830 h 925149"/>
                  <a:gd name="connsiteX47" fmla="*/ 456708 w 586679"/>
                  <a:gd name="connsiteY47" fmla="*/ 246522 h 925149"/>
                  <a:gd name="connsiteX48" fmla="*/ 452872 w 586679"/>
                  <a:gd name="connsiteY48" fmla="*/ 206583 h 925149"/>
                  <a:gd name="connsiteX49" fmla="*/ 454226 w 586679"/>
                  <a:gd name="connsiteY49" fmla="*/ 184470 h 925149"/>
                  <a:gd name="connsiteX50" fmla="*/ 449487 w 586679"/>
                  <a:gd name="connsiteY50" fmla="*/ 171833 h 925149"/>
                  <a:gd name="connsiteX51" fmla="*/ 449938 w 586679"/>
                  <a:gd name="connsiteY51" fmla="*/ 156715 h 925149"/>
                  <a:gd name="connsiteX52" fmla="*/ 462575 w 586679"/>
                  <a:gd name="connsiteY52" fmla="*/ 140243 h 925149"/>
                  <a:gd name="connsiteX53" fmla="*/ 478144 w 586679"/>
                  <a:gd name="connsiteY53" fmla="*/ 127156 h 925149"/>
                  <a:gd name="connsiteX54" fmla="*/ 471600 w 586679"/>
                  <a:gd name="connsiteY54" fmla="*/ 118581 h 925149"/>
                  <a:gd name="connsiteX55" fmla="*/ 456482 w 586679"/>
                  <a:gd name="connsiteY55" fmla="*/ 108201 h 925149"/>
                  <a:gd name="connsiteX56" fmla="*/ 461672 w 586679"/>
                  <a:gd name="connsiteY56" fmla="*/ 95114 h 925149"/>
                  <a:gd name="connsiteX57" fmla="*/ 466411 w 586679"/>
                  <a:gd name="connsiteY57" fmla="*/ 85185 h 925149"/>
                  <a:gd name="connsiteX58" fmla="*/ 475436 w 586679"/>
                  <a:gd name="connsiteY58" fmla="*/ 69165 h 925149"/>
                  <a:gd name="connsiteX59" fmla="*/ 480175 w 586679"/>
                  <a:gd name="connsiteY59" fmla="*/ 58333 h 925149"/>
                  <a:gd name="connsiteX60" fmla="*/ 469344 w 586679"/>
                  <a:gd name="connsiteY60" fmla="*/ 53144 h 925149"/>
                  <a:gd name="connsiteX61" fmla="*/ 475436 w 586679"/>
                  <a:gd name="connsiteY61" fmla="*/ 41861 h 925149"/>
                  <a:gd name="connsiteX62" fmla="*/ 474083 w 586679"/>
                  <a:gd name="connsiteY62" fmla="*/ 23133 h 925149"/>
                  <a:gd name="connsiteX63" fmla="*/ 462575 w 586679"/>
                  <a:gd name="connsiteY63" fmla="*/ 12979 h 925149"/>
                  <a:gd name="connsiteX64" fmla="*/ 455580 w 586679"/>
                  <a:gd name="connsiteY64" fmla="*/ 12302 h 925149"/>
                  <a:gd name="connsiteX65" fmla="*/ 436174 w 586679"/>
                  <a:gd name="connsiteY65" fmla="*/ 1696 h 925149"/>
                  <a:gd name="connsiteX66" fmla="*/ 415415 w 586679"/>
                  <a:gd name="connsiteY66" fmla="*/ 26743 h 925149"/>
                  <a:gd name="connsiteX67" fmla="*/ 392173 w 586679"/>
                  <a:gd name="connsiteY67" fmla="*/ 53595 h 925149"/>
                  <a:gd name="connsiteX68" fmla="*/ 362162 w 586679"/>
                  <a:gd name="connsiteY68" fmla="*/ 74354 h 925149"/>
                  <a:gd name="connsiteX69" fmla="*/ 337792 w 586679"/>
                  <a:gd name="connsiteY69" fmla="*/ 100755 h 925149"/>
                  <a:gd name="connsiteX70" fmla="*/ 317033 w 586679"/>
                  <a:gd name="connsiteY70" fmla="*/ 115873 h 925149"/>
                  <a:gd name="connsiteX71" fmla="*/ 305751 w 586679"/>
                  <a:gd name="connsiteY71" fmla="*/ 132797 h 925149"/>
                  <a:gd name="connsiteX72" fmla="*/ 270098 w 586679"/>
                  <a:gd name="connsiteY72" fmla="*/ 138438 h 925149"/>
                  <a:gd name="connsiteX73" fmla="*/ 241893 w 586679"/>
                  <a:gd name="connsiteY73" fmla="*/ 136633 h 925149"/>
                  <a:gd name="connsiteX74" fmla="*/ 213687 w 586679"/>
                  <a:gd name="connsiteY74" fmla="*/ 135956 h 925149"/>
                  <a:gd name="connsiteX75" fmla="*/ 220005 w 586679"/>
                  <a:gd name="connsiteY75" fmla="*/ 166644 h 925149"/>
                  <a:gd name="connsiteX76" fmla="*/ 216169 w 586679"/>
                  <a:gd name="connsiteY76" fmla="*/ 187854 h 925149"/>
                  <a:gd name="connsiteX77" fmla="*/ 197440 w 586679"/>
                  <a:gd name="connsiteY77" fmla="*/ 195301 h 925149"/>
                  <a:gd name="connsiteX78" fmla="*/ 179163 w 586679"/>
                  <a:gd name="connsiteY78" fmla="*/ 193947 h 925149"/>
                  <a:gd name="connsiteX79" fmla="*/ 156598 w 586679"/>
                  <a:gd name="connsiteY79" fmla="*/ 203875 h 925149"/>
                  <a:gd name="connsiteX80" fmla="*/ 137870 w 586679"/>
                  <a:gd name="connsiteY80" fmla="*/ 191239 h 925149"/>
                  <a:gd name="connsiteX81" fmla="*/ 124105 w 586679"/>
                  <a:gd name="connsiteY81" fmla="*/ 203198 h 925149"/>
                  <a:gd name="connsiteX82" fmla="*/ 104700 w 586679"/>
                  <a:gd name="connsiteY82" fmla="*/ 215835 h 925149"/>
                  <a:gd name="connsiteX83" fmla="*/ 91612 w 586679"/>
                  <a:gd name="connsiteY83" fmla="*/ 225763 h 925149"/>
                  <a:gd name="connsiteX84" fmla="*/ 78976 w 586679"/>
                  <a:gd name="connsiteY84" fmla="*/ 239527 h 925149"/>
                  <a:gd name="connsiteX85" fmla="*/ 62730 w 586679"/>
                  <a:gd name="connsiteY85" fmla="*/ 230727 h 925149"/>
                  <a:gd name="connsiteX86" fmla="*/ 47611 w 586679"/>
                  <a:gd name="connsiteY86" fmla="*/ 243815 h 925149"/>
                  <a:gd name="connsiteX87" fmla="*/ 41745 w 586679"/>
                  <a:gd name="connsiteY87" fmla="*/ 261641 h 925149"/>
                  <a:gd name="connsiteX88" fmla="*/ 39939 w 586679"/>
                  <a:gd name="connsiteY88" fmla="*/ 279241 h 925149"/>
                  <a:gd name="connsiteX89" fmla="*/ 56186 w 586679"/>
                  <a:gd name="connsiteY89" fmla="*/ 289846 h 925149"/>
                  <a:gd name="connsiteX90" fmla="*/ 46032 w 586679"/>
                  <a:gd name="connsiteY90" fmla="*/ 329560 h 925149"/>
                  <a:gd name="connsiteX91" fmla="*/ 35652 w 586679"/>
                  <a:gd name="connsiteY91" fmla="*/ 349868 h 925149"/>
                  <a:gd name="connsiteX92" fmla="*/ 13539 w 586679"/>
                  <a:gd name="connsiteY92" fmla="*/ 353253 h 925149"/>
                  <a:gd name="connsiteX93" fmla="*/ 0 w 586679"/>
                  <a:gd name="connsiteY93" fmla="*/ 364535 h 925149"/>
                  <a:gd name="connsiteX94" fmla="*/ 6995 w 586679"/>
                  <a:gd name="connsiteY94" fmla="*/ 365212 h 925149"/>
                  <a:gd name="connsiteX95" fmla="*/ 26175 w 586679"/>
                  <a:gd name="connsiteY95" fmla="*/ 369048 h 925149"/>
                  <a:gd name="connsiteX96" fmla="*/ 25724 w 586679"/>
                  <a:gd name="connsiteY96" fmla="*/ 388228 h 925149"/>
                  <a:gd name="connsiteX97" fmla="*/ 33170 w 586679"/>
                  <a:gd name="connsiteY97" fmla="*/ 409439 h 925149"/>
                  <a:gd name="connsiteX98" fmla="*/ 27078 w 586679"/>
                  <a:gd name="connsiteY98" fmla="*/ 416885 h 925149"/>
                  <a:gd name="connsiteX99" fmla="*/ 25272 w 586679"/>
                  <a:gd name="connsiteY99" fmla="*/ 441255 h 925149"/>
                  <a:gd name="connsiteX100" fmla="*/ 24821 w 586679"/>
                  <a:gd name="connsiteY100" fmla="*/ 457727 h 925149"/>
                  <a:gd name="connsiteX101" fmla="*/ 13539 w 586679"/>
                  <a:gd name="connsiteY101" fmla="*/ 466753 h 925149"/>
                  <a:gd name="connsiteX102" fmla="*/ 13313 w 586679"/>
                  <a:gd name="connsiteY102" fmla="*/ 470815 h 925149"/>
                  <a:gd name="connsiteX103" fmla="*/ 16021 w 586679"/>
                  <a:gd name="connsiteY103" fmla="*/ 478035 h 925149"/>
                  <a:gd name="connsiteX104" fmla="*/ 12636 w 586679"/>
                  <a:gd name="connsiteY104" fmla="*/ 484579 h 925149"/>
                  <a:gd name="connsiteX105" fmla="*/ 26852 w 586679"/>
                  <a:gd name="connsiteY105" fmla="*/ 498118 h 925149"/>
                  <a:gd name="connsiteX106" fmla="*/ 29785 w 586679"/>
                  <a:gd name="connsiteY106" fmla="*/ 513236 h 925149"/>
                  <a:gd name="connsiteX107" fmla="*/ 39714 w 586679"/>
                  <a:gd name="connsiteY107" fmla="*/ 520682 h 925149"/>
                  <a:gd name="connsiteX108" fmla="*/ 44001 w 586679"/>
                  <a:gd name="connsiteY108" fmla="*/ 529708 h 925149"/>
                  <a:gd name="connsiteX109" fmla="*/ 42196 w 586679"/>
                  <a:gd name="connsiteY109" fmla="*/ 543247 h 925149"/>
                  <a:gd name="connsiteX110" fmla="*/ 45581 w 586679"/>
                  <a:gd name="connsiteY110" fmla="*/ 558817 h 925149"/>
                  <a:gd name="connsiteX111" fmla="*/ 47386 w 586679"/>
                  <a:gd name="connsiteY111" fmla="*/ 571453 h 925149"/>
                  <a:gd name="connsiteX112" fmla="*/ 56863 w 586679"/>
                  <a:gd name="connsiteY112" fmla="*/ 594920 h 925149"/>
                  <a:gd name="connsiteX113" fmla="*/ 66791 w 586679"/>
                  <a:gd name="connsiteY113" fmla="*/ 614100 h 925149"/>
                  <a:gd name="connsiteX114" fmla="*/ 72432 w 586679"/>
                  <a:gd name="connsiteY114" fmla="*/ 637116 h 925149"/>
                  <a:gd name="connsiteX115" fmla="*/ 76720 w 586679"/>
                  <a:gd name="connsiteY115" fmla="*/ 660583 h 925149"/>
                  <a:gd name="connsiteX116" fmla="*/ 75817 w 586679"/>
                  <a:gd name="connsiteY116" fmla="*/ 684502 h 925149"/>
                  <a:gd name="connsiteX117" fmla="*/ 83263 w 586679"/>
                  <a:gd name="connsiteY117" fmla="*/ 717897 h 925149"/>
                  <a:gd name="connsiteX118" fmla="*/ 94997 w 586679"/>
                  <a:gd name="connsiteY118" fmla="*/ 759641 h 925149"/>
                  <a:gd name="connsiteX119" fmla="*/ 98607 w 586679"/>
                  <a:gd name="connsiteY119" fmla="*/ 771601 h 925149"/>
                  <a:gd name="connsiteX120" fmla="*/ 114854 w 586679"/>
                  <a:gd name="connsiteY120" fmla="*/ 777016 h 925149"/>
                  <a:gd name="connsiteX121" fmla="*/ 141254 w 586679"/>
                  <a:gd name="connsiteY121" fmla="*/ 787622 h 925149"/>
                  <a:gd name="connsiteX122" fmla="*/ 155019 w 586679"/>
                  <a:gd name="connsiteY122" fmla="*/ 799581 h 925149"/>
                  <a:gd name="connsiteX123" fmla="*/ 164947 w 586679"/>
                  <a:gd name="connsiteY123" fmla="*/ 815827 h 925149"/>
                  <a:gd name="connsiteX124" fmla="*/ 171942 w 586679"/>
                  <a:gd name="connsiteY124" fmla="*/ 834556 h 925149"/>
                  <a:gd name="connsiteX125" fmla="*/ 195861 w 586679"/>
                  <a:gd name="connsiteY125" fmla="*/ 855767 h 925149"/>
                  <a:gd name="connsiteX126" fmla="*/ 212107 w 586679"/>
                  <a:gd name="connsiteY126" fmla="*/ 869531 h 925149"/>
                  <a:gd name="connsiteX127" fmla="*/ 244149 w 586679"/>
                  <a:gd name="connsiteY127" fmla="*/ 885778 h 925149"/>
                  <a:gd name="connsiteX128" fmla="*/ 276191 w 586679"/>
                  <a:gd name="connsiteY128" fmla="*/ 899542 h 925149"/>
                  <a:gd name="connsiteX129" fmla="*/ 292437 w 586679"/>
                  <a:gd name="connsiteY129" fmla="*/ 913758 h 925149"/>
                  <a:gd name="connsiteX130" fmla="*/ 305976 w 586679"/>
                  <a:gd name="connsiteY130" fmla="*/ 924363 h 925149"/>
                  <a:gd name="connsiteX131" fmla="*/ 320643 w 586679"/>
                  <a:gd name="connsiteY131" fmla="*/ 927748 h 925149"/>
                  <a:gd name="connsiteX132" fmla="*/ 332828 w 586679"/>
                  <a:gd name="connsiteY132" fmla="*/ 932712 h 925149"/>
                  <a:gd name="connsiteX133" fmla="*/ 354490 w 586679"/>
                  <a:gd name="connsiteY133" fmla="*/ 928651 h 925149"/>
                  <a:gd name="connsiteX134" fmla="*/ 361485 w 586679"/>
                  <a:gd name="connsiteY134" fmla="*/ 922332 h 925149"/>
                  <a:gd name="connsiteX135" fmla="*/ 372090 w 586679"/>
                  <a:gd name="connsiteY135" fmla="*/ 908794 h 925149"/>
                  <a:gd name="connsiteX136" fmla="*/ 383147 w 586679"/>
                  <a:gd name="connsiteY136" fmla="*/ 912630 h 925149"/>
                  <a:gd name="connsiteX137" fmla="*/ 396009 w 586679"/>
                  <a:gd name="connsiteY137" fmla="*/ 914886 h 925149"/>
                  <a:gd name="connsiteX138" fmla="*/ 411353 w 586679"/>
                  <a:gd name="connsiteY138" fmla="*/ 909019 h 925149"/>
                  <a:gd name="connsiteX139" fmla="*/ 426922 w 586679"/>
                  <a:gd name="connsiteY139" fmla="*/ 914661 h 925149"/>
                  <a:gd name="connsiteX140" fmla="*/ 445200 w 586679"/>
                  <a:gd name="connsiteY140" fmla="*/ 903604 h 925149"/>
                  <a:gd name="connsiteX141" fmla="*/ 458739 w 586679"/>
                  <a:gd name="connsiteY141" fmla="*/ 890065 h 925149"/>
                  <a:gd name="connsiteX142" fmla="*/ 471826 w 586679"/>
                  <a:gd name="connsiteY142" fmla="*/ 880137 h 925149"/>
                  <a:gd name="connsiteX143" fmla="*/ 477693 w 586679"/>
                  <a:gd name="connsiteY143" fmla="*/ 860957 h 925149"/>
                  <a:gd name="connsiteX144" fmla="*/ 462349 w 586679"/>
                  <a:gd name="connsiteY144" fmla="*/ 854639 h 925149"/>
                  <a:gd name="connsiteX145" fmla="*/ 448133 w 586679"/>
                  <a:gd name="connsiteY145" fmla="*/ 845613 h 925149"/>
                  <a:gd name="connsiteX146" fmla="*/ 463703 w 586679"/>
                  <a:gd name="connsiteY146" fmla="*/ 825530 h 925149"/>
                  <a:gd name="connsiteX147" fmla="*/ 462800 w 586679"/>
                  <a:gd name="connsiteY147" fmla="*/ 809961 h 925149"/>
                  <a:gd name="connsiteX148" fmla="*/ 460544 w 586679"/>
                  <a:gd name="connsiteY148" fmla="*/ 792360 h 925149"/>
                  <a:gd name="connsiteX149" fmla="*/ 472052 w 586679"/>
                  <a:gd name="connsiteY149" fmla="*/ 786945 h 925149"/>
                  <a:gd name="connsiteX150" fmla="*/ 487396 w 586679"/>
                  <a:gd name="connsiteY150" fmla="*/ 775662 h 925149"/>
                  <a:gd name="connsiteX151" fmla="*/ 494842 w 586679"/>
                  <a:gd name="connsiteY151" fmla="*/ 761221 h 925149"/>
                  <a:gd name="connsiteX152" fmla="*/ 511540 w 586679"/>
                  <a:gd name="connsiteY152" fmla="*/ 763026 h 925149"/>
                  <a:gd name="connsiteX153" fmla="*/ 524402 w 586679"/>
                  <a:gd name="connsiteY153" fmla="*/ 763252 h 925149"/>
                  <a:gd name="connsiteX154" fmla="*/ 540423 w 586679"/>
                  <a:gd name="connsiteY154" fmla="*/ 768216 h 925149"/>
                  <a:gd name="connsiteX155" fmla="*/ 549448 w 586679"/>
                  <a:gd name="connsiteY155" fmla="*/ 778596 h 925149"/>
                  <a:gd name="connsiteX156" fmla="*/ 563664 w 586679"/>
                  <a:gd name="connsiteY156" fmla="*/ 755354 h 925149"/>
                  <a:gd name="connsiteX157" fmla="*/ 583521 w 586679"/>
                  <a:gd name="connsiteY157" fmla="*/ 740687 h 925149"/>
                  <a:gd name="connsiteX158" fmla="*/ 594578 w 586679"/>
                  <a:gd name="connsiteY158" fmla="*/ 719025 h 925149"/>
                  <a:gd name="connsiteX159" fmla="*/ 584198 w 586679"/>
                  <a:gd name="connsiteY159" fmla="*/ 707066 h 925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</a:cxnLst>
                <a:rect l="l" t="t" r="r" b="b"/>
                <a:pathLst>
                  <a:path w="586679" h="925149">
                    <a:moveTo>
                      <a:pt x="584198" y="707066"/>
                    </a:moveTo>
                    <a:cubicBezTo>
                      <a:pt x="576300" y="705712"/>
                      <a:pt x="570659" y="691045"/>
                      <a:pt x="570659" y="687886"/>
                    </a:cubicBezTo>
                    <a:cubicBezTo>
                      <a:pt x="570659" y="684727"/>
                      <a:pt x="571110" y="672768"/>
                      <a:pt x="565469" y="669157"/>
                    </a:cubicBezTo>
                    <a:cubicBezTo>
                      <a:pt x="559828" y="665322"/>
                      <a:pt x="554638" y="665773"/>
                      <a:pt x="548997" y="663516"/>
                    </a:cubicBezTo>
                    <a:cubicBezTo>
                      <a:pt x="543356" y="661260"/>
                      <a:pt x="533879" y="655619"/>
                      <a:pt x="532976" y="651332"/>
                    </a:cubicBezTo>
                    <a:cubicBezTo>
                      <a:pt x="532074" y="647044"/>
                      <a:pt x="537263" y="635311"/>
                      <a:pt x="535910" y="632152"/>
                    </a:cubicBezTo>
                    <a:cubicBezTo>
                      <a:pt x="534556" y="628767"/>
                      <a:pt x="522822" y="628316"/>
                      <a:pt x="514022" y="625157"/>
                    </a:cubicBezTo>
                    <a:cubicBezTo>
                      <a:pt x="505222" y="621998"/>
                      <a:pt x="506576" y="613874"/>
                      <a:pt x="499581" y="619741"/>
                    </a:cubicBezTo>
                    <a:cubicBezTo>
                      <a:pt x="492585" y="625608"/>
                      <a:pt x="487396" y="624705"/>
                      <a:pt x="483334" y="631249"/>
                    </a:cubicBezTo>
                    <a:cubicBezTo>
                      <a:pt x="479272" y="637793"/>
                      <a:pt x="469570" y="642531"/>
                      <a:pt x="464154" y="644111"/>
                    </a:cubicBezTo>
                    <a:cubicBezTo>
                      <a:pt x="458739" y="645690"/>
                      <a:pt x="453549" y="644111"/>
                      <a:pt x="448810" y="640275"/>
                    </a:cubicBezTo>
                    <a:cubicBezTo>
                      <a:pt x="444072" y="636439"/>
                      <a:pt x="436174" y="624931"/>
                      <a:pt x="433241" y="624931"/>
                    </a:cubicBezTo>
                    <a:cubicBezTo>
                      <a:pt x="430082" y="624931"/>
                      <a:pt x="414963" y="621998"/>
                      <a:pt x="410676" y="626285"/>
                    </a:cubicBezTo>
                    <a:cubicBezTo>
                      <a:pt x="406389" y="630346"/>
                      <a:pt x="412030" y="635987"/>
                      <a:pt x="407291" y="637793"/>
                    </a:cubicBezTo>
                    <a:cubicBezTo>
                      <a:pt x="402553" y="639598"/>
                      <a:pt x="393527" y="639598"/>
                      <a:pt x="385404" y="638470"/>
                    </a:cubicBezTo>
                    <a:cubicBezTo>
                      <a:pt x="377280" y="637341"/>
                      <a:pt x="382019" y="625833"/>
                      <a:pt x="384501" y="620192"/>
                    </a:cubicBezTo>
                    <a:cubicBezTo>
                      <a:pt x="386757" y="614551"/>
                      <a:pt x="384050" y="608459"/>
                      <a:pt x="380214" y="600335"/>
                    </a:cubicBezTo>
                    <a:cubicBezTo>
                      <a:pt x="376378" y="592438"/>
                      <a:pt x="375926" y="580479"/>
                      <a:pt x="380214" y="579576"/>
                    </a:cubicBezTo>
                    <a:cubicBezTo>
                      <a:pt x="384501" y="578674"/>
                      <a:pt x="391947" y="590407"/>
                      <a:pt x="395783" y="593792"/>
                    </a:cubicBezTo>
                    <a:cubicBezTo>
                      <a:pt x="399619" y="597176"/>
                      <a:pt x="399168" y="599884"/>
                      <a:pt x="410902" y="600787"/>
                    </a:cubicBezTo>
                    <a:cubicBezTo>
                      <a:pt x="422635" y="601689"/>
                      <a:pt x="425117" y="600335"/>
                      <a:pt x="432564" y="601689"/>
                    </a:cubicBezTo>
                    <a:cubicBezTo>
                      <a:pt x="440010" y="603043"/>
                      <a:pt x="430758" y="588151"/>
                      <a:pt x="438882" y="585443"/>
                    </a:cubicBezTo>
                    <a:cubicBezTo>
                      <a:pt x="447005" y="582961"/>
                      <a:pt x="452646" y="568520"/>
                      <a:pt x="443169" y="568520"/>
                    </a:cubicBezTo>
                    <a:cubicBezTo>
                      <a:pt x="433692" y="568520"/>
                      <a:pt x="428051" y="569196"/>
                      <a:pt x="424440" y="566714"/>
                    </a:cubicBezTo>
                    <a:cubicBezTo>
                      <a:pt x="420604" y="564232"/>
                      <a:pt x="409322" y="557237"/>
                      <a:pt x="405712" y="561073"/>
                    </a:cubicBezTo>
                    <a:cubicBezTo>
                      <a:pt x="401876" y="564909"/>
                      <a:pt x="398717" y="567391"/>
                      <a:pt x="390142" y="567391"/>
                    </a:cubicBezTo>
                    <a:cubicBezTo>
                      <a:pt x="381568" y="567391"/>
                      <a:pt x="373219" y="557914"/>
                      <a:pt x="373219" y="552950"/>
                    </a:cubicBezTo>
                    <a:cubicBezTo>
                      <a:pt x="373219" y="547986"/>
                      <a:pt x="377506" y="544150"/>
                      <a:pt x="377506" y="544150"/>
                    </a:cubicBezTo>
                    <a:cubicBezTo>
                      <a:pt x="377506" y="544150"/>
                      <a:pt x="373670" y="539185"/>
                      <a:pt x="368706" y="537154"/>
                    </a:cubicBezTo>
                    <a:cubicBezTo>
                      <a:pt x="363742" y="535350"/>
                      <a:pt x="356747" y="524518"/>
                      <a:pt x="356747" y="517749"/>
                    </a:cubicBezTo>
                    <a:cubicBezTo>
                      <a:pt x="356747" y="510754"/>
                      <a:pt x="355393" y="496989"/>
                      <a:pt x="364193" y="494507"/>
                    </a:cubicBezTo>
                    <a:cubicBezTo>
                      <a:pt x="372993" y="492025"/>
                      <a:pt x="367352" y="479389"/>
                      <a:pt x="366675" y="475779"/>
                    </a:cubicBezTo>
                    <a:cubicBezTo>
                      <a:pt x="365998" y="471943"/>
                      <a:pt x="359680" y="466979"/>
                      <a:pt x="361034" y="462691"/>
                    </a:cubicBezTo>
                    <a:cubicBezTo>
                      <a:pt x="362388" y="458404"/>
                      <a:pt x="375475" y="460209"/>
                      <a:pt x="379762" y="462691"/>
                    </a:cubicBezTo>
                    <a:cubicBezTo>
                      <a:pt x="384050" y="465174"/>
                      <a:pt x="387886" y="459532"/>
                      <a:pt x="391045" y="463368"/>
                    </a:cubicBezTo>
                    <a:cubicBezTo>
                      <a:pt x="394204" y="467204"/>
                      <a:pt x="407968" y="459532"/>
                      <a:pt x="409322" y="452086"/>
                    </a:cubicBezTo>
                    <a:cubicBezTo>
                      <a:pt x="410676" y="444640"/>
                      <a:pt x="410676" y="434486"/>
                      <a:pt x="401876" y="422526"/>
                    </a:cubicBezTo>
                    <a:cubicBezTo>
                      <a:pt x="393076" y="410567"/>
                      <a:pt x="388111" y="402444"/>
                      <a:pt x="390593" y="396803"/>
                    </a:cubicBezTo>
                    <a:cubicBezTo>
                      <a:pt x="393076" y="391162"/>
                      <a:pt x="397588" y="382361"/>
                      <a:pt x="401199" y="381684"/>
                    </a:cubicBezTo>
                    <a:cubicBezTo>
                      <a:pt x="405035" y="381007"/>
                      <a:pt x="399394" y="371079"/>
                      <a:pt x="399394" y="361602"/>
                    </a:cubicBezTo>
                    <a:cubicBezTo>
                      <a:pt x="399394" y="352125"/>
                      <a:pt x="404358" y="337683"/>
                      <a:pt x="409322" y="335201"/>
                    </a:cubicBezTo>
                    <a:cubicBezTo>
                      <a:pt x="414286" y="332719"/>
                      <a:pt x="425569" y="333847"/>
                      <a:pt x="432564" y="334524"/>
                    </a:cubicBezTo>
                    <a:cubicBezTo>
                      <a:pt x="439559" y="335201"/>
                      <a:pt x="457610" y="337006"/>
                      <a:pt x="459416" y="335201"/>
                    </a:cubicBezTo>
                    <a:cubicBezTo>
                      <a:pt x="461221" y="333396"/>
                      <a:pt x="449713" y="316924"/>
                      <a:pt x="460092" y="306770"/>
                    </a:cubicBezTo>
                    <a:cubicBezTo>
                      <a:pt x="470472" y="296390"/>
                      <a:pt x="478821" y="291652"/>
                      <a:pt x="471375" y="286913"/>
                    </a:cubicBezTo>
                    <a:cubicBezTo>
                      <a:pt x="463928" y="282174"/>
                      <a:pt x="454451" y="282626"/>
                      <a:pt x="450615" y="280369"/>
                    </a:cubicBezTo>
                    <a:cubicBezTo>
                      <a:pt x="446779" y="278113"/>
                      <a:pt x="447231" y="272472"/>
                      <a:pt x="455805" y="266830"/>
                    </a:cubicBezTo>
                    <a:cubicBezTo>
                      <a:pt x="464380" y="261189"/>
                      <a:pt x="458062" y="261641"/>
                      <a:pt x="456708" y="246522"/>
                    </a:cubicBezTo>
                    <a:cubicBezTo>
                      <a:pt x="455354" y="231404"/>
                      <a:pt x="450615" y="217414"/>
                      <a:pt x="452872" y="206583"/>
                    </a:cubicBezTo>
                    <a:cubicBezTo>
                      <a:pt x="455128" y="195752"/>
                      <a:pt x="456257" y="191916"/>
                      <a:pt x="454226" y="184470"/>
                    </a:cubicBezTo>
                    <a:cubicBezTo>
                      <a:pt x="452421" y="177023"/>
                      <a:pt x="453323" y="175444"/>
                      <a:pt x="449487" y="171833"/>
                    </a:cubicBezTo>
                    <a:cubicBezTo>
                      <a:pt x="445651" y="167998"/>
                      <a:pt x="444297" y="157618"/>
                      <a:pt x="449938" y="156715"/>
                    </a:cubicBezTo>
                    <a:cubicBezTo>
                      <a:pt x="455580" y="155813"/>
                      <a:pt x="456482" y="143176"/>
                      <a:pt x="462575" y="140243"/>
                    </a:cubicBezTo>
                    <a:cubicBezTo>
                      <a:pt x="468667" y="137310"/>
                      <a:pt x="476113" y="127156"/>
                      <a:pt x="478144" y="127156"/>
                    </a:cubicBezTo>
                    <a:cubicBezTo>
                      <a:pt x="480175" y="127156"/>
                      <a:pt x="479498" y="117678"/>
                      <a:pt x="471600" y="118581"/>
                    </a:cubicBezTo>
                    <a:cubicBezTo>
                      <a:pt x="463703" y="119484"/>
                      <a:pt x="456482" y="115196"/>
                      <a:pt x="456482" y="108201"/>
                    </a:cubicBezTo>
                    <a:cubicBezTo>
                      <a:pt x="456482" y="101206"/>
                      <a:pt x="455128" y="96016"/>
                      <a:pt x="461672" y="95114"/>
                    </a:cubicBezTo>
                    <a:cubicBezTo>
                      <a:pt x="468216" y="94211"/>
                      <a:pt x="467764" y="89473"/>
                      <a:pt x="466411" y="85185"/>
                    </a:cubicBezTo>
                    <a:cubicBezTo>
                      <a:pt x="465057" y="80898"/>
                      <a:pt x="472503" y="72098"/>
                      <a:pt x="475436" y="69165"/>
                    </a:cubicBezTo>
                    <a:cubicBezTo>
                      <a:pt x="478370" y="66231"/>
                      <a:pt x="481980" y="61267"/>
                      <a:pt x="480175" y="58333"/>
                    </a:cubicBezTo>
                    <a:cubicBezTo>
                      <a:pt x="478370" y="55400"/>
                      <a:pt x="470698" y="56528"/>
                      <a:pt x="469344" y="53144"/>
                    </a:cubicBezTo>
                    <a:cubicBezTo>
                      <a:pt x="467990" y="49759"/>
                      <a:pt x="471600" y="47051"/>
                      <a:pt x="475436" y="41861"/>
                    </a:cubicBezTo>
                    <a:cubicBezTo>
                      <a:pt x="479272" y="36671"/>
                      <a:pt x="470698" y="29225"/>
                      <a:pt x="474083" y="23133"/>
                    </a:cubicBezTo>
                    <a:cubicBezTo>
                      <a:pt x="476790" y="18168"/>
                      <a:pt x="468441" y="19522"/>
                      <a:pt x="462575" y="12979"/>
                    </a:cubicBezTo>
                    <a:cubicBezTo>
                      <a:pt x="461221" y="13881"/>
                      <a:pt x="459416" y="13881"/>
                      <a:pt x="455580" y="12302"/>
                    </a:cubicBezTo>
                    <a:cubicBezTo>
                      <a:pt x="446779" y="8466"/>
                      <a:pt x="453097" y="-4622"/>
                      <a:pt x="436174" y="1696"/>
                    </a:cubicBezTo>
                    <a:cubicBezTo>
                      <a:pt x="419250" y="8014"/>
                      <a:pt x="417445" y="19974"/>
                      <a:pt x="415415" y="26743"/>
                    </a:cubicBezTo>
                    <a:cubicBezTo>
                      <a:pt x="413609" y="33738"/>
                      <a:pt x="405486" y="44343"/>
                      <a:pt x="392173" y="53595"/>
                    </a:cubicBezTo>
                    <a:cubicBezTo>
                      <a:pt x="379086" y="63072"/>
                      <a:pt x="373444" y="55400"/>
                      <a:pt x="362162" y="74354"/>
                    </a:cubicBezTo>
                    <a:cubicBezTo>
                      <a:pt x="350880" y="93083"/>
                      <a:pt x="339597" y="81801"/>
                      <a:pt x="337792" y="100755"/>
                    </a:cubicBezTo>
                    <a:cubicBezTo>
                      <a:pt x="335987" y="119484"/>
                      <a:pt x="328315" y="112037"/>
                      <a:pt x="317033" y="115873"/>
                    </a:cubicBezTo>
                    <a:cubicBezTo>
                      <a:pt x="305751" y="119709"/>
                      <a:pt x="313197" y="127156"/>
                      <a:pt x="305751" y="132797"/>
                    </a:cubicBezTo>
                    <a:cubicBezTo>
                      <a:pt x="298304" y="138438"/>
                      <a:pt x="279350" y="138438"/>
                      <a:pt x="270098" y="138438"/>
                    </a:cubicBezTo>
                    <a:cubicBezTo>
                      <a:pt x="260621" y="138438"/>
                      <a:pt x="249339" y="140243"/>
                      <a:pt x="241893" y="136633"/>
                    </a:cubicBezTo>
                    <a:cubicBezTo>
                      <a:pt x="234446" y="132797"/>
                      <a:pt x="221133" y="127833"/>
                      <a:pt x="213687" y="135956"/>
                    </a:cubicBezTo>
                    <a:cubicBezTo>
                      <a:pt x="206241" y="144079"/>
                      <a:pt x="220005" y="156038"/>
                      <a:pt x="220005" y="166644"/>
                    </a:cubicBezTo>
                    <a:cubicBezTo>
                      <a:pt x="220005" y="177249"/>
                      <a:pt x="216846" y="181762"/>
                      <a:pt x="216169" y="187854"/>
                    </a:cubicBezTo>
                    <a:cubicBezTo>
                      <a:pt x="215492" y="194173"/>
                      <a:pt x="206241" y="193495"/>
                      <a:pt x="197440" y="195301"/>
                    </a:cubicBezTo>
                    <a:cubicBezTo>
                      <a:pt x="188640" y="197106"/>
                      <a:pt x="183676" y="188983"/>
                      <a:pt x="179163" y="193947"/>
                    </a:cubicBezTo>
                    <a:cubicBezTo>
                      <a:pt x="174876" y="198911"/>
                      <a:pt x="166527" y="206583"/>
                      <a:pt x="156598" y="203875"/>
                    </a:cubicBezTo>
                    <a:cubicBezTo>
                      <a:pt x="146670" y="201393"/>
                      <a:pt x="142157" y="190788"/>
                      <a:pt x="137870" y="191239"/>
                    </a:cubicBezTo>
                    <a:cubicBezTo>
                      <a:pt x="133582" y="191916"/>
                      <a:pt x="127264" y="196880"/>
                      <a:pt x="124105" y="203198"/>
                    </a:cubicBezTo>
                    <a:cubicBezTo>
                      <a:pt x="120946" y="209516"/>
                      <a:pt x="112146" y="214481"/>
                      <a:pt x="104700" y="215835"/>
                    </a:cubicBezTo>
                    <a:cubicBezTo>
                      <a:pt x="97253" y="217188"/>
                      <a:pt x="94771" y="222153"/>
                      <a:pt x="91612" y="225763"/>
                    </a:cubicBezTo>
                    <a:cubicBezTo>
                      <a:pt x="88453" y="229599"/>
                      <a:pt x="78976" y="239527"/>
                      <a:pt x="78976" y="239527"/>
                    </a:cubicBezTo>
                    <a:cubicBezTo>
                      <a:pt x="78976" y="239527"/>
                      <a:pt x="74689" y="228245"/>
                      <a:pt x="62730" y="230727"/>
                    </a:cubicBezTo>
                    <a:cubicBezTo>
                      <a:pt x="50770" y="233209"/>
                      <a:pt x="49642" y="243815"/>
                      <a:pt x="47611" y="243815"/>
                    </a:cubicBezTo>
                    <a:cubicBezTo>
                      <a:pt x="45806" y="243815"/>
                      <a:pt x="41293" y="250358"/>
                      <a:pt x="41745" y="261641"/>
                    </a:cubicBezTo>
                    <a:cubicBezTo>
                      <a:pt x="42196" y="272923"/>
                      <a:pt x="34298" y="275856"/>
                      <a:pt x="39939" y="279241"/>
                    </a:cubicBezTo>
                    <a:cubicBezTo>
                      <a:pt x="45581" y="282626"/>
                      <a:pt x="53478" y="279241"/>
                      <a:pt x="56186" y="289846"/>
                    </a:cubicBezTo>
                    <a:cubicBezTo>
                      <a:pt x="59119" y="300452"/>
                      <a:pt x="47837" y="318278"/>
                      <a:pt x="46032" y="329560"/>
                    </a:cubicBezTo>
                    <a:cubicBezTo>
                      <a:pt x="44227" y="340842"/>
                      <a:pt x="44227" y="347386"/>
                      <a:pt x="35652" y="349868"/>
                    </a:cubicBezTo>
                    <a:cubicBezTo>
                      <a:pt x="27078" y="352351"/>
                      <a:pt x="16923" y="348966"/>
                      <a:pt x="13539" y="353253"/>
                    </a:cubicBezTo>
                    <a:cubicBezTo>
                      <a:pt x="10380" y="357540"/>
                      <a:pt x="3385" y="360699"/>
                      <a:pt x="0" y="364535"/>
                    </a:cubicBezTo>
                    <a:cubicBezTo>
                      <a:pt x="1128" y="364761"/>
                      <a:pt x="2933" y="365212"/>
                      <a:pt x="6995" y="365212"/>
                    </a:cubicBezTo>
                    <a:cubicBezTo>
                      <a:pt x="17375" y="365212"/>
                      <a:pt x="23918" y="358669"/>
                      <a:pt x="26175" y="369048"/>
                    </a:cubicBezTo>
                    <a:cubicBezTo>
                      <a:pt x="28431" y="379428"/>
                      <a:pt x="22790" y="376043"/>
                      <a:pt x="25724" y="388228"/>
                    </a:cubicBezTo>
                    <a:cubicBezTo>
                      <a:pt x="28657" y="400413"/>
                      <a:pt x="39262" y="401767"/>
                      <a:pt x="33170" y="409439"/>
                    </a:cubicBezTo>
                    <a:cubicBezTo>
                      <a:pt x="27078" y="416885"/>
                      <a:pt x="31365" y="412372"/>
                      <a:pt x="27078" y="416885"/>
                    </a:cubicBezTo>
                    <a:cubicBezTo>
                      <a:pt x="22790" y="421624"/>
                      <a:pt x="27078" y="435163"/>
                      <a:pt x="25272" y="441255"/>
                    </a:cubicBezTo>
                    <a:cubicBezTo>
                      <a:pt x="23467" y="447347"/>
                      <a:pt x="24821" y="452086"/>
                      <a:pt x="24821" y="457727"/>
                    </a:cubicBezTo>
                    <a:cubicBezTo>
                      <a:pt x="24821" y="463368"/>
                      <a:pt x="14893" y="465174"/>
                      <a:pt x="13539" y="466753"/>
                    </a:cubicBezTo>
                    <a:cubicBezTo>
                      <a:pt x="13087" y="467204"/>
                      <a:pt x="13313" y="468784"/>
                      <a:pt x="13313" y="470815"/>
                    </a:cubicBezTo>
                    <a:cubicBezTo>
                      <a:pt x="15118" y="473522"/>
                      <a:pt x="16698" y="476456"/>
                      <a:pt x="16021" y="478035"/>
                    </a:cubicBezTo>
                    <a:cubicBezTo>
                      <a:pt x="14667" y="480969"/>
                      <a:pt x="9477" y="481871"/>
                      <a:pt x="12636" y="484579"/>
                    </a:cubicBezTo>
                    <a:cubicBezTo>
                      <a:pt x="16021" y="487512"/>
                      <a:pt x="25724" y="494507"/>
                      <a:pt x="26852" y="498118"/>
                    </a:cubicBezTo>
                    <a:cubicBezTo>
                      <a:pt x="27754" y="501954"/>
                      <a:pt x="28206" y="509400"/>
                      <a:pt x="29785" y="513236"/>
                    </a:cubicBezTo>
                    <a:cubicBezTo>
                      <a:pt x="31139" y="517072"/>
                      <a:pt x="36329" y="517975"/>
                      <a:pt x="39714" y="520682"/>
                    </a:cubicBezTo>
                    <a:cubicBezTo>
                      <a:pt x="43098" y="523616"/>
                      <a:pt x="44452" y="527677"/>
                      <a:pt x="44001" y="529708"/>
                    </a:cubicBezTo>
                    <a:cubicBezTo>
                      <a:pt x="43550" y="531513"/>
                      <a:pt x="40165" y="538734"/>
                      <a:pt x="42196" y="543247"/>
                    </a:cubicBezTo>
                    <a:cubicBezTo>
                      <a:pt x="44001" y="547986"/>
                      <a:pt x="46032" y="553627"/>
                      <a:pt x="45581" y="558817"/>
                    </a:cubicBezTo>
                    <a:cubicBezTo>
                      <a:pt x="45129" y="564006"/>
                      <a:pt x="45581" y="564909"/>
                      <a:pt x="47386" y="571453"/>
                    </a:cubicBezTo>
                    <a:cubicBezTo>
                      <a:pt x="49191" y="577997"/>
                      <a:pt x="53478" y="586120"/>
                      <a:pt x="56863" y="594920"/>
                    </a:cubicBezTo>
                    <a:cubicBezTo>
                      <a:pt x="60247" y="603946"/>
                      <a:pt x="66791" y="609587"/>
                      <a:pt x="66791" y="614100"/>
                    </a:cubicBezTo>
                    <a:cubicBezTo>
                      <a:pt x="66791" y="618839"/>
                      <a:pt x="67243" y="626285"/>
                      <a:pt x="72432" y="637116"/>
                    </a:cubicBezTo>
                    <a:cubicBezTo>
                      <a:pt x="77622" y="647947"/>
                      <a:pt x="75817" y="650655"/>
                      <a:pt x="76720" y="660583"/>
                    </a:cubicBezTo>
                    <a:cubicBezTo>
                      <a:pt x="77622" y="670511"/>
                      <a:pt x="75817" y="675701"/>
                      <a:pt x="75817" y="684502"/>
                    </a:cubicBezTo>
                    <a:cubicBezTo>
                      <a:pt x="75817" y="693527"/>
                      <a:pt x="82812" y="708420"/>
                      <a:pt x="83263" y="717897"/>
                    </a:cubicBezTo>
                    <a:cubicBezTo>
                      <a:pt x="83715" y="727374"/>
                      <a:pt x="91838" y="747908"/>
                      <a:pt x="94997" y="759641"/>
                    </a:cubicBezTo>
                    <a:cubicBezTo>
                      <a:pt x="96125" y="763252"/>
                      <a:pt x="97253" y="767314"/>
                      <a:pt x="98607" y="771601"/>
                    </a:cubicBezTo>
                    <a:cubicBezTo>
                      <a:pt x="105151" y="774309"/>
                      <a:pt x="110792" y="776565"/>
                      <a:pt x="114854" y="777016"/>
                    </a:cubicBezTo>
                    <a:cubicBezTo>
                      <a:pt x="128618" y="778822"/>
                      <a:pt x="134259" y="780175"/>
                      <a:pt x="141254" y="787622"/>
                    </a:cubicBezTo>
                    <a:cubicBezTo>
                      <a:pt x="148250" y="795068"/>
                      <a:pt x="155696" y="793263"/>
                      <a:pt x="155019" y="799581"/>
                    </a:cubicBezTo>
                    <a:cubicBezTo>
                      <a:pt x="154342" y="805899"/>
                      <a:pt x="164947" y="806576"/>
                      <a:pt x="164947" y="815827"/>
                    </a:cubicBezTo>
                    <a:cubicBezTo>
                      <a:pt x="164947" y="825079"/>
                      <a:pt x="165624" y="827110"/>
                      <a:pt x="171942" y="834556"/>
                    </a:cubicBezTo>
                    <a:cubicBezTo>
                      <a:pt x="178260" y="842002"/>
                      <a:pt x="182548" y="847644"/>
                      <a:pt x="195861" y="855767"/>
                    </a:cubicBezTo>
                    <a:cubicBezTo>
                      <a:pt x="209174" y="863890"/>
                      <a:pt x="205789" y="862085"/>
                      <a:pt x="212107" y="869531"/>
                    </a:cubicBezTo>
                    <a:cubicBezTo>
                      <a:pt x="218425" y="876978"/>
                      <a:pt x="235349" y="883973"/>
                      <a:pt x="244149" y="885778"/>
                    </a:cubicBezTo>
                    <a:cubicBezTo>
                      <a:pt x="252949" y="887583"/>
                      <a:pt x="265360" y="886455"/>
                      <a:pt x="276191" y="899542"/>
                    </a:cubicBezTo>
                    <a:cubicBezTo>
                      <a:pt x="286796" y="912630"/>
                      <a:pt x="286571" y="911050"/>
                      <a:pt x="292437" y="913758"/>
                    </a:cubicBezTo>
                    <a:cubicBezTo>
                      <a:pt x="298304" y="916240"/>
                      <a:pt x="303043" y="925266"/>
                      <a:pt x="305976" y="924363"/>
                    </a:cubicBezTo>
                    <a:cubicBezTo>
                      <a:pt x="308910" y="923461"/>
                      <a:pt x="319064" y="924363"/>
                      <a:pt x="320643" y="927748"/>
                    </a:cubicBezTo>
                    <a:cubicBezTo>
                      <a:pt x="322223" y="931133"/>
                      <a:pt x="319966" y="932712"/>
                      <a:pt x="332828" y="932712"/>
                    </a:cubicBezTo>
                    <a:cubicBezTo>
                      <a:pt x="345690" y="932712"/>
                      <a:pt x="348172" y="927974"/>
                      <a:pt x="354490" y="928651"/>
                    </a:cubicBezTo>
                    <a:cubicBezTo>
                      <a:pt x="360808" y="929327"/>
                      <a:pt x="360357" y="925491"/>
                      <a:pt x="361485" y="922332"/>
                    </a:cubicBezTo>
                    <a:cubicBezTo>
                      <a:pt x="362388" y="919173"/>
                      <a:pt x="368706" y="908794"/>
                      <a:pt x="372090" y="908794"/>
                    </a:cubicBezTo>
                    <a:cubicBezTo>
                      <a:pt x="375475" y="908794"/>
                      <a:pt x="378409" y="904507"/>
                      <a:pt x="383147" y="912630"/>
                    </a:cubicBezTo>
                    <a:cubicBezTo>
                      <a:pt x="387886" y="920753"/>
                      <a:pt x="388563" y="918045"/>
                      <a:pt x="396009" y="914886"/>
                    </a:cubicBezTo>
                    <a:cubicBezTo>
                      <a:pt x="403455" y="911727"/>
                      <a:pt x="404132" y="908568"/>
                      <a:pt x="411353" y="909019"/>
                    </a:cubicBezTo>
                    <a:cubicBezTo>
                      <a:pt x="418574" y="909245"/>
                      <a:pt x="420379" y="914661"/>
                      <a:pt x="426922" y="914661"/>
                    </a:cubicBezTo>
                    <a:cubicBezTo>
                      <a:pt x="433466" y="914661"/>
                      <a:pt x="441138" y="912855"/>
                      <a:pt x="445200" y="903604"/>
                    </a:cubicBezTo>
                    <a:cubicBezTo>
                      <a:pt x="449261" y="894578"/>
                      <a:pt x="452646" y="890516"/>
                      <a:pt x="458739" y="890065"/>
                    </a:cubicBezTo>
                    <a:cubicBezTo>
                      <a:pt x="464831" y="889614"/>
                      <a:pt x="465734" y="885101"/>
                      <a:pt x="471826" y="880137"/>
                    </a:cubicBezTo>
                    <a:cubicBezTo>
                      <a:pt x="478144" y="875172"/>
                      <a:pt x="479272" y="865695"/>
                      <a:pt x="477693" y="860957"/>
                    </a:cubicBezTo>
                    <a:cubicBezTo>
                      <a:pt x="476113" y="856218"/>
                      <a:pt x="470472" y="854639"/>
                      <a:pt x="462349" y="854639"/>
                    </a:cubicBezTo>
                    <a:cubicBezTo>
                      <a:pt x="454226" y="854639"/>
                      <a:pt x="448585" y="851254"/>
                      <a:pt x="448133" y="845613"/>
                    </a:cubicBezTo>
                    <a:cubicBezTo>
                      <a:pt x="447908" y="839972"/>
                      <a:pt x="463477" y="829366"/>
                      <a:pt x="463703" y="825530"/>
                    </a:cubicBezTo>
                    <a:cubicBezTo>
                      <a:pt x="463928" y="821694"/>
                      <a:pt x="465959" y="814248"/>
                      <a:pt x="462800" y="809961"/>
                    </a:cubicBezTo>
                    <a:cubicBezTo>
                      <a:pt x="459641" y="805673"/>
                      <a:pt x="458739" y="794843"/>
                      <a:pt x="460544" y="792360"/>
                    </a:cubicBezTo>
                    <a:cubicBezTo>
                      <a:pt x="462349" y="789878"/>
                      <a:pt x="469570" y="786493"/>
                      <a:pt x="472052" y="786945"/>
                    </a:cubicBezTo>
                    <a:cubicBezTo>
                      <a:pt x="474534" y="787622"/>
                      <a:pt x="484237" y="782883"/>
                      <a:pt x="487396" y="775662"/>
                    </a:cubicBezTo>
                    <a:cubicBezTo>
                      <a:pt x="490555" y="768442"/>
                      <a:pt x="488750" y="765283"/>
                      <a:pt x="494842" y="761221"/>
                    </a:cubicBezTo>
                    <a:cubicBezTo>
                      <a:pt x="501160" y="757159"/>
                      <a:pt x="504545" y="758965"/>
                      <a:pt x="511540" y="763026"/>
                    </a:cubicBezTo>
                    <a:cubicBezTo>
                      <a:pt x="518535" y="767088"/>
                      <a:pt x="522822" y="766411"/>
                      <a:pt x="524402" y="763252"/>
                    </a:cubicBezTo>
                    <a:cubicBezTo>
                      <a:pt x="525981" y="760093"/>
                      <a:pt x="534330" y="760996"/>
                      <a:pt x="540423" y="768216"/>
                    </a:cubicBezTo>
                    <a:cubicBezTo>
                      <a:pt x="546289" y="775437"/>
                      <a:pt x="548546" y="778596"/>
                      <a:pt x="549448" y="778596"/>
                    </a:cubicBezTo>
                    <a:cubicBezTo>
                      <a:pt x="550351" y="778596"/>
                      <a:pt x="551705" y="760996"/>
                      <a:pt x="563664" y="755354"/>
                    </a:cubicBezTo>
                    <a:cubicBezTo>
                      <a:pt x="575623" y="749713"/>
                      <a:pt x="579008" y="747457"/>
                      <a:pt x="583521" y="740687"/>
                    </a:cubicBezTo>
                    <a:cubicBezTo>
                      <a:pt x="587808" y="733692"/>
                      <a:pt x="592998" y="724667"/>
                      <a:pt x="594578" y="719025"/>
                    </a:cubicBezTo>
                    <a:cubicBezTo>
                      <a:pt x="596157" y="713384"/>
                      <a:pt x="592321" y="708420"/>
                      <a:pt x="584198" y="707066"/>
                    </a:cubicBezTo>
                    <a:close/>
                  </a:path>
                </a:pathLst>
              </a:custGeom>
              <a:solidFill>
                <a:srgbClr val="80C342">
                  <a:alpha val="70000"/>
                </a:srgbClr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xmlns="" id="{7FA46396-119F-44D9-808C-874F672FF92C}"/>
                  </a:ext>
                </a:extLst>
              </p:cNvPr>
              <p:cNvSpPr/>
              <p:nvPr/>
            </p:nvSpPr>
            <p:spPr>
              <a:xfrm>
                <a:off x="8863659" y="4477903"/>
                <a:ext cx="315905" cy="609244"/>
              </a:xfrm>
              <a:custGeom>
                <a:avLst/>
                <a:gdLst>
                  <a:gd name="connsiteX0" fmla="*/ 324028 w 315904"/>
                  <a:gd name="connsiteY0" fmla="*/ 447907 h 609244"/>
                  <a:gd name="connsiteX1" fmla="*/ 311166 w 315904"/>
                  <a:gd name="connsiteY1" fmla="*/ 443846 h 609244"/>
                  <a:gd name="connsiteX2" fmla="*/ 304171 w 315904"/>
                  <a:gd name="connsiteY2" fmla="*/ 423989 h 609244"/>
                  <a:gd name="connsiteX3" fmla="*/ 306653 w 315904"/>
                  <a:gd name="connsiteY3" fmla="*/ 402778 h 609244"/>
                  <a:gd name="connsiteX4" fmla="*/ 310940 w 315904"/>
                  <a:gd name="connsiteY4" fmla="*/ 382470 h 609244"/>
                  <a:gd name="connsiteX5" fmla="*/ 307104 w 315904"/>
                  <a:gd name="connsiteY5" fmla="*/ 371188 h 609244"/>
                  <a:gd name="connsiteX6" fmla="*/ 313648 w 315904"/>
                  <a:gd name="connsiteY6" fmla="*/ 354264 h 609244"/>
                  <a:gd name="connsiteX7" fmla="*/ 297627 w 315904"/>
                  <a:gd name="connsiteY7" fmla="*/ 341177 h 609244"/>
                  <a:gd name="connsiteX8" fmla="*/ 280027 w 315904"/>
                  <a:gd name="connsiteY8" fmla="*/ 350654 h 609244"/>
                  <a:gd name="connsiteX9" fmla="*/ 259042 w 315904"/>
                  <a:gd name="connsiteY9" fmla="*/ 345690 h 609244"/>
                  <a:gd name="connsiteX10" fmla="*/ 250016 w 315904"/>
                  <a:gd name="connsiteY10" fmla="*/ 308007 h 609244"/>
                  <a:gd name="connsiteX11" fmla="*/ 257462 w 315904"/>
                  <a:gd name="connsiteY11" fmla="*/ 291760 h 609244"/>
                  <a:gd name="connsiteX12" fmla="*/ 250467 w 315904"/>
                  <a:gd name="connsiteY12" fmla="*/ 264908 h 609244"/>
                  <a:gd name="connsiteX13" fmla="*/ 239862 w 315904"/>
                  <a:gd name="connsiteY13" fmla="*/ 241667 h 609244"/>
                  <a:gd name="connsiteX14" fmla="*/ 236026 w 315904"/>
                  <a:gd name="connsiteY14" fmla="*/ 218425 h 609244"/>
                  <a:gd name="connsiteX15" fmla="*/ 212784 w 315904"/>
                  <a:gd name="connsiteY15" fmla="*/ 214138 h 609244"/>
                  <a:gd name="connsiteX16" fmla="*/ 215943 w 315904"/>
                  <a:gd name="connsiteY16" fmla="*/ 201502 h 609244"/>
                  <a:gd name="connsiteX17" fmla="*/ 190897 w 315904"/>
                  <a:gd name="connsiteY17" fmla="*/ 183901 h 609244"/>
                  <a:gd name="connsiteX18" fmla="*/ 176455 w 315904"/>
                  <a:gd name="connsiteY18" fmla="*/ 171942 h 609244"/>
                  <a:gd name="connsiteX19" fmla="*/ 199020 w 315904"/>
                  <a:gd name="connsiteY19" fmla="*/ 157501 h 609244"/>
                  <a:gd name="connsiteX20" fmla="*/ 203533 w 315904"/>
                  <a:gd name="connsiteY20" fmla="*/ 150506 h 609244"/>
                  <a:gd name="connsiteX21" fmla="*/ 193830 w 315904"/>
                  <a:gd name="connsiteY21" fmla="*/ 142157 h 609244"/>
                  <a:gd name="connsiteX22" fmla="*/ 177583 w 315904"/>
                  <a:gd name="connsiteY22" fmla="*/ 127941 h 609244"/>
                  <a:gd name="connsiteX23" fmla="*/ 145542 w 315904"/>
                  <a:gd name="connsiteY23" fmla="*/ 114177 h 609244"/>
                  <a:gd name="connsiteX24" fmla="*/ 113500 w 315904"/>
                  <a:gd name="connsiteY24" fmla="*/ 97930 h 609244"/>
                  <a:gd name="connsiteX25" fmla="*/ 97254 w 315904"/>
                  <a:gd name="connsiteY25" fmla="*/ 84166 h 609244"/>
                  <a:gd name="connsiteX26" fmla="*/ 73335 w 315904"/>
                  <a:gd name="connsiteY26" fmla="*/ 62955 h 609244"/>
                  <a:gd name="connsiteX27" fmla="*/ 66340 w 315904"/>
                  <a:gd name="connsiteY27" fmla="*/ 44226 h 609244"/>
                  <a:gd name="connsiteX28" fmla="*/ 56412 w 315904"/>
                  <a:gd name="connsiteY28" fmla="*/ 27980 h 609244"/>
                  <a:gd name="connsiteX29" fmla="*/ 42647 w 315904"/>
                  <a:gd name="connsiteY29" fmla="*/ 16021 h 609244"/>
                  <a:gd name="connsiteX30" fmla="*/ 16247 w 315904"/>
                  <a:gd name="connsiteY30" fmla="*/ 5415 h 609244"/>
                  <a:gd name="connsiteX31" fmla="*/ 0 w 315904"/>
                  <a:gd name="connsiteY31" fmla="*/ 0 h 609244"/>
                  <a:gd name="connsiteX32" fmla="*/ 7672 w 315904"/>
                  <a:gd name="connsiteY32" fmla="*/ 27980 h 609244"/>
                  <a:gd name="connsiteX33" fmla="*/ 25047 w 315904"/>
                  <a:gd name="connsiteY33" fmla="*/ 63632 h 609244"/>
                  <a:gd name="connsiteX34" fmla="*/ 60248 w 315904"/>
                  <a:gd name="connsiteY34" fmla="*/ 120044 h 609244"/>
                  <a:gd name="connsiteX35" fmla="*/ 78074 w 315904"/>
                  <a:gd name="connsiteY35" fmla="*/ 142608 h 609244"/>
                  <a:gd name="connsiteX36" fmla="*/ 85520 w 315904"/>
                  <a:gd name="connsiteY36" fmla="*/ 155696 h 609244"/>
                  <a:gd name="connsiteX37" fmla="*/ 97705 w 315904"/>
                  <a:gd name="connsiteY37" fmla="*/ 176906 h 609244"/>
                  <a:gd name="connsiteX38" fmla="*/ 108085 w 315904"/>
                  <a:gd name="connsiteY38" fmla="*/ 195635 h 609244"/>
                  <a:gd name="connsiteX39" fmla="*/ 124105 w 315904"/>
                  <a:gd name="connsiteY39" fmla="*/ 239862 h 609244"/>
                  <a:gd name="connsiteX40" fmla="*/ 130649 w 315904"/>
                  <a:gd name="connsiteY40" fmla="*/ 270324 h 609244"/>
                  <a:gd name="connsiteX41" fmla="*/ 150506 w 315904"/>
                  <a:gd name="connsiteY41" fmla="*/ 322448 h 609244"/>
                  <a:gd name="connsiteX42" fmla="*/ 173071 w 315904"/>
                  <a:gd name="connsiteY42" fmla="*/ 381116 h 609244"/>
                  <a:gd name="connsiteX43" fmla="*/ 177809 w 315904"/>
                  <a:gd name="connsiteY43" fmla="*/ 437528 h 609244"/>
                  <a:gd name="connsiteX44" fmla="*/ 194281 w 315904"/>
                  <a:gd name="connsiteY44" fmla="*/ 490554 h 609244"/>
                  <a:gd name="connsiteX45" fmla="*/ 211205 w 315904"/>
                  <a:gd name="connsiteY45" fmla="*/ 534330 h 609244"/>
                  <a:gd name="connsiteX46" fmla="*/ 224292 w 315904"/>
                  <a:gd name="connsiteY46" fmla="*/ 552607 h 609244"/>
                  <a:gd name="connsiteX47" fmla="*/ 256334 w 315904"/>
                  <a:gd name="connsiteY47" fmla="*/ 598188 h 609244"/>
                  <a:gd name="connsiteX48" fmla="*/ 286345 w 315904"/>
                  <a:gd name="connsiteY48" fmla="*/ 625491 h 609244"/>
                  <a:gd name="connsiteX49" fmla="*/ 288827 w 315904"/>
                  <a:gd name="connsiteY49" fmla="*/ 627070 h 609244"/>
                  <a:gd name="connsiteX50" fmla="*/ 303720 w 315904"/>
                  <a:gd name="connsiteY50" fmla="*/ 595931 h 609244"/>
                  <a:gd name="connsiteX51" fmla="*/ 303043 w 315904"/>
                  <a:gd name="connsiteY51" fmla="*/ 580587 h 609244"/>
                  <a:gd name="connsiteX52" fmla="*/ 302366 w 315904"/>
                  <a:gd name="connsiteY52" fmla="*/ 562987 h 609244"/>
                  <a:gd name="connsiteX53" fmla="*/ 302591 w 315904"/>
                  <a:gd name="connsiteY53" fmla="*/ 534104 h 609244"/>
                  <a:gd name="connsiteX54" fmla="*/ 300109 w 315904"/>
                  <a:gd name="connsiteY54" fmla="*/ 516278 h 609244"/>
                  <a:gd name="connsiteX55" fmla="*/ 310715 w 315904"/>
                  <a:gd name="connsiteY55" fmla="*/ 497775 h 609244"/>
                  <a:gd name="connsiteX56" fmla="*/ 324253 w 315904"/>
                  <a:gd name="connsiteY56" fmla="*/ 471149 h 609244"/>
                  <a:gd name="connsiteX57" fmla="*/ 324028 w 315904"/>
                  <a:gd name="connsiteY57" fmla="*/ 447907 h 609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315904" h="609244">
                    <a:moveTo>
                      <a:pt x="324028" y="447907"/>
                    </a:moveTo>
                    <a:cubicBezTo>
                      <a:pt x="316807" y="439784"/>
                      <a:pt x="316582" y="445651"/>
                      <a:pt x="311166" y="443846"/>
                    </a:cubicBezTo>
                    <a:cubicBezTo>
                      <a:pt x="305751" y="442041"/>
                      <a:pt x="301463" y="429405"/>
                      <a:pt x="304171" y="423989"/>
                    </a:cubicBezTo>
                    <a:cubicBezTo>
                      <a:pt x="306879" y="418573"/>
                      <a:pt x="307104" y="410901"/>
                      <a:pt x="306653" y="402778"/>
                    </a:cubicBezTo>
                    <a:cubicBezTo>
                      <a:pt x="306428" y="394655"/>
                      <a:pt x="313197" y="387660"/>
                      <a:pt x="310940" y="382470"/>
                    </a:cubicBezTo>
                    <a:cubicBezTo>
                      <a:pt x="308684" y="377054"/>
                      <a:pt x="304622" y="376152"/>
                      <a:pt x="307104" y="371188"/>
                    </a:cubicBezTo>
                    <a:cubicBezTo>
                      <a:pt x="309587" y="366224"/>
                      <a:pt x="314551" y="364193"/>
                      <a:pt x="313648" y="354264"/>
                    </a:cubicBezTo>
                    <a:cubicBezTo>
                      <a:pt x="312746" y="344336"/>
                      <a:pt x="303945" y="341177"/>
                      <a:pt x="297627" y="341177"/>
                    </a:cubicBezTo>
                    <a:cubicBezTo>
                      <a:pt x="291309" y="341177"/>
                      <a:pt x="284765" y="347720"/>
                      <a:pt x="280027" y="350654"/>
                    </a:cubicBezTo>
                    <a:cubicBezTo>
                      <a:pt x="275288" y="353587"/>
                      <a:pt x="263329" y="353587"/>
                      <a:pt x="259042" y="345690"/>
                    </a:cubicBezTo>
                    <a:cubicBezTo>
                      <a:pt x="254755" y="337792"/>
                      <a:pt x="250467" y="319966"/>
                      <a:pt x="250016" y="308007"/>
                    </a:cubicBezTo>
                    <a:cubicBezTo>
                      <a:pt x="249339" y="296048"/>
                      <a:pt x="254303" y="298078"/>
                      <a:pt x="257462" y="291760"/>
                    </a:cubicBezTo>
                    <a:cubicBezTo>
                      <a:pt x="260621" y="285442"/>
                      <a:pt x="264457" y="273483"/>
                      <a:pt x="250467" y="264908"/>
                    </a:cubicBezTo>
                    <a:cubicBezTo>
                      <a:pt x="236703" y="256108"/>
                      <a:pt x="223615" y="253626"/>
                      <a:pt x="239862" y="241667"/>
                    </a:cubicBezTo>
                    <a:cubicBezTo>
                      <a:pt x="256108" y="229708"/>
                      <a:pt x="244149" y="224066"/>
                      <a:pt x="236026" y="218425"/>
                    </a:cubicBezTo>
                    <a:cubicBezTo>
                      <a:pt x="227903" y="212784"/>
                      <a:pt x="220908" y="220230"/>
                      <a:pt x="212784" y="214138"/>
                    </a:cubicBezTo>
                    <a:cubicBezTo>
                      <a:pt x="204661" y="207820"/>
                      <a:pt x="216620" y="206692"/>
                      <a:pt x="215943" y="201502"/>
                    </a:cubicBezTo>
                    <a:cubicBezTo>
                      <a:pt x="215266" y="196538"/>
                      <a:pt x="200374" y="189543"/>
                      <a:pt x="190897" y="183901"/>
                    </a:cubicBezTo>
                    <a:cubicBezTo>
                      <a:pt x="181420" y="178260"/>
                      <a:pt x="176455" y="176906"/>
                      <a:pt x="176455" y="171942"/>
                    </a:cubicBezTo>
                    <a:cubicBezTo>
                      <a:pt x="176455" y="166978"/>
                      <a:pt x="188414" y="165624"/>
                      <a:pt x="199020" y="157501"/>
                    </a:cubicBezTo>
                    <a:cubicBezTo>
                      <a:pt x="201276" y="155696"/>
                      <a:pt x="202856" y="153214"/>
                      <a:pt x="203533" y="150506"/>
                    </a:cubicBezTo>
                    <a:cubicBezTo>
                      <a:pt x="200825" y="147798"/>
                      <a:pt x="197666" y="143736"/>
                      <a:pt x="193830" y="142157"/>
                    </a:cubicBezTo>
                    <a:cubicBezTo>
                      <a:pt x="187963" y="139675"/>
                      <a:pt x="188189" y="141254"/>
                      <a:pt x="177583" y="127941"/>
                    </a:cubicBezTo>
                    <a:cubicBezTo>
                      <a:pt x="166978" y="114854"/>
                      <a:pt x="154342" y="115982"/>
                      <a:pt x="145542" y="114177"/>
                    </a:cubicBezTo>
                    <a:cubicBezTo>
                      <a:pt x="136742" y="112372"/>
                      <a:pt x="119818" y="105377"/>
                      <a:pt x="113500" y="97930"/>
                    </a:cubicBezTo>
                    <a:cubicBezTo>
                      <a:pt x="107182" y="90484"/>
                      <a:pt x="110341" y="92289"/>
                      <a:pt x="97254" y="84166"/>
                    </a:cubicBezTo>
                    <a:cubicBezTo>
                      <a:pt x="84166" y="76043"/>
                      <a:pt x="79653" y="70401"/>
                      <a:pt x="73335" y="62955"/>
                    </a:cubicBezTo>
                    <a:cubicBezTo>
                      <a:pt x="67017" y="55509"/>
                      <a:pt x="66340" y="53478"/>
                      <a:pt x="66340" y="44226"/>
                    </a:cubicBezTo>
                    <a:cubicBezTo>
                      <a:pt x="66340" y="34975"/>
                      <a:pt x="55735" y="34298"/>
                      <a:pt x="56412" y="27980"/>
                    </a:cubicBezTo>
                    <a:cubicBezTo>
                      <a:pt x="57088" y="21662"/>
                      <a:pt x="49416" y="23693"/>
                      <a:pt x="42647" y="16021"/>
                    </a:cubicBezTo>
                    <a:cubicBezTo>
                      <a:pt x="35652" y="8574"/>
                      <a:pt x="30011" y="7220"/>
                      <a:pt x="16247" y="5415"/>
                    </a:cubicBezTo>
                    <a:cubicBezTo>
                      <a:pt x="12411" y="4964"/>
                      <a:pt x="6544" y="2708"/>
                      <a:pt x="0" y="0"/>
                    </a:cubicBezTo>
                    <a:cubicBezTo>
                      <a:pt x="2933" y="9477"/>
                      <a:pt x="6092" y="19631"/>
                      <a:pt x="7672" y="27980"/>
                    </a:cubicBezTo>
                    <a:cubicBezTo>
                      <a:pt x="9928" y="40165"/>
                      <a:pt x="20308" y="52350"/>
                      <a:pt x="25047" y="63632"/>
                    </a:cubicBezTo>
                    <a:cubicBezTo>
                      <a:pt x="29785" y="74914"/>
                      <a:pt x="55058" y="113049"/>
                      <a:pt x="60248" y="120044"/>
                    </a:cubicBezTo>
                    <a:cubicBezTo>
                      <a:pt x="65437" y="127039"/>
                      <a:pt x="74463" y="138772"/>
                      <a:pt x="78074" y="142608"/>
                    </a:cubicBezTo>
                    <a:cubicBezTo>
                      <a:pt x="81910" y="146444"/>
                      <a:pt x="84166" y="147798"/>
                      <a:pt x="85520" y="155696"/>
                    </a:cubicBezTo>
                    <a:cubicBezTo>
                      <a:pt x="86874" y="163593"/>
                      <a:pt x="92515" y="173522"/>
                      <a:pt x="97705" y="176906"/>
                    </a:cubicBezTo>
                    <a:cubicBezTo>
                      <a:pt x="102895" y="180291"/>
                      <a:pt x="104700" y="189543"/>
                      <a:pt x="108085" y="195635"/>
                    </a:cubicBezTo>
                    <a:cubicBezTo>
                      <a:pt x="111469" y="201728"/>
                      <a:pt x="118916" y="220456"/>
                      <a:pt x="124105" y="239862"/>
                    </a:cubicBezTo>
                    <a:cubicBezTo>
                      <a:pt x="129295" y="259042"/>
                      <a:pt x="127490" y="256785"/>
                      <a:pt x="130649" y="270324"/>
                    </a:cubicBezTo>
                    <a:cubicBezTo>
                      <a:pt x="133808" y="283863"/>
                      <a:pt x="136290" y="290181"/>
                      <a:pt x="150506" y="322448"/>
                    </a:cubicBezTo>
                    <a:cubicBezTo>
                      <a:pt x="164722" y="354716"/>
                      <a:pt x="169235" y="364870"/>
                      <a:pt x="173071" y="381116"/>
                    </a:cubicBezTo>
                    <a:cubicBezTo>
                      <a:pt x="176907" y="397588"/>
                      <a:pt x="174424" y="417219"/>
                      <a:pt x="177809" y="437528"/>
                    </a:cubicBezTo>
                    <a:cubicBezTo>
                      <a:pt x="181194" y="457836"/>
                      <a:pt x="185707" y="477016"/>
                      <a:pt x="194281" y="490554"/>
                    </a:cubicBezTo>
                    <a:cubicBezTo>
                      <a:pt x="202856" y="504093"/>
                      <a:pt x="208497" y="527335"/>
                      <a:pt x="211205" y="534330"/>
                    </a:cubicBezTo>
                    <a:cubicBezTo>
                      <a:pt x="213913" y="541325"/>
                      <a:pt x="222938" y="546966"/>
                      <a:pt x="224292" y="552607"/>
                    </a:cubicBezTo>
                    <a:cubicBezTo>
                      <a:pt x="225646" y="558248"/>
                      <a:pt x="242570" y="586454"/>
                      <a:pt x="256334" y="598188"/>
                    </a:cubicBezTo>
                    <a:cubicBezTo>
                      <a:pt x="269873" y="609921"/>
                      <a:pt x="266714" y="612855"/>
                      <a:pt x="286345" y="625491"/>
                    </a:cubicBezTo>
                    <a:cubicBezTo>
                      <a:pt x="287248" y="625942"/>
                      <a:pt x="287924" y="626619"/>
                      <a:pt x="288827" y="627070"/>
                    </a:cubicBezTo>
                    <a:cubicBezTo>
                      <a:pt x="299658" y="617593"/>
                      <a:pt x="299207" y="601347"/>
                      <a:pt x="303720" y="595931"/>
                    </a:cubicBezTo>
                    <a:cubicBezTo>
                      <a:pt x="310263" y="588034"/>
                      <a:pt x="307556" y="588034"/>
                      <a:pt x="303043" y="580587"/>
                    </a:cubicBezTo>
                    <a:cubicBezTo>
                      <a:pt x="298756" y="573141"/>
                      <a:pt x="298079" y="570659"/>
                      <a:pt x="302366" y="562987"/>
                    </a:cubicBezTo>
                    <a:cubicBezTo>
                      <a:pt x="306653" y="555541"/>
                      <a:pt x="307104" y="540197"/>
                      <a:pt x="302591" y="534104"/>
                    </a:cubicBezTo>
                    <a:cubicBezTo>
                      <a:pt x="298304" y="528237"/>
                      <a:pt x="295145" y="522822"/>
                      <a:pt x="300109" y="516278"/>
                    </a:cubicBezTo>
                    <a:cubicBezTo>
                      <a:pt x="305074" y="509734"/>
                      <a:pt x="310489" y="509734"/>
                      <a:pt x="310715" y="497775"/>
                    </a:cubicBezTo>
                    <a:cubicBezTo>
                      <a:pt x="310940" y="485816"/>
                      <a:pt x="318838" y="478370"/>
                      <a:pt x="324253" y="471149"/>
                    </a:cubicBezTo>
                    <a:cubicBezTo>
                      <a:pt x="330797" y="464154"/>
                      <a:pt x="331249" y="456031"/>
                      <a:pt x="324028" y="447907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xmlns="" id="{33F62AA9-0607-4714-B0A5-D36558B91945}"/>
                  </a:ext>
                </a:extLst>
              </p:cNvPr>
              <p:cNvSpPr/>
              <p:nvPr/>
            </p:nvSpPr>
            <p:spPr>
              <a:xfrm>
                <a:off x="9040565" y="4379961"/>
                <a:ext cx="541551" cy="744632"/>
              </a:xfrm>
              <a:custGeom>
                <a:avLst/>
                <a:gdLst>
                  <a:gd name="connsiteX0" fmla="*/ 553961 w 541550"/>
                  <a:gd name="connsiteY0" fmla="*/ 15581 h 744632"/>
                  <a:gd name="connsiteX1" fmla="*/ 552833 w 541550"/>
                  <a:gd name="connsiteY1" fmla="*/ 13325 h 744632"/>
                  <a:gd name="connsiteX2" fmla="*/ 526207 w 541550"/>
                  <a:gd name="connsiteY2" fmla="*/ 11 h 744632"/>
                  <a:gd name="connsiteX3" fmla="*/ 519212 w 541550"/>
                  <a:gd name="connsiteY3" fmla="*/ 7458 h 744632"/>
                  <a:gd name="connsiteX4" fmla="*/ 496647 w 541550"/>
                  <a:gd name="connsiteY4" fmla="*/ 26638 h 744632"/>
                  <a:gd name="connsiteX5" fmla="*/ 469795 w 541550"/>
                  <a:gd name="connsiteY5" fmla="*/ 32279 h 744632"/>
                  <a:gd name="connsiteX6" fmla="*/ 454226 w 541550"/>
                  <a:gd name="connsiteY6" fmla="*/ 27991 h 744632"/>
                  <a:gd name="connsiteX7" fmla="*/ 437302 w 541550"/>
                  <a:gd name="connsiteY7" fmla="*/ 31376 h 744632"/>
                  <a:gd name="connsiteX8" fmla="*/ 436400 w 541550"/>
                  <a:gd name="connsiteY8" fmla="*/ 44012 h 744632"/>
                  <a:gd name="connsiteX9" fmla="*/ 416091 w 541550"/>
                  <a:gd name="connsiteY9" fmla="*/ 52587 h 744632"/>
                  <a:gd name="connsiteX10" fmla="*/ 395332 w 541550"/>
                  <a:gd name="connsiteY10" fmla="*/ 64772 h 744632"/>
                  <a:gd name="connsiteX11" fmla="*/ 375475 w 541550"/>
                  <a:gd name="connsiteY11" fmla="*/ 60033 h 744632"/>
                  <a:gd name="connsiteX12" fmla="*/ 361259 w 541550"/>
                  <a:gd name="connsiteY12" fmla="*/ 57100 h 744632"/>
                  <a:gd name="connsiteX13" fmla="*/ 333054 w 541550"/>
                  <a:gd name="connsiteY13" fmla="*/ 65674 h 744632"/>
                  <a:gd name="connsiteX14" fmla="*/ 324479 w 541550"/>
                  <a:gd name="connsiteY14" fmla="*/ 83952 h 744632"/>
                  <a:gd name="connsiteX15" fmla="*/ 315002 w 541550"/>
                  <a:gd name="connsiteY15" fmla="*/ 104711 h 744632"/>
                  <a:gd name="connsiteX16" fmla="*/ 300786 w 541550"/>
                  <a:gd name="connsiteY16" fmla="*/ 121634 h 744632"/>
                  <a:gd name="connsiteX17" fmla="*/ 284765 w 541550"/>
                  <a:gd name="connsiteY17" fmla="*/ 114639 h 744632"/>
                  <a:gd name="connsiteX18" fmla="*/ 275288 w 541550"/>
                  <a:gd name="connsiteY18" fmla="*/ 102003 h 744632"/>
                  <a:gd name="connsiteX19" fmla="*/ 274386 w 541550"/>
                  <a:gd name="connsiteY19" fmla="*/ 105162 h 744632"/>
                  <a:gd name="connsiteX20" fmla="*/ 265360 w 541550"/>
                  <a:gd name="connsiteY20" fmla="*/ 94783 h 744632"/>
                  <a:gd name="connsiteX21" fmla="*/ 249339 w 541550"/>
                  <a:gd name="connsiteY21" fmla="*/ 89819 h 744632"/>
                  <a:gd name="connsiteX22" fmla="*/ 236477 w 541550"/>
                  <a:gd name="connsiteY22" fmla="*/ 89593 h 744632"/>
                  <a:gd name="connsiteX23" fmla="*/ 219779 w 541550"/>
                  <a:gd name="connsiteY23" fmla="*/ 87788 h 744632"/>
                  <a:gd name="connsiteX24" fmla="*/ 212333 w 541550"/>
                  <a:gd name="connsiteY24" fmla="*/ 102229 h 744632"/>
                  <a:gd name="connsiteX25" fmla="*/ 196989 w 541550"/>
                  <a:gd name="connsiteY25" fmla="*/ 113512 h 744632"/>
                  <a:gd name="connsiteX26" fmla="*/ 185481 w 541550"/>
                  <a:gd name="connsiteY26" fmla="*/ 118927 h 744632"/>
                  <a:gd name="connsiteX27" fmla="*/ 187738 w 541550"/>
                  <a:gd name="connsiteY27" fmla="*/ 136527 h 744632"/>
                  <a:gd name="connsiteX28" fmla="*/ 188640 w 541550"/>
                  <a:gd name="connsiteY28" fmla="*/ 152097 h 744632"/>
                  <a:gd name="connsiteX29" fmla="*/ 173071 w 541550"/>
                  <a:gd name="connsiteY29" fmla="*/ 172179 h 744632"/>
                  <a:gd name="connsiteX30" fmla="*/ 187286 w 541550"/>
                  <a:gd name="connsiteY30" fmla="*/ 181205 h 744632"/>
                  <a:gd name="connsiteX31" fmla="*/ 202630 w 541550"/>
                  <a:gd name="connsiteY31" fmla="*/ 187523 h 744632"/>
                  <a:gd name="connsiteX32" fmla="*/ 196763 w 541550"/>
                  <a:gd name="connsiteY32" fmla="*/ 206703 h 744632"/>
                  <a:gd name="connsiteX33" fmla="*/ 183676 w 541550"/>
                  <a:gd name="connsiteY33" fmla="*/ 216632 h 744632"/>
                  <a:gd name="connsiteX34" fmla="*/ 170137 w 541550"/>
                  <a:gd name="connsiteY34" fmla="*/ 230171 h 744632"/>
                  <a:gd name="connsiteX35" fmla="*/ 151860 w 541550"/>
                  <a:gd name="connsiteY35" fmla="*/ 241227 h 744632"/>
                  <a:gd name="connsiteX36" fmla="*/ 136290 w 541550"/>
                  <a:gd name="connsiteY36" fmla="*/ 235586 h 744632"/>
                  <a:gd name="connsiteX37" fmla="*/ 120946 w 541550"/>
                  <a:gd name="connsiteY37" fmla="*/ 241453 h 744632"/>
                  <a:gd name="connsiteX38" fmla="*/ 108085 w 541550"/>
                  <a:gd name="connsiteY38" fmla="*/ 239196 h 744632"/>
                  <a:gd name="connsiteX39" fmla="*/ 97028 w 541550"/>
                  <a:gd name="connsiteY39" fmla="*/ 235360 h 744632"/>
                  <a:gd name="connsiteX40" fmla="*/ 86423 w 541550"/>
                  <a:gd name="connsiteY40" fmla="*/ 248899 h 744632"/>
                  <a:gd name="connsiteX41" fmla="*/ 79427 w 541550"/>
                  <a:gd name="connsiteY41" fmla="*/ 255217 h 744632"/>
                  <a:gd name="connsiteX42" fmla="*/ 57765 w 541550"/>
                  <a:gd name="connsiteY42" fmla="*/ 259279 h 744632"/>
                  <a:gd name="connsiteX43" fmla="*/ 45581 w 541550"/>
                  <a:gd name="connsiteY43" fmla="*/ 254314 h 744632"/>
                  <a:gd name="connsiteX44" fmla="*/ 30913 w 541550"/>
                  <a:gd name="connsiteY44" fmla="*/ 250930 h 744632"/>
                  <a:gd name="connsiteX45" fmla="*/ 27078 w 541550"/>
                  <a:gd name="connsiteY45" fmla="*/ 248673 h 744632"/>
                  <a:gd name="connsiteX46" fmla="*/ 27078 w 541550"/>
                  <a:gd name="connsiteY46" fmla="*/ 248673 h 744632"/>
                  <a:gd name="connsiteX47" fmla="*/ 22565 w 541550"/>
                  <a:gd name="connsiteY47" fmla="*/ 255668 h 744632"/>
                  <a:gd name="connsiteX48" fmla="*/ 0 w 541550"/>
                  <a:gd name="connsiteY48" fmla="*/ 270110 h 744632"/>
                  <a:gd name="connsiteX49" fmla="*/ 14441 w 541550"/>
                  <a:gd name="connsiteY49" fmla="*/ 282069 h 744632"/>
                  <a:gd name="connsiteX50" fmla="*/ 39488 w 541550"/>
                  <a:gd name="connsiteY50" fmla="*/ 299670 h 744632"/>
                  <a:gd name="connsiteX51" fmla="*/ 36329 w 541550"/>
                  <a:gd name="connsiteY51" fmla="*/ 312306 h 744632"/>
                  <a:gd name="connsiteX52" fmla="*/ 59571 w 541550"/>
                  <a:gd name="connsiteY52" fmla="*/ 316593 h 744632"/>
                  <a:gd name="connsiteX53" fmla="*/ 63407 w 541550"/>
                  <a:gd name="connsiteY53" fmla="*/ 339835 h 744632"/>
                  <a:gd name="connsiteX54" fmla="*/ 74012 w 541550"/>
                  <a:gd name="connsiteY54" fmla="*/ 363076 h 744632"/>
                  <a:gd name="connsiteX55" fmla="*/ 81007 w 541550"/>
                  <a:gd name="connsiteY55" fmla="*/ 389928 h 744632"/>
                  <a:gd name="connsiteX56" fmla="*/ 73561 w 541550"/>
                  <a:gd name="connsiteY56" fmla="*/ 406174 h 744632"/>
                  <a:gd name="connsiteX57" fmla="*/ 82586 w 541550"/>
                  <a:gd name="connsiteY57" fmla="*/ 443857 h 744632"/>
                  <a:gd name="connsiteX58" fmla="*/ 103572 w 541550"/>
                  <a:gd name="connsiteY58" fmla="*/ 448821 h 744632"/>
                  <a:gd name="connsiteX59" fmla="*/ 121172 w 541550"/>
                  <a:gd name="connsiteY59" fmla="*/ 439344 h 744632"/>
                  <a:gd name="connsiteX60" fmla="*/ 137193 w 541550"/>
                  <a:gd name="connsiteY60" fmla="*/ 452432 h 744632"/>
                  <a:gd name="connsiteX61" fmla="*/ 130649 w 541550"/>
                  <a:gd name="connsiteY61" fmla="*/ 469355 h 744632"/>
                  <a:gd name="connsiteX62" fmla="*/ 134485 w 541550"/>
                  <a:gd name="connsiteY62" fmla="*/ 480637 h 744632"/>
                  <a:gd name="connsiteX63" fmla="*/ 130198 w 541550"/>
                  <a:gd name="connsiteY63" fmla="*/ 500946 h 744632"/>
                  <a:gd name="connsiteX64" fmla="*/ 127716 w 541550"/>
                  <a:gd name="connsiteY64" fmla="*/ 522156 h 744632"/>
                  <a:gd name="connsiteX65" fmla="*/ 134711 w 541550"/>
                  <a:gd name="connsiteY65" fmla="*/ 542013 h 744632"/>
                  <a:gd name="connsiteX66" fmla="*/ 147573 w 541550"/>
                  <a:gd name="connsiteY66" fmla="*/ 546075 h 744632"/>
                  <a:gd name="connsiteX67" fmla="*/ 149152 w 541550"/>
                  <a:gd name="connsiteY67" fmla="*/ 569542 h 744632"/>
                  <a:gd name="connsiteX68" fmla="*/ 135613 w 541550"/>
                  <a:gd name="connsiteY68" fmla="*/ 596169 h 744632"/>
                  <a:gd name="connsiteX69" fmla="*/ 125008 w 541550"/>
                  <a:gd name="connsiteY69" fmla="*/ 614671 h 744632"/>
                  <a:gd name="connsiteX70" fmla="*/ 127490 w 541550"/>
                  <a:gd name="connsiteY70" fmla="*/ 632498 h 744632"/>
                  <a:gd name="connsiteX71" fmla="*/ 127264 w 541550"/>
                  <a:gd name="connsiteY71" fmla="*/ 661380 h 744632"/>
                  <a:gd name="connsiteX72" fmla="*/ 127941 w 541550"/>
                  <a:gd name="connsiteY72" fmla="*/ 678981 h 744632"/>
                  <a:gd name="connsiteX73" fmla="*/ 128618 w 541550"/>
                  <a:gd name="connsiteY73" fmla="*/ 694324 h 744632"/>
                  <a:gd name="connsiteX74" fmla="*/ 113726 w 541550"/>
                  <a:gd name="connsiteY74" fmla="*/ 725464 h 744632"/>
                  <a:gd name="connsiteX75" fmla="*/ 111244 w 541550"/>
                  <a:gd name="connsiteY75" fmla="*/ 723884 h 744632"/>
                  <a:gd name="connsiteX76" fmla="*/ 141706 w 541550"/>
                  <a:gd name="connsiteY76" fmla="*/ 749833 h 744632"/>
                  <a:gd name="connsiteX77" fmla="*/ 154793 w 541550"/>
                  <a:gd name="connsiteY77" fmla="*/ 754572 h 744632"/>
                  <a:gd name="connsiteX78" fmla="*/ 179163 w 541550"/>
                  <a:gd name="connsiteY78" fmla="*/ 758408 h 744632"/>
                  <a:gd name="connsiteX79" fmla="*/ 187738 w 541550"/>
                  <a:gd name="connsiteY79" fmla="*/ 746223 h 744632"/>
                  <a:gd name="connsiteX80" fmla="*/ 234221 w 541550"/>
                  <a:gd name="connsiteY80" fmla="*/ 718920 h 744632"/>
                  <a:gd name="connsiteX81" fmla="*/ 245954 w 541550"/>
                  <a:gd name="connsiteY81" fmla="*/ 706735 h 744632"/>
                  <a:gd name="connsiteX82" fmla="*/ 252949 w 541550"/>
                  <a:gd name="connsiteY82" fmla="*/ 685976 h 744632"/>
                  <a:gd name="connsiteX83" fmla="*/ 253401 w 541550"/>
                  <a:gd name="connsiteY83" fmla="*/ 659124 h 744632"/>
                  <a:gd name="connsiteX84" fmla="*/ 262878 w 541550"/>
                  <a:gd name="connsiteY84" fmla="*/ 632272 h 744632"/>
                  <a:gd name="connsiteX85" fmla="*/ 298079 w 541550"/>
                  <a:gd name="connsiteY85" fmla="*/ 613092 h 744632"/>
                  <a:gd name="connsiteX86" fmla="*/ 320192 w 541550"/>
                  <a:gd name="connsiteY86" fmla="*/ 606548 h 744632"/>
                  <a:gd name="connsiteX87" fmla="*/ 349300 w 541550"/>
                  <a:gd name="connsiteY87" fmla="*/ 594814 h 744632"/>
                  <a:gd name="connsiteX88" fmla="*/ 376152 w 541550"/>
                  <a:gd name="connsiteY88" fmla="*/ 595717 h 744632"/>
                  <a:gd name="connsiteX89" fmla="*/ 391722 w 541550"/>
                  <a:gd name="connsiteY89" fmla="*/ 590076 h 744632"/>
                  <a:gd name="connsiteX90" fmla="*/ 376603 w 541550"/>
                  <a:gd name="connsiteY90" fmla="*/ 583532 h 744632"/>
                  <a:gd name="connsiteX91" fmla="*/ 365321 w 541550"/>
                  <a:gd name="connsiteY91" fmla="*/ 551942 h 744632"/>
                  <a:gd name="connsiteX92" fmla="*/ 394881 w 541550"/>
                  <a:gd name="connsiteY92" fmla="*/ 505007 h 744632"/>
                  <a:gd name="connsiteX93" fmla="*/ 409096 w 541550"/>
                  <a:gd name="connsiteY93" fmla="*/ 474545 h 744632"/>
                  <a:gd name="connsiteX94" fmla="*/ 419927 w 541550"/>
                  <a:gd name="connsiteY94" fmla="*/ 451981 h 744632"/>
                  <a:gd name="connsiteX95" fmla="*/ 457159 w 541550"/>
                  <a:gd name="connsiteY95" fmla="*/ 446340 h 744632"/>
                  <a:gd name="connsiteX96" fmla="*/ 484688 w 541550"/>
                  <a:gd name="connsiteY96" fmla="*/ 453335 h 744632"/>
                  <a:gd name="connsiteX97" fmla="*/ 493488 w 541550"/>
                  <a:gd name="connsiteY97" fmla="*/ 442729 h 744632"/>
                  <a:gd name="connsiteX98" fmla="*/ 492811 w 541550"/>
                  <a:gd name="connsiteY98" fmla="*/ 398954 h 744632"/>
                  <a:gd name="connsiteX99" fmla="*/ 494165 w 541550"/>
                  <a:gd name="connsiteY99" fmla="*/ 346378 h 744632"/>
                  <a:gd name="connsiteX100" fmla="*/ 486042 w 541550"/>
                  <a:gd name="connsiteY100" fmla="*/ 297413 h 744632"/>
                  <a:gd name="connsiteX101" fmla="*/ 485365 w 541550"/>
                  <a:gd name="connsiteY101" fmla="*/ 276654 h 744632"/>
                  <a:gd name="connsiteX102" fmla="*/ 477242 w 541550"/>
                  <a:gd name="connsiteY102" fmla="*/ 227688 h 744632"/>
                  <a:gd name="connsiteX103" fmla="*/ 498452 w 541550"/>
                  <a:gd name="connsiteY103" fmla="*/ 198806 h 744632"/>
                  <a:gd name="connsiteX104" fmla="*/ 528463 w 541550"/>
                  <a:gd name="connsiteY104" fmla="*/ 156836 h 744632"/>
                  <a:gd name="connsiteX105" fmla="*/ 542905 w 541550"/>
                  <a:gd name="connsiteY105" fmla="*/ 120506 h 744632"/>
                  <a:gd name="connsiteX106" fmla="*/ 544259 w 541550"/>
                  <a:gd name="connsiteY106" fmla="*/ 89367 h 744632"/>
                  <a:gd name="connsiteX107" fmla="*/ 560279 w 541550"/>
                  <a:gd name="connsiteY107" fmla="*/ 53715 h 744632"/>
                  <a:gd name="connsiteX108" fmla="*/ 553961 w 541550"/>
                  <a:gd name="connsiteY108" fmla="*/ 15581 h 744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541550" h="744632">
                    <a:moveTo>
                      <a:pt x="553961" y="15581"/>
                    </a:moveTo>
                    <a:cubicBezTo>
                      <a:pt x="553510" y="14904"/>
                      <a:pt x="553284" y="14227"/>
                      <a:pt x="552833" y="13325"/>
                    </a:cubicBezTo>
                    <a:cubicBezTo>
                      <a:pt x="538617" y="12873"/>
                      <a:pt x="532976" y="-440"/>
                      <a:pt x="526207" y="11"/>
                    </a:cubicBezTo>
                    <a:cubicBezTo>
                      <a:pt x="517632" y="463"/>
                      <a:pt x="524402" y="2945"/>
                      <a:pt x="519212" y="7458"/>
                    </a:cubicBezTo>
                    <a:cubicBezTo>
                      <a:pt x="514022" y="12196"/>
                      <a:pt x="507930" y="24832"/>
                      <a:pt x="496647" y="26638"/>
                    </a:cubicBezTo>
                    <a:cubicBezTo>
                      <a:pt x="485365" y="28443"/>
                      <a:pt x="475436" y="32730"/>
                      <a:pt x="469795" y="32279"/>
                    </a:cubicBezTo>
                    <a:cubicBezTo>
                      <a:pt x="464154" y="31827"/>
                      <a:pt x="458062" y="34084"/>
                      <a:pt x="454226" y="27991"/>
                    </a:cubicBezTo>
                    <a:cubicBezTo>
                      <a:pt x="450390" y="21899"/>
                      <a:pt x="438205" y="25735"/>
                      <a:pt x="437302" y="31376"/>
                    </a:cubicBezTo>
                    <a:cubicBezTo>
                      <a:pt x="436400" y="37017"/>
                      <a:pt x="439559" y="39951"/>
                      <a:pt x="436400" y="44012"/>
                    </a:cubicBezTo>
                    <a:cubicBezTo>
                      <a:pt x="433015" y="48299"/>
                      <a:pt x="426020" y="52587"/>
                      <a:pt x="416091" y="52587"/>
                    </a:cubicBezTo>
                    <a:cubicBezTo>
                      <a:pt x="406163" y="52587"/>
                      <a:pt x="406614" y="62967"/>
                      <a:pt x="395332" y="64772"/>
                    </a:cubicBezTo>
                    <a:cubicBezTo>
                      <a:pt x="384050" y="66577"/>
                      <a:pt x="382696" y="56874"/>
                      <a:pt x="375475" y="60033"/>
                    </a:cubicBezTo>
                    <a:cubicBezTo>
                      <a:pt x="368480" y="63418"/>
                      <a:pt x="365998" y="61387"/>
                      <a:pt x="361259" y="57100"/>
                    </a:cubicBezTo>
                    <a:cubicBezTo>
                      <a:pt x="356521" y="52813"/>
                      <a:pt x="338695" y="63192"/>
                      <a:pt x="333054" y="65674"/>
                    </a:cubicBezTo>
                    <a:cubicBezTo>
                      <a:pt x="327413" y="67931"/>
                      <a:pt x="329669" y="79890"/>
                      <a:pt x="324479" y="83952"/>
                    </a:cubicBezTo>
                    <a:cubicBezTo>
                      <a:pt x="319289" y="88239"/>
                      <a:pt x="322223" y="96588"/>
                      <a:pt x="315002" y="104711"/>
                    </a:cubicBezTo>
                    <a:cubicBezTo>
                      <a:pt x="308007" y="112609"/>
                      <a:pt x="306428" y="121634"/>
                      <a:pt x="300786" y="121634"/>
                    </a:cubicBezTo>
                    <a:cubicBezTo>
                      <a:pt x="295145" y="121634"/>
                      <a:pt x="287699" y="116896"/>
                      <a:pt x="284765" y="114639"/>
                    </a:cubicBezTo>
                    <a:cubicBezTo>
                      <a:pt x="282960" y="113060"/>
                      <a:pt x="278222" y="108547"/>
                      <a:pt x="275288" y="102003"/>
                    </a:cubicBezTo>
                    <a:cubicBezTo>
                      <a:pt x="274837" y="103809"/>
                      <a:pt x="274611" y="105162"/>
                      <a:pt x="274386" y="105162"/>
                    </a:cubicBezTo>
                    <a:cubicBezTo>
                      <a:pt x="273483" y="105162"/>
                      <a:pt x="271227" y="102003"/>
                      <a:pt x="265360" y="94783"/>
                    </a:cubicBezTo>
                    <a:cubicBezTo>
                      <a:pt x="259493" y="87562"/>
                      <a:pt x="250918" y="86660"/>
                      <a:pt x="249339" y="89819"/>
                    </a:cubicBezTo>
                    <a:cubicBezTo>
                      <a:pt x="247759" y="92978"/>
                      <a:pt x="243472" y="93655"/>
                      <a:pt x="236477" y="89593"/>
                    </a:cubicBezTo>
                    <a:cubicBezTo>
                      <a:pt x="229482" y="85531"/>
                      <a:pt x="226097" y="83726"/>
                      <a:pt x="219779" y="87788"/>
                    </a:cubicBezTo>
                    <a:cubicBezTo>
                      <a:pt x="213461" y="91849"/>
                      <a:pt x="215492" y="95008"/>
                      <a:pt x="212333" y="102229"/>
                    </a:cubicBezTo>
                    <a:cubicBezTo>
                      <a:pt x="209174" y="109450"/>
                      <a:pt x="199471" y="114188"/>
                      <a:pt x="196989" y="113512"/>
                    </a:cubicBezTo>
                    <a:cubicBezTo>
                      <a:pt x="194507" y="112834"/>
                      <a:pt x="187286" y="116445"/>
                      <a:pt x="185481" y="118927"/>
                    </a:cubicBezTo>
                    <a:cubicBezTo>
                      <a:pt x="183676" y="121409"/>
                      <a:pt x="184579" y="132014"/>
                      <a:pt x="187738" y="136527"/>
                    </a:cubicBezTo>
                    <a:cubicBezTo>
                      <a:pt x="190897" y="140815"/>
                      <a:pt x="189091" y="148486"/>
                      <a:pt x="188640" y="152097"/>
                    </a:cubicBezTo>
                    <a:cubicBezTo>
                      <a:pt x="188414" y="155933"/>
                      <a:pt x="172619" y="166538"/>
                      <a:pt x="173071" y="172179"/>
                    </a:cubicBezTo>
                    <a:cubicBezTo>
                      <a:pt x="173296" y="177820"/>
                      <a:pt x="178937" y="181205"/>
                      <a:pt x="187286" y="181205"/>
                    </a:cubicBezTo>
                    <a:cubicBezTo>
                      <a:pt x="195410" y="181205"/>
                      <a:pt x="201051" y="182785"/>
                      <a:pt x="202630" y="187523"/>
                    </a:cubicBezTo>
                    <a:cubicBezTo>
                      <a:pt x="204210" y="192262"/>
                      <a:pt x="202856" y="201739"/>
                      <a:pt x="196763" y="206703"/>
                    </a:cubicBezTo>
                    <a:cubicBezTo>
                      <a:pt x="190445" y="211667"/>
                      <a:pt x="189543" y="216406"/>
                      <a:pt x="183676" y="216632"/>
                    </a:cubicBezTo>
                    <a:cubicBezTo>
                      <a:pt x="177809" y="216857"/>
                      <a:pt x="174199" y="220919"/>
                      <a:pt x="170137" y="230171"/>
                    </a:cubicBezTo>
                    <a:cubicBezTo>
                      <a:pt x="166076" y="239196"/>
                      <a:pt x="158629" y="241227"/>
                      <a:pt x="151860" y="241227"/>
                    </a:cubicBezTo>
                    <a:cubicBezTo>
                      <a:pt x="145316" y="241227"/>
                      <a:pt x="143285" y="235812"/>
                      <a:pt x="136290" y="235586"/>
                    </a:cubicBezTo>
                    <a:cubicBezTo>
                      <a:pt x="129070" y="235360"/>
                      <a:pt x="128393" y="238519"/>
                      <a:pt x="120946" y="241453"/>
                    </a:cubicBezTo>
                    <a:cubicBezTo>
                      <a:pt x="113500" y="244612"/>
                      <a:pt x="112823" y="247319"/>
                      <a:pt x="108085" y="239196"/>
                    </a:cubicBezTo>
                    <a:cubicBezTo>
                      <a:pt x="103346" y="231073"/>
                      <a:pt x="100638" y="235360"/>
                      <a:pt x="97028" y="235360"/>
                    </a:cubicBezTo>
                    <a:cubicBezTo>
                      <a:pt x="93643" y="235360"/>
                      <a:pt x="87325" y="245740"/>
                      <a:pt x="86423" y="248899"/>
                    </a:cubicBezTo>
                    <a:cubicBezTo>
                      <a:pt x="85520" y="252058"/>
                      <a:pt x="85746" y="255894"/>
                      <a:pt x="79427" y="255217"/>
                    </a:cubicBezTo>
                    <a:cubicBezTo>
                      <a:pt x="73109" y="254540"/>
                      <a:pt x="70627" y="259279"/>
                      <a:pt x="57765" y="259279"/>
                    </a:cubicBezTo>
                    <a:cubicBezTo>
                      <a:pt x="44904" y="259279"/>
                      <a:pt x="47160" y="257699"/>
                      <a:pt x="45581" y="254314"/>
                    </a:cubicBezTo>
                    <a:cubicBezTo>
                      <a:pt x="44001" y="250930"/>
                      <a:pt x="33621" y="250027"/>
                      <a:pt x="30913" y="250930"/>
                    </a:cubicBezTo>
                    <a:cubicBezTo>
                      <a:pt x="29785" y="251381"/>
                      <a:pt x="28657" y="250253"/>
                      <a:pt x="27078" y="248673"/>
                    </a:cubicBezTo>
                    <a:lnTo>
                      <a:pt x="27078" y="248673"/>
                    </a:lnTo>
                    <a:cubicBezTo>
                      <a:pt x="26175" y="251381"/>
                      <a:pt x="24821" y="253863"/>
                      <a:pt x="22565" y="255668"/>
                    </a:cubicBezTo>
                    <a:cubicBezTo>
                      <a:pt x="11959" y="263792"/>
                      <a:pt x="0" y="265145"/>
                      <a:pt x="0" y="270110"/>
                    </a:cubicBezTo>
                    <a:cubicBezTo>
                      <a:pt x="0" y="275074"/>
                      <a:pt x="4964" y="276428"/>
                      <a:pt x="14441" y="282069"/>
                    </a:cubicBezTo>
                    <a:cubicBezTo>
                      <a:pt x="23919" y="287710"/>
                      <a:pt x="38811" y="294705"/>
                      <a:pt x="39488" y="299670"/>
                    </a:cubicBezTo>
                    <a:cubicBezTo>
                      <a:pt x="40165" y="304633"/>
                      <a:pt x="28206" y="305988"/>
                      <a:pt x="36329" y="312306"/>
                    </a:cubicBezTo>
                    <a:cubicBezTo>
                      <a:pt x="44452" y="318624"/>
                      <a:pt x="51447" y="310952"/>
                      <a:pt x="59571" y="316593"/>
                    </a:cubicBezTo>
                    <a:cubicBezTo>
                      <a:pt x="67694" y="322234"/>
                      <a:pt x="79653" y="327875"/>
                      <a:pt x="63407" y="339835"/>
                    </a:cubicBezTo>
                    <a:cubicBezTo>
                      <a:pt x="47160" y="351794"/>
                      <a:pt x="60247" y="354276"/>
                      <a:pt x="74012" y="363076"/>
                    </a:cubicBezTo>
                    <a:cubicBezTo>
                      <a:pt x="87776" y="371876"/>
                      <a:pt x="83940" y="383835"/>
                      <a:pt x="81007" y="389928"/>
                    </a:cubicBezTo>
                    <a:cubicBezTo>
                      <a:pt x="77848" y="396246"/>
                      <a:pt x="72884" y="394215"/>
                      <a:pt x="73561" y="406174"/>
                    </a:cubicBezTo>
                    <a:cubicBezTo>
                      <a:pt x="74238" y="418134"/>
                      <a:pt x="78299" y="435960"/>
                      <a:pt x="82586" y="443857"/>
                    </a:cubicBezTo>
                    <a:cubicBezTo>
                      <a:pt x="86874" y="451755"/>
                      <a:pt x="98833" y="451755"/>
                      <a:pt x="103572" y="448821"/>
                    </a:cubicBezTo>
                    <a:cubicBezTo>
                      <a:pt x="108310" y="445888"/>
                      <a:pt x="114854" y="439344"/>
                      <a:pt x="121172" y="439344"/>
                    </a:cubicBezTo>
                    <a:cubicBezTo>
                      <a:pt x="127490" y="439344"/>
                      <a:pt x="136290" y="442503"/>
                      <a:pt x="137193" y="452432"/>
                    </a:cubicBezTo>
                    <a:cubicBezTo>
                      <a:pt x="138095" y="462360"/>
                      <a:pt x="133131" y="464391"/>
                      <a:pt x="130649" y="469355"/>
                    </a:cubicBezTo>
                    <a:cubicBezTo>
                      <a:pt x="128167" y="474319"/>
                      <a:pt x="132229" y="475222"/>
                      <a:pt x="134485" y="480637"/>
                    </a:cubicBezTo>
                    <a:cubicBezTo>
                      <a:pt x="136742" y="486053"/>
                      <a:pt x="129747" y="492823"/>
                      <a:pt x="130198" y="500946"/>
                    </a:cubicBezTo>
                    <a:cubicBezTo>
                      <a:pt x="130423" y="509069"/>
                      <a:pt x="130423" y="516967"/>
                      <a:pt x="127716" y="522156"/>
                    </a:cubicBezTo>
                    <a:cubicBezTo>
                      <a:pt x="125008" y="527346"/>
                      <a:pt x="129295" y="539983"/>
                      <a:pt x="134711" y="542013"/>
                    </a:cubicBezTo>
                    <a:cubicBezTo>
                      <a:pt x="140126" y="543818"/>
                      <a:pt x="140352" y="537952"/>
                      <a:pt x="147573" y="546075"/>
                    </a:cubicBezTo>
                    <a:cubicBezTo>
                      <a:pt x="154793" y="554198"/>
                      <a:pt x="154568" y="562322"/>
                      <a:pt x="149152" y="569542"/>
                    </a:cubicBezTo>
                    <a:cubicBezTo>
                      <a:pt x="143737" y="576763"/>
                      <a:pt x="136065" y="584209"/>
                      <a:pt x="135613" y="596169"/>
                    </a:cubicBezTo>
                    <a:cubicBezTo>
                      <a:pt x="135388" y="608128"/>
                      <a:pt x="129972" y="608128"/>
                      <a:pt x="125008" y="614671"/>
                    </a:cubicBezTo>
                    <a:cubicBezTo>
                      <a:pt x="120044" y="621215"/>
                      <a:pt x="123203" y="626631"/>
                      <a:pt x="127490" y="632498"/>
                    </a:cubicBezTo>
                    <a:cubicBezTo>
                      <a:pt x="131777" y="638364"/>
                      <a:pt x="131552" y="653708"/>
                      <a:pt x="127264" y="661380"/>
                    </a:cubicBezTo>
                    <a:cubicBezTo>
                      <a:pt x="122977" y="668826"/>
                      <a:pt x="123428" y="671308"/>
                      <a:pt x="127941" y="678981"/>
                    </a:cubicBezTo>
                    <a:cubicBezTo>
                      <a:pt x="132229" y="686427"/>
                      <a:pt x="135162" y="686427"/>
                      <a:pt x="128618" y="694324"/>
                    </a:cubicBezTo>
                    <a:cubicBezTo>
                      <a:pt x="124105" y="699740"/>
                      <a:pt x="124331" y="715987"/>
                      <a:pt x="113726" y="725464"/>
                    </a:cubicBezTo>
                    <a:cubicBezTo>
                      <a:pt x="112823" y="725012"/>
                      <a:pt x="112146" y="724335"/>
                      <a:pt x="111244" y="723884"/>
                    </a:cubicBezTo>
                    <a:cubicBezTo>
                      <a:pt x="131100" y="736520"/>
                      <a:pt x="135162" y="746449"/>
                      <a:pt x="141706" y="749833"/>
                    </a:cubicBezTo>
                    <a:cubicBezTo>
                      <a:pt x="148250" y="753218"/>
                      <a:pt x="147798" y="753669"/>
                      <a:pt x="154793" y="754572"/>
                    </a:cubicBezTo>
                    <a:cubicBezTo>
                      <a:pt x="161788" y="755475"/>
                      <a:pt x="178712" y="761567"/>
                      <a:pt x="179163" y="758408"/>
                    </a:cubicBezTo>
                    <a:cubicBezTo>
                      <a:pt x="179614" y="755023"/>
                      <a:pt x="182096" y="750962"/>
                      <a:pt x="187738" y="746223"/>
                    </a:cubicBezTo>
                    <a:cubicBezTo>
                      <a:pt x="193379" y="741484"/>
                      <a:pt x="231513" y="719823"/>
                      <a:pt x="234221" y="718920"/>
                    </a:cubicBezTo>
                    <a:cubicBezTo>
                      <a:pt x="237154" y="718017"/>
                      <a:pt x="240764" y="713279"/>
                      <a:pt x="245954" y="706735"/>
                    </a:cubicBezTo>
                    <a:cubicBezTo>
                      <a:pt x="251144" y="700191"/>
                      <a:pt x="253852" y="695001"/>
                      <a:pt x="252949" y="685976"/>
                    </a:cubicBezTo>
                    <a:cubicBezTo>
                      <a:pt x="252047" y="676950"/>
                      <a:pt x="253852" y="668601"/>
                      <a:pt x="253401" y="659124"/>
                    </a:cubicBezTo>
                    <a:cubicBezTo>
                      <a:pt x="252949" y="649647"/>
                      <a:pt x="260847" y="642652"/>
                      <a:pt x="262878" y="632272"/>
                    </a:cubicBezTo>
                    <a:cubicBezTo>
                      <a:pt x="264909" y="621892"/>
                      <a:pt x="288827" y="614897"/>
                      <a:pt x="298079" y="613092"/>
                    </a:cubicBezTo>
                    <a:cubicBezTo>
                      <a:pt x="307556" y="611287"/>
                      <a:pt x="309812" y="612189"/>
                      <a:pt x="320192" y="606548"/>
                    </a:cubicBezTo>
                    <a:cubicBezTo>
                      <a:pt x="330572" y="600907"/>
                      <a:pt x="342305" y="597973"/>
                      <a:pt x="349300" y="594814"/>
                    </a:cubicBezTo>
                    <a:cubicBezTo>
                      <a:pt x="356295" y="591430"/>
                      <a:pt x="359229" y="593010"/>
                      <a:pt x="376152" y="595717"/>
                    </a:cubicBezTo>
                    <a:cubicBezTo>
                      <a:pt x="393076" y="598425"/>
                      <a:pt x="399168" y="590978"/>
                      <a:pt x="391722" y="590076"/>
                    </a:cubicBezTo>
                    <a:cubicBezTo>
                      <a:pt x="384275" y="589173"/>
                      <a:pt x="383147" y="587819"/>
                      <a:pt x="376603" y="583532"/>
                    </a:cubicBezTo>
                    <a:cubicBezTo>
                      <a:pt x="370060" y="579245"/>
                      <a:pt x="361936" y="563224"/>
                      <a:pt x="365321" y="551942"/>
                    </a:cubicBezTo>
                    <a:cubicBezTo>
                      <a:pt x="368706" y="540659"/>
                      <a:pt x="385178" y="514710"/>
                      <a:pt x="394881" y="505007"/>
                    </a:cubicBezTo>
                    <a:cubicBezTo>
                      <a:pt x="404584" y="495305"/>
                      <a:pt x="406163" y="486730"/>
                      <a:pt x="409096" y="474545"/>
                    </a:cubicBezTo>
                    <a:cubicBezTo>
                      <a:pt x="412030" y="462360"/>
                      <a:pt x="412932" y="459427"/>
                      <a:pt x="419927" y="451981"/>
                    </a:cubicBezTo>
                    <a:cubicBezTo>
                      <a:pt x="426922" y="444534"/>
                      <a:pt x="442041" y="446340"/>
                      <a:pt x="457159" y="446340"/>
                    </a:cubicBezTo>
                    <a:cubicBezTo>
                      <a:pt x="472277" y="446340"/>
                      <a:pt x="479498" y="451529"/>
                      <a:pt x="484688" y="453335"/>
                    </a:cubicBezTo>
                    <a:cubicBezTo>
                      <a:pt x="489652" y="455140"/>
                      <a:pt x="491006" y="450852"/>
                      <a:pt x="493488" y="442729"/>
                    </a:cubicBezTo>
                    <a:cubicBezTo>
                      <a:pt x="495970" y="434606"/>
                      <a:pt x="494165" y="413170"/>
                      <a:pt x="492811" y="398954"/>
                    </a:cubicBezTo>
                    <a:cubicBezTo>
                      <a:pt x="491457" y="384512"/>
                      <a:pt x="494165" y="371425"/>
                      <a:pt x="494165" y="346378"/>
                    </a:cubicBezTo>
                    <a:cubicBezTo>
                      <a:pt x="494165" y="321331"/>
                      <a:pt x="490329" y="305085"/>
                      <a:pt x="486042" y="297413"/>
                    </a:cubicBezTo>
                    <a:cubicBezTo>
                      <a:pt x="481754" y="289967"/>
                      <a:pt x="483560" y="283649"/>
                      <a:pt x="485365" y="276654"/>
                    </a:cubicBezTo>
                    <a:cubicBezTo>
                      <a:pt x="487170" y="269659"/>
                      <a:pt x="479047" y="244612"/>
                      <a:pt x="477242" y="227688"/>
                    </a:cubicBezTo>
                    <a:cubicBezTo>
                      <a:pt x="475436" y="210765"/>
                      <a:pt x="487847" y="210765"/>
                      <a:pt x="498452" y="198806"/>
                    </a:cubicBezTo>
                    <a:cubicBezTo>
                      <a:pt x="509058" y="186847"/>
                      <a:pt x="521694" y="170600"/>
                      <a:pt x="528463" y="156836"/>
                    </a:cubicBezTo>
                    <a:cubicBezTo>
                      <a:pt x="535458" y="143071"/>
                      <a:pt x="537263" y="138558"/>
                      <a:pt x="542905" y="120506"/>
                    </a:cubicBezTo>
                    <a:cubicBezTo>
                      <a:pt x="548546" y="102229"/>
                      <a:pt x="544259" y="107419"/>
                      <a:pt x="544259" y="89367"/>
                    </a:cubicBezTo>
                    <a:cubicBezTo>
                      <a:pt x="544259" y="71315"/>
                      <a:pt x="555541" y="68608"/>
                      <a:pt x="560279" y="53715"/>
                    </a:cubicBezTo>
                    <a:cubicBezTo>
                      <a:pt x="564115" y="38145"/>
                      <a:pt x="561408" y="28668"/>
                      <a:pt x="553961" y="15581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xmlns="" id="{0F9DAF9A-9BD4-4FEC-8CE2-41B854E78B78}"/>
                  </a:ext>
                </a:extLst>
              </p:cNvPr>
              <p:cNvSpPr/>
              <p:nvPr/>
            </p:nvSpPr>
            <p:spPr>
              <a:xfrm>
                <a:off x="9212556" y="3509167"/>
                <a:ext cx="496422" cy="541551"/>
              </a:xfrm>
              <a:custGeom>
                <a:avLst/>
                <a:gdLst>
                  <a:gd name="connsiteX0" fmla="*/ 504045 w 496421"/>
                  <a:gd name="connsiteY0" fmla="*/ 347532 h 541550"/>
                  <a:gd name="connsiteX1" fmla="*/ 482834 w 496421"/>
                  <a:gd name="connsiteY1" fmla="*/ 334444 h 541550"/>
                  <a:gd name="connsiteX2" fmla="*/ 464557 w 496421"/>
                  <a:gd name="connsiteY2" fmla="*/ 321357 h 541550"/>
                  <a:gd name="connsiteX3" fmla="*/ 452823 w 496421"/>
                  <a:gd name="connsiteY3" fmla="*/ 305787 h 541550"/>
                  <a:gd name="connsiteX4" fmla="*/ 468844 w 496421"/>
                  <a:gd name="connsiteY4" fmla="*/ 294956 h 541550"/>
                  <a:gd name="connsiteX5" fmla="*/ 475388 w 496421"/>
                  <a:gd name="connsiteY5" fmla="*/ 278033 h 541550"/>
                  <a:gd name="connsiteX6" fmla="*/ 474034 w 496421"/>
                  <a:gd name="connsiteY6" fmla="*/ 252084 h 541550"/>
                  <a:gd name="connsiteX7" fmla="*/ 462301 w 496421"/>
                  <a:gd name="connsiteY7" fmla="*/ 240350 h 541550"/>
                  <a:gd name="connsiteX8" fmla="*/ 450567 w 496421"/>
                  <a:gd name="connsiteY8" fmla="*/ 232452 h 541550"/>
                  <a:gd name="connsiteX9" fmla="*/ 443572 w 496421"/>
                  <a:gd name="connsiteY9" fmla="*/ 215529 h 541550"/>
                  <a:gd name="connsiteX10" fmla="*/ 414915 w 496421"/>
                  <a:gd name="connsiteY10" fmla="*/ 177395 h 541550"/>
                  <a:gd name="connsiteX11" fmla="*/ 385355 w 496421"/>
                  <a:gd name="connsiteY11" fmla="*/ 165210 h 541550"/>
                  <a:gd name="connsiteX12" fmla="*/ 376555 w 496421"/>
                  <a:gd name="connsiteY12" fmla="*/ 152348 h 541550"/>
                  <a:gd name="connsiteX13" fmla="*/ 373170 w 496421"/>
                  <a:gd name="connsiteY13" fmla="*/ 157087 h 541550"/>
                  <a:gd name="connsiteX14" fmla="*/ 342483 w 496421"/>
                  <a:gd name="connsiteY14" fmla="*/ 152799 h 541550"/>
                  <a:gd name="connsiteX15" fmla="*/ 339323 w 496421"/>
                  <a:gd name="connsiteY15" fmla="*/ 131589 h 541550"/>
                  <a:gd name="connsiteX16" fmla="*/ 332328 w 496421"/>
                  <a:gd name="connsiteY16" fmla="*/ 102706 h 541550"/>
                  <a:gd name="connsiteX17" fmla="*/ 341805 w 496421"/>
                  <a:gd name="connsiteY17" fmla="*/ 65700 h 541550"/>
                  <a:gd name="connsiteX18" fmla="*/ 307282 w 496421"/>
                  <a:gd name="connsiteY18" fmla="*/ 41330 h 541550"/>
                  <a:gd name="connsiteX19" fmla="*/ 275240 w 496421"/>
                  <a:gd name="connsiteY19" fmla="*/ 47648 h 541550"/>
                  <a:gd name="connsiteX20" fmla="*/ 251321 w 496421"/>
                  <a:gd name="connsiteY20" fmla="*/ 46294 h 541550"/>
                  <a:gd name="connsiteX21" fmla="*/ 233044 w 496421"/>
                  <a:gd name="connsiteY21" fmla="*/ 51259 h 541550"/>
                  <a:gd name="connsiteX22" fmla="*/ 195361 w 496421"/>
                  <a:gd name="connsiteY22" fmla="*/ 35689 h 541550"/>
                  <a:gd name="connsiteX23" fmla="*/ 173474 w 496421"/>
                  <a:gd name="connsiteY23" fmla="*/ 13801 h 541550"/>
                  <a:gd name="connsiteX24" fmla="*/ 138950 w 496421"/>
                  <a:gd name="connsiteY24" fmla="*/ 9514 h 541550"/>
                  <a:gd name="connsiteX25" fmla="*/ 123380 w 496421"/>
                  <a:gd name="connsiteY25" fmla="*/ 714 h 541550"/>
                  <a:gd name="connsiteX26" fmla="*/ 120221 w 496421"/>
                  <a:gd name="connsiteY26" fmla="*/ 9514 h 541550"/>
                  <a:gd name="connsiteX27" fmla="*/ 122026 w 496421"/>
                  <a:gd name="connsiteY27" fmla="*/ 33433 h 541550"/>
                  <a:gd name="connsiteX28" fmla="*/ 120221 w 496421"/>
                  <a:gd name="connsiteY28" fmla="*/ 55997 h 541550"/>
                  <a:gd name="connsiteX29" fmla="*/ 106457 w 496421"/>
                  <a:gd name="connsiteY29" fmla="*/ 74726 h 541550"/>
                  <a:gd name="connsiteX30" fmla="*/ 93820 w 496421"/>
                  <a:gd name="connsiteY30" fmla="*/ 87362 h 541550"/>
                  <a:gd name="connsiteX31" fmla="*/ 74415 w 496421"/>
                  <a:gd name="connsiteY31" fmla="*/ 77433 h 541550"/>
                  <a:gd name="connsiteX32" fmla="*/ 62456 w 496421"/>
                  <a:gd name="connsiteY32" fmla="*/ 99998 h 541550"/>
                  <a:gd name="connsiteX33" fmla="*/ 64261 w 496421"/>
                  <a:gd name="connsiteY33" fmla="*/ 133168 h 541550"/>
                  <a:gd name="connsiteX34" fmla="*/ 54784 w 496421"/>
                  <a:gd name="connsiteY34" fmla="*/ 163856 h 541550"/>
                  <a:gd name="connsiteX35" fmla="*/ 31542 w 496421"/>
                  <a:gd name="connsiteY35" fmla="*/ 182585 h 541550"/>
                  <a:gd name="connsiteX36" fmla="*/ 25224 w 496421"/>
                  <a:gd name="connsiteY36" fmla="*/ 203344 h 541550"/>
                  <a:gd name="connsiteX37" fmla="*/ 16424 w 496421"/>
                  <a:gd name="connsiteY37" fmla="*/ 209662 h 541550"/>
                  <a:gd name="connsiteX38" fmla="*/ 27932 w 496421"/>
                  <a:gd name="connsiteY38" fmla="*/ 219816 h 541550"/>
                  <a:gd name="connsiteX39" fmla="*/ 29286 w 496421"/>
                  <a:gd name="connsiteY39" fmla="*/ 238545 h 541550"/>
                  <a:gd name="connsiteX40" fmla="*/ 23193 w 496421"/>
                  <a:gd name="connsiteY40" fmla="*/ 249827 h 541550"/>
                  <a:gd name="connsiteX41" fmla="*/ 34024 w 496421"/>
                  <a:gd name="connsiteY41" fmla="*/ 255017 h 541550"/>
                  <a:gd name="connsiteX42" fmla="*/ 29286 w 496421"/>
                  <a:gd name="connsiteY42" fmla="*/ 265848 h 541550"/>
                  <a:gd name="connsiteX43" fmla="*/ 20260 w 496421"/>
                  <a:gd name="connsiteY43" fmla="*/ 281869 h 541550"/>
                  <a:gd name="connsiteX44" fmla="*/ 15521 w 496421"/>
                  <a:gd name="connsiteY44" fmla="*/ 291797 h 541550"/>
                  <a:gd name="connsiteX45" fmla="*/ 10331 w 496421"/>
                  <a:gd name="connsiteY45" fmla="*/ 304885 h 541550"/>
                  <a:gd name="connsiteX46" fmla="*/ 25450 w 496421"/>
                  <a:gd name="connsiteY46" fmla="*/ 315264 h 541550"/>
                  <a:gd name="connsiteX47" fmla="*/ 31993 w 496421"/>
                  <a:gd name="connsiteY47" fmla="*/ 323839 h 541550"/>
                  <a:gd name="connsiteX48" fmla="*/ 16424 w 496421"/>
                  <a:gd name="connsiteY48" fmla="*/ 336927 h 541550"/>
                  <a:gd name="connsiteX49" fmla="*/ 3788 w 496421"/>
                  <a:gd name="connsiteY49" fmla="*/ 353399 h 541550"/>
                  <a:gd name="connsiteX50" fmla="*/ 3336 w 496421"/>
                  <a:gd name="connsiteY50" fmla="*/ 368517 h 541550"/>
                  <a:gd name="connsiteX51" fmla="*/ 8075 w 496421"/>
                  <a:gd name="connsiteY51" fmla="*/ 381153 h 541550"/>
                  <a:gd name="connsiteX52" fmla="*/ 6721 w 496421"/>
                  <a:gd name="connsiteY52" fmla="*/ 403267 h 541550"/>
                  <a:gd name="connsiteX53" fmla="*/ 10557 w 496421"/>
                  <a:gd name="connsiteY53" fmla="*/ 443206 h 541550"/>
                  <a:gd name="connsiteX54" fmla="*/ 9654 w 496421"/>
                  <a:gd name="connsiteY54" fmla="*/ 463514 h 541550"/>
                  <a:gd name="connsiteX55" fmla="*/ 4465 w 496421"/>
                  <a:gd name="connsiteY55" fmla="*/ 477053 h 541550"/>
                  <a:gd name="connsiteX56" fmla="*/ 25224 w 496421"/>
                  <a:gd name="connsiteY56" fmla="*/ 483596 h 541550"/>
                  <a:gd name="connsiteX57" fmla="*/ 13942 w 496421"/>
                  <a:gd name="connsiteY57" fmla="*/ 503453 h 541550"/>
                  <a:gd name="connsiteX58" fmla="*/ 13265 w 496421"/>
                  <a:gd name="connsiteY58" fmla="*/ 531885 h 541550"/>
                  <a:gd name="connsiteX59" fmla="*/ 11008 w 496421"/>
                  <a:gd name="connsiteY59" fmla="*/ 532562 h 541550"/>
                  <a:gd name="connsiteX60" fmla="*/ 20485 w 496421"/>
                  <a:gd name="connsiteY60" fmla="*/ 548131 h 541550"/>
                  <a:gd name="connsiteX61" fmla="*/ 47789 w 496421"/>
                  <a:gd name="connsiteY61" fmla="*/ 558511 h 541550"/>
                  <a:gd name="connsiteX62" fmla="*/ 78251 w 496421"/>
                  <a:gd name="connsiteY62" fmla="*/ 559865 h 541550"/>
                  <a:gd name="connsiteX63" fmla="*/ 101718 w 496421"/>
                  <a:gd name="connsiteY63" fmla="*/ 553773 h 541550"/>
                  <a:gd name="connsiteX64" fmla="*/ 131278 w 496421"/>
                  <a:gd name="connsiteY64" fmla="*/ 532110 h 541550"/>
                  <a:gd name="connsiteX65" fmla="*/ 169863 w 496421"/>
                  <a:gd name="connsiteY65" fmla="*/ 535495 h 541550"/>
                  <a:gd name="connsiteX66" fmla="*/ 191525 w 496421"/>
                  <a:gd name="connsiteY66" fmla="*/ 522859 h 541550"/>
                  <a:gd name="connsiteX67" fmla="*/ 217926 w 496421"/>
                  <a:gd name="connsiteY67" fmla="*/ 511125 h 541550"/>
                  <a:gd name="connsiteX68" fmla="*/ 235301 w 496421"/>
                  <a:gd name="connsiteY68" fmla="*/ 506387 h 541550"/>
                  <a:gd name="connsiteX69" fmla="*/ 242296 w 496421"/>
                  <a:gd name="connsiteY69" fmla="*/ 477278 h 541550"/>
                  <a:gd name="connsiteX70" fmla="*/ 267117 w 496421"/>
                  <a:gd name="connsiteY70" fmla="*/ 461709 h 541550"/>
                  <a:gd name="connsiteX71" fmla="*/ 308410 w 496421"/>
                  <a:gd name="connsiteY71" fmla="*/ 448170 h 541550"/>
                  <a:gd name="connsiteX72" fmla="*/ 337067 w 496421"/>
                  <a:gd name="connsiteY72" fmla="*/ 451104 h 541550"/>
                  <a:gd name="connsiteX73" fmla="*/ 343159 w 496421"/>
                  <a:gd name="connsiteY73" fmla="*/ 425605 h 541550"/>
                  <a:gd name="connsiteX74" fmla="*/ 356698 w 496421"/>
                  <a:gd name="connsiteY74" fmla="*/ 406426 h 541550"/>
                  <a:gd name="connsiteX75" fmla="*/ 377458 w 496421"/>
                  <a:gd name="connsiteY75" fmla="*/ 425605 h 541550"/>
                  <a:gd name="connsiteX76" fmla="*/ 400925 w 496421"/>
                  <a:gd name="connsiteY76" fmla="*/ 438693 h 541550"/>
                  <a:gd name="connsiteX77" fmla="*/ 411756 w 496421"/>
                  <a:gd name="connsiteY77" fmla="*/ 425154 h 541550"/>
                  <a:gd name="connsiteX78" fmla="*/ 387837 w 496421"/>
                  <a:gd name="connsiteY78" fmla="*/ 409585 h 541550"/>
                  <a:gd name="connsiteX79" fmla="*/ 398668 w 496421"/>
                  <a:gd name="connsiteY79" fmla="*/ 402138 h 541550"/>
                  <a:gd name="connsiteX80" fmla="*/ 399571 w 496421"/>
                  <a:gd name="connsiteY80" fmla="*/ 395143 h 541550"/>
                  <a:gd name="connsiteX81" fmla="*/ 418751 w 496421"/>
                  <a:gd name="connsiteY81" fmla="*/ 393338 h 541550"/>
                  <a:gd name="connsiteX82" fmla="*/ 433869 w 496421"/>
                  <a:gd name="connsiteY82" fmla="*/ 396723 h 541550"/>
                  <a:gd name="connsiteX83" fmla="*/ 452147 w 496421"/>
                  <a:gd name="connsiteY83" fmla="*/ 386794 h 541550"/>
                  <a:gd name="connsiteX84" fmla="*/ 481255 w 496421"/>
                  <a:gd name="connsiteY84" fmla="*/ 376415 h 541550"/>
                  <a:gd name="connsiteX85" fmla="*/ 499532 w 496421"/>
                  <a:gd name="connsiteY85" fmla="*/ 365584 h 541550"/>
                  <a:gd name="connsiteX86" fmla="*/ 504045 w 496421"/>
                  <a:gd name="connsiteY86" fmla="*/ 347532 h 541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496421" h="541550">
                    <a:moveTo>
                      <a:pt x="504045" y="347532"/>
                    </a:moveTo>
                    <a:cubicBezTo>
                      <a:pt x="497050" y="334896"/>
                      <a:pt x="493665" y="343696"/>
                      <a:pt x="482834" y="334444"/>
                    </a:cubicBezTo>
                    <a:cubicBezTo>
                      <a:pt x="472003" y="324967"/>
                      <a:pt x="466813" y="331511"/>
                      <a:pt x="464557" y="321357"/>
                    </a:cubicBezTo>
                    <a:cubicBezTo>
                      <a:pt x="462301" y="310977"/>
                      <a:pt x="453275" y="319100"/>
                      <a:pt x="452823" y="305787"/>
                    </a:cubicBezTo>
                    <a:cubicBezTo>
                      <a:pt x="452372" y="292700"/>
                      <a:pt x="464557" y="296310"/>
                      <a:pt x="468844" y="294956"/>
                    </a:cubicBezTo>
                    <a:cubicBezTo>
                      <a:pt x="473131" y="293602"/>
                      <a:pt x="477870" y="284125"/>
                      <a:pt x="475388" y="278033"/>
                    </a:cubicBezTo>
                    <a:cubicBezTo>
                      <a:pt x="473131" y="271940"/>
                      <a:pt x="475388" y="265397"/>
                      <a:pt x="474034" y="252084"/>
                    </a:cubicBezTo>
                    <a:cubicBezTo>
                      <a:pt x="472680" y="238996"/>
                      <a:pt x="470198" y="246443"/>
                      <a:pt x="462301" y="240350"/>
                    </a:cubicBezTo>
                    <a:cubicBezTo>
                      <a:pt x="454403" y="234258"/>
                      <a:pt x="456659" y="227714"/>
                      <a:pt x="450567" y="232452"/>
                    </a:cubicBezTo>
                    <a:cubicBezTo>
                      <a:pt x="444474" y="237191"/>
                      <a:pt x="443572" y="227714"/>
                      <a:pt x="443572" y="215529"/>
                    </a:cubicBezTo>
                    <a:cubicBezTo>
                      <a:pt x="443572" y="203344"/>
                      <a:pt x="433643" y="190031"/>
                      <a:pt x="414915" y="177395"/>
                    </a:cubicBezTo>
                    <a:cubicBezTo>
                      <a:pt x="396186" y="164759"/>
                      <a:pt x="390094" y="174010"/>
                      <a:pt x="385355" y="165210"/>
                    </a:cubicBezTo>
                    <a:cubicBezTo>
                      <a:pt x="382196" y="159343"/>
                      <a:pt x="379940" y="155281"/>
                      <a:pt x="376555" y="152348"/>
                    </a:cubicBezTo>
                    <a:cubicBezTo>
                      <a:pt x="376555" y="154830"/>
                      <a:pt x="375652" y="156635"/>
                      <a:pt x="373170" y="157087"/>
                    </a:cubicBezTo>
                    <a:cubicBezTo>
                      <a:pt x="365047" y="158441"/>
                      <a:pt x="353765" y="157087"/>
                      <a:pt x="342483" y="152799"/>
                    </a:cubicBezTo>
                    <a:cubicBezTo>
                      <a:pt x="331200" y="148512"/>
                      <a:pt x="341805" y="141517"/>
                      <a:pt x="339323" y="131589"/>
                    </a:cubicBezTo>
                    <a:cubicBezTo>
                      <a:pt x="336841" y="121660"/>
                      <a:pt x="325559" y="112860"/>
                      <a:pt x="332328" y="102706"/>
                    </a:cubicBezTo>
                    <a:cubicBezTo>
                      <a:pt x="339323" y="92777"/>
                      <a:pt x="341805" y="72018"/>
                      <a:pt x="341805" y="65700"/>
                    </a:cubicBezTo>
                    <a:cubicBezTo>
                      <a:pt x="341805" y="59382"/>
                      <a:pt x="329169" y="41330"/>
                      <a:pt x="307282" y="41330"/>
                    </a:cubicBezTo>
                    <a:cubicBezTo>
                      <a:pt x="285394" y="41330"/>
                      <a:pt x="286071" y="51259"/>
                      <a:pt x="275240" y="47648"/>
                    </a:cubicBezTo>
                    <a:cubicBezTo>
                      <a:pt x="264634" y="43812"/>
                      <a:pt x="258993" y="46294"/>
                      <a:pt x="251321" y="46294"/>
                    </a:cubicBezTo>
                    <a:cubicBezTo>
                      <a:pt x="243649" y="46294"/>
                      <a:pt x="241844" y="51259"/>
                      <a:pt x="233044" y="51259"/>
                    </a:cubicBezTo>
                    <a:cubicBezTo>
                      <a:pt x="224244" y="51259"/>
                      <a:pt x="201679" y="42458"/>
                      <a:pt x="195361" y="35689"/>
                    </a:cubicBezTo>
                    <a:cubicBezTo>
                      <a:pt x="189043" y="28694"/>
                      <a:pt x="179115" y="17412"/>
                      <a:pt x="173474" y="13801"/>
                    </a:cubicBezTo>
                    <a:cubicBezTo>
                      <a:pt x="167832" y="9965"/>
                      <a:pt x="143463" y="12447"/>
                      <a:pt x="138950" y="9514"/>
                    </a:cubicBezTo>
                    <a:cubicBezTo>
                      <a:pt x="134662" y="6355"/>
                      <a:pt x="125862" y="3873"/>
                      <a:pt x="123380" y="714"/>
                    </a:cubicBezTo>
                    <a:cubicBezTo>
                      <a:pt x="120898" y="-2445"/>
                      <a:pt x="115934" y="5678"/>
                      <a:pt x="120221" y="9514"/>
                    </a:cubicBezTo>
                    <a:cubicBezTo>
                      <a:pt x="124508" y="13350"/>
                      <a:pt x="118416" y="20119"/>
                      <a:pt x="122026" y="33433"/>
                    </a:cubicBezTo>
                    <a:cubicBezTo>
                      <a:pt x="125862" y="46520"/>
                      <a:pt x="123831" y="54192"/>
                      <a:pt x="120221" y="55997"/>
                    </a:cubicBezTo>
                    <a:cubicBezTo>
                      <a:pt x="116385" y="57802"/>
                      <a:pt x="105103" y="67956"/>
                      <a:pt x="106457" y="74726"/>
                    </a:cubicBezTo>
                    <a:cubicBezTo>
                      <a:pt x="107810" y="81721"/>
                      <a:pt x="96528" y="89167"/>
                      <a:pt x="93820" y="87362"/>
                    </a:cubicBezTo>
                    <a:cubicBezTo>
                      <a:pt x="91338" y="85557"/>
                      <a:pt x="82538" y="74274"/>
                      <a:pt x="74415" y="77433"/>
                    </a:cubicBezTo>
                    <a:cubicBezTo>
                      <a:pt x="66292" y="80593"/>
                      <a:pt x="68774" y="87362"/>
                      <a:pt x="62456" y="99998"/>
                    </a:cubicBezTo>
                    <a:cubicBezTo>
                      <a:pt x="56137" y="112634"/>
                      <a:pt x="67420" y="120081"/>
                      <a:pt x="64261" y="133168"/>
                    </a:cubicBezTo>
                    <a:cubicBezTo>
                      <a:pt x="61102" y="146256"/>
                      <a:pt x="62456" y="153251"/>
                      <a:pt x="54784" y="163856"/>
                    </a:cubicBezTo>
                    <a:cubicBezTo>
                      <a:pt x="47337" y="174461"/>
                      <a:pt x="31542" y="170851"/>
                      <a:pt x="31542" y="182585"/>
                    </a:cubicBezTo>
                    <a:cubicBezTo>
                      <a:pt x="31542" y="194544"/>
                      <a:pt x="34701" y="198831"/>
                      <a:pt x="25224" y="203344"/>
                    </a:cubicBezTo>
                    <a:cubicBezTo>
                      <a:pt x="19808" y="205826"/>
                      <a:pt x="18455" y="208534"/>
                      <a:pt x="16424" y="209662"/>
                    </a:cubicBezTo>
                    <a:cubicBezTo>
                      <a:pt x="22291" y="215980"/>
                      <a:pt x="30639" y="214626"/>
                      <a:pt x="27932" y="219816"/>
                    </a:cubicBezTo>
                    <a:cubicBezTo>
                      <a:pt x="24547" y="225909"/>
                      <a:pt x="33122" y="233355"/>
                      <a:pt x="29286" y="238545"/>
                    </a:cubicBezTo>
                    <a:cubicBezTo>
                      <a:pt x="25450" y="243735"/>
                      <a:pt x="21839" y="246443"/>
                      <a:pt x="23193" y="249827"/>
                    </a:cubicBezTo>
                    <a:cubicBezTo>
                      <a:pt x="24547" y="253212"/>
                      <a:pt x="32219" y="252084"/>
                      <a:pt x="34024" y="255017"/>
                    </a:cubicBezTo>
                    <a:cubicBezTo>
                      <a:pt x="35829" y="257950"/>
                      <a:pt x="32219" y="262915"/>
                      <a:pt x="29286" y="265848"/>
                    </a:cubicBezTo>
                    <a:cubicBezTo>
                      <a:pt x="26352" y="268781"/>
                      <a:pt x="18906" y="277582"/>
                      <a:pt x="20260" y="281869"/>
                    </a:cubicBezTo>
                    <a:cubicBezTo>
                      <a:pt x="21614" y="286156"/>
                      <a:pt x="22065" y="290895"/>
                      <a:pt x="15521" y="291797"/>
                    </a:cubicBezTo>
                    <a:cubicBezTo>
                      <a:pt x="8977" y="292700"/>
                      <a:pt x="10331" y="297890"/>
                      <a:pt x="10331" y="304885"/>
                    </a:cubicBezTo>
                    <a:cubicBezTo>
                      <a:pt x="10331" y="311880"/>
                      <a:pt x="17326" y="316167"/>
                      <a:pt x="25450" y="315264"/>
                    </a:cubicBezTo>
                    <a:cubicBezTo>
                      <a:pt x="33347" y="314362"/>
                      <a:pt x="34024" y="323839"/>
                      <a:pt x="31993" y="323839"/>
                    </a:cubicBezTo>
                    <a:cubicBezTo>
                      <a:pt x="29963" y="323839"/>
                      <a:pt x="22516" y="334219"/>
                      <a:pt x="16424" y="336927"/>
                    </a:cubicBezTo>
                    <a:cubicBezTo>
                      <a:pt x="10331" y="339634"/>
                      <a:pt x="9429" y="352496"/>
                      <a:pt x="3788" y="353399"/>
                    </a:cubicBezTo>
                    <a:cubicBezTo>
                      <a:pt x="-1854" y="354301"/>
                      <a:pt x="-500" y="364681"/>
                      <a:pt x="3336" y="368517"/>
                    </a:cubicBezTo>
                    <a:cubicBezTo>
                      <a:pt x="7172" y="372353"/>
                      <a:pt x="6270" y="373707"/>
                      <a:pt x="8075" y="381153"/>
                    </a:cubicBezTo>
                    <a:cubicBezTo>
                      <a:pt x="9880" y="388599"/>
                      <a:pt x="8977" y="392435"/>
                      <a:pt x="6721" y="403267"/>
                    </a:cubicBezTo>
                    <a:cubicBezTo>
                      <a:pt x="4465" y="414098"/>
                      <a:pt x="8977" y="428088"/>
                      <a:pt x="10557" y="443206"/>
                    </a:cubicBezTo>
                    <a:cubicBezTo>
                      <a:pt x="11911" y="458324"/>
                      <a:pt x="18003" y="457873"/>
                      <a:pt x="9654" y="463514"/>
                    </a:cubicBezTo>
                    <a:cubicBezTo>
                      <a:pt x="1305" y="469155"/>
                      <a:pt x="629" y="474796"/>
                      <a:pt x="4465" y="477053"/>
                    </a:cubicBezTo>
                    <a:cubicBezTo>
                      <a:pt x="8301" y="479309"/>
                      <a:pt x="17552" y="478858"/>
                      <a:pt x="25224" y="483596"/>
                    </a:cubicBezTo>
                    <a:cubicBezTo>
                      <a:pt x="32670" y="488335"/>
                      <a:pt x="24321" y="493074"/>
                      <a:pt x="13942" y="503453"/>
                    </a:cubicBezTo>
                    <a:cubicBezTo>
                      <a:pt x="3562" y="513833"/>
                      <a:pt x="15296" y="530080"/>
                      <a:pt x="13265" y="531885"/>
                    </a:cubicBezTo>
                    <a:cubicBezTo>
                      <a:pt x="13039" y="532110"/>
                      <a:pt x="12136" y="532336"/>
                      <a:pt x="11008" y="532562"/>
                    </a:cubicBezTo>
                    <a:cubicBezTo>
                      <a:pt x="16875" y="543167"/>
                      <a:pt x="19132" y="546326"/>
                      <a:pt x="20485" y="548131"/>
                    </a:cubicBezTo>
                    <a:cubicBezTo>
                      <a:pt x="22291" y="550388"/>
                      <a:pt x="37860" y="558962"/>
                      <a:pt x="47789" y="558511"/>
                    </a:cubicBezTo>
                    <a:cubicBezTo>
                      <a:pt x="57717" y="558060"/>
                      <a:pt x="63358" y="555578"/>
                      <a:pt x="78251" y="559865"/>
                    </a:cubicBezTo>
                    <a:cubicBezTo>
                      <a:pt x="93369" y="564152"/>
                      <a:pt x="94272" y="560316"/>
                      <a:pt x="101718" y="553773"/>
                    </a:cubicBezTo>
                    <a:cubicBezTo>
                      <a:pt x="109164" y="547229"/>
                      <a:pt x="109616" y="535495"/>
                      <a:pt x="131278" y="532110"/>
                    </a:cubicBezTo>
                    <a:cubicBezTo>
                      <a:pt x="152940" y="528726"/>
                      <a:pt x="160386" y="535946"/>
                      <a:pt x="169863" y="535495"/>
                    </a:cubicBezTo>
                    <a:cubicBezTo>
                      <a:pt x="179340" y="535044"/>
                      <a:pt x="188592" y="526018"/>
                      <a:pt x="191525" y="522859"/>
                    </a:cubicBezTo>
                    <a:cubicBezTo>
                      <a:pt x="194459" y="519474"/>
                      <a:pt x="207997" y="511577"/>
                      <a:pt x="217926" y="511125"/>
                    </a:cubicBezTo>
                    <a:cubicBezTo>
                      <a:pt x="227854" y="510674"/>
                      <a:pt x="234849" y="509771"/>
                      <a:pt x="235301" y="506387"/>
                    </a:cubicBezTo>
                    <a:cubicBezTo>
                      <a:pt x="235752" y="503002"/>
                      <a:pt x="239137" y="490366"/>
                      <a:pt x="242296" y="477278"/>
                    </a:cubicBezTo>
                    <a:cubicBezTo>
                      <a:pt x="245680" y="464191"/>
                      <a:pt x="251321" y="465545"/>
                      <a:pt x="267117" y="461709"/>
                    </a:cubicBezTo>
                    <a:cubicBezTo>
                      <a:pt x="283137" y="457873"/>
                      <a:pt x="289230" y="449975"/>
                      <a:pt x="308410" y="448170"/>
                    </a:cubicBezTo>
                    <a:cubicBezTo>
                      <a:pt x="327590" y="446365"/>
                      <a:pt x="332328" y="452909"/>
                      <a:pt x="337067" y="451104"/>
                    </a:cubicBezTo>
                    <a:cubicBezTo>
                      <a:pt x="341805" y="449298"/>
                      <a:pt x="346544" y="435534"/>
                      <a:pt x="343159" y="425605"/>
                    </a:cubicBezTo>
                    <a:cubicBezTo>
                      <a:pt x="339775" y="415677"/>
                      <a:pt x="346093" y="412067"/>
                      <a:pt x="356698" y="406426"/>
                    </a:cubicBezTo>
                    <a:cubicBezTo>
                      <a:pt x="367529" y="400784"/>
                      <a:pt x="373170" y="419513"/>
                      <a:pt x="377458" y="425605"/>
                    </a:cubicBezTo>
                    <a:cubicBezTo>
                      <a:pt x="381745" y="431698"/>
                      <a:pt x="392576" y="434631"/>
                      <a:pt x="400925" y="438693"/>
                    </a:cubicBezTo>
                    <a:cubicBezTo>
                      <a:pt x="409274" y="442755"/>
                      <a:pt x="419202" y="436437"/>
                      <a:pt x="411756" y="425154"/>
                    </a:cubicBezTo>
                    <a:cubicBezTo>
                      <a:pt x="404310" y="413872"/>
                      <a:pt x="387837" y="416580"/>
                      <a:pt x="387837" y="409585"/>
                    </a:cubicBezTo>
                    <a:cubicBezTo>
                      <a:pt x="387837" y="402590"/>
                      <a:pt x="390771" y="402138"/>
                      <a:pt x="398668" y="402138"/>
                    </a:cubicBezTo>
                    <a:cubicBezTo>
                      <a:pt x="406566" y="402138"/>
                      <a:pt x="399571" y="398302"/>
                      <a:pt x="399571" y="395143"/>
                    </a:cubicBezTo>
                    <a:cubicBezTo>
                      <a:pt x="399571" y="391759"/>
                      <a:pt x="412658" y="389953"/>
                      <a:pt x="418751" y="393338"/>
                    </a:cubicBezTo>
                    <a:cubicBezTo>
                      <a:pt x="424843" y="396723"/>
                      <a:pt x="419653" y="396723"/>
                      <a:pt x="433869" y="396723"/>
                    </a:cubicBezTo>
                    <a:cubicBezTo>
                      <a:pt x="448085" y="396723"/>
                      <a:pt x="448085" y="394466"/>
                      <a:pt x="452147" y="386794"/>
                    </a:cubicBezTo>
                    <a:cubicBezTo>
                      <a:pt x="456434" y="379348"/>
                      <a:pt x="465685" y="382056"/>
                      <a:pt x="481255" y="376415"/>
                    </a:cubicBezTo>
                    <a:cubicBezTo>
                      <a:pt x="496824" y="370773"/>
                      <a:pt x="492086" y="372127"/>
                      <a:pt x="499532" y="365584"/>
                    </a:cubicBezTo>
                    <a:cubicBezTo>
                      <a:pt x="507881" y="357912"/>
                      <a:pt x="511266" y="360394"/>
                      <a:pt x="504045" y="347532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xmlns="" id="{73ECE8C7-4766-4B1E-9186-E24072A2D74D}"/>
                  </a:ext>
                </a:extLst>
              </p:cNvPr>
              <p:cNvSpPr/>
              <p:nvPr/>
            </p:nvSpPr>
            <p:spPr>
              <a:xfrm>
                <a:off x="10530923" y="2355566"/>
                <a:ext cx="90258" cy="135388"/>
              </a:xfrm>
              <a:custGeom>
                <a:avLst/>
                <a:gdLst>
                  <a:gd name="connsiteX0" fmla="*/ 2743 w 90258"/>
                  <a:gd name="connsiteY0" fmla="*/ 120630 h 135387"/>
                  <a:gd name="connsiteX1" fmla="*/ 1615 w 90258"/>
                  <a:gd name="connsiteY1" fmla="*/ 117697 h 135387"/>
                  <a:gd name="connsiteX2" fmla="*/ 2743 w 90258"/>
                  <a:gd name="connsiteY2" fmla="*/ 120630 h 135387"/>
                  <a:gd name="connsiteX3" fmla="*/ 86909 w 90258"/>
                  <a:gd name="connsiteY3" fmla="*/ 123789 h 135387"/>
                  <a:gd name="connsiteX4" fmla="*/ 99094 w 90258"/>
                  <a:gd name="connsiteY4" fmla="*/ 107768 h 135387"/>
                  <a:gd name="connsiteX5" fmla="*/ 98191 w 90258"/>
                  <a:gd name="connsiteY5" fmla="*/ 96937 h 135387"/>
                  <a:gd name="connsiteX6" fmla="*/ 90745 w 90258"/>
                  <a:gd name="connsiteY6" fmla="*/ 88363 h 135387"/>
                  <a:gd name="connsiteX7" fmla="*/ 89842 w 90258"/>
                  <a:gd name="connsiteY7" fmla="*/ 73696 h 135387"/>
                  <a:gd name="connsiteX8" fmla="*/ 96837 w 90258"/>
                  <a:gd name="connsiteY8" fmla="*/ 61060 h 135387"/>
                  <a:gd name="connsiteX9" fmla="*/ 101124 w 90258"/>
                  <a:gd name="connsiteY9" fmla="*/ 37141 h 135387"/>
                  <a:gd name="connsiteX10" fmla="*/ 95935 w 90258"/>
                  <a:gd name="connsiteY10" fmla="*/ 15930 h 135387"/>
                  <a:gd name="connsiteX11" fmla="*/ 72919 w 90258"/>
                  <a:gd name="connsiteY11" fmla="*/ 2392 h 135387"/>
                  <a:gd name="connsiteX12" fmla="*/ 58703 w 90258"/>
                  <a:gd name="connsiteY12" fmla="*/ 2843 h 135387"/>
                  <a:gd name="connsiteX13" fmla="*/ 47872 w 90258"/>
                  <a:gd name="connsiteY13" fmla="*/ 12320 h 135387"/>
                  <a:gd name="connsiteX14" fmla="*/ 35687 w 90258"/>
                  <a:gd name="connsiteY14" fmla="*/ 23151 h 135387"/>
                  <a:gd name="connsiteX15" fmla="*/ 19666 w 90258"/>
                  <a:gd name="connsiteY15" fmla="*/ 23151 h 135387"/>
                  <a:gd name="connsiteX16" fmla="*/ 5676 w 90258"/>
                  <a:gd name="connsiteY16" fmla="*/ 26987 h 135387"/>
                  <a:gd name="connsiteX17" fmla="*/ 11317 w 90258"/>
                  <a:gd name="connsiteY17" fmla="*/ 38721 h 135387"/>
                  <a:gd name="connsiteX18" fmla="*/ 16056 w 90258"/>
                  <a:gd name="connsiteY18" fmla="*/ 51357 h 135387"/>
                  <a:gd name="connsiteX19" fmla="*/ 9061 w 90258"/>
                  <a:gd name="connsiteY19" fmla="*/ 63090 h 135387"/>
                  <a:gd name="connsiteX20" fmla="*/ 5676 w 90258"/>
                  <a:gd name="connsiteY20" fmla="*/ 80916 h 135387"/>
                  <a:gd name="connsiteX21" fmla="*/ 35 w 90258"/>
                  <a:gd name="connsiteY21" fmla="*/ 103030 h 135387"/>
                  <a:gd name="connsiteX22" fmla="*/ 1615 w 90258"/>
                  <a:gd name="connsiteY22" fmla="*/ 117471 h 135387"/>
                  <a:gd name="connsiteX23" fmla="*/ 4548 w 90258"/>
                  <a:gd name="connsiteY23" fmla="*/ 120179 h 135387"/>
                  <a:gd name="connsiteX24" fmla="*/ 21471 w 90258"/>
                  <a:gd name="connsiteY24" fmla="*/ 140261 h 135387"/>
                  <a:gd name="connsiteX25" fmla="*/ 40200 w 90258"/>
                  <a:gd name="connsiteY25" fmla="*/ 139584 h 135387"/>
                  <a:gd name="connsiteX26" fmla="*/ 64119 w 90258"/>
                  <a:gd name="connsiteY26" fmla="*/ 133943 h 135387"/>
                  <a:gd name="connsiteX27" fmla="*/ 86909 w 90258"/>
                  <a:gd name="connsiteY27" fmla="*/ 125143 h 135387"/>
                  <a:gd name="connsiteX28" fmla="*/ 86909 w 90258"/>
                  <a:gd name="connsiteY28" fmla="*/ 123789 h 135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90258" h="135387">
                    <a:moveTo>
                      <a:pt x="2743" y="120630"/>
                    </a:moveTo>
                    <a:cubicBezTo>
                      <a:pt x="2517" y="119728"/>
                      <a:pt x="2066" y="118825"/>
                      <a:pt x="1615" y="117697"/>
                    </a:cubicBezTo>
                    <a:cubicBezTo>
                      <a:pt x="2066" y="118825"/>
                      <a:pt x="2292" y="119728"/>
                      <a:pt x="2743" y="120630"/>
                    </a:cubicBezTo>
                    <a:close/>
                    <a:moveTo>
                      <a:pt x="86909" y="123789"/>
                    </a:moveTo>
                    <a:cubicBezTo>
                      <a:pt x="87811" y="120856"/>
                      <a:pt x="96386" y="111604"/>
                      <a:pt x="99094" y="107768"/>
                    </a:cubicBezTo>
                    <a:cubicBezTo>
                      <a:pt x="102027" y="103932"/>
                      <a:pt x="104735" y="100322"/>
                      <a:pt x="98191" y="96937"/>
                    </a:cubicBezTo>
                    <a:cubicBezTo>
                      <a:pt x="91647" y="93553"/>
                      <a:pt x="93453" y="92199"/>
                      <a:pt x="90745" y="88363"/>
                    </a:cubicBezTo>
                    <a:cubicBezTo>
                      <a:pt x="87811" y="84527"/>
                      <a:pt x="87811" y="79337"/>
                      <a:pt x="89842" y="73696"/>
                    </a:cubicBezTo>
                    <a:cubicBezTo>
                      <a:pt x="91647" y="68055"/>
                      <a:pt x="96386" y="67603"/>
                      <a:pt x="96837" y="61060"/>
                    </a:cubicBezTo>
                    <a:cubicBezTo>
                      <a:pt x="97289" y="54516"/>
                      <a:pt x="97289" y="47972"/>
                      <a:pt x="101124" y="37141"/>
                    </a:cubicBezTo>
                    <a:cubicBezTo>
                      <a:pt x="104960" y="26310"/>
                      <a:pt x="100222" y="21120"/>
                      <a:pt x="95935" y="15930"/>
                    </a:cubicBezTo>
                    <a:cubicBezTo>
                      <a:pt x="91647" y="10740"/>
                      <a:pt x="86909" y="7356"/>
                      <a:pt x="72919" y="2392"/>
                    </a:cubicBezTo>
                    <a:cubicBezTo>
                      <a:pt x="58703" y="-2798"/>
                      <a:pt x="66375" y="1940"/>
                      <a:pt x="58703" y="2843"/>
                    </a:cubicBezTo>
                    <a:cubicBezTo>
                      <a:pt x="51257" y="3746"/>
                      <a:pt x="52159" y="7581"/>
                      <a:pt x="47872" y="12320"/>
                    </a:cubicBezTo>
                    <a:cubicBezTo>
                      <a:pt x="43585" y="17059"/>
                      <a:pt x="41328" y="18864"/>
                      <a:pt x="35687" y="23151"/>
                    </a:cubicBezTo>
                    <a:cubicBezTo>
                      <a:pt x="30046" y="27438"/>
                      <a:pt x="26661" y="23151"/>
                      <a:pt x="19666" y="23151"/>
                    </a:cubicBezTo>
                    <a:cubicBezTo>
                      <a:pt x="12671" y="23151"/>
                      <a:pt x="7030" y="23602"/>
                      <a:pt x="5676" y="26987"/>
                    </a:cubicBezTo>
                    <a:cubicBezTo>
                      <a:pt x="4322" y="30372"/>
                      <a:pt x="9061" y="33531"/>
                      <a:pt x="11317" y="38721"/>
                    </a:cubicBezTo>
                    <a:cubicBezTo>
                      <a:pt x="13574" y="43910"/>
                      <a:pt x="19215" y="46618"/>
                      <a:pt x="16056" y="51357"/>
                    </a:cubicBezTo>
                    <a:cubicBezTo>
                      <a:pt x="12671" y="56095"/>
                      <a:pt x="14251" y="58352"/>
                      <a:pt x="9061" y="63090"/>
                    </a:cubicBezTo>
                    <a:cubicBezTo>
                      <a:pt x="3871" y="67829"/>
                      <a:pt x="9061" y="74373"/>
                      <a:pt x="5676" y="80916"/>
                    </a:cubicBezTo>
                    <a:cubicBezTo>
                      <a:pt x="2292" y="87460"/>
                      <a:pt x="486" y="88363"/>
                      <a:pt x="35" y="103030"/>
                    </a:cubicBezTo>
                    <a:cubicBezTo>
                      <a:pt x="-191" y="110025"/>
                      <a:pt x="712" y="114538"/>
                      <a:pt x="1615" y="117471"/>
                    </a:cubicBezTo>
                    <a:cubicBezTo>
                      <a:pt x="2968" y="117922"/>
                      <a:pt x="3871" y="118825"/>
                      <a:pt x="4548" y="120179"/>
                    </a:cubicBezTo>
                    <a:cubicBezTo>
                      <a:pt x="9512" y="131461"/>
                      <a:pt x="10866" y="140261"/>
                      <a:pt x="21471" y="140261"/>
                    </a:cubicBezTo>
                    <a:cubicBezTo>
                      <a:pt x="32077" y="140261"/>
                      <a:pt x="27113" y="135297"/>
                      <a:pt x="40200" y="139584"/>
                    </a:cubicBezTo>
                    <a:cubicBezTo>
                      <a:pt x="53288" y="143872"/>
                      <a:pt x="55770" y="137779"/>
                      <a:pt x="64119" y="133943"/>
                    </a:cubicBezTo>
                    <a:cubicBezTo>
                      <a:pt x="70211" y="131236"/>
                      <a:pt x="77206" y="126948"/>
                      <a:pt x="86909" y="125143"/>
                    </a:cubicBezTo>
                    <a:cubicBezTo>
                      <a:pt x="86909" y="124917"/>
                      <a:pt x="86683" y="124466"/>
                      <a:pt x="86909" y="123789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xmlns="" id="{93E493CE-0317-475C-9345-DC364781434F}"/>
                  </a:ext>
                </a:extLst>
              </p:cNvPr>
              <p:cNvSpPr/>
              <p:nvPr/>
            </p:nvSpPr>
            <p:spPr>
              <a:xfrm>
                <a:off x="10289086" y="2473037"/>
                <a:ext cx="451292" cy="767197"/>
              </a:xfrm>
              <a:custGeom>
                <a:avLst/>
                <a:gdLst>
                  <a:gd name="connsiteX0" fmla="*/ 467743 w 451292"/>
                  <a:gd name="connsiteY0" fmla="*/ 60473 h 767196"/>
                  <a:gd name="connsiteX1" fmla="*/ 464133 w 451292"/>
                  <a:gd name="connsiteY1" fmla="*/ 60248 h 767196"/>
                  <a:gd name="connsiteX2" fmla="*/ 451046 w 451292"/>
                  <a:gd name="connsiteY2" fmla="*/ 57991 h 767196"/>
                  <a:gd name="connsiteX3" fmla="*/ 437958 w 451292"/>
                  <a:gd name="connsiteY3" fmla="*/ 57089 h 767196"/>
                  <a:gd name="connsiteX4" fmla="*/ 422389 w 451292"/>
                  <a:gd name="connsiteY4" fmla="*/ 47611 h 767196"/>
                  <a:gd name="connsiteX5" fmla="*/ 405916 w 451292"/>
                  <a:gd name="connsiteY5" fmla="*/ 42873 h 767196"/>
                  <a:gd name="connsiteX6" fmla="*/ 391249 w 451292"/>
                  <a:gd name="connsiteY6" fmla="*/ 52350 h 767196"/>
                  <a:gd name="connsiteX7" fmla="*/ 384706 w 451292"/>
                  <a:gd name="connsiteY7" fmla="*/ 52350 h 767196"/>
                  <a:gd name="connsiteX8" fmla="*/ 367782 w 451292"/>
                  <a:gd name="connsiteY8" fmla="*/ 41068 h 767196"/>
                  <a:gd name="connsiteX9" fmla="*/ 350859 w 451292"/>
                  <a:gd name="connsiteY9" fmla="*/ 35426 h 767196"/>
                  <a:gd name="connsiteX10" fmla="*/ 347474 w 451292"/>
                  <a:gd name="connsiteY10" fmla="*/ 25047 h 767196"/>
                  <a:gd name="connsiteX11" fmla="*/ 336643 w 451292"/>
                  <a:gd name="connsiteY11" fmla="*/ 10831 h 767196"/>
                  <a:gd name="connsiteX12" fmla="*/ 328745 w 451292"/>
                  <a:gd name="connsiteY12" fmla="*/ 7672 h 767196"/>
                  <a:gd name="connsiteX13" fmla="*/ 305955 w 451292"/>
                  <a:gd name="connsiteY13" fmla="*/ 16472 h 767196"/>
                  <a:gd name="connsiteX14" fmla="*/ 282037 w 451292"/>
                  <a:gd name="connsiteY14" fmla="*/ 22113 h 767196"/>
                  <a:gd name="connsiteX15" fmla="*/ 263308 w 451292"/>
                  <a:gd name="connsiteY15" fmla="*/ 22790 h 767196"/>
                  <a:gd name="connsiteX16" fmla="*/ 246385 w 451292"/>
                  <a:gd name="connsiteY16" fmla="*/ 2708 h 767196"/>
                  <a:gd name="connsiteX17" fmla="*/ 243451 w 451292"/>
                  <a:gd name="connsiteY17" fmla="*/ 0 h 767196"/>
                  <a:gd name="connsiteX18" fmla="*/ 245031 w 451292"/>
                  <a:gd name="connsiteY18" fmla="*/ 6092 h 767196"/>
                  <a:gd name="connsiteX19" fmla="*/ 237133 w 451292"/>
                  <a:gd name="connsiteY19" fmla="*/ 18277 h 767196"/>
                  <a:gd name="connsiteX20" fmla="*/ 251349 w 451292"/>
                  <a:gd name="connsiteY20" fmla="*/ 38586 h 767196"/>
                  <a:gd name="connsiteX21" fmla="*/ 265564 w 451292"/>
                  <a:gd name="connsiteY21" fmla="*/ 60248 h 767196"/>
                  <a:gd name="connsiteX22" fmla="*/ 263759 w 451292"/>
                  <a:gd name="connsiteY22" fmla="*/ 82361 h 767196"/>
                  <a:gd name="connsiteX23" fmla="*/ 256764 w 451292"/>
                  <a:gd name="connsiteY23" fmla="*/ 98382 h 767196"/>
                  <a:gd name="connsiteX24" fmla="*/ 254733 w 451292"/>
                  <a:gd name="connsiteY24" fmla="*/ 101992 h 767196"/>
                  <a:gd name="connsiteX25" fmla="*/ 261052 w 451292"/>
                  <a:gd name="connsiteY25" fmla="*/ 102218 h 767196"/>
                  <a:gd name="connsiteX26" fmla="*/ 274139 w 451292"/>
                  <a:gd name="connsiteY26" fmla="*/ 112597 h 767196"/>
                  <a:gd name="connsiteX27" fmla="*/ 264662 w 451292"/>
                  <a:gd name="connsiteY27" fmla="*/ 141706 h 767196"/>
                  <a:gd name="connsiteX28" fmla="*/ 245031 w 451292"/>
                  <a:gd name="connsiteY28" fmla="*/ 156824 h 767196"/>
                  <a:gd name="connsiteX29" fmla="*/ 229010 w 451292"/>
                  <a:gd name="connsiteY29" fmla="*/ 169911 h 767196"/>
                  <a:gd name="connsiteX30" fmla="*/ 235553 w 451292"/>
                  <a:gd name="connsiteY30" fmla="*/ 194733 h 767196"/>
                  <a:gd name="connsiteX31" fmla="*/ 252477 w 451292"/>
                  <a:gd name="connsiteY31" fmla="*/ 216395 h 767196"/>
                  <a:gd name="connsiteX32" fmla="*/ 251574 w 451292"/>
                  <a:gd name="connsiteY32" fmla="*/ 234672 h 767196"/>
                  <a:gd name="connsiteX33" fmla="*/ 238487 w 451292"/>
                  <a:gd name="connsiteY33" fmla="*/ 245954 h 767196"/>
                  <a:gd name="connsiteX34" fmla="*/ 231492 w 451292"/>
                  <a:gd name="connsiteY34" fmla="*/ 263329 h 767196"/>
                  <a:gd name="connsiteX35" fmla="*/ 231041 w 451292"/>
                  <a:gd name="connsiteY35" fmla="*/ 292889 h 767196"/>
                  <a:gd name="connsiteX36" fmla="*/ 236907 w 451292"/>
                  <a:gd name="connsiteY36" fmla="*/ 300786 h 767196"/>
                  <a:gd name="connsiteX37" fmla="*/ 241195 w 451292"/>
                  <a:gd name="connsiteY37" fmla="*/ 313422 h 767196"/>
                  <a:gd name="connsiteX38" fmla="*/ 238036 w 451292"/>
                  <a:gd name="connsiteY38" fmla="*/ 339372 h 767196"/>
                  <a:gd name="connsiteX39" fmla="*/ 241420 w 451292"/>
                  <a:gd name="connsiteY39" fmla="*/ 349977 h 767196"/>
                  <a:gd name="connsiteX40" fmla="*/ 244805 w 451292"/>
                  <a:gd name="connsiteY40" fmla="*/ 362613 h 767196"/>
                  <a:gd name="connsiteX41" fmla="*/ 238261 w 451292"/>
                  <a:gd name="connsiteY41" fmla="*/ 374573 h 767196"/>
                  <a:gd name="connsiteX42" fmla="*/ 236682 w 451292"/>
                  <a:gd name="connsiteY42" fmla="*/ 392850 h 767196"/>
                  <a:gd name="connsiteX43" fmla="*/ 222240 w 451292"/>
                  <a:gd name="connsiteY43" fmla="*/ 412932 h 767196"/>
                  <a:gd name="connsiteX44" fmla="*/ 203512 w 451292"/>
                  <a:gd name="connsiteY44" fmla="*/ 437302 h 767196"/>
                  <a:gd name="connsiteX45" fmla="*/ 192229 w 451292"/>
                  <a:gd name="connsiteY45" fmla="*/ 449938 h 767196"/>
                  <a:gd name="connsiteX46" fmla="*/ 178465 w 451292"/>
                  <a:gd name="connsiteY46" fmla="*/ 458062 h 767196"/>
                  <a:gd name="connsiteX47" fmla="*/ 170342 w 451292"/>
                  <a:gd name="connsiteY47" fmla="*/ 466862 h 767196"/>
                  <a:gd name="connsiteX48" fmla="*/ 149582 w 451292"/>
                  <a:gd name="connsiteY48" fmla="*/ 477016 h 767196"/>
                  <a:gd name="connsiteX49" fmla="*/ 133561 w 451292"/>
                  <a:gd name="connsiteY49" fmla="*/ 468441 h 767196"/>
                  <a:gd name="connsiteX50" fmla="*/ 123182 w 451292"/>
                  <a:gd name="connsiteY50" fmla="*/ 477016 h 767196"/>
                  <a:gd name="connsiteX51" fmla="*/ 119797 w 451292"/>
                  <a:gd name="connsiteY51" fmla="*/ 488750 h 767196"/>
                  <a:gd name="connsiteX52" fmla="*/ 101068 w 451292"/>
                  <a:gd name="connsiteY52" fmla="*/ 497324 h 767196"/>
                  <a:gd name="connsiteX53" fmla="*/ 80760 w 451292"/>
                  <a:gd name="connsiteY53" fmla="*/ 506801 h 767196"/>
                  <a:gd name="connsiteX54" fmla="*/ 68575 w 451292"/>
                  <a:gd name="connsiteY54" fmla="*/ 519889 h 767196"/>
                  <a:gd name="connsiteX55" fmla="*/ 53908 w 451292"/>
                  <a:gd name="connsiteY55" fmla="*/ 532525 h 767196"/>
                  <a:gd name="connsiteX56" fmla="*/ 42175 w 451292"/>
                  <a:gd name="connsiteY56" fmla="*/ 520340 h 767196"/>
                  <a:gd name="connsiteX57" fmla="*/ 27508 w 451292"/>
                  <a:gd name="connsiteY57" fmla="*/ 515601 h 767196"/>
                  <a:gd name="connsiteX58" fmla="*/ 21867 w 451292"/>
                  <a:gd name="connsiteY58" fmla="*/ 527335 h 767196"/>
                  <a:gd name="connsiteX59" fmla="*/ 13292 w 451292"/>
                  <a:gd name="connsiteY59" fmla="*/ 528689 h 767196"/>
                  <a:gd name="connsiteX60" fmla="*/ 5846 w 451292"/>
                  <a:gd name="connsiteY60" fmla="*/ 540874 h 767196"/>
                  <a:gd name="connsiteX61" fmla="*/ 1558 w 451292"/>
                  <a:gd name="connsiteY61" fmla="*/ 553059 h 767196"/>
                  <a:gd name="connsiteX62" fmla="*/ 10133 w 451292"/>
                  <a:gd name="connsiteY62" fmla="*/ 575172 h 767196"/>
                  <a:gd name="connsiteX63" fmla="*/ 28862 w 451292"/>
                  <a:gd name="connsiteY63" fmla="*/ 580813 h 767196"/>
                  <a:gd name="connsiteX64" fmla="*/ 45334 w 451292"/>
                  <a:gd name="connsiteY64" fmla="*/ 594352 h 767196"/>
                  <a:gd name="connsiteX65" fmla="*/ 70832 w 451292"/>
                  <a:gd name="connsiteY65" fmla="*/ 593901 h 767196"/>
                  <a:gd name="connsiteX66" fmla="*/ 85499 w 451292"/>
                  <a:gd name="connsiteY66" fmla="*/ 600896 h 767196"/>
                  <a:gd name="connsiteX67" fmla="*/ 82114 w 451292"/>
                  <a:gd name="connsiteY67" fmla="*/ 605183 h 767196"/>
                  <a:gd name="connsiteX68" fmla="*/ 81212 w 451292"/>
                  <a:gd name="connsiteY68" fmla="*/ 625491 h 767196"/>
                  <a:gd name="connsiteX69" fmla="*/ 96330 w 451292"/>
                  <a:gd name="connsiteY69" fmla="*/ 632937 h 767196"/>
                  <a:gd name="connsiteX70" fmla="*/ 114607 w 451292"/>
                  <a:gd name="connsiteY70" fmla="*/ 647153 h 767196"/>
                  <a:gd name="connsiteX71" fmla="*/ 123182 w 451292"/>
                  <a:gd name="connsiteY71" fmla="*/ 658887 h 767196"/>
                  <a:gd name="connsiteX72" fmla="*/ 130177 w 451292"/>
                  <a:gd name="connsiteY72" fmla="*/ 670620 h 767196"/>
                  <a:gd name="connsiteX73" fmla="*/ 136269 w 451292"/>
                  <a:gd name="connsiteY73" fmla="*/ 684836 h 767196"/>
                  <a:gd name="connsiteX74" fmla="*/ 122730 w 451292"/>
                  <a:gd name="connsiteY74" fmla="*/ 695667 h 767196"/>
                  <a:gd name="connsiteX75" fmla="*/ 120248 w 451292"/>
                  <a:gd name="connsiteY75" fmla="*/ 696795 h 767196"/>
                  <a:gd name="connsiteX76" fmla="*/ 120248 w 451292"/>
                  <a:gd name="connsiteY76" fmla="*/ 696795 h 767196"/>
                  <a:gd name="connsiteX77" fmla="*/ 123633 w 451292"/>
                  <a:gd name="connsiteY77" fmla="*/ 703339 h 767196"/>
                  <a:gd name="connsiteX78" fmla="*/ 147100 w 451292"/>
                  <a:gd name="connsiteY78" fmla="*/ 711914 h 767196"/>
                  <a:gd name="connsiteX79" fmla="*/ 161316 w 451292"/>
                  <a:gd name="connsiteY79" fmla="*/ 736283 h 767196"/>
                  <a:gd name="connsiteX80" fmla="*/ 182978 w 451292"/>
                  <a:gd name="connsiteY80" fmla="*/ 732447 h 767196"/>
                  <a:gd name="connsiteX81" fmla="*/ 196065 w 451292"/>
                  <a:gd name="connsiteY81" fmla="*/ 748468 h 767196"/>
                  <a:gd name="connsiteX82" fmla="*/ 212086 w 451292"/>
                  <a:gd name="connsiteY82" fmla="*/ 755012 h 767196"/>
                  <a:gd name="connsiteX83" fmla="*/ 213891 w 451292"/>
                  <a:gd name="connsiteY83" fmla="*/ 774192 h 767196"/>
                  <a:gd name="connsiteX84" fmla="*/ 214794 w 451292"/>
                  <a:gd name="connsiteY84" fmla="*/ 773289 h 767196"/>
                  <a:gd name="connsiteX85" fmla="*/ 245933 w 451292"/>
                  <a:gd name="connsiteY85" fmla="*/ 766069 h 767196"/>
                  <a:gd name="connsiteX86" fmla="*/ 260375 w 451292"/>
                  <a:gd name="connsiteY86" fmla="*/ 755012 h 767196"/>
                  <a:gd name="connsiteX87" fmla="*/ 283616 w 451292"/>
                  <a:gd name="connsiteY87" fmla="*/ 721391 h 767196"/>
                  <a:gd name="connsiteX88" fmla="*/ 298283 w 451292"/>
                  <a:gd name="connsiteY88" fmla="*/ 706047 h 767196"/>
                  <a:gd name="connsiteX89" fmla="*/ 294222 w 451292"/>
                  <a:gd name="connsiteY89" fmla="*/ 692282 h 767196"/>
                  <a:gd name="connsiteX90" fmla="*/ 302119 w 451292"/>
                  <a:gd name="connsiteY90" fmla="*/ 692508 h 767196"/>
                  <a:gd name="connsiteX91" fmla="*/ 309340 w 451292"/>
                  <a:gd name="connsiteY91" fmla="*/ 698149 h 767196"/>
                  <a:gd name="connsiteX92" fmla="*/ 307535 w 451292"/>
                  <a:gd name="connsiteY92" fmla="*/ 705595 h 767196"/>
                  <a:gd name="connsiteX93" fmla="*/ 301217 w 451292"/>
                  <a:gd name="connsiteY93" fmla="*/ 718683 h 767196"/>
                  <a:gd name="connsiteX94" fmla="*/ 302796 w 451292"/>
                  <a:gd name="connsiteY94" fmla="*/ 731770 h 767196"/>
                  <a:gd name="connsiteX95" fmla="*/ 307986 w 451292"/>
                  <a:gd name="connsiteY95" fmla="*/ 739894 h 767196"/>
                  <a:gd name="connsiteX96" fmla="*/ 318591 w 451292"/>
                  <a:gd name="connsiteY96" fmla="*/ 743504 h 767196"/>
                  <a:gd name="connsiteX97" fmla="*/ 330325 w 451292"/>
                  <a:gd name="connsiteY97" fmla="*/ 741473 h 767196"/>
                  <a:gd name="connsiteX98" fmla="*/ 337546 w 451292"/>
                  <a:gd name="connsiteY98" fmla="*/ 734478 h 767196"/>
                  <a:gd name="connsiteX99" fmla="*/ 343864 w 451292"/>
                  <a:gd name="connsiteY99" fmla="*/ 727709 h 767196"/>
                  <a:gd name="connsiteX100" fmla="*/ 349505 w 451292"/>
                  <a:gd name="connsiteY100" fmla="*/ 720488 h 767196"/>
                  <a:gd name="connsiteX101" fmla="*/ 353341 w 451292"/>
                  <a:gd name="connsiteY101" fmla="*/ 707401 h 767196"/>
                  <a:gd name="connsiteX102" fmla="*/ 357628 w 451292"/>
                  <a:gd name="connsiteY102" fmla="*/ 702662 h 767196"/>
                  <a:gd name="connsiteX103" fmla="*/ 366203 w 451292"/>
                  <a:gd name="connsiteY103" fmla="*/ 702888 h 767196"/>
                  <a:gd name="connsiteX104" fmla="*/ 370941 w 451292"/>
                  <a:gd name="connsiteY104" fmla="*/ 706724 h 767196"/>
                  <a:gd name="connsiteX105" fmla="*/ 374552 w 451292"/>
                  <a:gd name="connsiteY105" fmla="*/ 716878 h 767196"/>
                  <a:gd name="connsiteX106" fmla="*/ 389219 w 451292"/>
                  <a:gd name="connsiteY106" fmla="*/ 718457 h 767196"/>
                  <a:gd name="connsiteX107" fmla="*/ 403886 w 451292"/>
                  <a:gd name="connsiteY107" fmla="*/ 720714 h 767196"/>
                  <a:gd name="connsiteX108" fmla="*/ 409752 w 451292"/>
                  <a:gd name="connsiteY108" fmla="*/ 709431 h 767196"/>
                  <a:gd name="connsiteX109" fmla="*/ 409527 w 451292"/>
                  <a:gd name="connsiteY109" fmla="*/ 700631 h 767196"/>
                  <a:gd name="connsiteX110" fmla="*/ 408850 w 451292"/>
                  <a:gd name="connsiteY110" fmla="*/ 687769 h 767196"/>
                  <a:gd name="connsiteX111" fmla="*/ 400049 w 451292"/>
                  <a:gd name="connsiteY111" fmla="*/ 674231 h 767196"/>
                  <a:gd name="connsiteX112" fmla="*/ 396890 w 451292"/>
                  <a:gd name="connsiteY112" fmla="*/ 665430 h 767196"/>
                  <a:gd name="connsiteX113" fmla="*/ 395085 w 451292"/>
                  <a:gd name="connsiteY113" fmla="*/ 635420 h 767196"/>
                  <a:gd name="connsiteX114" fmla="*/ 386962 w 451292"/>
                  <a:gd name="connsiteY114" fmla="*/ 558248 h 767196"/>
                  <a:gd name="connsiteX115" fmla="*/ 388542 w 451292"/>
                  <a:gd name="connsiteY115" fmla="*/ 546966 h 767196"/>
                  <a:gd name="connsiteX116" fmla="*/ 360787 w 451292"/>
                  <a:gd name="connsiteY116" fmla="*/ 540197 h 767196"/>
                  <a:gd name="connsiteX117" fmla="*/ 360787 w 451292"/>
                  <a:gd name="connsiteY117" fmla="*/ 527561 h 767196"/>
                  <a:gd name="connsiteX118" fmla="*/ 333935 w 451292"/>
                  <a:gd name="connsiteY118" fmla="*/ 468893 h 767196"/>
                  <a:gd name="connsiteX119" fmla="*/ 354695 w 451292"/>
                  <a:gd name="connsiteY119" fmla="*/ 444748 h 767196"/>
                  <a:gd name="connsiteX120" fmla="*/ 348828 w 451292"/>
                  <a:gd name="connsiteY120" fmla="*/ 426020 h 767196"/>
                  <a:gd name="connsiteX121" fmla="*/ 350633 w 451292"/>
                  <a:gd name="connsiteY121" fmla="*/ 407517 h 767196"/>
                  <a:gd name="connsiteX122" fmla="*/ 343187 w 451292"/>
                  <a:gd name="connsiteY122" fmla="*/ 396009 h 767196"/>
                  <a:gd name="connsiteX123" fmla="*/ 322427 w 451292"/>
                  <a:gd name="connsiteY123" fmla="*/ 396009 h 767196"/>
                  <a:gd name="connsiteX124" fmla="*/ 295124 w 451292"/>
                  <a:gd name="connsiteY124" fmla="*/ 388788 h 767196"/>
                  <a:gd name="connsiteX125" fmla="*/ 281360 w 451292"/>
                  <a:gd name="connsiteY125" fmla="*/ 376603 h 767196"/>
                  <a:gd name="connsiteX126" fmla="*/ 268723 w 451292"/>
                  <a:gd name="connsiteY126" fmla="*/ 360583 h 767196"/>
                  <a:gd name="connsiteX127" fmla="*/ 264436 w 451292"/>
                  <a:gd name="connsiteY127" fmla="*/ 347721 h 767196"/>
                  <a:gd name="connsiteX128" fmla="*/ 271431 w 451292"/>
                  <a:gd name="connsiteY128" fmla="*/ 336213 h 767196"/>
                  <a:gd name="connsiteX129" fmla="*/ 278426 w 451292"/>
                  <a:gd name="connsiteY129" fmla="*/ 325833 h 767196"/>
                  <a:gd name="connsiteX130" fmla="*/ 284293 w 451292"/>
                  <a:gd name="connsiteY130" fmla="*/ 317258 h 767196"/>
                  <a:gd name="connsiteX131" fmla="*/ 291288 w 451292"/>
                  <a:gd name="connsiteY131" fmla="*/ 324479 h 767196"/>
                  <a:gd name="connsiteX132" fmla="*/ 298283 w 451292"/>
                  <a:gd name="connsiteY132" fmla="*/ 318612 h 767196"/>
                  <a:gd name="connsiteX133" fmla="*/ 306406 w 451292"/>
                  <a:gd name="connsiteY133" fmla="*/ 308684 h 767196"/>
                  <a:gd name="connsiteX134" fmla="*/ 311822 w 451292"/>
                  <a:gd name="connsiteY134" fmla="*/ 301012 h 767196"/>
                  <a:gd name="connsiteX135" fmla="*/ 310242 w 451292"/>
                  <a:gd name="connsiteY135" fmla="*/ 288376 h 767196"/>
                  <a:gd name="connsiteX136" fmla="*/ 314981 w 451292"/>
                  <a:gd name="connsiteY136" fmla="*/ 281606 h 767196"/>
                  <a:gd name="connsiteX137" fmla="*/ 327166 w 451292"/>
                  <a:gd name="connsiteY137" fmla="*/ 281832 h 767196"/>
                  <a:gd name="connsiteX138" fmla="*/ 336192 w 451292"/>
                  <a:gd name="connsiteY138" fmla="*/ 277545 h 767196"/>
                  <a:gd name="connsiteX139" fmla="*/ 345443 w 451292"/>
                  <a:gd name="connsiteY139" fmla="*/ 280930 h 767196"/>
                  <a:gd name="connsiteX140" fmla="*/ 358531 w 451292"/>
                  <a:gd name="connsiteY140" fmla="*/ 279801 h 767196"/>
                  <a:gd name="connsiteX141" fmla="*/ 368685 w 451292"/>
                  <a:gd name="connsiteY141" fmla="*/ 274837 h 767196"/>
                  <a:gd name="connsiteX142" fmla="*/ 371844 w 451292"/>
                  <a:gd name="connsiteY142" fmla="*/ 267616 h 767196"/>
                  <a:gd name="connsiteX143" fmla="*/ 366654 w 451292"/>
                  <a:gd name="connsiteY143" fmla="*/ 258590 h 767196"/>
                  <a:gd name="connsiteX144" fmla="*/ 352438 w 451292"/>
                  <a:gd name="connsiteY144" fmla="*/ 250919 h 767196"/>
                  <a:gd name="connsiteX145" fmla="*/ 352890 w 451292"/>
                  <a:gd name="connsiteY145" fmla="*/ 235800 h 767196"/>
                  <a:gd name="connsiteX146" fmla="*/ 342961 w 451292"/>
                  <a:gd name="connsiteY146" fmla="*/ 235575 h 767196"/>
                  <a:gd name="connsiteX147" fmla="*/ 323104 w 451292"/>
                  <a:gd name="connsiteY147" fmla="*/ 236928 h 767196"/>
                  <a:gd name="connsiteX148" fmla="*/ 311822 w 451292"/>
                  <a:gd name="connsiteY148" fmla="*/ 229031 h 767196"/>
                  <a:gd name="connsiteX149" fmla="*/ 307535 w 451292"/>
                  <a:gd name="connsiteY149" fmla="*/ 220005 h 767196"/>
                  <a:gd name="connsiteX150" fmla="*/ 296704 w 451292"/>
                  <a:gd name="connsiteY150" fmla="*/ 210528 h 767196"/>
                  <a:gd name="connsiteX151" fmla="*/ 287678 w 451292"/>
                  <a:gd name="connsiteY151" fmla="*/ 200148 h 767196"/>
                  <a:gd name="connsiteX152" fmla="*/ 270754 w 451292"/>
                  <a:gd name="connsiteY152" fmla="*/ 200599 h 767196"/>
                  <a:gd name="connsiteX153" fmla="*/ 262857 w 451292"/>
                  <a:gd name="connsiteY153" fmla="*/ 193153 h 767196"/>
                  <a:gd name="connsiteX154" fmla="*/ 264662 w 451292"/>
                  <a:gd name="connsiteY154" fmla="*/ 178486 h 767196"/>
                  <a:gd name="connsiteX155" fmla="*/ 263308 w 451292"/>
                  <a:gd name="connsiteY155" fmla="*/ 164270 h 767196"/>
                  <a:gd name="connsiteX156" fmla="*/ 275944 w 451292"/>
                  <a:gd name="connsiteY156" fmla="*/ 148249 h 767196"/>
                  <a:gd name="connsiteX157" fmla="*/ 287226 w 451292"/>
                  <a:gd name="connsiteY157" fmla="*/ 138772 h 767196"/>
                  <a:gd name="connsiteX158" fmla="*/ 290611 w 451292"/>
                  <a:gd name="connsiteY158" fmla="*/ 126587 h 767196"/>
                  <a:gd name="connsiteX159" fmla="*/ 306632 w 451292"/>
                  <a:gd name="connsiteY159" fmla="*/ 123203 h 767196"/>
                  <a:gd name="connsiteX160" fmla="*/ 302796 w 451292"/>
                  <a:gd name="connsiteY160" fmla="*/ 113726 h 767196"/>
                  <a:gd name="connsiteX161" fmla="*/ 294222 w 451292"/>
                  <a:gd name="connsiteY161" fmla="*/ 107182 h 767196"/>
                  <a:gd name="connsiteX162" fmla="*/ 290385 w 451292"/>
                  <a:gd name="connsiteY162" fmla="*/ 101541 h 767196"/>
                  <a:gd name="connsiteX163" fmla="*/ 296929 w 451292"/>
                  <a:gd name="connsiteY163" fmla="*/ 96351 h 767196"/>
                  <a:gd name="connsiteX164" fmla="*/ 304376 w 451292"/>
                  <a:gd name="connsiteY164" fmla="*/ 100638 h 767196"/>
                  <a:gd name="connsiteX165" fmla="*/ 315207 w 451292"/>
                  <a:gd name="connsiteY165" fmla="*/ 108536 h 767196"/>
                  <a:gd name="connsiteX166" fmla="*/ 325135 w 451292"/>
                  <a:gd name="connsiteY166" fmla="*/ 115531 h 767196"/>
                  <a:gd name="connsiteX167" fmla="*/ 326038 w 451292"/>
                  <a:gd name="connsiteY167" fmla="*/ 130198 h 767196"/>
                  <a:gd name="connsiteX168" fmla="*/ 332130 w 451292"/>
                  <a:gd name="connsiteY168" fmla="*/ 134034 h 767196"/>
                  <a:gd name="connsiteX169" fmla="*/ 335063 w 451292"/>
                  <a:gd name="connsiteY169" fmla="*/ 144865 h 767196"/>
                  <a:gd name="connsiteX170" fmla="*/ 340253 w 451292"/>
                  <a:gd name="connsiteY170" fmla="*/ 144414 h 767196"/>
                  <a:gd name="connsiteX171" fmla="*/ 345443 w 451292"/>
                  <a:gd name="connsiteY171" fmla="*/ 133131 h 767196"/>
                  <a:gd name="connsiteX172" fmla="*/ 356725 w 451292"/>
                  <a:gd name="connsiteY172" fmla="*/ 123203 h 767196"/>
                  <a:gd name="connsiteX173" fmla="*/ 359659 w 451292"/>
                  <a:gd name="connsiteY173" fmla="*/ 108085 h 767196"/>
                  <a:gd name="connsiteX174" fmla="*/ 372746 w 451292"/>
                  <a:gd name="connsiteY174" fmla="*/ 105828 h 767196"/>
                  <a:gd name="connsiteX175" fmla="*/ 377485 w 451292"/>
                  <a:gd name="connsiteY175" fmla="*/ 120946 h 767196"/>
                  <a:gd name="connsiteX176" fmla="*/ 383577 w 451292"/>
                  <a:gd name="connsiteY176" fmla="*/ 133131 h 767196"/>
                  <a:gd name="connsiteX177" fmla="*/ 391475 w 451292"/>
                  <a:gd name="connsiteY177" fmla="*/ 142157 h 767196"/>
                  <a:gd name="connsiteX178" fmla="*/ 402306 w 451292"/>
                  <a:gd name="connsiteY178" fmla="*/ 156373 h 767196"/>
                  <a:gd name="connsiteX179" fmla="*/ 423968 w 451292"/>
                  <a:gd name="connsiteY179" fmla="*/ 159757 h 767196"/>
                  <a:gd name="connsiteX180" fmla="*/ 441343 w 451292"/>
                  <a:gd name="connsiteY180" fmla="*/ 151860 h 767196"/>
                  <a:gd name="connsiteX181" fmla="*/ 442697 w 451292"/>
                  <a:gd name="connsiteY181" fmla="*/ 135388 h 767196"/>
                  <a:gd name="connsiteX182" fmla="*/ 452399 w 451292"/>
                  <a:gd name="connsiteY182" fmla="*/ 132906 h 767196"/>
                  <a:gd name="connsiteX183" fmla="*/ 455333 w 451292"/>
                  <a:gd name="connsiteY183" fmla="*/ 127039 h 767196"/>
                  <a:gd name="connsiteX184" fmla="*/ 465261 w 451292"/>
                  <a:gd name="connsiteY184" fmla="*/ 97028 h 767196"/>
                  <a:gd name="connsiteX185" fmla="*/ 469097 w 451292"/>
                  <a:gd name="connsiteY185" fmla="*/ 65663 h 767196"/>
                  <a:gd name="connsiteX186" fmla="*/ 467743 w 451292"/>
                  <a:gd name="connsiteY186" fmla="*/ 60473 h 767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451292" h="767196">
                    <a:moveTo>
                      <a:pt x="467743" y="60473"/>
                    </a:moveTo>
                    <a:cubicBezTo>
                      <a:pt x="466164" y="60699"/>
                      <a:pt x="465036" y="60699"/>
                      <a:pt x="464133" y="60248"/>
                    </a:cubicBezTo>
                    <a:cubicBezTo>
                      <a:pt x="460297" y="58894"/>
                      <a:pt x="455107" y="60248"/>
                      <a:pt x="451046" y="57991"/>
                    </a:cubicBezTo>
                    <a:cubicBezTo>
                      <a:pt x="446758" y="55735"/>
                      <a:pt x="445404" y="57089"/>
                      <a:pt x="437958" y="57089"/>
                    </a:cubicBezTo>
                    <a:cubicBezTo>
                      <a:pt x="430512" y="57089"/>
                      <a:pt x="429384" y="53252"/>
                      <a:pt x="422389" y="47611"/>
                    </a:cubicBezTo>
                    <a:cubicBezTo>
                      <a:pt x="415393" y="41970"/>
                      <a:pt x="412009" y="42873"/>
                      <a:pt x="405916" y="42873"/>
                    </a:cubicBezTo>
                    <a:cubicBezTo>
                      <a:pt x="399824" y="42873"/>
                      <a:pt x="398019" y="48514"/>
                      <a:pt x="391249" y="52350"/>
                    </a:cubicBezTo>
                    <a:cubicBezTo>
                      <a:pt x="384706" y="56186"/>
                      <a:pt x="386511" y="52350"/>
                      <a:pt x="384706" y="52350"/>
                    </a:cubicBezTo>
                    <a:cubicBezTo>
                      <a:pt x="382901" y="52350"/>
                      <a:pt x="374777" y="45806"/>
                      <a:pt x="367782" y="41068"/>
                    </a:cubicBezTo>
                    <a:cubicBezTo>
                      <a:pt x="360787" y="36329"/>
                      <a:pt x="361238" y="35426"/>
                      <a:pt x="350859" y="35426"/>
                    </a:cubicBezTo>
                    <a:cubicBezTo>
                      <a:pt x="340479" y="35426"/>
                      <a:pt x="347474" y="29334"/>
                      <a:pt x="347474" y="25047"/>
                    </a:cubicBezTo>
                    <a:cubicBezTo>
                      <a:pt x="347474" y="20759"/>
                      <a:pt x="340479" y="11959"/>
                      <a:pt x="336643" y="10831"/>
                    </a:cubicBezTo>
                    <a:cubicBezTo>
                      <a:pt x="333710" y="10154"/>
                      <a:pt x="329874" y="9251"/>
                      <a:pt x="328745" y="7672"/>
                    </a:cubicBezTo>
                    <a:cubicBezTo>
                      <a:pt x="318817" y="9703"/>
                      <a:pt x="311822" y="13764"/>
                      <a:pt x="305955" y="16472"/>
                    </a:cubicBezTo>
                    <a:cubicBezTo>
                      <a:pt x="297832" y="20308"/>
                      <a:pt x="295350" y="26401"/>
                      <a:pt x="282037" y="22113"/>
                    </a:cubicBezTo>
                    <a:cubicBezTo>
                      <a:pt x="268949" y="17826"/>
                      <a:pt x="273913" y="22790"/>
                      <a:pt x="263308" y="22790"/>
                    </a:cubicBezTo>
                    <a:cubicBezTo>
                      <a:pt x="252703" y="22790"/>
                      <a:pt x="251349" y="13990"/>
                      <a:pt x="246385" y="2708"/>
                    </a:cubicBezTo>
                    <a:cubicBezTo>
                      <a:pt x="245708" y="1354"/>
                      <a:pt x="244579" y="451"/>
                      <a:pt x="243451" y="0"/>
                    </a:cubicBezTo>
                    <a:cubicBezTo>
                      <a:pt x="244579" y="3385"/>
                      <a:pt x="245482" y="4964"/>
                      <a:pt x="245031" y="6092"/>
                    </a:cubicBezTo>
                    <a:cubicBezTo>
                      <a:pt x="244128" y="8349"/>
                      <a:pt x="237133" y="13990"/>
                      <a:pt x="237133" y="18277"/>
                    </a:cubicBezTo>
                    <a:cubicBezTo>
                      <a:pt x="237133" y="22565"/>
                      <a:pt x="240969" y="31365"/>
                      <a:pt x="251349" y="38586"/>
                    </a:cubicBezTo>
                    <a:cubicBezTo>
                      <a:pt x="261728" y="45581"/>
                      <a:pt x="263082" y="52801"/>
                      <a:pt x="265564" y="60248"/>
                    </a:cubicBezTo>
                    <a:cubicBezTo>
                      <a:pt x="267821" y="67694"/>
                      <a:pt x="266918" y="80556"/>
                      <a:pt x="263759" y="82361"/>
                    </a:cubicBezTo>
                    <a:cubicBezTo>
                      <a:pt x="260600" y="84166"/>
                      <a:pt x="259923" y="95448"/>
                      <a:pt x="256764" y="98382"/>
                    </a:cubicBezTo>
                    <a:cubicBezTo>
                      <a:pt x="256087" y="99059"/>
                      <a:pt x="255410" y="100187"/>
                      <a:pt x="254733" y="101992"/>
                    </a:cubicBezTo>
                    <a:cubicBezTo>
                      <a:pt x="256764" y="102218"/>
                      <a:pt x="258795" y="102443"/>
                      <a:pt x="261052" y="102218"/>
                    </a:cubicBezTo>
                    <a:cubicBezTo>
                      <a:pt x="270529" y="101315"/>
                      <a:pt x="273236" y="104023"/>
                      <a:pt x="274139" y="112597"/>
                    </a:cubicBezTo>
                    <a:cubicBezTo>
                      <a:pt x="275042" y="121172"/>
                      <a:pt x="270303" y="136967"/>
                      <a:pt x="264662" y="141706"/>
                    </a:cubicBezTo>
                    <a:cubicBezTo>
                      <a:pt x="259021" y="146444"/>
                      <a:pt x="245933" y="147347"/>
                      <a:pt x="245031" y="156824"/>
                    </a:cubicBezTo>
                    <a:cubicBezTo>
                      <a:pt x="244128" y="166301"/>
                      <a:pt x="229912" y="165399"/>
                      <a:pt x="229010" y="169911"/>
                    </a:cubicBezTo>
                    <a:cubicBezTo>
                      <a:pt x="228107" y="174650"/>
                      <a:pt x="229010" y="187738"/>
                      <a:pt x="235553" y="194733"/>
                    </a:cubicBezTo>
                    <a:cubicBezTo>
                      <a:pt x="242097" y="201728"/>
                      <a:pt x="247287" y="204661"/>
                      <a:pt x="252477" y="216395"/>
                    </a:cubicBezTo>
                    <a:cubicBezTo>
                      <a:pt x="257667" y="228128"/>
                      <a:pt x="255862" y="233769"/>
                      <a:pt x="251574" y="234672"/>
                    </a:cubicBezTo>
                    <a:cubicBezTo>
                      <a:pt x="247287" y="235575"/>
                      <a:pt x="244579" y="241216"/>
                      <a:pt x="238487" y="245954"/>
                    </a:cubicBezTo>
                    <a:cubicBezTo>
                      <a:pt x="232394" y="250693"/>
                      <a:pt x="229461" y="256785"/>
                      <a:pt x="231492" y="263329"/>
                    </a:cubicBezTo>
                    <a:cubicBezTo>
                      <a:pt x="233071" y="269196"/>
                      <a:pt x="245708" y="282058"/>
                      <a:pt x="231041" y="292889"/>
                    </a:cubicBezTo>
                    <a:cubicBezTo>
                      <a:pt x="232394" y="296048"/>
                      <a:pt x="234877" y="299658"/>
                      <a:pt x="236907" y="300786"/>
                    </a:cubicBezTo>
                    <a:cubicBezTo>
                      <a:pt x="240066" y="302592"/>
                      <a:pt x="241195" y="306427"/>
                      <a:pt x="241195" y="313422"/>
                    </a:cubicBezTo>
                    <a:cubicBezTo>
                      <a:pt x="241195" y="320418"/>
                      <a:pt x="242097" y="335987"/>
                      <a:pt x="238036" y="339372"/>
                    </a:cubicBezTo>
                    <a:cubicBezTo>
                      <a:pt x="233974" y="342756"/>
                      <a:pt x="239390" y="347495"/>
                      <a:pt x="241420" y="349977"/>
                    </a:cubicBezTo>
                    <a:cubicBezTo>
                      <a:pt x="243677" y="352459"/>
                      <a:pt x="244805" y="356295"/>
                      <a:pt x="244805" y="362613"/>
                    </a:cubicBezTo>
                    <a:cubicBezTo>
                      <a:pt x="244805" y="368931"/>
                      <a:pt x="242549" y="369608"/>
                      <a:pt x="238261" y="374573"/>
                    </a:cubicBezTo>
                    <a:cubicBezTo>
                      <a:pt x="233974" y="379537"/>
                      <a:pt x="241195" y="384050"/>
                      <a:pt x="236682" y="392850"/>
                    </a:cubicBezTo>
                    <a:cubicBezTo>
                      <a:pt x="232394" y="401650"/>
                      <a:pt x="230364" y="409773"/>
                      <a:pt x="222240" y="412932"/>
                    </a:cubicBezTo>
                    <a:cubicBezTo>
                      <a:pt x="214117" y="416091"/>
                      <a:pt x="215245" y="429856"/>
                      <a:pt x="203512" y="437302"/>
                    </a:cubicBezTo>
                    <a:cubicBezTo>
                      <a:pt x="191553" y="444748"/>
                      <a:pt x="196517" y="450390"/>
                      <a:pt x="192229" y="449938"/>
                    </a:cubicBezTo>
                    <a:cubicBezTo>
                      <a:pt x="187942" y="449261"/>
                      <a:pt x="184783" y="446779"/>
                      <a:pt x="178465" y="458062"/>
                    </a:cubicBezTo>
                    <a:cubicBezTo>
                      <a:pt x="172147" y="469344"/>
                      <a:pt x="176660" y="466862"/>
                      <a:pt x="170342" y="466862"/>
                    </a:cubicBezTo>
                    <a:cubicBezTo>
                      <a:pt x="164024" y="466862"/>
                      <a:pt x="153644" y="478821"/>
                      <a:pt x="149582" y="477016"/>
                    </a:cubicBezTo>
                    <a:cubicBezTo>
                      <a:pt x="145295" y="475211"/>
                      <a:pt x="138751" y="469569"/>
                      <a:pt x="133561" y="468441"/>
                    </a:cubicBezTo>
                    <a:cubicBezTo>
                      <a:pt x="128372" y="467539"/>
                      <a:pt x="124536" y="473631"/>
                      <a:pt x="123182" y="477016"/>
                    </a:cubicBezTo>
                    <a:cubicBezTo>
                      <a:pt x="121828" y="480401"/>
                      <a:pt x="121828" y="484913"/>
                      <a:pt x="119797" y="488750"/>
                    </a:cubicBezTo>
                    <a:cubicBezTo>
                      <a:pt x="117992" y="492585"/>
                      <a:pt x="113253" y="495745"/>
                      <a:pt x="101068" y="497324"/>
                    </a:cubicBezTo>
                    <a:cubicBezTo>
                      <a:pt x="88883" y="498678"/>
                      <a:pt x="87981" y="503416"/>
                      <a:pt x="80760" y="506801"/>
                    </a:cubicBezTo>
                    <a:cubicBezTo>
                      <a:pt x="73765" y="510186"/>
                      <a:pt x="69027" y="517181"/>
                      <a:pt x="68575" y="519889"/>
                    </a:cubicBezTo>
                    <a:cubicBezTo>
                      <a:pt x="68124" y="522822"/>
                      <a:pt x="63385" y="532525"/>
                      <a:pt x="53908" y="532525"/>
                    </a:cubicBezTo>
                    <a:cubicBezTo>
                      <a:pt x="44431" y="532525"/>
                      <a:pt x="42175" y="526432"/>
                      <a:pt x="42175" y="520340"/>
                    </a:cubicBezTo>
                    <a:cubicBezTo>
                      <a:pt x="42175" y="514248"/>
                      <a:pt x="33600" y="515150"/>
                      <a:pt x="27508" y="515601"/>
                    </a:cubicBezTo>
                    <a:cubicBezTo>
                      <a:pt x="21415" y="516053"/>
                      <a:pt x="24574" y="523048"/>
                      <a:pt x="21867" y="527335"/>
                    </a:cubicBezTo>
                    <a:cubicBezTo>
                      <a:pt x="19159" y="531622"/>
                      <a:pt x="17128" y="528689"/>
                      <a:pt x="13292" y="528689"/>
                    </a:cubicBezTo>
                    <a:cubicBezTo>
                      <a:pt x="9456" y="528689"/>
                      <a:pt x="5394" y="537263"/>
                      <a:pt x="5846" y="540874"/>
                    </a:cubicBezTo>
                    <a:cubicBezTo>
                      <a:pt x="6297" y="544710"/>
                      <a:pt x="6297" y="546966"/>
                      <a:pt x="1558" y="553059"/>
                    </a:cubicBezTo>
                    <a:cubicBezTo>
                      <a:pt x="-3180" y="559151"/>
                      <a:pt x="3815" y="574721"/>
                      <a:pt x="10133" y="575172"/>
                    </a:cubicBezTo>
                    <a:cubicBezTo>
                      <a:pt x="16226" y="575623"/>
                      <a:pt x="22769" y="579911"/>
                      <a:pt x="28862" y="580813"/>
                    </a:cubicBezTo>
                    <a:cubicBezTo>
                      <a:pt x="34954" y="581716"/>
                      <a:pt x="39693" y="590290"/>
                      <a:pt x="45334" y="594352"/>
                    </a:cubicBezTo>
                    <a:cubicBezTo>
                      <a:pt x="50975" y="598414"/>
                      <a:pt x="59550" y="594803"/>
                      <a:pt x="70832" y="593901"/>
                    </a:cubicBezTo>
                    <a:cubicBezTo>
                      <a:pt x="82114" y="592998"/>
                      <a:pt x="83919" y="597737"/>
                      <a:pt x="85499" y="600896"/>
                    </a:cubicBezTo>
                    <a:cubicBezTo>
                      <a:pt x="86853" y="604280"/>
                      <a:pt x="85499" y="600896"/>
                      <a:pt x="82114" y="605183"/>
                    </a:cubicBezTo>
                    <a:cubicBezTo>
                      <a:pt x="78729" y="609470"/>
                      <a:pt x="78729" y="623009"/>
                      <a:pt x="81212" y="625491"/>
                    </a:cubicBezTo>
                    <a:cubicBezTo>
                      <a:pt x="83468" y="627747"/>
                      <a:pt x="88207" y="629778"/>
                      <a:pt x="96330" y="632937"/>
                    </a:cubicBezTo>
                    <a:cubicBezTo>
                      <a:pt x="104227" y="636322"/>
                      <a:pt x="106258" y="645574"/>
                      <a:pt x="114607" y="647153"/>
                    </a:cubicBezTo>
                    <a:cubicBezTo>
                      <a:pt x="122956" y="648733"/>
                      <a:pt x="122053" y="655728"/>
                      <a:pt x="123182" y="658887"/>
                    </a:cubicBezTo>
                    <a:cubicBezTo>
                      <a:pt x="124084" y="662271"/>
                      <a:pt x="124987" y="668815"/>
                      <a:pt x="130177" y="670620"/>
                    </a:cubicBezTo>
                    <a:cubicBezTo>
                      <a:pt x="135367" y="672425"/>
                      <a:pt x="132433" y="681000"/>
                      <a:pt x="136269" y="684836"/>
                    </a:cubicBezTo>
                    <a:cubicBezTo>
                      <a:pt x="140105" y="688672"/>
                      <a:pt x="127695" y="692282"/>
                      <a:pt x="122730" y="695667"/>
                    </a:cubicBezTo>
                    <a:cubicBezTo>
                      <a:pt x="121828" y="696118"/>
                      <a:pt x="121151" y="696570"/>
                      <a:pt x="120248" y="696795"/>
                    </a:cubicBezTo>
                    <a:lnTo>
                      <a:pt x="120248" y="696795"/>
                    </a:lnTo>
                    <a:cubicBezTo>
                      <a:pt x="121828" y="699503"/>
                      <a:pt x="123182" y="701759"/>
                      <a:pt x="123633" y="703339"/>
                    </a:cubicBezTo>
                    <a:cubicBezTo>
                      <a:pt x="126566" y="711914"/>
                      <a:pt x="141459" y="696795"/>
                      <a:pt x="147100" y="711914"/>
                    </a:cubicBezTo>
                    <a:cubicBezTo>
                      <a:pt x="152741" y="727032"/>
                      <a:pt x="156577" y="738314"/>
                      <a:pt x="161316" y="736283"/>
                    </a:cubicBezTo>
                    <a:cubicBezTo>
                      <a:pt x="166055" y="734478"/>
                      <a:pt x="173501" y="727709"/>
                      <a:pt x="182978" y="732447"/>
                    </a:cubicBezTo>
                    <a:cubicBezTo>
                      <a:pt x="192455" y="737186"/>
                      <a:pt x="190424" y="747566"/>
                      <a:pt x="196065" y="748468"/>
                    </a:cubicBezTo>
                    <a:cubicBezTo>
                      <a:pt x="201707" y="749371"/>
                      <a:pt x="212086" y="750273"/>
                      <a:pt x="212086" y="755012"/>
                    </a:cubicBezTo>
                    <a:cubicBezTo>
                      <a:pt x="212086" y="758171"/>
                      <a:pt x="213440" y="764940"/>
                      <a:pt x="213891" y="774192"/>
                    </a:cubicBezTo>
                    <a:cubicBezTo>
                      <a:pt x="214568" y="773515"/>
                      <a:pt x="214794" y="773289"/>
                      <a:pt x="214794" y="773289"/>
                    </a:cubicBezTo>
                    <a:cubicBezTo>
                      <a:pt x="235102" y="771033"/>
                      <a:pt x="234651" y="769905"/>
                      <a:pt x="245933" y="766069"/>
                    </a:cubicBezTo>
                    <a:cubicBezTo>
                      <a:pt x="257216" y="762233"/>
                      <a:pt x="254508" y="762684"/>
                      <a:pt x="260375" y="755012"/>
                    </a:cubicBezTo>
                    <a:cubicBezTo>
                      <a:pt x="266241" y="747566"/>
                      <a:pt x="281360" y="731093"/>
                      <a:pt x="283616" y="721391"/>
                    </a:cubicBezTo>
                    <a:cubicBezTo>
                      <a:pt x="285873" y="711688"/>
                      <a:pt x="294673" y="713944"/>
                      <a:pt x="298283" y="706047"/>
                    </a:cubicBezTo>
                    <a:cubicBezTo>
                      <a:pt x="302119" y="698149"/>
                      <a:pt x="296704" y="699052"/>
                      <a:pt x="294222" y="692282"/>
                    </a:cubicBezTo>
                    <a:cubicBezTo>
                      <a:pt x="291739" y="685287"/>
                      <a:pt x="300765" y="690928"/>
                      <a:pt x="302119" y="692508"/>
                    </a:cubicBezTo>
                    <a:cubicBezTo>
                      <a:pt x="303473" y="694087"/>
                      <a:pt x="307535" y="695667"/>
                      <a:pt x="309340" y="698149"/>
                    </a:cubicBezTo>
                    <a:cubicBezTo>
                      <a:pt x="311145" y="700631"/>
                      <a:pt x="309114" y="701534"/>
                      <a:pt x="307535" y="705595"/>
                    </a:cubicBezTo>
                    <a:cubicBezTo>
                      <a:pt x="305955" y="709883"/>
                      <a:pt x="304601" y="713042"/>
                      <a:pt x="301217" y="718683"/>
                    </a:cubicBezTo>
                    <a:cubicBezTo>
                      <a:pt x="297606" y="724324"/>
                      <a:pt x="304827" y="728837"/>
                      <a:pt x="302796" y="731770"/>
                    </a:cubicBezTo>
                    <a:cubicBezTo>
                      <a:pt x="300991" y="734929"/>
                      <a:pt x="306406" y="739668"/>
                      <a:pt x="307986" y="739894"/>
                    </a:cubicBezTo>
                    <a:cubicBezTo>
                      <a:pt x="309566" y="740119"/>
                      <a:pt x="310468" y="740345"/>
                      <a:pt x="318591" y="743504"/>
                    </a:cubicBezTo>
                    <a:cubicBezTo>
                      <a:pt x="326489" y="746663"/>
                      <a:pt x="325135" y="744406"/>
                      <a:pt x="330325" y="741473"/>
                    </a:cubicBezTo>
                    <a:cubicBezTo>
                      <a:pt x="335515" y="738314"/>
                      <a:pt x="334161" y="739217"/>
                      <a:pt x="337546" y="734478"/>
                    </a:cubicBezTo>
                    <a:cubicBezTo>
                      <a:pt x="341156" y="729740"/>
                      <a:pt x="343864" y="731545"/>
                      <a:pt x="343864" y="727709"/>
                    </a:cubicBezTo>
                    <a:cubicBezTo>
                      <a:pt x="343864" y="723873"/>
                      <a:pt x="345895" y="724324"/>
                      <a:pt x="349505" y="720488"/>
                    </a:cubicBezTo>
                    <a:cubicBezTo>
                      <a:pt x="353115" y="716426"/>
                      <a:pt x="352890" y="714170"/>
                      <a:pt x="353341" y="707401"/>
                    </a:cubicBezTo>
                    <a:cubicBezTo>
                      <a:pt x="353792" y="700631"/>
                      <a:pt x="356274" y="706047"/>
                      <a:pt x="357628" y="702662"/>
                    </a:cubicBezTo>
                    <a:cubicBezTo>
                      <a:pt x="358982" y="699277"/>
                      <a:pt x="361464" y="702888"/>
                      <a:pt x="366203" y="702888"/>
                    </a:cubicBezTo>
                    <a:cubicBezTo>
                      <a:pt x="370941" y="702888"/>
                      <a:pt x="370941" y="703790"/>
                      <a:pt x="370941" y="706724"/>
                    </a:cubicBezTo>
                    <a:cubicBezTo>
                      <a:pt x="370941" y="709657"/>
                      <a:pt x="371393" y="714847"/>
                      <a:pt x="374552" y="716878"/>
                    </a:cubicBezTo>
                    <a:cubicBezTo>
                      <a:pt x="377711" y="719134"/>
                      <a:pt x="381547" y="718457"/>
                      <a:pt x="389219" y="718457"/>
                    </a:cubicBezTo>
                    <a:cubicBezTo>
                      <a:pt x="397116" y="718457"/>
                      <a:pt x="397342" y="722744"/>
                      <a:pt x="403886" y="720714"/>
                    </a:cubicBezTo>
                    <a:cubicBezTo>
                      <a:pt x="410429" y="718457"/>
                      <a:pt x="407045" y="714170"/>
                      <a:pt x="409752" y="709431"/>
                    </a:cubicBezTo>
                    <a:cubicBezTo>
                      <a:pt x="412686" y="704693"/>
                      <a:pt x="411106" y="704016"/>
                      <a:pt x="409527" y="700631"/>
                    </a:cubicBezTo>
                    <a:cubicBezTo>
                      <a:pt x="407947" y="697247"/>
                      <a:pt x="408850" y="693636"/>
                      <a:pt x="408850" y="687769"/>
                    </a:cubicBezTo>
                    <a:cubicBezTo>
                      <a:pt x="408850" y="681903"/>
                      <a:pt x="407496" y="678292"/>
                      <a:pt x="400049" y="674231"/>
                    </a:cubicBezTo>
                    <a:cubicBezTo>
                      <a:pt x="392603" y="670169"/>
                      <a:pt x="398244" y="668364"/>
                      <a:pt x="396890" y="665430"/>
                    </a:cubicBezTo>
                    <a:cubicBezTo>
                      <a:pt x="394183" y="659564"/>
                      <a:pt x="396665" y="643543"/>
                      <a:pt x="395085" y="635420"/>
                    </a:cubicBezTo>
                    <a:cubicBezTo>
                      <a:pt x="390347" y="610598"/>
                      <a:pt x="377259" y="583521"/>
                      <a:pt x="386962" y="558248"/>
                    </a:cubicBezTo>
                    <a:cubicBezTo>
                      <a:pt x="388316" y="554638"/>
                      <a:pt x="390121" y="550577"/>
                      <a:pt x="388542" y="546966"/>
                    </a:cubicBezTo>
                    <a:cubicBezTo>
                      <a:pt x="384254" y="537715"/>
                      <a:pt x="367331" y="547869"/>
                      <a:pt x="360787" y="540197"/>
                    </a:cubicBezTo>
                    <a:cubicBezTo>
                      <a:pt x="357854" y="536812"/>
                      <a:pt x="358756" y="531622"/>
                      <a:pt x="360787" y="527561"/>
                    </a:cubicBezTo>
                    <a:cubicBezTo>
                      <a:pt x="375228" y="495970"/>
                      <a:pt x="321976" y="502514"/>
                      <a:pt x="333935" y="468893"/>
                    </a:cubicBezTo>
                    <a:cubicBezTo>
                      <a:pt x="337546" y="458513"/>
                      <a:pt x="349505" y="456256"/>
                      <a:pt x="354695" y="444748"/>
                    </a:cubicBezTo>
                    <a:cubicBezTo>
                      <a:pt x="356500" y="440687"/>
                      <a:pt x="351987" y="432789"/>
                      <a:pt x="348828" y="426020"/>
                    </a:cubicBezTo>
                    <a:cubicBezTo>
                      <a:pt x="345669" y="419025"/>
                      <a:pt x="348602" y="411804"/>
                      <a:pt x="350633" y="407517"/>
                    </a:cubicBezTo>
                    <a:cubicBezTo>
                      <a:pt x="352890" y="403230"/>
                      <a:pt x="347474" y="397137"/>
                      <a:pt x="343187" y="396009"/>
                    </a:cubicBezTo>
                    <a:cubicBezTo>
                      <a:pt x="338899" y="394655"/>
                      <a:pt x="328068" y="392850"/>
                      <a:pt x="322427" y="396009"/>
                    </a:cubicBezTo>
                    <a:cubicBezTo>
                      <a:pt x="316786" y="399168"/>
                      <a:pt x="303247" y="394204"/>
                      <a:pt x="295124" y="388788"/>
                    </a:cubicBezTo>
                    <a:cubicBezTo>
                      <a:pt x="287001" y="383373"/>
                      <a:pt x="283842" y="381568"/>
                      <a:pt x="281360" y="376603"/>
                    </a:cubicBezTo>
                    <a:cubicBezTo>
                      <a:pt x="278878" y="371639"/>
                      <a:pt x="270754" y="366901"/>
                      <a:pt x="268723" y="360583"/>
                    </a:cubicBezTo>
                    <a:cubicBezTo>
                      <a:pt x="266918" y="354264"/>
                      <a:pt x="262405" y="353362"/>
                      <a:pt x="264436" y="347721"/>
                    </a:cubicBezTo>
                    <a:cubicBezTo>
                      <a:pt x="266241" y="342080"/>
                      <a:pt x="267370" y="340726"/>
                      <a:pt x="271431" y="336213"/>
                    </a:cubicBezTo>
                    <a:cubicBezTo>
                      <a:pt x="275493" y="331474"/>
                      <a:pt x="278426" y="329895"/>
                      <a:pt x="278426" y="325833"/>
                    </a:cubicBezTo>
                    <a:cubicBezTo>
                      <a:pt x="278426" y="321771"/>
                      <a:pt x="276170" y="318838"/>
                      <a:pt x="284293" y="317258"/>
                    </a:cubicBezTo>
                    <a:cubicBezTo>
                      <a:pt x="292416" y="315679"/>
                      <a:pt x="287452" y="321320"/>
                      <a:pt x="291288" y="324479"/>
                    </a:cubicBezTo>
                    <a:cubicBezTo>
                      <a:pt x="295124" y="327638"/>
                      <a:pt x="294447" y="324254"/>
                      <a:pt x="298283" y="318612"/>
                    </a:cubicBezTo>
                    <a:cubicBezTo>
                      <a:pt x="302119" y="312971"/>
                      <a:pt x="305504" y="310715"/>
                      <a:pt x="306406" y="308684"/>
                    </a:cubicBezTo>
                    <a:cubicBezTo>
                      <a:pt x="307309" y="306879"/>
                      <a:pt x="310919" y="303720"/>
                      <a:pt x="311822" y="301012"/>
                    </a:cubicBezTo>
                    <a:cubicBezTo>
                      <a:pt x="312725" y="298078"/>
                      <a:pt x="310242" y="292212"/>
                      <a:pt x="310242" y="288376"/>
                    </a:cubicBezTo>
                    <a:cubicBezTo>
                      <a:pt x="310242" y="284314"/>
                      <a:pt x="313853" y="282735"/>
                      <a:pt x="314981" y="281606"/>
                    </a:cubicBezTo>
                    <a:cubicBezTo>
                      <a:pt x="316109" y="280478"/>
                      <a:pt x="321299" y="282058"/>
                      <a:pt x="327166" y="281832"/>
                    </a:cubicBezTo>
                    <a:cubicBezTo>
                      <a:pt x="333033" y="281606"/>
                      <a:pt x="332807" y="278899"/>
                      <a:pt x="336192" y="277545"/>
                    </a:cubicBezTo>
                    <a:cubicBezTo>
                      <a:pt x="339576" y="276191"/>
                      <a:pt x="340028" y="277545"/>
                      <a:pt x="345443" y="280930"/>
                    </a:cubicBezTo>
                    <a:cubicBezTo>
                      <a:pt x="350859" y="284314"/>
                      <a:pt x="352213" y="280930"/>
                      <a:pt x="358531" y="279801"/>
                    </a:cubicBezTo>
                    <a:cubicBezTo>
                      <a:pt x="364849" y="278673"/>
                      <a:pt x="368685" y="277996"/>
                      <a:pt x="368685" y="274837"/>
                    </a:cubicBezTo>
                    <a:cubicBezTo>
                      <a:pt x="368685" y="271678"/>
                      <a:pt x="370264" y="271452"/>
                      <a:pt x="371844" y="267616"/>
                    </a:cubicBezTo>
                    <a:cubicBezTo>
                      <a:pt x="373198" y="263555"/>
                      <a:pt x="371167" y="260621"/>
                      <a:pt x="366654" y="258590"/>
                    </a:cubicBezTo>
                    <a:cubicBezTo>
                      <a:pt x="362141" y="256785"/>
                      <a:pt x="356725" y="254303"/>
                      <a:pt x="352438" y="250919"/>
                    </a:cubicBezTo>
                    <a:cubicBezTo>
                      <a:pt x="348151" y="247308"/>
                      <a:pt x="355823" y="242118"/>
                      <a:pt x="352890" y="235800"/>
                    </a:cubicBezTo>
                    <a:cubicBezTo>
                      <a:pt x="349956" y="229482"/>
                      <a:pt x="348151" y="233769"/>
                      <a:pt x="342961" y="235575"/>
                    </a:cubicBezTo>
                    <a:cubicBezTo>
                      <a:pt x="337771" y="237380"/>
                      <a:pt x="330325" y="236026"/>
                      <a:pt x="323104" y="236928"/>
                    </a:cubicBezTo>
                    <a:cubicBezTo>
                      <a:pt x="316109" y="237831"/>
                      <a:pt x="313176" y="236477"/>
                      <a:pt x="311822" y="229031"/>
                    </a:cubicBezTo>
                    <a:cubicBezTo>
                      <a:pt x="310468" y="221584"/>
                      <a:pt x="307083" y="222036"/>
                      <a:pt x="307535" y="220005"/>
                    </a:cubicBezTo>
                    <a:cubicBezTo>
                      <a:pt x="307986" y="218200"/>
                      <a:pt x="304601" y="212107"/>
                      <a:pt x="296704" y="210528"/>
                    </a:cubicBezTo>
                    <a:cubicBezTo>
                      <a:pt x="288806" y="209174"/>
                      <a:pt x="291514" y="206692"/>
                      <a:pt x="287678" y="200148"/>
                    </a:cubicBezTo>
                    <a:cubicBezTo>
                      <a:pt x="283842" y="193604"/>
                      <a:pt x="282939" y="194958"/>
                      <a:pt x="270754" y="200599"/>
                    </a:cubicBezTo>
                    <a:cubicBezTo>
                      <a:pt x="258569" y="206241"/>
                      <a:pt x="263759" y="195861"/>
                      <a:pt x="262857" y="193153"/>
                    </a:cubicBezTo>
                    <a:cubicBezTo>
                      <a:pt x="261954" y="190220"/>
                      <a:pt x="262857" y="184127"/>
                      <a:pt x="264662" y="178486"/>
                    </a:cubicBezTo>
                    <a:cubicBezTo>
                      <a:pt x="266467" y="172845"/>
                      <a:pt x="262857" y="168558"/>
                      <a:pt x="263308" y="164270"/>
                    </a:cubicBezTo>
                    <a:cubicBezTo>
                      <a:pt x="263759" y="159983"/>
                      <a:pt x="272334" y="154342"/>
                      <a:pt x="275944" y="148249"/>
                    </a:cubicBezTo>
                    <a:cubicBezTo>
                      <a:pt x="279780" y="142157"/>
                      <a:pt x="283390" y="144414"/>
                      <a:pt x="287226" y="138772"/>
                    </a:cubicBezTo>
                    <a:cubicBezTo>
                      <a:pt x="291063" y="133131"/>
                      <a:pt x="289032" y="129747"/>
                      <a:pt x="290611" y="126587"/>
                    </a:cubicBezTo>
                    <a:cubicBezTo>
                      <a:pt x="291965" y="123203"/>
                      <a:pt x="303247" y="124782"/>
                      <a:pt x="306632" y="123203"/>
                    </a:cubicBezTo>
                    <a:cubicBezTo>
                      <a:pt x="310017" y="121849"/>
                      <a:pt x="303699" y="117110"/>
                      <a:pt x="302796" y="113726"/>
                    </a:cubicBezTo>
                    <a:cubicBezTo>
                      <a:pt x="301893" y="110341"/>
                      <a:pt x="295801" y="107182"/>
                      <a:pt x="294222" y="107182"/>
                    </a:cubicBezTo>
                    <a:cubicBezTo>
                      <a:pt x="292642" y="107182"/>
                      <a:pt x="290385" y="101541"/>
                      <a:pt x="290385" y="101541"/>
                    </a:cubicBezTo>
                    <a:cubicBezTo>
                      <a:pt x="290385" y="101541"/>
                      <a:pt x="294222" y="96351"/>
                      <a:pt x="296929" y="96351"/>
                    </a:cubicBezTo>
                    <a:cubicBezTo>
                      <a:pt x="299637" y="96351"/>
                      <a:pt x="301217" y="99284"/>
                      <a:pt x="304376" y="100638"/>
                    </a:cubicBezTo>
                    <a:cubicBezTo>
                      <a:pt x="307760" y="101992"/>
                      <a:pt x="310919" y="105377"/>
                      <a:pt x="315207" y="108536"/>
                    </a:cubicBezTo>
                    <a:cubicBezTo>
                      <a:pt x="319494" y="111921"/>
                      <a:pt x="322653" y="113274"/>
                      <a:pt x="325135" y="115531"/>
                    </a:cubicBezTo>
                    <a:cubicBezTo>
                      <a:pt x="327391" y="117787"/>
                      <a:pt x="328068" y="125008"/>
                      <a:pt x="326038" y="130198"/>
                    </a:cubicBezTo>
                    <a:cubicBezTo>
                      <a:pt x="324232" y="135388"/>
                      <a:pt x="332130" y="134034"/>
                      <a:pt x="332130" y="134034"/>
                    </a:cubicBezTo>
                    <a:cubicBezTo>
                      <a:pt x="332130" y="134034"/>
                      <a:pt x="332581" y="143511"/>
                      <a:pt x="335063" y="144865"/>
                    </a:cubicBezTo>
                    <a:cubicBezTo>
                      <a:pt x="337320" y="146219"/>
                      <a:pt x="337320" y="144865"/>
                      <a:pt x="340253" y="144414"/>
                    </a:cubicBezTo>
                    <a:cubicBezTo>
                      <a:pt x="343187" y="143962"/>
                      <a:pt x="343187" y="138772"/>
                      <a:pt x="345443" y="133131"/>
                    </a:cubicBezTo>
                    <a:cubicBezTo>
                      <a:pt x="347700" y="127490"/>
                      <a:pt x="354018" y="126587"/>
                      <a:pt x="356725" y="123203"/>
                    </a:cubicBezTo>
                    <a:cubicBezTo>
                      <a:pt x="359659" y="119818"/>
                      <a:pt x="358982" y="113726"/>
                      <a:pt x="359659" y="108085"/>
                    </a:cubicBezTo>
                    <a:cubicBezTo>
                      <a:pt x="360110" y="102443"/>
                      <a:pt x="368685" y="104249"/>
                      <a:pt x="372746" y="105828"/>
                    </a:cubicBezTo>
                    <a:cubicBezTo>
                      <a:pt x="376808" y="107408"/>
                      <a:pt x="376582" y="113274"/>
                      <a:pt x="377485" y="120946"/>
                    </a:cubicBezTo>
                    <a:cubicBezTo>
                      <a:pt x="378387" y="128393"/>
                      <a:pt x="383577" y="129521"/>
                      <a:pt x="383577" y="133131"/>
                    </a:cubicBezTo>
                    <a:cubicBezTo>
                      <a:pt x="383577" y="136967"/>
                      <a:pt x="387413" y="136516"/>
                      <a:pt x="391475" y="142157"/>
                    </a:cubicBezTo>
                    <a:cubicBezTo>
                      <a:pt x="395537" y="147798"/>
                      <a:pt x="396214" y="152537"/>
                      <a:pt x="402306" y="156373"/>
                    </a:cubicBezTo>
                    <a:cubicBezTo>
                      <a:pt x="408398" y="160209"/>
                      <a:pt x="418778" y="159757"/>
                      <a:pt x="423968" y="159757"/>
                    </a:cubicBezTo>
                    <a:cubicBezTo>
                      <a:pt x="429158" y="159757"/>
                      <a:pt x="437055" y="155922"/>
                      <a:pt x="441343" y="151860"/>
                    </a:cubicBezTo>
                    <a:cubicBezTo>
                      <a:pt x="445630" y="147798"/>
                      <a:pt x="441343" y="140578"/>
                      <a:pt x="442697" y="135388"/>
                    </a:cubicBezTo>
                    <a:cubicBezTo>
                      <a:pt x="443825" y="131552"/>
                      <a:pt x="448563" y="132229"/>
                      <a:pt x="452399" y="132906"/>
                    </a:cubicBezTo>
                    <a:cubicBezTo>
                      <a:pt x="453076" y="130875"/>
                      <a:pt x="454205" y="129295"/>
                      <a:pt x="455333" y="127039"/>
                    </a:cubicBezTo>
                    <a:cubicBezTo>
                      <a:pt x="459169" y="120044"/>
                      <a:pt x="465261" y="110115"/>
                      <a:pt x="465261" y="97028"/>
                    </a:cubicBezTo>
                    <a:cubicBezTo>
                      <a:pt x="465261" y="83940"/>
                      <a:pt x="469097" y="79427"/>
                      <a:pt x="469097" y="65663"/>
                    </a:cubicBezTo>
                    <a:cubicBezTo>
                      <a:pt x="468420" y="63858"/>
                      <a:pt x="468195" y="62278"/>
                      <a:pt x="467743" y="60473"/>
                    </a:cubicBezTo>
                    <a:close/>
                  </a:path>
                </a:pathLst>
              </a:custGeom>
              <a:solidFill>
                <a:srgbClr val="80C342">
                  <a:alpha val="70000"/>
                </a:srgbClr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xmlns="" id="{0B752C2B-5E11-4335-BA79-214EF4DE864F}"/>
                  </a:ext>
                </a:extLst>
              </p:cNvPr>
              <p:cNvSpPr/>
              <p:nvPr/>
            </p:nvSpPr>
            <p:spPr>
              <a:xfrm>
                <a:off x="10947678" y="2811957"/>
                <a:ext cx="135388" cy="203081"/>
              </a:xfrm>
              <a:custGeom>
                <a:avLst/>
                <a:gdLst>
                  <a:gd name="connsiteX0" fmla="*/ 137242 w 135387"/>
                  <a:gd name="connsiteY0" fmla="*/ 40616 h 203081"/>
                  <a:gd name="connsiteX1" fmla="*/ 129119 w 135387"/>
                  <a:gd name="connsiteY1" fmla="*/ 35201 h 203081"/>
                  <a:gd name="connsiteX2" fmla="*/ 126636 w 135387"/>
                  <a:gd name="connsiteY2" fmla="*/ 19180 h 203081"/>
                  <a:gd name="connsiteX3" fmla="*/ 123703 w 135387"/>
                  <a:gd name="connsiteY3" fmla="*/ 4964 h 203081"/>
                  <a:gd name="connsiteX4" fmla="*/ 119190 w 135387"/>
                  <a:gd name="connsiteY4" fmla="*/ 1128 h 203081"/>
                  <a:gd name="connsiteX5" fmla="*/ 120318 w 135387"/>
                  <a:gd name="connsiteY5" fmla="*/ 0 h 203081"/>
                  <a:gd name="connsiteX6" fmla="*/ 114451 w 135387"/>
                  <a:gd name="connsiteY6" fmla="*/ 8800 h 203081"/>
                  <a:gd name="connsiteX7" fmla="*/ 110164 w 135387"/>
                  <a:gd name="connsiteY7" fmla="*/ 16923 h 203081"/>
                  <a:gd name="connsiteX8" fmla="*/ 98656 w 135387"/>
                  <a:gd name="connsiteY8" fmla="*/ 19180 h 203081"/>
                  <a:gd name="connsiteX9" fmla="*/ 85795 w 135387"/>
                  <a:gd name="connsiteY9" fmla="*/ 27303 h 203081"/>
                  <a:gd name="connsiteX10" fmla="*/ 86020 w 135387"/>
                  <a:gd name="connsiteY10" fmla="*/ 39939 h 203081"/>
                  <a:gd name="connsiteX11" fmla="*/ 77220 w 135387"/>
                  <a:gd name="connsiteY11" fmla="*/ 47386 h 203081"/>
                  <a:gd name="connsiteX12" fmla="*/ 64358 w 135387"/>
                  <a:gd name="connsiteY12" fmla="*/ 46032 h 203081"/>
                  <a:gd name="connsiteX13" fmla="*/ 55784 w 135387"/>
                  <a:gd name="connsiteY13" fmla="*/ 58894 h 203081"/>
                  <a:gd name="connsiteX14" fmla="*/ 41568 w 135387"/>
                  <a:gd name="connsiteY14" fmla="*/ 64535 h 203081"/>
                  <a:gd name="connsiteX15" fmla="*/ 29609 w 135387"/>
                  <a:gd name="connsiteY15" fmla="*/ 66340 h 203081"/>
                  <a:gd name="connsiteX16" fmla="*/ 23967 w 135387"/>
                  <a:gd name="connsiteY16" fmla="*/ 73786 h 203081"/>
                  <a:gd name="connsiteX17" fmla="*/ 16747 w 135387"/>
                  <a:gd name="connsiteY17" fmla="*/ 80781 h 203081"/>
                  <a:gd name="connsiteX18" fmla="*/ 13362 w 135387"/>
                  <a:gd name="connsiteY18" fmla="*/ 92289 h 203081"/>
                  <a:gd name="connsiteX19" fmla="*/ 6367 w 135387"/>
                  <a:gd name="connsiteY19" fmla="*/ 97028 h 203081"/>
                  <a:gd name="connsiteX20" fmla="*/ 2305 w 135387"/>
                  <a:gd name="connsiteY20" fmla="*/ 107407 h 203081"/>
                  <a:gd name="connsiteX21" fmla="*/ 951 w 135387"/>
                  <a:gd name="connsiteY21" fmla="*/ 127264 h 203081"/>
                  <a:gd name="connsiteX22" fmla="*/ 1628 w 135387"/>
                  <a:gd name="connsiteY22" fmla="*/ 140126 h 203081"/>
                  <a:gd name="connsiteX23" fmla="*/ 7269 w 135387"/>
                  <a:gd name="connsiteY23" fmla="*/ 150506 h 203081"/>
                  <a:gd name="connsiteX24" fmla="*/ 13136 w 135387"/>
                  <a:gd name="connsiteY24" fmla="*/ 160886 h 203081"/>
                  <a:gd name="connsiteX25" fmla="*/ 15393 w 135387"/>
                  <a:gd name="connsiteY25" fmla="*/ 170814 h 203081"/>
                  <a:gd name="connsiteX26" fmla="*/ 23516 w 135387"/>
                  <a:gd name="connsiteY26" fmla="*/ 180517 h 203081"/>
                  <a:gd name="connsiteX27" fmla="*/ 23742 w 135387"/>
                  <a:gd name="connsiteY27" fmla="*/ 194281 h 203081"/>
                  <a:gd name="connsiteX28" fmla="*/ 29157 w 135387"/>
                  <a:gd name="connsiteY28" fmla="*/ 205338 h 203081"/>
                  <a:gd name="connsiteX29" fmla="*/ 32316 w 135387"/>
                  <a:gd name="connsiteY29" fmla="*/ 194958 h 203081"/>
                  <a:gd name="connsiteX30" fmla="*/ 32316 w 135387"/>
                  <a:gd name="connsiteY30" fmla="*/ 186835 h 203081"/>
                  <a:gd name="connsiteX31" fmla="*/ 40891 w 135387"/>
                  <a:gd name="connsiteY31" fmla="*/ 186609 h 203081"/>
                  <a:gd name="connsiteX32" fmla="*/ 45404 w 135387"/>
                  <a:gd name="connsiteY32" fmla="*/ 192250 h 203081"/>
                  <a:gd name="connsiteX33" fmla="*/ 52173 w 135387"/>
                  <a:gd name="connsiteY33" fmla="*/ 200148 h 203081"/>
                  <a:gd name="connsiteX34" fmla="*/ 53076 w 135387"/>
                  <a:gd name="connsiteY34" fmla="*/ 214815 h 203081"/>
                  <a:gd name="connsiteX35" fmla="*/ 65261 w 135387"/>
                  <a:gd name="connsiteY35" fmla="*/ 220907 h 203081"/>
                  <a:gd name="connsiteX36" fmla="*/ 74738 w 135387"/>
                  <a:gd name="connsiteY36" fmla="*/ 215718 h 203081"/>
                  <a:gd name="connsiteX37" fmla="*/ 82635 w 135387"/>
                  <a:gd name="connsiteY37" fmla="*/ 204887 h 203081"/>
                  <a:gd name="connsiteX38" fmla="*/ 88728 w 135387"/>
                  <a:gd name="connsiteY38" fmla="*/ 183225 h 203081"/>
                  <a:gd name="connsiteX39" fmla="*/ 84892 w 135387"/>
                  <a:gd name="connsiteY39" fmla="*/ 164045 h 203081"/>
                  <a:gd name="connsiteX40" fmla="*/ 95272 w 135387"/>
                  <a:gd name="connsiteY40" fmla="*/ 148926 h 203081"/>
                  <a:gd name="connsiteX41" fmla="*/ 98656 w 135387"/>
                  <a:gd name="connsiteY41" fmla="*/ 132003 h 203081"/>
                  <a:gd name="connsiteX42" fmla="*/ 100010 w 135387"/>
                  <a:gd name="connsiteY42" fmla="*/ 118915 h 203081"/>
                  <a:gd name="connsiteX43" fmla="*/ 110390 w 135387"/>
                  <a:gd name="connsiteY43" fmla="*/ 117562 h 203081"/>
                  <a:gd name="connsiteX44" fmla="*/ 120769 w 135387"/>
                  <a:gd name="connsiteY44" fmla="*/ 112372 h 203081"/>
                  <a:gd name="connsiteX45" fmla="*/ 126862 w 135387"/>
                  <a:gd name="connsiteY45" fmla="*/ 112823 h 203081"/>
                  <a:gd name="connsiteX46" fmla="*/ 133857 w 135387"/>
                  <a:gd name="connsiteY46" fmla="*/ 112823 h 203081"/>
                  <a:gd name="connsiteX47" fmla="*/ 138144 w 135387"/>
                  <a:gd name="connsiteY47" fmla="*/ 81684 h 203081"/>
                  <a:gd name="connsiteX48" fmla="*/ 137693 w 135387"/>
                  <a:gd name="connsiteY48" fmla="*/ 56186 h 203081"/>
                  <a:gd name="connsiteX49" fmla="*/ 137242 w 135387"/>
                  <a:gd name="connsiteY49" fmla="*/ 40616 h 203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35387" h="203081">
                    <a:moveTo>
                      <a:pt x="137242" y="40616"/>
                    </a:moveTo>
                    <a:cubicBezTo>
                      <a:pt x="135211" y="40842"/>
                      <a:pt x="133406" y="38811"/>
                      <a:pt x="129119" y="35201"/>
                    </a:cubicBezTo>
                    <a:cubicBezTo>
                      <a:pt x="123252" y="30236"/>
                      <a:pt x="122801" y="29334"/>
                      <a:pt x="126636" y="19180"/>
                    </a:cubicBezTo>
                    <a:cubicBezTo>
                      <a:pt x="130472" y="9251"/>
                      <a:pt x="130472" y="12862"/>
                      <a:pt x="123703" y="4964"/>
                    </a:cubicBezTo>
                    <a:cubicBezTo>
                      <a:pt x="122801" y="3836"/>
                      <a:pt x="121221" y="2482"/>
                      <a:pt x="119190" y="1128"/>
                    </a:cubicBezTo>
                    <a:cubicBezTo>
                      <a:pt x="119641" y="677"/>
                      <a:pt x="120093" y="226"/>
                      <a:pt x="120318" y="0"/>
                    </a:cubicBezTo>
                    <a:cubicBezTo>
                      <a:pt x="119416" y="677"/>
                      <a:pt x="116031" y="4287"/>
                      <a:pt x="114451" y="8800"/>
                    </a:cubicBezTo>
                    <a:cubicBezTo>
                      <a:pt x="112872" y="13087"/>
                      <a:pt x="112646" y="13764"/>
                      <a:pt x="110164" y="16923"/>
                    </a:cubicBezTo>
                    <a:cubicBezTo>
                      <a:pt x="107682" y="20082"/>
                      <a:pt x="104523" y="18728"/>
                      <a:pt x="98656" y="19180"/>
                    </a:cubicBezTo>
                    <a:cubicBezTo>
                      <a:pt x="92790" y="19406"/>
                      <a:pt x="88051" y="23467"/>
                      <a:pt x="85795" y="27303"/>
                    </a:cubicBezTo>
                    <a:cubicBezTo>
                      <a:pt x="83538" y="31139"/>
                      <a:pt x="86697" y="36780"/>
                      <a:pt x="86020" y="39939"/>
                    </a:cubicBezTo>
                    <a:cubicBezTo>
                      <a:pt x="85343" y="43098"/>
                      <a:pt x="80379" y="44678"/>
                      <a:pt x="77220" y="47386"/>
                    </a:cubicBezTo>
                    <a:cubicBezTo>
                      <a:pt x="74061" y="50319"/>
                      <a:pt x="70225" y="45129"/>
                      <a:pt x="64358" y="46032"/>
                    </a:cubicBezTo>
                    <a:cubicBezTo>
                      <a:pt x="58491" y="46934"/>
                      <a:pt x="58943" y="54155"/>
                      <a:pt x="55784" y="58894"/>
                    </a:cubicBezTo>
                    <a:cubicBezTo>
                      <a:pt x="52625" y="63632"/>
                      <a:pt x="46307" y="64760"/>
                      <a:pt x="41568" y="64535"/>
                    </a:cubicBezTo>
                    <a:cubicBezTo>
                      <a:pt x="36829" y="64309"/>
                      <a:pt x="32091" y="65889"/>
                      <a:pt x="29609" y="66340"/>
                    </a:cubicBezTo>
                    <a:cubicBezTo>
                      <a:pt x="27126" y="67017"/>
                      <a:pt x="28029" y="70627"/>
                      <a:pt x="23967" y="73786"/>
                    </a:cubicBezTo>
                    <a:cubicBezTo>
                      <a:pt x="19906" y="76945"/>
                      <a:pt x="20131" y="77622"/>
                      <a:pt x="16747" y="80781"/>
                    </a:cubicBezTo>
                    <a:cubicBezTo>
                      <a:pt x="13362" y="83940"/>
                      <a:pt x="14265" y="88002"/>
                      <a:pt x="13362" y="92289"/>
                    </a:cubicBezTo>
                    <a:cubicBezTo>
                      <a:pt x="12459" y="96577"/>
                      <a:pt x="9526" y="95223"/>
                      <a:pt x="6367" y="97028"/>
                    </a:cubicBezTo>
                    <a:cubicBezTo>
                      <a:pt x="3208" y="98833"/>
                      <a:pt x="4562" y="104248"/>
                      <a:pt x="2305" y="107407"/>
                    </a:cubicBezTo>
                    <a:cubicBezTo>
                      <a:pt x="49" y="110566"/>
                      <a:pt x="3659" y="122751"/>
                      <a:pt x="951" y="127264"/>
                    </a:cubicBezTo>
                    <a:cubicBezTo>
                      <a:pt x="-1531" y="131552"/>
                      <a:pt x="1628" y="137193"/>
                      <a:pt x="1628" y="140126"/>
                    </a:cubicBezTo>
                    <a:cubicBezTo>
                      <a:pt x="1628" y="143060"/>
                      <a:pt x="6367" y="147572"/>
                      <a:pt x="7269" y="150506"/>
                    </a:cubicBezTo>
                    <a:cubicBezTo>
                      <a:pt x="8172" y="153439"/>
                      <a:pt x="14265" y="156373"/>
                      <a:pt x="13136" y="160886"/>
                    </a:cubicBezTo>
                    <a:cubicBezTo>
                      <a:pt x="12234" y="165173"/>
                      <a:pt x="13362" y="165850"/>
                      <a:pt x="15393" y="170814"/>
                    </a:cubicBezTo>
                    <a:cubicBezTo>
                      <a:pt x="17198" y="175778"/>
                      <a:pt x="23516" y="178937"/>
                      <a:pt x="23516" y="180517"/>
                    </a:cubicBezTo>
                    <a:cubicBezTo>
                      <a:pt x="23516" y="182096"/>
                      <a:pt x="23516" y="189994"/>
                      <a:pt x="23742" y="194281"/>
                    </a:cubicBezTo>
                    <a:cubicBezTo>
                      <a:pt x="23967" y="198568"/>
                      <a:pt x="28029" y="206241"/>
                      <a:pt x="29157" y="205338"/>
                    </a:cubicBezTo>
                    <a:cubicBezTo>
                      <a:pt x="30060" y="204435"/>
                      <a:pt x="32542" y="199471"/>
                      <a:pt x="32316" y="194958"/>
                    </a:cubicBezTo>
                    <a:cubicBezTo>
                      <a:pt x="32091" y="190671"/>
                      <a:pt x="30737" y="189994"/>
                      <a:pt x="32316" y="186835"/>
                    </a:cubicBezTo>
                    <a:cubicBezTo>
                      <a:pt x="33896" y="183676"/>
                      <a:pt x="37732" y="185030"/>
                      <a:pt x="40891" y="186609"/>
                    </a:cubicBezTo>
                    <a:cubicBezTo>
                      <a:pt x="44050" y="188189"/>
                      <a:pt x="45404" y="189091"/>
                      <a:pt x="45404" y="192250"/>
                    </a:cubicBezTo>
                    <a:cubicBezTo>
                      <a:pt x="45404" y="195409"/>
                      <a:pt x="52173" y="196989"/>
                      <a:pt x="52173" y="200148"/>
                    </a:cubicBezTo>
                    <a:cubicBezTo>
                      <a:pt x="52173" y="203533"/>
                      <a:pt x="48788" y="209625"/>
                      <a:pt x="53076" y="214815"/>
                    </a:cubicBezTo>
                    <a:cubicBezTo>
                      <a:pt x="57363" y="220005"/>
                      <a:pt x="59620" y="220005"/>
                      <a:pt x="65261" y="220907"/>
                    </a:cubicBezTo>
                    <a:cubicBezTo>
                      <a:pt x="70902" y="221810"/>
                      <a:pt x="69548" y="221359"/>
                      <a:pt x="74738" y="215718"/>
                    </a:cubicBezTo>
                    <a:cubicBezTo>
                      <a:pt x="79928" y="210076"/>
                      <a:pt x="80830" y="208723"/>
                      <a:pt x="82635" y="204887"/>
                    </a:cubicBezTo>
                    <a:cubicBezTo>
                      <a:pt x="84440" y="201051"/>
                      <a:pt x="87825" y="190220"/>
                      <a:pt x="88728" y="183225"/>
                    </a:cubicBezTo>
                    <a:cubicBezTo>
                      <a:pt x="89631" y="176230"/>
                      <a:pt x="84892" y="170588"/>
                      <a:pt x="84892" y="164045"/>
                    </a:cubicBezTo>
                    <a:cubicBezTo>
                      <a:pt x="84892" y="157501"/>
                      <a:pt x="88728" y="155470"/>
                      <a:pt x="95272" y="148926"/>
                    </a:cubicBezTo>
                    <a:cubicBezTo>
                      <a:pt x="101815" y="142383"/>
                      <a:pt x="100010" y="138998"/>
                      <a:pt x="98656" y="132003"/>
                    </a:cubicBezTo>
                    <a:cubicBezTo>
                      <a:pt x="97302" y="125008"/>
                      <a:pt x="96400" y="124557"/>
                      <a:pt x="100010" y="118915"/>
                    </a:cubicBezTo>
                    <a:cubicBezTo>
                      <a:pt x="103846" y="113274"/>
                      <a:pt x="107456" y="117562"/>
                      <a:pt x="110390" y="117562"/>
                    </a:cubicBezTo>
                    <a:cubicBezTo>
                      <a:pt x="113323" y="117562"/>
                      <a:pt x="116934" y="117110"/>
                      <a:pt x="120769" y="112372"/>
                    </a:cubicBezTo>
                    <a:cubicBezTo>
                      <a:pt x="124605" y="107633"/>
                      <a:pt x="124605" y="110566"/>
                      <a:pt x="126862" y="112823"/>
                    </a:cubicBezTo>
                    <a:cubicBezTo>
                      <a:pt x="128442" y="114403"/>
                      <a:pt x="130472" y="113725"/>
                      <a:pt x="133857" y="112823"/>
                    </a:cubicBezTo>
                    <a:cubicBezTo>
                      <a:pt x="136114" y="99284"/>
                      <a:pt x="136565" y="88228"/>
                      <a:pt x="138144" y="81684"/>
                    </a:cubicBezTo>
                    <a:cubicBezTo>
                      <a:pt x="140401" y="72658"/>
                      <a:pt x="139950" y="70401"/>
                      <a:pt x="137693" y="56186"/>
                    </a:cubicBezTo>
                    <a:cubicBezTo>
                      <a:pt x="136339" y="47160"/>
                      <a:pt x="136565" y="45129"/>
                      <a:pt x="137242" y="40616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xmlns="" id="{66FD420D-9910-40AA-A641-4CE4AD8FD53D}"/>
                  </a:ext>
                </a:extLst>
              </p:cNvPr>
              <p:cNvSpPr/>
              <p:nvPr/>
            </p:nvSpPr>
            <p:spPr>
              <a:xfrm>
                <a:off x="8078334" y="1149039"/>
                <a:ext cx="3565209" cy="3993936"/>
              </a:xfrm>
              <a:custGeom>
                <a:avLst/>
                <a:gdLst>
                  <a:gd name="connsiteX0" fmla="*/ 1138687 w 3565209"/>
                  <a:gd name="connsiteY0" fmla="*/ 3991586 h 3993936"/>
                  <a:gd name="connsiteX1" fmla="*/ 1125600 w 3565209"/>
                  <a:gd name="connsiteY1" fmla="*/ 3988879 h 3993936"/>
                  <a:gd name="connsiteX2" fmla="*/ 1116348 w 3565209"/>
                  <a:gd name="connsiteY2" fmla="*/ 3986848 h 3993936"/>
                  <a:gd name="connsiteX3" fmla="*/ 1105743 w 3565209"/>
                  <a:gd name="connsiteY3" fmla="*/ 3983689 h 3993936"/>
                  <a:gd name="connsiteX4" fmla="*/ 1102584 w 3565209"/>
                  <a:gd name="connsiteY4" fmla="*/ 3982109 h 3993936"/>
                  <a:gd name="connsiteX5" fmla="*/ 1094009 w 3565209"/>
                  <a:gd name="connsiteY5" fmla="*/ 3974888 h 3993936"/>
                  <a:gd name="connsiteX6" fmla="*/ 1071670 w 3565209"/>
                  <a:gd name="connsiteY6" fmla="*/ 3956160 h 3993936"/>
                  <a:gd name="connsiteX7" fmla="*/ 1051813 w 3565209"/>
                  <a:gd name="connsiteY7" fmla="*/ 3939236 h 3993936"/>
                  <a:gd name="connsiteX8" fmla="*/ 1041433 w 3565209"/>
                  <a:gd name="connsiteY8" fmla="*/ 3928631 h 3993936"/>
                  <a:gd name="connsiteX9" fmla="*/ 1008940 w 3565209"/>
                  <a:gd name="connsiteY9" fmla="*/ 3882148 h 3993936"/>
                  <a:gd name="connsiteX10" fmla="*/ 1003299 w 3565209"/>
                  <a:gd name="connsiteY10" fmla="*/ 3874250 h 3993936"/>
                  <a:gd name="connsiteX11" fmla="*/ 995853 w 3565209"/>
                  <a:gd name="connsiteY11" fmla="*/ 3864096 h 3993936"/>
                  <a:gd name="connsiteX12" fmla="*/ 992920 w 3565209"/>
                  <a:gd name="connsiteY12" fmla="*/ 3855070 h 3993936"/>
                  <a:gd name="connsiteX13" fmla="*/ 979155 w 3565209"/>
                  <a:gd name="connsiteY13" fmla="*/ 3820772 h 3993936"/>
                  <a:gd name="connsiteX14" fmla="*/ 962457 w 3565209"/>
                  <a:gd name="connsiteY14" fmla="*/ 3767068 h 3993936"/>
                  <a:gd name="connsiteX15" fmla="*/ 960201 w 3565209"/>
                  <a:gd name="connsiteY15" fmla="*/ 3738637 h 3993936"/>
                  <a:gd name="connsiteX16" fmla="*/ 957719 w 3565209"/>
                  <a:gd name="connsiteY16" fmla="*/ 3710882 h 3993936"/>
                  <a:gd name="connsiteX17" fmla="*/ 939441 w 3565209"/>
                  <a:gd name="connsiteY17" fmla="*/ 3661917 h 3993936"/>
                  <a:gd name="connsiteX18" fmla="*/ 935380 w 3565209"/>
                  <a:gd name="connsiteY18" fmla="*/ 3652440 h 3993936"/>
                  <a:gd name="connsiteX19" fmla="*/ 915523 w 3565209"/>
                  <a:gd name="connsiteY19" fmla="*/ 3599865 h 3993936"/>
                  <a:gd name="connsiteX20" fmla="*/ 913266 w 3565209"/>
                  <a:gd name="connsiteY20" fmla="*/ 3588131 h 3993936"/>
                  <a:gd name="connsiteX21" fmla="*/ 908979 w 3565209"/>
                  <a:gd name="connsiteY21" fmla="*/ 3569402 h 3993936"/>
                  <a:gd name="connsiteX22" fmla="*/ 893184 w 3565209"/>
                  <a:gd name="connsiteY22" fmla="*/ 3525627 h 3993936"/>
                  <a:gd name="connsiteX23" fmla="*/ 890251 w 3565209"/>
                  <a:gd name="connsiteY23" fmla="*/ 3518858 h 3993936"/>
                  <a:gd name="connsiteX24" fmla="*/ 883481 w 3565209"/>
                  <a:gd name="connsiteY24" fmla="*/ 3507575 h 3993936"/>
                  <a:gd name="connsiteX25" fmla="*/ 870394 w 3565209"/>
                  <a:gd name="connsiteY25" fmla="*/ 3485236 h 3993936"/>
                  <a:gd name="connsiteX26" fmla="*/ 864753 w 3565209"/>
                  <a:gd name="connsiteY26" fmla="*/ 3474405 h 3993936"/>
                  <a:gd name="connsiteX27" fmla="*/ 863173 w 3565209"/>
                  <a:gd name="connsiteY27" fmla="*/ 3472600 h 3993936"/>
                  <a:gd name="connsiteX28" fmla="*/ 845121 w 3565209"/>
                  <a:gd name="connsiteY28" fmla="*/ 3449810 h 3993936"/>
                  <a:gd name="connsiteX29" fmla="*/ 809695 w 3565209"/>
                  <a:gd name="connsiteY29" fmla="*/ 3392947 h 3993936"/>
                  <a:gd name="connsiteX30" fmla="*/ 802474 w 3565209"/>
                  <a:gd name="connsiteY30" fmla="*/ 3379634 h 3993936"/>
                  <a:gd name="connsiteX31" fmla="*/ 792094 w 3565209"/>
                  <a:gd name="connsiteY31" fmla="*/ 3356844 h 3993936"/>
                  <a:gd name="connsiteX32" fmla="*/ 784648 w 3565209"/>
                  <a:gd name="connsiteY32" fmla="*/ 3329766 h 3993936"/>
                  <a:gd name="connsiteX33" fmla="*/ 780812 w 3565209"/>
                  <a:gd name="connsiteY33" fmla="*/ 3317130 h 3993936"/>
                  <a:gd name="connsiteX34" fmla="*/ 776751 w 3565209"/>
                  <a:gd name="connsiteY34" fmla="*/ 3304043 h 3993936"/>
                  <a:gd name="connsiteX35" fmla="*/ 769079 w 3565209"/>
                  <a:gd name="connsiteY35" fmla="*/ 3274934 h 3993936"/>
                  <a:gd name="connsiteX36" fmla="*/ 765468 w 3565209"/>
                  <a:gd name="connsiteY36" fmla="*/ 3259139 h 3993936"/>
                  <a:gd name="connsiteX37" fmla="*/ 761632 w 3565209"/>
                  <a:gd name="connsiteY37" fmla="*/ 3241538 h 3993936"/>
                  <a:gd name="connsiteX38" fmla="*/ 762309 w 3565209"/>
                  <a:gd name="connsiteY38" fmla="*/ 3231836 h 3993936"/>
                  <a:gd name="connsiteX39" fmla="*/ 762535 w 3565209"/>
                  <a:gd name="connsiteY39" fmla="*/ 3217846 h 3993936"/>
                  <a:gd name="connsiteX40" fmla="*/ 762084 w 3565209"/>
                  <a:gd name="connsiteY40" fmla="*/ 3210625 h 3993936"/>
                  <a:gd name="connsiteX41" fmla="*/ 758473 w 3565209"/>
                  <a:gd name="connsiteY41" fmla="*/ 3194830 h 3993936"/>
                  <a:gd name="connsiteX42" fmla="*/ 752606 w 3565209"/>
                  <a:gd name="connsiteY42" fmla="*/ 3170912 h 3993936"/>
                  <a:gd name="connsiteX43" fmla="*/ 748996 w 3565209"/>
                  <a:gd name="connsiteY43" fmla="*/ 3163465 h 3993936"/>
                  <a:gd name="connsiteX44" fmla="*/ 742904 w 3565209"/>
                  <a:gd name="connsiteY44" fmla="*/ 3152183 h 3993936"/>
                  <a:gd name="connsiteX45" fmla="*/ 738391 w 3565209"/>
                  <a:gd name="connsiteY45" fmla="*/ 3141126 h 3993936"/>
                  <a:gd name="connsiteX46" fmla="*/ 733426 w 3565209"/>
                  <a:gd name="connsiteY46" fmla="*/ 3128490 h 3993936"/>
                  <a:gd name="connsiteX47" fmla="*/ 732975 w 3565209"/>
                  <a:gd name="connsiteY47" fmla="*/ 3126910 h 3993936"/>
                  <a:gd name="connsiteX48" fmla="*/ 731621 w 3565209"/>
                  <a:gd name="connsiteY48" fmla="*/ 3115177 h 3993936"/>
                  <a:gd name="connsiteX49" fmla="*/ 728462 w 3565209"/>
                  <a:gd name="connsiteY49" fmla="*/ 3100510 h 3993936"/>
                  <a:gd name="connsiteX50" fmla="*/ 729816 w 3565209"/>
                  <a:gd name="connsiteY50" fmla="*/ 3087197 h 3993936"/>
                  <a:gd name="connsiteX51" fmla="*/ 730267 w 3565209"/>
                  <a:gd name="connsiteY51" fmla="*/ 3085843 h 3993936"/>
                  <a:gd name="connsiteX52" fmla="*/ 726657 w 3565209"/>
                  <a:gd name="connsiteY52" fmla="*/ 3078848 h 3993936"/>
                  <a:gd name="connsiteX53" fmla="*/ 722821 w 3565209"/>
                  <a:gd name="connsiteY53" fmla="*/ 3076366 h 3993936"/>
                  <a:gd name="connsiteX54" fmla="*/ 716277 w 3565209"/>
                  <a:gd name="connsiteY54" fmla="*/ 3070499 h 3993936"/>
                  <a:gd name="connsiteX55" fmla="*/ 714472 w 3565209"/>
                  <a:gd name="connsiteY55" fmla="*/ 3061022 h 3993936"/>
                  <a:gd name="connsiteX56" fmla="*/ 713570 w 3565209"/>
                  <a:gd name="connsiteY56" fmla="*/ 3055380 h 3993936"/>
                  <a:gd name="connsiteX57" fmla="*/ 702964 w 3565209"/>
                  <a:gd name="connsiteY57" fmla="*/ 3045001 h 3993936"/>
                  <a:gd name="connsiteX58" fmla="*/ 700256 w 3565209"/>
                  <a:gd name="connsiteY58" fmla="*/ 3042744 h 3993936"/>
                  <a:gd name="connsiteX59" fmla="*/ 698451 w 3565209"/>
                  <a:gd name="connsiteY59" fmla="*/ 3039585 h 3993936"/>
                  <a:gd name="connsiteX60" fmla="*/ 701159 w 3565209"/>
                  <a:gd name="connsiteY60" fmla="*/ 3035749 h 3993936"/>
                  <a:gd name="connsiteX61" fmla="*/ 702964 w 3565209"/>
                  <a:gd name="connsiteY61" fmla="*/ 3033944 h 3993936"/>
                  <a:gd name="connsiteX62" fmla="*/ 696646 w 3565209"/>
                  <a:gd name="connsiteY62" fmla="*/ 3023790 h 3993936"/>
                  <a:gd name="connsiteX63" fmla="*/ 693036 w 3565209"/>
                  <a:gd name="connsiteY63" fmla="*/ 3021759 h 3993936"/>
                  <a:gd name="connsiteX64" fmla="*/ 677918 w 3565209"/>
                  <a:gd name="connsiteY64" fmla="*/ 3011154 h 3993936"/>
                  <a:gd name="connsiteX65" fmla="*/ 672502 w 3565209"/>
                  <a:gd name="connsiteY65" fmla="*/ 3005061 h 3993936"/>
                  <a:gd name="connsiteX66" fmla="*/ 666410 w 3565209"/>
                  <a:gd name="connsiteY66" fmla="*/ 2996036 h 3993936"/>
                  <a:gd name="connsiteX67" fmla="*/ 666410 w 3565209"/>
                  <a:gd name="connsiteY67" fmla="*/ 2994682 h 3993936"/>
                  <a:gd name="connsiteX68" fmla="*/ 663251 w 3565209"/>
                  <a:gd name="connsiteY68" fmla="*/ 2964220 h 3993936"/>
                  <a:gd name="connsiteX69" fmla="*/ 660768 w 3565209"/>
                  <a:gd name="connsiteY69" fmla="*/ 2957676 h 3993936"/>
                  <a:gd name="connsiteX70" fmla="*/ 653999 w 3565209"/>
                  <a:gd name="connsiteY70" fmla="*/ 2943912 h 3993936"/>
                  <a:gd name="connsiteX71" fmla="*/ 643845 w 3565209"/>
                  <a:gd name="connsiteY71" fmla="*/ 2919316 h 3993936"/>
                  <a:gd name="connsiteX72" fmla="*/ 644071 w 3565209"/>
                  <a:gd name="connsiteY72" fmla="*/ 2914352 h 3993936"/>
                  <a:gd name="connsiteX73" fmla="*/ 643619 w 3565209"/>
                  <a:gd name="connsiteY73" fmla="*/ 2906680 h 3993936"/>
                  <a:gd name="connsiteX74" fmla="*/ 642717 w 3565209"/>
                  <a:gd name="connsiteY74" fmla="*/ 2904424 h 3993936"/>
                  <a:gd name="connsiteX75" fmla="*/ 635496 w 3565209"/>
                  <a:gd name="connsiteY75" fmla="*/ 2893367 h 3993936"/>
                  <a:gd name="connsiteX76" fmla="*/ 632111 w 3565209"/>
                  <a:gd name="connsiteY76" fmla="*/ 2889982 h 3993936"/>
                  <a:gd name="connsiteX77" fmla="*/ 621055 w 3565209"/>
                  <a:gd name="connsiteY77" fmla="*/ 2875315 h 3993936"/>
                  <a:gd name="connsiteX78" fmla="*/ 613383 w 3565209"/>
                  <a:gd name="connsiteY78" fmla="*/ 2850043 h 3993936"/>
                  <a:gd name="connsiteX79" fmla="*/ 611578 w 3565209"/>
                  <a:gd name="connsiteY79" fmla="*/ 2843048 h 3993936"/>
                  <a:gd name="connsiteX80" fmla="*/ 608419 w 3565209"/>
                  <a:gd name="connsiteY80" fmla="*/ 2836504 h 3993936"/>
                  <a:gd name="connsiteX81" fmla="*/ 604357 w 3565209"/>
                  <a:gd name="connsiteY81" fmla="*/ 2813939 h 3993936"/>
                  <a:gd name="connsiteX82" fmla="*/ 602552 w 3565209"/>
                  <a:gd name="connsiteY82" fmla="*/ 2774000 h 3993936"/>
                  <a:gd name="connsiteX83" fmla="*/ 601423 w 3565209"/>
                  <a:gd name="connsiteY83" fmla="*/ 2763846 h 3993936"/>
                  <a:gd name="connsiteX84" fmla="*/ 598716 w 3565209"/>
                  <a:gd name="connsiteY84" fmla="*/ 2743763 h 3993936"/>
                  <a:gd name="connsiteX85" fmla="*/ 596234 w 3565209"/>
                  <a:gd name="connsiteY85" fmla="*/ 2720071 h 3993936"/>
                  <a:gd name="connsiteX86" fmla="*/ 598490 w 3565209"/>
                  <a:gd name="connsiteY86" fmla="*/ 2710368 h 3993936"/>
                  <a:gd name="connsiteX87" fmla="*/ 599618 w 3565209"/>
                  <a:gd name="connsiteY87" fmla="*/ 2705855 h 3993936"/>
                  <a:gd name="connsiteX88" fmla="*/ 596008 w 3565209"/>
                  <a:gd name="connsiteY88" fmla="*/ 2691639 h 3993936"/>
                  <a:gd name="connsiteX89" fmla="*/ 592172 w 3565209"/>
                  <a:gd name="connsiteY89" fmla="*/ 2674716 h 3993936"/>
                  <a:gd name="connsiteX90" fmla="*/ 590141 w 3565209"/>
                  <a:gd name="connsiteY90" fmla="*/ 2654633 h 3993936"/>
                  <a:gd name="connsiteX91" fmla="*/ 588562 w 3565209"/>
                  <a:gd name="connsiteY91" fmla="*/ 2641997 h 3993936"/>
                  <a:gd name="connsiteX92" fmla="*/ 585403 w 3565209"/>
                  <a:gd name="connsiteY92" fmla="*/ 2632971 h 3993936"/>
                  <a:gd name="connsiteX93" fmla="*/ 579987 w 3565209"/>
                  <a:gd name="connsiteY93" fmla="*/ 2614694 h 3993936"/>
                  <a:gd name="connsiteX94" fmla="*/ 573895 w 3565209"/>
                  <a:gd name="connsiteY94" fmla="*/ 2597770 h 3993936"/>
                  <a:gd name="connsiteX95" fmla="*/ 569833 w 3565209"/>
                  <a:gd name="connsiteY95" fmla="*/ 2590098 h 3993936"/>
                  <a:gd name="connsiteX96" fmla="*/ 564643 w 3565209"/>
                  <a:gd name="connsiteY96" fmla="*/ 2561893 h 3993936"/>
                  <a:gd name="connsiteX97" fmla="*/ 562838 w 3565209"/>
                  <a:gd name="connsiteY97" fmla="*/ 2553092 h 3993936"/>
                  <a:gd name="connsiteX98" fmla="*/ 561033 w 3565209"/>
                  <a:gd name="connsiteY98" fmla="*/ 2537974 h 3993936"/>
                  <a:gd name="connsiteX99" fmla="*/ 560356 w 3565209"/>
                  <a:gd name="connsiteY99" fmla="*/ 2526015 h 3993936"/>
                  <a:gd name="connsiteX100" fmla="*/ 559002 w 3565209"/>
                  <a:gd name="connsiteY100" fmla="*/ 2514281 h 3993936"/>
                  <a:gd name="connsiteX101" fmla="*/ 556069 w 3565209"/>
                  <a:gd name="connsiteY101" fmla="*/ 2490363 h 3993936"/>
                  <a:gd name="connsiteX102" fmla="*/ 556294 w 3565209"/>
                  <a:gd name="connsiteY102" fmla="*/ 2473891 h 3993936"/>
                  <a:gd name="connsiteX103" fmla="*/ 555166 w 3565209"/>
                  <a:gd name="connsiteY103" fmla="*/ 2458321 h 3993936"/>
                  <a:gd name="connsiteX104" fmla="*/ 551330 w 3565209"/>
                  <a:gd name="connsiteY104" fmla="*/ 2434402 h 3993936"/>
                  <a:gd name="connsiteX105" fmla="*/ 550427 w 3565209"/>
                  <a:gd name="connsiteY105" fmla="*/ 2401684 h 3993936"/>
                  <a:gd name="connsiteX106" fmla="*/ 548397 w 3565209"/>
                  <a:gd name="connsiteY106" fmla="*/ 2375058 h 3993936"/>
                  <a:gd name="connsiteX107" fmla="*/ 544109 w 3565209"/>
                  <a:gd name="connsiteY107" fmla="*/ 2363098 h 3993936"/>
                  <a:gd name="connsiteX108" fmla="*/ 538920 w 3565209"/>
                  <a:gd name="connsiteY108" fmla="*/ 2344595 h 3993936"/>
                  <a:gd name="connsiteX109" fmla="*/ 549525 w 3565209"/>
                  <a:gd name="connsiteY109" fmla="*/ 2316841 h 3993936"/>
                  <a:gd name="connsiteX110" fmla="*/ 553361 w 3565209"/>
                  <a:gd name="connsiteY110" fmla="*/ 2305333 h 3993936"/>
                  <a:gd name="connsiteX111" fmla="*/ 556069 w 3565209"/>
                  <a:gd name="connsiteY111" fmla="*/ 2297210 h 3993936"/>
                  <a:gd name="connsiteX112" fmla="*/ 556746 w 3565209"/>
                  <a:gd name="connsiteY112" fmla="*/ 2284799 h 3993936"/>
                  <a:gd name="connsiteX113" fmla="*/ 557648 w 3565209"/>
                  <a:gd name="connsiteY113" fmla="*/ 2268778 h 3993936"/>
                  <a:gd name="connsiteX114" fmla="*/ 562161 w 3565209"/>
                  <a:gd name="connsiteY114" fmla="*/ 2260881 h 3993936"/>
                  <a:gd name="connsiteX115" fmla="*/ 569382 w 3565209"/>
                  <a:gd name="connsiteY115" fmla="*/ 2244634 h 3993936"/>
                  <a:gd name="connsiteX116" fmla="*/ 568930 w 3565209"/>
                  <a:gd name="connsiteY116" fmla="*/ 2237188 h 3993936"/>
                  <a:gd name="connsiteX117" fmla="*/ 570736 w 3565209"/>
                  <a:gd name="connsiteY117" fmla="*/ 2220490 h 3993936"/>
                  <a:gd name="connsiteX118" fmla="*/ 571638 w 3565209"/>
                  <a:gd name="connsiteY118" fmla="*/ 2204018 h 3993936"/>
                  <a:gd name="connsiteX119" fmla="*/ 565320 w 3565209"/>
                  <a:gd name="connsiteY119" fmla="*/ 2186417 h 3993936"/>
                  <a:gd name="connsiteX120" fmla="*/ 565546 w 3565209"/>
                  <a:gd name="connsiteY120" fmla="*/ 2185966 h 3993936"/>
                  <a:gd name="connsiteX121" fmla="*/ 560130 w 3565209"/>
                  <a:gd name="connsiteY121" fmla="*/ 2167463 h 3993936"/>
                  <a:gd name="connsiteX122" fmla="*/ 551104 w 3565209"/>
                  <a:gd name="connsiteY122" fmla="*/ 2163853 h 3993936"/>
                  <a:gd name="connsiteX123" fmla="*/ 539822 w 3565209"/>
                  <a:gd name="connsiteY123" fmla="*/ 2156858 h 3993936"/>
                  <a:gd name="connsiteX124" fmla="*/ 540499 w 3565209"/>
                  <a:gd name="connsiteY124" fmla="*/ 2149412 h 3993936"/>
                  <a:gd name="connsiteX125" fmla="*/ 543658 w 3565209"/>
                  <a:gd name="connsiteY125" fmla="*/ 2138806 h 3993936"/>
                  <a:gd name="connsiteX126" fmla="*/ 551781 w 3565209"/>
                  <a:gd name="connsiteY126" fmla="*/ 2125267 h 3993936"/>
                  <a:gd name="connsiteX127" fmla="*/ 553135 w 3565209"/>
                  <a:gd name="connsiteY127" fmla="*/ 2124139 h 3993936"/>
                  <a:gd name="connsiteX128" fmla="*/ 551781 w 3565209"/>
                  <a:gd name="connsiteY128" fmla="*/ 2118949 h 3993936"/>
                  <a:gd name="connsiteX129" fmla="*/ 552233 w 3565209"/>
                  <a:gd name="connsiteY129" fmla="*/ 2109923 h 3993936"/>
                  <a:gd name="connsiteX130" fmla="*/ 554940 w 3565209"/>
                  <a:gd name="connsiteY130" fmla="*/ 2108344 h 3993936"/>
                  <a:gd name="connsiteX131" fmla="*/ 565546 w 3565209"/>
                  <a:gd name="connsiteY131" fmla="*/ 2099544 h 3993936"/>
                  <a:gd name="connsiteX132" fmla="*/ 566223 w 3565209"/>
                  <a:gd name="connsiteY132" fmla="*/ 2097513 h 3993936"/>
                  <a:gd name="connsiteX133" fmla="*/ 566900 w 3565209"/>
                  <a:gd name="connsiteY133" fmla="*/ 2095031 h 3993936"/>
                  <a:gd name="connsiteX134" fmla="*/ 557422 w 3565209"/>
                  <a:gd name="connsiteY134" fmla="*/ 2093451 h 3993936"/>
                  <a:gd name="connsiteX135" fmla="*/ 539822 w 3565209"/>
                  <a:gd name="connsiteY135" fmla="*/ 2089615 h 3993936"/>
                  <a:gd name="connsiteX136" fmla="*/ 540273 w 3565209"/>
                  <a:gd name="connsiteY136" fmla="*/ 2083297 h 3993936"/>
                  <a:gd name="connsiteX137" fmla="*/ 542981 w 3565209"/>
                  <a:gd name="connsiteY137" fmla="*/ 2074723 h 3993936"/>
                  <a:gd name="connsiteX138" fmla="*/ 551781 w 3565209"/>
                  <a:gd name="connsiteY138" fmla="*/ 2058702 h 3993936"/>
                  <a:gd name="connsiteX139" fmla="*/ 554038 w 3565209"/>
                  <a:gd name="connsiteY139" fmla="*/ 2058702 h 3993936"/>
                  <a:gd name="connsiteX140" fmla="*/ 561484 w 3565209"/>
                  <a:gd name="connsiteY140" fmla="*/ 2056220 h 3993936"/>
                  <a:gd name="connsiteX141" fmla="*/ 565546 w 3565209"/>
                  <a:gd name="connsiteY141" fmla="*/ 2051255 h 3993936"/>
                  <a:gd name="connsiteX142" fmla="*/ 562387 w 3565209"/>
                  <a:gd name="connsiteY142" fmla="*/ 2050127 h 3993936"/>
                  <a:gd name="connsiteX143" fmla="*/ 547043 w 3565209"/>
                  <a:gd name="connsiteY143" fmla="*/ 2052158 h 3993936"/>
                  <a:gd name="connsiteX144" fmla="*/ 543884 w 3565209"/>
                  <a:gd name="connsiteY144" fmla="*/ 2053060 h 3993936"/>
                  <a:gd name="connsiteX145" fmla="*/ 539371 w 3565209"/>
                  <a:gd name="connsiteY145" fmla="*/ 2038168 h 3993936"/>
                  <a:gd name="connsiteX146" fmla="*/ 545463 w 3565209"/>
                  <a:gd name="connsiteY146" fmla="*/ 2020568 h 3993936"/>
                  <a:gd name="connsiteX147" fmla="*/ 550879 w 3565209"/>
                  <a:gd name="connsiteY147" fmla="*/ 2018537 h 3993936"/>
                  <a:gd name="connsiteX148" fmla="*/ 561935 w 3565209"/>
                  <a:gd name="connsiteY148" fmla="*/ 2021696 h 3993936"/>
                  <a:gd name="connsiteX149" fmla="*/ 572766 w 3565209"/>
                  <a:gd name="connsiteY149" fmla="*/ 2024629 h 3993936"/>
                  <a:gd name="connsiteX150" fmla="*/ 578859 w 3565209"/>
                  <a:gd name="connsiteY150" fmla="*/ 2017183 h 3993936"/>
                  <a:gd name="connsiteX151" fmla="*/ 580664 w 3565209"/>
                  <a:gd name="connsiteY151" fmla="*/ 2013798 h 3993936"/>
                  <a:gd name="connsiteX152" fmla="*/ 565320 w 3565209"/>
                  <a:gd name="connsiteY152" fmla="*/ 2012895 h 3993936"/>
                  <a:gd name="connsiteX153" fmla="*/ 551104 w 3565209"/>
                  <a:gd name="connsiteY153" fmla="*/ 2012444 h 3993936"/>
                  <a:gd name="connsiteX154" fmla="*/ 538017 w 3565209"/>
                  <a:gd name="connsiteY154" fmla="*/ 2012219 h 3993936"/>
                  <a:gd name="connsiteX155" fmla="*/ 531699 w 3565209"/>
                  <a:gd name="connsiteY155" fmla="*/ 2015152 h 3993936"/>
                  <a:gd name="connsiteX156" fmla="*/ 531473 w 3565209"/>
                  <a:gd name="connsiteY156" fmla="*/ 2015603 h 3993936"/>
                  <a:gd name="connsiteX157" fmla="*/ 530796 w 3565209"/>
                  <a:gd name="connsiteY157" fmla="*/ 2016957 h 3993936"/>
                  <a:gd name="connsiteX158" fmla="*/ 529442 w 3565209"/>
                  <a:gd name="connsiteY158" fmla="*/ 2018537 h 3993936"/>
                  <a:gd name="connsiteX159" fmla="*/ 527186 w 3565209"/>
                  <a:gd name="connsiteY159" fmla="*/ 2018311 h 3993936"/>
                  <a:gd name="connsiteX160" fmla="*/ 524478 w 3565209"/>
                  <a:gd name="connsiteY160" fmla="*/ 2017409 h 3993936"/>
                  <a:gd name="connsiteX161" fmla="*/ 519740 w 3565209"/>
                  <a:gd name="connsiteY161" fmla="*/ 2013121 h 3993936"/>
                  <a:gd name="connsiteX162" fmla="*/ 520642 w 3565209"/>
                  <a:gd name="connsiteY162" fmla="*/ 2005449 h 3993936"/>
                  <a:gd name="connsiteX163" fmla="*/ 520417 w 3565209"/>
                  <a:gd name="connsiteY163" fmla="*/ 2003644 h 3993936"/>
                  <a:gd name="connsiteX164" fmla="*/ 518386 w 3565209"/>
                  <a:gd name="connsiteY164" fmla="*/ 2002516 h 3993936"/>
                  <a:gd name="connsiteX165" fmla="*/ 507103 w 3565209"/>
                  <a:gd name="connsiteY165" fmla="*/ 2016957 h 3993936"/>
                  <a:gd name="connsiteX166" fmla="*/ 500334 w 3565209"/>
                  <a:gd name="connsiteY166" fmla="*/ 2032527 h 3993936"/>
                  <a:gd name="connsiteX167" fmla="*/ 492888 w 3565209"/>
                  <a:gd name="connsiteY167" fmla="*/ 2041101 h 3993936"/>
                  <a:gd name="connsiteX168" fmla="*/ 487472 w 3565209"/>
                  <a:gd name="connsiteY168" fmla="*/ 2044260 h 3993936"/>
                  <a:gd name="connsiteX169" fmla="*/ 484539 w 3565209"/>
                  <a:gd name="connsiteY169" fmla="*/ 2047194 h 3993936"/>
                  <a:gd name="connsiteX170" fmla="*/ 486795 w 3565209"/>
                  <a:gd name="connsiteY170" fmla="*/ 2053512 h 3993936"/>
                  <a:gd name="connsiteX171" fmla="*/ 487472 w 3565209"/>
                  <a:gd name="connsiteY171" fmla="*/ 2060281 h 3993936"/>
                  <a:gd name="connsiteX172" fmla="*/ 471000 w 3565209"/>
                  <a:gd name="connsiteY172" fmla="*/ 2063666 h 3993936"/>
                  <a:gd name="connsiteX173" fmla="*/ 472354 w 3565209"/>
                  <a:gd name="connsiteY173" fmla="*/ 2067051 h 3993936"/>
                  <a:gd name="connsiteX174" fmla="*/ 477318 w 3565209"/>
                  <a:gd name="connsiteY174" fmla="*/ 2070661 h 3993936"/>
                  <a:gd name="connsiteX175" fmla="*/ 481831 w 3565209"/>
                  <a:gd name="connsiteY175" fmla="*/ 2070210 h 3993936"/>
                  <a:gd name="connsiteX176" fmla="*/ 492211 w 3565209"/>
                  <a:gd name="connsiteY176" fmla="*/ 2074948 h 3993936"/>
                  <a:gd name="connsiteX177" fmla="*/ 494016 w 3565209"/>
                  <a:gd name="connsiteY177" fmla="*/ 2081943 h 3993936"/>
                  <a:gd name="connsiteX178" fmla="*/ 497401 w 3565209"/>
                  <a:gd name="connsiteY178" fmla="*/ 2086230 h 3993936"/>
                  <a:gd name="connsiteX179" fmla="*/ 502365 w 3565209"/>
                  <a:gd name="connsiteY179" fmla="*/ 2108795 h 3993936"/>
                  <a:gd name="connsiteX180" fmla="*/ 486570 w 3565209"/>
                  <a:gd name="connsiteY180" fmla="*/ 2129780 h 3993936"/>
                  <a:gd name="connsiteX181" fmla="*/ 484087 w 3565209"/>
                  <a:gd name="connsiteY181" fmla="*/ 2132037 h 3993936"/>
                  <a:gd name="connsiteX182" fmla="*/ 480251 w 3565209"/>
                  <a:gd name="connsiteY182" fmla="*/ 2135196 h 3993936"/>
                  <a:gd name="connsiteX183" fmla="*/ 475964 w 3565209"/>
                  <a:gd name="connsiteY183" fmla="*/ 2142191 h 3993936"/>
                  <a:gd name="connsiteX184" fmla="*/ 477092 w 3565209"/>
                  <a:gd name="connsiteY184" fmla="*/ 2150088 h 3993936"/>
                  <a:gd name="connsiteX185" fmla="*/ 466938 w 3565209"/>
                  <a:gd name="connsiteY185" fmla="*/ 2156858 h 3993936"/>
                  <a:gd name="connsiteX186" fmla="*/ 433994 w 3565209"/>
                  <a:gd name="connsiteY186" fmla="*/ 2171074 h 3993936"/>
                  <a:gd name="connsiteX187" fmla="*/ 419327 w 3565209"/>
                  <a:gd name="connsiteY187" fmla="*/ 2177617 h 3993936"/>
                  <a:gd name="connsiteX188" fmla="*/ 410752 w 3565209"/>
                  <a:gd name="connsiteY188" fmla="*/ 2177843 h 3993936"/>
                  <a:gd name="connsiteX189" fmla="*/ 401050 w 3565209"/>
                  <a:gd name="connsiteY189" fmla="*/ 2180551 h 3993936"/>
                  <a:gd name="connsiteX190" fmla="*/ 378034 w 3565209"/>
                  <a:gd name="connsiteY190" fmla="*/ 2191607 h 3993936"/>
                  <a:gd name="connsiteX191" fmla="*/ 367428 w 3565209"/>
                  <a:gd name="connsiteY191" fmla="*/ 2195895 h 3993936"/>
                  <a:gd name="connsiteX192" fmla="*/ 355695 w 3565209"/>
                  <a:gd name="connsiteY192" fmla="*/ 2199279 h 3993936"/>
                  <a:gd name="connsiteX193" fmla="*/ 343284 w 3565209"/>
                  <a:gd name="connsiteY193" fmla="*/ 2202664 h 3993936"/>
                  <a:gd name="connsiteX194" fmla="*/ 326361 w 3565209"/>
                  <a:gd name="connsiteY194" fmla="*/ 2204469 h 3993936"/>
                  <a:gd name="connsiteX195" fmla="*/ 318915 w 3565209"/>
                  <a:gd name="connsiteY195" fmla="*/ 2204695 h 3993936"/>
                  <a:gd name="connsiteX196" fmla="*/ 317786 w 3565209"/>
                  <a:gd name="connsiteY196" fmla="*/ 2210110 h 3993936"/>
                  <a:gd name="connsiteX197" fmla="*/ 303571 w 3565209"/>
                  <a:gd name="connsiteY197" fmla="*/ 2208305 h 3993936"/>
                  <a:gd name="connsiteX198" fmla="*/ 294545 w 3565209"/>
                  <a:gd name="connsiteY198" fmla="*/ 2205823 h 3993936"/>
                  <a:gd name="connsiteX199" fmla="*/ 274011 w 3565209"/>
                  <a:gd name="connsiteY199" fmla="*/ 2196346 h 3993936"/>
                  <a:gd name="connsiteX200" fmla="*/ 263631 w 3565209"/>
                  <a:gd name="connsiteY200" fmla="*/ 2188674 h 3993936"/>
                  <a:gd name="connsiteX201" fmla="*/ 218953 w 3565209"/>
                  <a:gd name="connsiteY201" fmla="*/ 2148283 h 3993936"/>
                  <a:gd name="connsiteX202" fmla="*/ 203158 w 3565209"/>
                  <a:gd name="connsiteY202" fmla="*/ 2128426 h 3993936"/>
                  <a:gd name="connsiteX203" fmla="*/ 189619 w 3565209"/>
                  <a:gd name="connsiteY203" fmla="*/ 2110600 h 3993936"/>
                  <a:gd name="connsiteX204" fmla="*/ 179691 w 3565209"/>
                  <a:gd name="connsiteY204" fmla="*/ 2097739 h 3993936"/>
                  <a:gd name="connsiteX205" fmla="*/ 144716 w 3565209"/>
                  <a:gd name="connsiteY205" fmla="*/ 2057122 h 3993936"/>
                  <a:gd name="connsiteX206" fmla="*/ 91689 w 3565209"/>
                  <a:gd name="connsiteY206" fmla="*/ 1993716 h 3993936"/>
                  <a:gd name="connsiteX207" fmla="*/ 87176 w 3565209"/>
                  <a:gd name="connsiteY207" fmla="*/ 1971377 h 3993936"/>
                  <a:gd name="connsiteX208" fmla="*/ 102069 w 3565209"/>
                  <a:gd name="connsiteY208" fmla="*/ 1951294 h 3993936"/>
                  <a:gd name="connsiteX209" fmla="*/ 105453 w 3565209"/>
                  <a:gd name="connsiteY209" fmla="*/ 1950843 h 3993936"/>
                  <a:gd name="connsiteX210" fmla="*/ 107484 w 3565209"/>
                  <a:gd name="connsiteY210" fmla="*/ 1958741 h 3993936"/>
                  <a:gd name="connsiteX211" fmla="*/ 107710 w 3565209"/>
                  <a:gd name="connsiteY211" fmla="*/ 1963930 h 3993936"/>
                  <a:gd name="connsiteX212" fmla="*/ 110192 w 3565209"/>
                  <a:gd name="connsiteY212" fmla="*/ 1963028 h 3993936"/>
                  <a:gd name="connsiteX213" fmla="*/ 114705 w 3565209"/>
                  <a:gd name="connsiteY213" fmla="*/ 1962351 h 3993936"/>
                  <a:gd name="connsiteX214" fmla="*/ 117187 w 3565209"/>
                  <a:gd name="connsiteY214" fmla="*/ 1965510 h 3993936"/>
                  <a:gd name="connsiteX215" fmla="*/ 114705 w 3565209"/>
                  <a:gd name="connsiteY215" fmla="*/ 1976341 h 3993936"/>
                  <a:gd name="connsiteX216" fmla="*/ 112448 w 3565209"/>
                  <a:gd name="connsiteY216" fmla="*/ 1982885 h 3993936"/>
                  <a:gd name="connsiteX217" fmla="*/ 113802 w 3565209"/>
                  <a:gd name="connsiteY217" fmla="*/ 1985818 h 3993936"/>
                  <a:gd name="connsiteX218" fmla="*/ 118541 w 3565209"/>
                  <a:gd name="connsiteY218" fmla="*/ 1985592 h 3993936"/>
                  <a:gd name="connsiteX219" fmla="*/ 121248 w 3565209"/>
                  <a:gd name="connsiteY219" fmla="*/ 1984013 h 3993936"/>
                  <a:gd name="connsiteX220" fmla="*/ 132531 w 3565209"/>
                  <a:gd name="connsiteY220" fmla="*/ 1979725 h 3993936"/>
                  <a:gd name="connsiteX221" fmla="*/ 146295 w 3565209"/>
                  <a:gd name="connsiteY221" fmla="*/ 1978372 h 3993936"/>
                  <a:gd name="connsiteX222" fmla="*/ 148326 w 3565209"/>
                  <a:gd name="connsiteY222" fmla="*/ 1978146 h 3993936"/>
                  <a:gd name="connsiteX223" fmla="*/ 148552 w 3565209"/>
                  <a:gd name="connsiteY223" fmla="*/ 1980177 h 3993936"/>
                  <a:gd name="connsiteX224" fmla="*/ 148552 w 3565209"/>
                  <a:gd name="connsiteY224" fmla="*/ 1980177 h 3993936"/>
                  <a:gd name="connsiteX225" fmla="*/ 148777 w 3565209"/>
                  <a:gd name="connsiteY225" fmla="*/ 1980403 h 3993936"/>
                  <a:gd name="connsiteX226" fmla="*/ 151936 w 3565209"/>
                  <a:gd name="connsiteY226" fmla="*/ 1979725 h 3993936"/>
                  <a:gd name="connsiteX227" fmla="*/ 153290 w 3565209"/>
                  <a:gd name="connsiteY227" fmla="*/ 1977920 h 3993936"/>
                  <a:gd name="connsiteX228" fmla="*/ 160737 w 3565209"/>
                  <a:gd name="connsiteY228" fmla="*/ 1973407 h 3993936"/>
                  <a:gd name="connsiteX229" fmla="*/ 172696 w 3565209"/>
                  <a:gd name="connsiteY229" fmla="*/ 1974084 h 3993936"/>
                  <a:gd name="connsiteX230" fmla="*/ 176983 w 3565209"/>
                  <a:gd name="connsiteY230" fmla="*/ 1974310 h 3993936"/>
                  <a:gd name="connsiteX231" fmla="*/ 176306 w 3565209"/>
                  <a:gd name="connsiteY231" fmla="*/ 1972279 h 3993936"/>
                  <a:gd name="connsiteX232" fmla="*/ 175855 w 3565209"/>
                  <a:gd name="connsiteY232" fmla="*/ 1965510 h 3993936"/>
                  <a:gd name="connsiteX233" fmla="*/ 180593 w 3565209"/>
                  <a:gd name="connsiteY233" fmla="*/ 1963253 h 3993936"/>
                  <a:gd name="connsiteX234" fmla="*/ 190973 w 3565209"/>
                  <a:gd name="connsiteY234" fmla="*/ 1967089 h 3993936"/>
                  <a:gd name="connsiteX235" fmla="*/ 195035 w 3565209"/>
                  <a:gd name="connsiteY235" fmla="*/ 1968895 h 3993936"/>
                  <a:gd name="connsiteX236" fmla="*/ 197066 w 3565209"/>
                  <a:gd name="connsiteY236" fmla="*/ 1967315 h 3993936"/>
                  <a:gd name="connsiteX237" fmla="*/ 205414 w 3565209"/>
                  <a:gd name="connsiteY237" fmla="*/ 1963705 h 3993936"/>
                  <a:gd name="connsiteX238" fmla="*/ 211507 w 3565209"/>
                  <a:gd name="connsiteY238" fmla="*/ 1957838 h 3993936"/>
                  <a:gd name="connsiteX239" fmla="*/ 216020 w 3565209"/>
                  <a:gd name="connsiteY239" fmla="*/ 1951294 h 3993936"/>
                  <a:gd name="connsiteX240" fmla="*/ 218502 w 3565209"/>
                  <a:gd name="connsiteY240" fmla="*/ 1949489 h 3993936"/>
                  <a:gd name="connsiteX241" fmla="*/ 222112 w 3565209"/>
                  <a:gd name="connsiteY241" fmla="*/ 1947909 h 3993936"/>
                  <a:gd name="connsiteX242" fmla="*/ 228656 w 3565209"/>
                  <a:gd name="connsiteY242" fmla="*/ 1953325 h 3993936"/>
                  <a:gd name="connsiteX243" fmla="*/ 236779 w 3565209"/>
                  <a:gd name="connsiteY243" fmla="*/ 1958966 h 3993936"/>
                  <a:gd name="connsiteX244" fmla="*/ 244903 w 3565209"/>
                  <a:gd name="connsiteY244" fmla="*/ 1951294 h 3993936"/>
                  <a:gd name="connsiteX245" fmla="*/ 257764 w 3565209"/>
                  <a:gd name="connsiteY245" fmla="*/ 1927601 h 3993936"/>
                  <a:gd name="connsiteX246" fmla="*/ 265888 w 3565209"/>
                  <a:gd name="connsiteY246" fmla="*/ 1912483 h 3993936"/>
                  <a:gd name="connsiteX247" fmla="*/ 270175 w 3565209"/>
                  <a:gd name="connsiteY247" fmla="*/ 1908873 h 3993936"/>
                  <a:gd name="connsiteX248" fmla="*/ 271754 w 3565209"/>
                  <a:gd name="connsiteY248" fmla="*/ 1912934 h 3993936"/>
                  <a:gd name="connsiteX249" fmla="*/ 272657 w 3565209"/>
                  <a:gd name="connsiteY249" fmla="*/ 1918350 h 3993936"/>
                  <a:gd name="connsiteX250" fmla="*/ 277170 w 3565209"/>
                  <a:gd name="connsiteY250" fmla="*/ 1914965 h 3993936"/>
                  <a:gd name="connsiteX251" fmla="*/ 284616 w 3565209"/>
                  <a:gd name="connsiteY251" fmla="*/ 1908873 h 3993936"/>
                  <a:gd name="connsiteX252" fmla="*/ 289129 w 3565209"/>
                  <a:gd name="connsiteY252" fmla="*/ 1900524 h 3993936"/>
                  <a:gd name="connsiteX253" fmla="*/ 290483 w 3565209"/>
                  <a:gd name="connsiteY253" fmla="*/ 1895560 h 3993936"/>
                  <a:gd name="connsiteX254" fmla="*/ 295222 w 3565209"/>
                  <a:gd name="connsiteY254" fmla="*/ 1892175 h 3993936"/>
                  <a:gd name="connsiteX255" fmla="*/ 300412 w 3565209"/>
                  <a:gd name="connsiteY255" fmla="*/ 1889693 h 3993936"/>
                  <a:gd name="connsiteX256" fmla="*/ 302668 w 3565209"/>
                  <a:gd name="connsiteY256" fmla="*/ 1888113 h 3993936"/>
                  <a:gd name="connsiteX257" fmla="*/ 317109 w 3565209"/>
                  <a:gd name="connsiteY257" fmla="*/ 1875928 h 3993936"/>
                  <a:gd name="connsiteX258" fmla="*/ 315304 w 3565209"/>
                  <a:gd name="connsiteY258" fmla="*/ 1869610 h 3993936"/>
                  <a:gd name="connsiteX259" fmla="*/ 311468 w 3565209"/>
                  <a:gd name="connsiteY259" fmla="*/ 1870287 h 3993936"/>
                  <a:gd name="connsiteX260" fmla="*/ 295447 w 3565209"/>
                  <a:gd name="connsiteY260" fmla="*/ 1875703 h 3993936"/>
                  <a:gd name="connsiteX261" fmla="*/ 279652 w 3565209"/>
                  <a:gd name="connsiteY261" fmla="*/ 1870513 h 3993936"/>
                  <a:gd name="connsiteX262" fmla="*/ 275365 w 3565209"/>
                  <a:gd name="connsiteY262" fmla="*/ 1867805 h 3993936"/>
                  <a:gd name="connsiteX263" fmla="*/ 264985 w 3565209"/>
                  <a:gd name="connsiteY263" fmla="*/ 1867580 h 3993936"/>
                  <a:gd name="connsiteX264" fmla="*/ 250544 w 3565209"/>
                  <a:gd name="connsiteY264" fmla="*/ 1881118 h 3993936"/>
                  <a:gd name="connsiteX265" fmla="*/ 251221 w 3565209"/>
                  <a:gd name="connsiteY265" fmla="*/ 1886534 h 3993936"/>
                  <a:gd name="connsiteX266" fmla="*/ 251221 w 3565209"/>
                  <a:gd name="connsiteY266" fmla="*/ 1895334 h 3993936"/>
                  <a:gd name="connsiteX267" fmla="*/ 247610 w 3565209"/>
                  <a:gd name="connsiteY267" fmla="*/ 1897365 h 3993936"/>
                  <a:gd name="connsiteX268" fmla="*/ 241292 w 3565209"/>
                  <a:gd name="connsiteY268" fmla="*/ 1897590 h 3993936"/>
                  <a:gd name="connsiteX269" fmla="*/ 236102 w 3565209"/>
                  <a:gd name="connsiteY269" fmla="*/ 1898944 h 3993936"/>
                  <a:gd name="connsiteX270" fmla="*/ 235200 w 3565209"/>
                  <a:gd name="connsiteY270" fmla="*/ 1900749 h 3993936"/>
                  <a:gd name="connsiteX271" fmla="*/ 222338 w 3565209"/>
                  <a:gd name="connsiteY271" fmla="*/ 1907293 h 3993936"/>
                  <a:gd name="connsiteX272" fmla="*/ 201127 w 3565209"/>
                  <a:gd name="connsiteY272" fmla="*/ 1911580 h 3993936"/>
                  <a:gd name="connsiteX273" fmla="*/ 193907 w 3565209"/>
                  <a:gd name="connsiteY273" fmla="*/ 1913386 h 3993936"/>
                  <a:gd name="connsiteX274" fmla="*/ 188491 w 3565209"/>
                  <a:gd name="connsiteY274" fmla="*/ 1915642 h 3993936"/>
                  <a:gd name="connsiteX275" fmla="*/ 178563 w 3565209"/>
                  <a:gd name="connsiteY275" fmla="*/ 1917222 h 3993936"/>
                  <a:gd name="connsiteX276" fmla="*/ 170214 w 3565209"/>
                  <a:gd name="connsiteY276" fmla="*/ 1915642 h 3993936"/>
                  <a:gd name="connsiteX277" fmla="*/ 157126 w 3565209"/>
                  <a:gd name="connsiteY277" fmla="*/ 1914288 h 3993936"/>
                  <a:gd name="connsiteX278" fmla="*/ 138849 w 3565209"/>
                  <a:gd name="connsiteY278" fmla="*/ 1913160 h 3993936"/>
                  <a:gd name="connsiteX279" fmla="*/ 119443 w 3565209"/>
                  <a:gd name="connsiteY279" fmla="*/ 1906842 h 3993936"/>
                  <a:gd name="connsiteX280" fmla="*/ 90561 w 3565209"/>
                  <a:gd name="connsiteY280" fmla="*/ 1886985 h 3993936"/>
                  <a:gd name="connsiteX281" fmla="*/ 83566 w 3565209"/>
                  <a:gd name="connsiteY281" fmla="*/ 1882472 h 3993936"/>
                  <a:gd name="connsiteX282" fmla="*/ 69124 w 3565209"/>
                  <a:gd name="connsiteY282" fmla="*/ 1871641 h 3993936"/>
                  <a:gd name="connsiteX283" fmla="*/ 62580 w 3565209"/>
                  <a:gd name="connsiteY283" fmla="*/ 1866677 h 3993936"/>
                  <a:gd name="connsiteX284" fmla="*/ 50396 w 3565209"/>
                  <a:gd name="connsiteY284" fmla="*/ 1850430 h 3993936"/>
                  <a:gd name="connsiteX285" fmla="*/ 47688 w 3565209"/>
                  <a:gd name="connsiteY285" fmla="*/ 1842758 h 3993936"/>
                  <a:gd name="connsiteX286" fmla="*/ 46108 w 3565209"/>
                  <a:gd name="connsiteY286" fmla="*/ 1837794 h 3993936"/>
                  <a:gd name="connsiteX287" fmla="*/ 46334 w 3565209"/>
                  <a:gd name="connsiteY287" fmla="*/ 1834184 h 3993936"/>
                  <a:gd name="connsiteX288" fmla="*/ 46560 w 3565209"/>
                  <a:gd name="connsiteY288" fmla="*/ 1831476 h 3993936"/>
                  <a:gd name="connsiteX289" fmla="*/ 43175 w 3565209"/>
                  <a:gd name="connsiteY289" fmla="*/ 1828091 h 3993936"/>
                  <a:gd name="connsiteX290" fmla="*/ 35729 w 3565209"/>
                  <a:gd name="connsiteY290" fmla="*/ 1820419 h 3993936"/>
                  <a:gd name="connsiteX291" fmla="*/ 34375 w 3565209"/>
                  <a:gd name="connsiteY291" fmla="*/ 1812296 h 3993936"/>
                  <a:gd name="connsiteX292" fmla="*/ 34600 w 3565209"/>
                  <a:gd name="connsiteY292" fmla="*/ 1807558 h 3993936"/>
                  <a:gd name="connsiteX293" fmla="*/ 35503 w 3565209"/>
                  <a:gd name="connsiteY293" fmla="*/ 1791988 h 3993936"/>
                  <a:gd name="connsiteX294" fmla="*/ 36631 w 3565209"/>
                  <a:gd name="connsiteY294" fmla="*/ 1790634 h 3993936"/>
                  <a:gd name="connsiteX295" fmla="*/ 42949 w 3565209"/>
                  <a:gd name="connsiteY295" fmla="*/ 1786347 h 3993936"/>
                  <a:gd name="connsiteX296" fmla="*/ 46560 w 3565209"/>
                  <a:gd name="connsiteY296" fmla="*/ 1785444 h 3993936"/>
                  <a:gd name="connsiteX297" fmla="*/ 58293 w 3565209"/>
                  <a:gd name="connsiteY297" fmla="*/ 1780480 h 3993936"/>
                  <a:gd name="connsiteX298" fmla="*/ 61227 w 3565209"/>
                  <a:gd name="connsiteY298" fmla="*/ 1776193 h 3993936"/>
                  <a:gd name="connsiteX299" fmla="*/ 69801 w 3565209"/>
                  <a:gd name="connsiteY299" fmla="*/ 1770552 h 3993936"/>
                  <a:gd name="connsiteX300" fmla="*/ 83566 w 3565209"/>
                  <a:gd name="connsiteY300" fmla="*/ 1762654 h 3993936"/>
                  <a:gd name="connsiteX301" fmla="*/ 84017 w 3565209"/>
                  <a:gd name="connsiteY301" fmla="*/ 1762203 h 3993936"/>
                  <a:gd name="connsiteX302" fmla="*/ 75668 w 3565209"/>
                  <a:gd name="connsiteY302" fmla="*/ 1762880 h 3993936"/>
                  <a:gd name="connsiteX303" fmla="*/ 66416 w 3565209"/>
                  <a:gd name="connsiteY303" fmla="*/ 1764910 h 3993936"/>
                  <a:gd name="connsiteX304" fmla="*/ 56262 w 3565209"/>
                  <a:gd name="connsiteY304" fmla="*/ 1768069 h 3993936"/>
                  <a:gd name="connsiteX305" fmla="*/ 53555 w 3565209"/>
                  <a:gd name="connsiteY305" fmla="*/ 1771905 h 3993936"/>
                  <a:gd name="connsiteX306" fmla="*/ 45206 w 3565209"/>
                  <a:gd name="connsiteY306" fmla="*/ 1778901 h 3993936"/>
                  <a:gd name="connsiteX307" fmla="*/ 44754 w 3565209"/>
                  <a:gd name="connsiteY307" fmla="*/ 1778901 h 3993936"/>
                  <a:gd name="connsiteX308" fmla="*/ 33923 w 3565209"/>
                  <a:gd name="connsiteY308" fmla="*/ 1782511 h 3993936"/>
                  <a:gd name="connsiteX309" fmla="*/ 23092 w 3565209"/>
                  <a:gd name="connsiteY309" fmla="*/ 1796501 h 3993936"/>
                  <a:gd name="connsiteX310" fmla="*/ 8425 w 3565209"/>
                  <a:gd name="connsiteY310" fmla="*/ 1798983 h 3993936"/>
                  <a:gd name="connsiteX311" fmla="*/ 6395 w 3565209"/>
                  <a:gd name="connsiteY311" fmla="*/ 1798983 h 3993936"/>
                  <a:gd name="connsiteX312" fmla="*/ 77 w 3565209"/>
                  <a:gd name="connsiteY312" fmla="*/ 1794470 h 3993936"/>
                  <a:gd name="connsiteX313" fmla="*/ 3912 w 3565209"/>
                  <a:gd name="connsiteY313" fmla="*/ 1787926 h 3993936"/>
                  <a:gd name="connsiteX314" fmla="*/ 14969 w 3565209"/>
                  <a:gd name="connsiteY314" fmla="*/ 1779577 h 3993936"/>
                  <a:gd name="connsiteX315" fmla="*/ 14292 w 3565209"/>
                  <a:gd name="connsiteY315" fmla="*/ 1778901 h 3993936"/>
                  <a:gd name="connsiteX316" fmla="*/ 11584 w 3565209"/>
                  <a:gd name="connsiteY316" fmla="*/ 1774388 h 3993936"/>
                  <a:gd name="connsiteX317" fmla="*/ 10682 w 3565209"/>
                  <a:gd name="connsiteY317" fmla="*/ 1770552 h 3993936"/>
                  <a:gd name="connsiteX318" fmla="*/ 8877 w 3565209"/>
                  <a:gd name="connsiteY318" fmla="*/ 1757464 h 3993936"/>
                  <a:gd name="connsiteX319" fmla="*/ 14067 w 3565209"/>
                  <a:gd name="connsiteY319" fmla="*/ 1749341 h 3993936"/>
                  <a:gd name="connsiteX320" fmla="*/ 35277 w 3565209"/>
                  <a:gd name="connsiteY320" fmla="*/ 1745054 h 3993936"/>
                  <a:gd name="connsiteX321" fmla="*/ 41144 w 3565209"/>
                  <a:gd name="connsiteY321" fmla="*/ 1747084 h 3993936"/>
                  <a:gd name="connsiteX322" fmla="*/ 55360 w 3565209"/>
                  <a:gd name="connsiteY322" fmla="*/ 1749115 h 3993936"/>
                  <a:gd name="connsiteX323" fmla="*/ 76119 w 3565209"/>
                  <a:gd name="connsiteY323" fmla="*/ 1745505 h 3993936"/>
                  <a:gd name="connsiteX324" fmla="*/ 78601 w 3565209"/>
                  <a:gd name="connsiteY324" fmla="*/ 1737382 h 3993936"/>
                  <a:gd name="connsiteX325" fmla="*/ 78827 w 3565209"/>
                  <a:gd name="connsiteY325" fmla="*/ 1733771 h 3993936"/>
                  <a:gd name="connsiteX326" fmla="*/ 81083 w 3565209"/>
                  <a:gd name="connsiteY326" fmla="*/ 1729258 h 3993936"/>
                  <a:gd name="connsiteX327" fmla="*/ 81986 w 3565209"/>
                  <a:gd name="connsiteY327" fmla="*/ 1724971 h 3993936"/>
                  <a:gd name="connsiteX328" fmla="*/ 81309 w 3565209"/>
                  <a:gd name="connsiteY328" fmla="*/ 1721361 h 3993936"/>
                  <a:gd name="connsiteX329" fmla="*/ 86725 w 3565209"/>
                  <a:gd name="connsiteY329" fmla="*/ 1704212 h 3993936"/>
                  <a:gd name="connsiteX330" fmla="*/ 96427 w 3565209"/>
                  <a:gd name="connsiteY330" fmla="*/ 1706243 h 3993936"/>
                  <a:gd name="connsiteX331" fmla="*/ 100489 w 3565209"/>
                  <a:gd name="connsiteY331" fmla="*/ 1710981 h 3993936"/>
                  <a:gd name="connsiteX332" fmla="*/ 104099 w 3565209"/>
                  <a:gd name="connsiteY332" fmla="*/ 1710078 h 3993936"/>
                  <a:gd name="connsiteX333" fmla="*/ 107484 w 3565209"/>
                  <a:gd name="connsiteY333" fmla="*/ 1707822 h 3993936"/>
                  <a:gd name="connsiteX334" fmla="*/ 111546 w 3565209"/>
                  <a:gd name="connsiteY334" fmla="*/ 1712335 h 3993936"/>
                  <a:gd name="connsiteX335" fmla="*/ 123279 w 3565209"/>
                  <a:gd name="connsiteY335" fmla="*/ 1716622 h 3993936"/>
                  <a:gd name="connsiteX336" fmla="*/ 136367 w 3565209"/>
                  <a:gd name="connsiteY336" fmla="*/ 1715720 h 3993936"/>
                  <a:gd name="connsiteX337" fmla="*/ 143587 w 3565209"/>
                  <a:gd name="connsiteY337" fmla="*/ 1716622 h 3993936"/>
                  <a:gd name="connsiteX338" fmla="*/ 153290 w 3565209"/>
                  <a:gd name="connsiteY338" fmla="*/ 1715945 h 3993936"/>
                  <a:gd name="connsiteX339" fmla="*/ 162542 w 3565209"/>
                  <a:gd name="connsiteY339" fmla="*/ 1713914 h 3993936"/>
                  <a:gd name="connsiteX340" fmla="*/ 187588 w 3565209"/>
                  <a:gd name="connsiteY340" fmla="*/ 1715268 h 3993936"/>
                  <a:gd name="connsiteX341" fmla="*/ 188942 w 3565209"/>
                  <a:gd name="connsiteY341" fmla="*/ 1715494 h 3993936"/>
                  <a:gd name="connsiteX342" fmla="*/ 198645 w 3565209"/>
                  <a:gd name="connsiteY342" fmla="*/ 1723166 h 3993936"/>
                  <a:gd name="connsiteX343" fmla="*/ 219630 w 3565209"/>
                  <a:gd name="connsiteY343" fmla="*/ 1732192 h 3993936"/>
                  <a:gd name="connsiteX344" fmla="*/ 227528 w 3565209"/>
                  <a:gd name="connsiteY344" fmla="*/ 1731966 h 3993936"/>
                  <a:gd name="connsiteX345" fmla="*/ 243097 w 3565209"/>
                  <a:gd name="connsiteY345" fmla="*/ 1730838 h 3993936"/>
                  <a:gd name="connsiteX346" fmla="*/ 249415 w 3565209"/>
                  <a:gd name="connsiteY346" fmla="*/ 1725874 h 3993936"/>
                  <a:gd name="connsiteX347" fmla="*/ 257539 w 3565209"/>
                  <a:gd name="connsiteY347" fmla="*/ 1719104 h 3993936"/>
                  <a:gd name="connsiteX348" fmla="*/ 279878 w 3565209"/>
                  <a:gd name="connsiteY348" fmla="*/ 1714140 h 3993936"/>
                  <a:gd name="connsiteX349" fmla="*/ 289129 w 3565209"/>
                  <a:gd name="connsiteY349" fmla="*/ 1712109 h 3993936"/>
                  <a:gd name="connsiteX350" fmla="*/ 294996 w 3565209"/>
                  <a:gd name="connsiteY350" fmla="*/ 1708725 h 3993936"/>
                  <a:gd name="connsiteX351" fmla="*/ 300863 w 3565209"/>
                  <a:gd name="connsiteY351" fmla="*/ 1705566 h 3993936"/>
                  <a:gd name="connsiteX352" fmla="*/ 313048 w 3565209"/>
                  <a:gd name="connsiteY352" fmla="*/ 1704212 h 3993936"/>
                  <a:gd name="connsiteX353" fmla="*/ 315304 w 3565209"/>
                  <a:gd name="connsiteY353" fmla="*/ 1707145 h 3993936"/>
                  <a:gd name="connsiteX354" fmla="*/ 312596 w 3565209"/>
                  <a:gd name="connsiteY354" fmla="*/ 1714140 h 3993936"/>
                  <a:gd name="connsiteX355" fmla="*/ 310566 w 3565209"/>
                  <a:gd name="connsiteY355" fmla="*/ 1722263 h 3993936"/>
                  <a:gd name="connsiteX356" fmla="*/ 331325 w 3565209"/>
                  <a:gd name="connsiteY356" fmla="*/ 1733320 h 3993936"/>
                  <a:gd name="connsiteX357" fmla="*/ 349377 w 3565209"/>
                  <a:gd name="connsiteY357" fmla="*/ 1729258 h 3993936"/>
                  <a:gd name="connsiteX358" fmla="*/ 352761 w 3565209"/>
                  <a:gd name="connsiteY358" fmla="*/ 1724745 h 3993936"/>
                  <a:gd name="connsiteX359" fmla="*/ 359756 w 3565209"/>
                  <a:gd name="connsiteY359" fmla="*/ 1718202 h 3993936"/>
                  <a:gd name="connsiteX360" fmla="*/ 362690 w 3565209"/>
                  <a:gd name="connsiteY360" fmla="*/ 1717525 h 3993936"/>
                  <a:gd name="connsiteX361" fmla="*/ 370362 w 3565209"/>
                  <a:gd name="connsiteY361" fmla="*/ 1717073 h 3993936"/>
                  <a:gd name="connsiteX362" fmla="*/ 376229 w 3565209"/>
                  <a:gd name="connsiteY362" fmla="*/ 1714591 h 3993936"/>
                  <a:gd name="connsiteX363" fmla="*/ 378485 w 3565209"/>
                  <a:gd name="connsiteY363" fmla="*/ 1711658 h 3993936"/>
                  <a:gd name="connsiteX364" fmla="*/ 379839 w 3565209"/>
                  <a:gd name="connsiteY364" fmla="*/ 1708725 h 3993936"/>
                  <a:gd name="connsiteX365" fmla="*/ 376229 w 3565209"/>
                  <a:gd name="connsiteY365" fmla="*/ 1704663 h 3993936"/>
                  <a:gd name="connsiteX366" fmla="*/ 366752 w 3565209"/>
                  <a:gd name="connsiteY366" fmla="*/ 1694283 h 3993936"/>
                  <a:gd name="connsiteX367" fmla="*/ 366752 w 3565209"/>
                  <a:gd name="connsiteY367" fmla="*/ 1693832 h 3993936"/>
                  <a:gd name="connsiteX368" fmla="*/ 371941 w 3565209"/>
                  <a:gd name="connsiteY368" fmla="*/ 1681647 h 3993936"/>
                  <a:gd name="connsiteX369" fmla="*/ 373747 w 3565209"/>
                  <a:gd name="connsiteY369" fmla="*/ 1679391 h 3993936"/>
                  <a:gd name="connsiteX370" fmla="*/ 377583 w 3565209"/>
                  <a:gd name="connsiteY370" fmla="*/ 1676457 h 3993936"/>
                  <a:gd name="connsiteX371" fmla="*/ 381193 w 3565209"/>
                  <a:gd name="connsiteY371" fmla="*/ 1675103 h 3993936"/>
                  <a:gd name="connsiteX372" fmla="*/ 382321 w 3565209"/>
                  <a:gd name="connsiteY372" fmla="*/ 1674201 h 3993936"/>
                  <a:gd name="connsiteX373" fmla="*/ 376229 w 3565209"/>
                  <a:gd name="connsiteY373" fmla="*/ 1664272 h 3993936"/>
                  <a:gd name="connsiteX374" fmla="*/ 372618 w 3565209"/>
                  <a:gd name="connsiteY374" fmla="*/ 1659534 h 3993936"/>
                  <a:gd name="connsiteX375" fmla="*/ 368105 w 3565209"/>
                  <a:gd name="connsiteY375" fmla="*/ 1648251 h 3993936"/>
                  <a:gd name="connsiteX376" fmla="*/ 362239 w 3565209"/>
                  <a:gd name="connsiteY376" fmla="*/ 1634261 h 3993936"/>
                  <a:gd name="connsiteX377" fmla="*/ 359080 w 3565209"/>
                  <a:gd name="connsiteY377" fmla="*/ 1613953 h 3993936"/>
                  <a:gd name="connsiteX378" fmla="*/ 359080 w 3565209"/>
                  <a:gd name="connsiteY378" fmla="*/ 1606507 h 3993936"/>
                  <a:gd name="connsiteX379" fmla="*/ 350956 w 3565209"/>
                  <a:gd name="connsiteY379" fmla="*/ 1599738 h 3993936"/>
                  <a:gd name="connsiteX380" fmla="*/ 339900 w 3565209"/>
                  <a:gd name="connsiteY380" fmla="*/ 1590486 h 3993936"/>
                  <a:gd name="connsiteX381" fmla="*/ 332905 w 3565209"/>
                  <a:gd name="connsiteY381" fmla="*/ 1551900 h 3993936"/>
                  <a:gd name="connsiteX382" fmla="*/ 332228 w 3565209"/>
                  <a:gd name="connsiteY382" fmla="*/ 1548290 h 3993936"/>
                  <a:gd name="connsiteX383" fmla="*/ 333130 w 3565209"/>
                  <a:gd name="connsiteY383" fmla="*/ 1533623 h 3993936"/>
                  <a:gd name="connsiteX384" fmla="*/ 334258 w 3565209"/>
                  <a:gd name="connsiteY384" fmla="*/ 1529336 h 3993936"/>
                  <a:gd name="connsiteX385" fmla="*/ 323879 w 3565209"/>
                  <a:gd name="connsiteY385" fmla="*/ 1529336 h 3993936"/>
                  <a:gd name="connsiteX386" fmla="*/ 314627 w 3565209"/>
                  <a:gd name="connsiteY386" fmla="*/ 1531592 h 3993936"/>
                  <a:gd name="connsiteX387" fmla="*/ 297252 w 3565209"/>
                  <a:gd name="connsiteY387" fmla="*/ 1532044 h 3993936"/>
                  <a:gd name="connsiteX388" fmla="*/ 285293 w 3565209"/>
                  <a:gd name="connsiteY388" fmla="*/ 1518956 h 3993936"/>
                  <a:gd name="connsiteX389" fmla="*/ 283262 w 3565209"/>
                  <a:gd name="connsiteY389" fmla="*/ 1515797 h 3993936"/>
                  <a:gd name="connsiteX390" fmla="*/ 277847 w 3565209"/>
                  <a:gd name="connsiteY390" fmla="*/ 1509479 h 3993936"/>
                  <a:gd name="connsiteX391" fmla="*/ 271078 w 3565209"/>
                  <a:gd name="connsiteY391" fmla="*/ 1501582 h 3993936"/>
                  <a:gd name="connsiteX392" fmla="*/ 268821 w 3565209"/>
                  <a:gd name="connsiteY392" fmla="*/ 1480145 h 3993936"/>
                  <a:gd name="connsiteX393" fmla="*/ 267467 w 3565209"/>
                  <a:gd name="connsiteY393" fmla="*/ 1478791 h 3993936"/>
                  <a:gd name="connsiteX394" fmla="*/ 263857 w 3565209"/>
                  <a:gd name="connsiteY394" fmla="*/ 1472473 h 3993936"/>
                  <a:gd name="connsiteX395" fmla="*/ 268595 w 3565209"/>
                  <a:gd name="connsiteY395" fmla="*/ 1466155 h 3993936"/>
                  <a:gd name="connsiteX396" fmla="*/ 280555 w 3565209"/>
                  <a:gd name="connsiteY396" fmla="*/ 1442688 h 3993936"/>
                  <a:gd name="connsiteX397" fmla="*/ 281006 w 3565209"/>
                  <a:gd name="connsiteY397" fmla="*/ 1440206 h 3993936"/>
                  <a:gd name="connsiteX398" fmla="*/ 280555 w 3565209"/>
                  <a:gd name="connsiteY398" fmla="*/ 1426216 h 3993936"/>
                  <a:gd name="connsiteX399" fmla="*/ 280780 w 3565209"/>
                  <a:gd name="connsiteY399" fmla="*/ 1416287 h 3993936"/>
                  <a:gd name="connsiteX400" fmla="*/ 277621 w 3565209"/>
                  <a:gd name="connsiteY400" fmla="*/ 1409518 h 3993936"/>
                  <a:gd name="connsiteX401" fmla="*/ 277170 w 3565209"/>
                  <a:gd name="connsiteY401" fmla="*/ 1409292 h 3993936"/>
                  <a:gd name="connsiteX402" fmla="*/ 275816 w 3565209"/>
                  <a:gd name="connsiteY402" fmla="*/ 1408390 h 3993936"/>
                  <a:gd name="connsiteX403" fmla="*/ 263406 w 3565209"/>
                  <a:gd name="connsiteY403" fmla="*/ 1404328 h 3993936"/>
                  <a:gd name="connsiteX404" fmla="*/ 261600 w 3565209"/>
                  <a:gd name="connsiteY404" fmla="*/ 1404554 h 3993936"/>
                  <a:gd name="connsiteX405" fmla="*/ 241744 w 3565209"/>
                  <a:gd name="connsiteY405" fmla="*/ 1404779 h 3993936"/>
                  <a:gd name="connsiteX406" fmla="*/ 229107 w 3565209"/>
                  <a:gd name="connsiteY406" fmla="*/ 1397333 h 3993936"/>
                  <a:gd name="connsiteX407" fmla="*/ 222564 w 3565209"/>
                  <a:gd name="connsiteY407" fmla="*/ 1391917 h 3993936"/>
                  <a:gd name="connsiteX408" fmla="*/ 214892 w 3565209"/>
                  <a:gd name="connsiteY408" fmla="*/ 1388307 h 3993936"/>
                  <a:gd name="connsiteX409" fmla="*/ 206543 w 3565209"/>
                  <a:gd name="connsiteY409" fmla="*/ 1381763 h 3993936"/>
                  <a:gd name="connsiteX410" fmla="*/ 203609 w 3565209"/>
                  <a:gd name="connsiteY410" fmla="*/ 1356491 h 3993936"/>
                  <a:gd name="connsiteX411" fmla="*/ 213763 w 3565209"/>
                  <a:gd name="connsiteY411" fmla="*/ 1328962 h 3993936"/>
                  <a:gd name="connsiteX412" fmla="*/ 219179 w 3565209"/>
                  <a:gd name="connsiteY412" fmla="*/ 1319259 h 3993936"/>
                  <a:gd name="connsiteX413" fmla="*/ 226851 w 3565209"/>
                  <a:gd name="connsiteY413" fmla="*/ 1308428 h 3993936"/>
                  <a:gd name="connsiteX414" fmla="*/ 236554 w 3565209"/>
                  <a:gd name="connsiteY414" fmla="*/ 1301659 h 3993936"/>
                  <a:gd name="connsiteX415" fmla="*/ 247159 w 3565209"/>
                  <a:gd name="connsiteY415" fmla="*/ 1293536 h 3993936"/>
                  <a:gd name="connsiteX416" fmla="*/ 258441 w 3565209"/>
                  <a:gd name="connsiteY416" fmla="*/ 1284961 h 3993936"/>
                  <a:gd name="connsiteX417" fmla="*/ 265211 w 3565209"/>
                  <a:gd name="connsiteY417" fmla="*/ 1279771 h 3993936"/>
                  <a:gd name="connsiteX418" fmla="*/ 270852 w 3565209"/>
                  <a:gd name="connsiteY418" fmla="*/ 1275033 h 3993936"/>
                  <a:gd name="connsiteX419" fmla="*/ 277170 w 3565209"/>
                  <a:gd name="connsiteY419" fmla="*/ 1269843 h 3993936"/>
                  <a:gd name="connsiteX420" fmla="*/ 283488 w 3565209"/>
                  <a:gd name="connsiteY420" fmla="*/ 1252468 h 3993936"/>
                  <a:gd name="connsiteX421" fmla="*/ 283714 w 3565209"/>
                  <a:gd name="connsiteY421" fmla="*/ 1251791 h 3993936"/>
                  <a:gd name="connsiteX422" fmla="*/ 294093 w 3565209"/>
                  <a:gd name="connsiteY422" fmla="*/ 1231257 h 3993936"/>
                  <a:gd name="connsiteX423" fmla="*/ 303345 w 3565209"/>
                  <a:gd name="connsiteY423" fmla="*/ 1225842 h 3993936"/>
                  <a:gd name="connsiteX424" fmla="*/ 311017 w 3565209"/>
                  <a:gd name="connsiteY424" fmla="*/ 1221103 h 3993936"/>
                  <a:gd name="connsiteX425" fmla="*/ 319140 w 3565209"/>
                  <a:gd name="connsiteY425" fmla="*/ 1215462 h 3993936"/>
                  <a:gd name="connsiteX426" fmla="*/ 330197 w 3565209"/>
                  <a:gd name="connsiteY426" fmla="*/ 1209595 h 3993936"/>
                  <a:gd name="connsiteX427" fmla="*/ 352084 w 3565209"/>
                  <a:gd name="connsiteY427" fmla="*/ 1214560 h 3993936"/>
                  <a:gd name="connsiteX428" fmla="*/ 358403 w 3565209"/>
                  <a:gd name="connsiteY428" fmla="*/ 1233514 h 3993936"/>
                  <a:gd name="connsiteX429" fmla="*/ 361787 w 3565209"/>
                  <a:gd name="connsiteY429" fmla="*/ 1247504 h 3993936"/>
                  <a:gd name="connsiteX430" fmla="*/ 366075 w 3565209"/>
                  <a:gd name="connsiteY430" fmla="*/ 1253596 h 3993936"/>
                  <a:gd name="connsiteX431" fmla="*/ 369008 w 3565209"/>
                  <a:gd name="connsiteY431" fmla="*/ 1258335 h 3993936"/>
                  <a:gd name="connsiteX432" fmla="*/ 391573 w 3565209"/>
                  <a:gd name="connsiteY432" fmla="*/ 1255627 h 3993936"/>
                  <a:gd name="connsiteX433" fmla="*/ 413912 w 3565209"/>
                  <a:gd name="connsiteY433" fmla="*/ 1247278 h 3993936"/>
                  <a:gd name="connsiteX434" fmla="*/ 423614 w 3565209"/>
                  <a:gd name="connsiteY434" fmla="*/ 1243894 h 3993936"/>
                  <a:gd name="connsiteX435" fmla="*/ 443697 w 3565209"/>
                  <a:gd name="connsiteY435" fmla="*/ 1242540 h 3993936"/>
                  <a:gd name="connsiteX436" fmla="*/ 450241 w 3565209"/>
                  <a:gd name="connsiteY436" fmla="*/ 1242765 h 3993936"/>
                  <a:gd name="connsiteX437" fmla="*/ 457461 w 3565209"/>
                  <a:gd name="connsiteY437" fmla="*/ 1243442 h 3993936"/>
                  <a:gd name="connsiteX438" fmla="*/ 469646 w 3565209"/>
                  <a:gd name="connsiteY438" fmla="*/ 1243668 h 3993936"/>
                  <a:gd name="connsiteX439" fmla="*/ 485893 w 3565209"/>
                  <a:gd name="connsiteY439" fmla="*/ 1237801 h 3993936"/>
                  <a:gd name="connsiteX440" fmla="*/ 492211 w 3565209"/>
                  <a:gd name="connsiteY440" fmla="*/ 1234868 h 3993936"/>
                  <a:gd name="connsiteX441" fmla="*/ 501914 w 3565209"/>
                  <a:gd name="connsiteY441" fmla="*/ 1228324 h 3993936"/>
                  <a:gd name="connsiteX442" fmla="*/ 502590 w 3565209"/>
                  <a:gd name="connsiteY442" fmla="*/ 1226745 h 3993936"/>
                  <a:gd name="connsiteX443" fmla="*/ 508006 w 3565209"/>
                  <a:gd name="connsiteY443" fmla="*/ 1212078 h 3993936"/>
                  <a:gd name="connsiteX444" fmla="*/ 517257 w 3565209"/>
                  <a:gd name="connsiteY444" fmla="*/ 1198539 h 3993936"/>
                  <a:gd name="connsiteX445" fmla="*/ 519740 w 3565209"/>
                  <a:gd name="connsiteY445" fmla="*/ 1196282 h 3993936"/>
                  <a:gd name="connsiteX446" fmla="*/ 534858 w 3565209"/>
                  <a:gd name="connsiteY446" fmla="*/ 1185451 h 3993936"/>
                  <a:gd name="connsiteX447" fmla="*/ 545915 w 3565209"/>
                  <a:gd name="connsiteY447" fmla="*/ 1174620 h 3993936"/>
                  <a:gd name="connsiteX448" fmla="*/ 547494 w 3565209"/>
                  <a:gd name="connsiteY448" fmla="*/ 1172364 h 3993936"/>
                  <a:gd name="connsiteX449" fmla="*/ 552684 w 3565209"/>
                  <a:gd name="connsiteY449" fmla="*/ 1160630 h 3993936"/>
                  <a:gd name="connsiteX450" fmla="*/ 557422 w 3565209"/>
                  <a:gd name="connsiteY450" fmla="*/ 1149348 h 3993936"/>
                  <a:gd name="connsiteX451" fmla="*/ 559453 w 3565209"/>
                  <a:gd name="connsiteY451" fmla="*/ 1142579 h 3993936"/>
                  <a:gd name="connsiteX452" fmla="*/ 567125 w 3565209"/>
                  <a:gd name="connsiteY452" fmla="*/ 1127686 h 3993936"/>
                  <a:gd name="connsiteX453" fmla="*/ 597588 w 3565209"/>
                  <a:gd name="connsiteY453" fmla="*/ 1109860 h 3993936"/>
                  <a:gd name="connsiteX454" fmla="*/ 609772 w 3565209"/>
                  <a:gd name="connsiteY454" fmla="*/ 1103993 h 3993936"/>
                  <a:gd name="connsiteX455" fmla="*/ 620603 w 3565209"/>
                  <a:gd name="connsiteY455" fmla="*/ 1098578 h 3993936"/>
                  <a:gd name="connsiteX456" fmla="*/ 628275 w 3565209"/>
                  <a:gd name="connsiteY456" fmla="*/ 1097675 h 3993936"/>
                  <a:gd name="connsiteX457" fmla="*/ 633014 w 3565209"/>
                  <a:gd name="connsiteY457" fmla="*/ 1097449 h 3993936"/>
                  <a:gd name="connsiteX458" fmla="*/ 637753 w 3565209"/>
                  <a:gd name="connsiteY458" fmla="*/ 1087521 h 3993936"/>
                  <a:gd name="connsiteX459" fmla="*/ 641814 w 3565209"/>
                  <a:gd name="connsiteY459" fmla="*/ 1077367 h 3993936"/>
                  <a:gd name="connsiteX460" fmla="*/ 645876 w 3565209"/>
                  <a:gd name="connsiteY460" fmla="*/ 1071951 h 3993936"/>
                  <a:gd name="connsiteX461" fmla="*/ 658512 w 3565209"/>
                  <a:gd name="connsiteY461" fmla="*/ 1057510 h 3993936"/>
                  <a:gd name="connsiteX462" fmla="*/ 670471 w 3565209"/>
                  <a:gd name="connsiteY462" fmla="*/ 1039909 h 3993936"/>
                  <a:gd name="connsiteX463" fmla="*/ 674758 w 3565209"/>
                  <a:gd name="connsiteY463" fmla="*/ 1032238 h 3993936"/>
                  <a:gd name="connsiteX464" fmla="*/ 688523 w 3565209"/>
                  <a:gd name="connsiteY464" fmla="*/ 1007191 h 3993936"/>
                  <a:gd name="connsiteX465" fmla="*/ 691005 w 3565209"/>
                  <a:gd name="connsiteY465" fmla="*/ 993652 h 3993936"/>
                  <a:gd name="connsiteX466" fmla="*/ 692359 w 3565209"/>
                  <a:gd name="connsiteY466" fmla="*/ 985077 h 3993936"/>
                  <a:gd name="connsiteX467" fmla="*/ 693036 w 3565209"/>
                  <a:gd name="connsiteY467" fmla="*/ 979662 h 3993936"/>
                  <a:gd name="connsiteX468" fmla="*/ 696646 w 3565209"/>
                  <a:gd name="connsiteY468" fmla="*/ 969057 h 3993936"/>
                  <a:gd name="connsiteX469" fmla="*/ 724401 w 3565209"/>
                  <a:gd name="connsiteY469" fmla="*/ 959580 h 3993936"/>
                  <a:gd name="connsiteX470" fmla="*/ 731621 w 3565209"/>
                  <a:gd name="connsiteY470" fmla="*/ 960708 h 3993936"/>
                  <a:gd name="connsiteX471" fmla="*/ 742904 w 3565209"/>
                  <a:gd name="connsiteY471" fmla="*/ 957323 h 3993936"/>
                  <a:gd name="connsiteX472" fmla="*/ 758022 w 3565209"/>
                  <a:gd name="connsiteY472" fmla="*/ 944461 h 3993936"/>
                  <a:gd name="connsiteX473" fmla="*/ 758925 w 3565209"/>
                  <a:gd name="connsiteY473" fmla="*/ 943559 h 3993936"/>
                  <a:gd name="connsiteX474" fmla="*/ 763889 w 3565209"/>
                  <a:gd name="connsiteY474" fmla="*/ 940400 h 3993936"/>
                  <a:gd name="connsiteX475" fmla="*/ 767725 w 3565209"/>
                  <a:gd name="connsiteY475" fmla="*/ 936564 h 3993936"/>
                  <a:gd name="connsiteX476" fmla="*/ 767273 w 3565209"/>
                  <a:gd name="connsiteY476" fmla="*/ 932953 h 3993936"/>
                  <a:gd name="connsiteX477" fmla="*/ 765468 w 3565209"/>
                  <a:gd name="connsiteY477" fmla="*/ 930697 h 3993936"/>
                  <a:gd name="connsiteX478" fmla="*/ 761632 w 3565209"/>
                  <a:gd name="connsiteY478" fmla="*/ 913096 h 3993936"/>
                  <a:gd name="connsiteX479" fmla="*/ 762986 w 3565209"/>
                  <a:gd name="connsiteY479" fmla="*/ 905424 h 3993936"/>
                  <a:gd name="connsiteX480" fmla="*/ 766597 w 3565209"/>
                  <a:gd name="connsiteY480" fmla="*/ 896624 h 3993936"/>
                  <a:gd name="connsiteX481" fmla="*/ 773366 w 3565209"/>
                  <a:gd name="connsiteY481" fmla="*/ 892111 h 3993936"/>
                  <a:gd name="connsiteX482" fmla="*/ 781715 w 3565209"/>
                  <a:gd name="connsiteY482" fmla="*/ 886696 h 3993936"/>
                  <a:gd name="connsiteX483" fmla="*/ 786453 w 3565209"/>
                  <a:gd name="connsiteY483" fmla="*/ 882409 h 3993936"/>
                  <a:gd name="connsiteX484" fmla="*/ 789838 w 3565209"/>
                  <a:gd name="connsiteY484" fmla="*/ 876316 h 3993936"/>
                  <a:gd name="connsiteX485" fmla="*/ 795930 w 3565209"/>
                  <a:gd name="connsiteY485" fmla="*/ 869772 h 3993936"/>
                  <a:gd name="connsiteX486" fmla="*/ 798864 w 3565209"/>
                  <a:gd name="connsiteY486" fmla="*/ 867065 h 3993936"/>
                  <a:gd name="connsiteX487" fmla="*/ 801346 w 3565209"/>
                  <a:gd name="connsiteY487" fmla="*/ 861875 h 3993936"/>
                  <a:gd name="connsiteX488" fmla="*/ 807664 w 3565209"/>
                  <a:gd name="connsiteY488" fmla="*/ 852172 h 3993936"/>
                  <a:gd name="connsiteX489" fmla="*/ 812177 w 3565209"/>
                  <a:gd name="connsiteY489" fmla="*/ 845854 h 3993936"/>
                  <a:gd name="connsiteX490" fmla="*/ 815336 w 3565209"/>
                  <a:gd name="connsiteY490" fmla="*/ 839761 h 3993936"/>
                  <a:gd name="connsiteX491" fmla="*/ 817141 w 3565209"/>
                  <a:gd name="connsiteY491" fmla="*/ 837956 h 3993936"/>
                  <a:gd name="connsiteX492" fmla="*/ 827295 w 3565209"/>
                  <a:gd name="connsiteY492" fmla="*/ 831864 h 3993936"/>
                  <a:gd name="connsiteX493" fmla="*/ 836998 w 3565209"/>
                  <a:gd name="connsiteY493" fmla="*/ 827125 h 3993936"/>
                  <a:gd name="connsiteX494" fmla="*/ 841737 w 3565209"/>
                  <a:gd name="connsiteY494" fmla="*/ 824417 h 3993936"/>
                  <a:gd name="connsiteX495" fmla="*/ 844896 w 3565209"/>
                  <a:gd name="connsiteY495" fmla="*/ 823289 h 3993936"/>
                  <a:gd name="connsiteX496" fmla="*/ 846250 w 3565209"/>
                  <a:gd name="connsiteY496" fmla="*/ 822838 h 3993936"/>
                  <a:gd name="connsiteX497" fmla="*/ 845573 w 3565209"/>
                  <a:gd name="connsiteY497" fmla="*/ 821258 h 3993936"/>
                  <a:gd name="connsiteX498" fmla="*/ 843767 w 3565209"/>
                  <a:gd name="connsiteY498" fmla="*/ 817874 h 3993936"/>
                  <a:gd name="connsiteX499" fmla="*/ 838803 w 3565209"/>
                  <a:gd name="connsiteY499" fmla="*/ 806817 h 3993936"/>
                  <a:gd name="connsiteX500" fmla="*/ 838578 w 3565209"/>
                  <a:gd name="connsiteY500" fmla="*/ 805914 h 3993936"/>
                  <a:gd name="connsiteX501" fmla="*/ 838126 w 3565209"/>
                  <a:gd name="connsiteY501" fmla="*/ 788991 h 3993936"/>
                  <a:gd name="connsiteX502" fmla="*/ 839932 w 3565209"/>
                  <a:gd name="connsiteY502" fmla="*/ 784929 h 3993936"/>
                  <a:gd name="connsiteX503" fmla="*/ 846701 w 3565209"/>
                  <a:gd name="connsiteY503" fmla="*/ 776129 h 3993936"/>
                  <a:gd name="connsiteX504" fmla="*/ 852116 w 3565209"/>
                  <a:gd name="connsiteY504" fmla="*/ 772293 h 3993936"/>
                  <a:gd name="connsiteX505" fmla="*/ 847152 w 3565209"/>
                  <a:gd name="connsiteY505" fmla="*/ 751985 h 3993936"/>
                  <a:gd name="connsiteX506" fmla="*/ 844896 w 3565209"/>
                  <a:gd name="connsiteY506" fmla="*/ 749729 h 3993936"/>
                  <a:gd name="connsiteX507" fmla="*/ 838352 w 3565209"/>
                  <a:gd name="connsiteY507" fmla="*/ 729420 h 3993936"/>
                  <a:gd name="connsiteX508" fmla="*/ 843767 w 3565209"/>
                  <a:gd name="connsiteY508" fmla="*/ 720395 h 3993936"/>
                  <a:gd name="connsiteX509" fmla="*/ 851665 w 3565209"/>
                  <a:gd name="connsiteY509" fmla="*/ 708887 h 3993936"/>
                  <a:gd name="connsiteX510" fmla="*/ 876712 w 3565209"/>
                  <a:gd name="connsiteY510" fmla="*/ 692866 h 3993936"/>
                  <a:gd name="connsiteX511" fmla="*/ 878743 w 3565209"/>
                  <a:gd name="connsiteY511" fmla="*/ 691512 h 3993936"/>
                  <a:gd name="connsiteX512" fmla="*/ 896343 w 3565209"/>
                  <a:gd name="connsiteY512" fmla="*/ 686322 h 3993936"/>
                  <a:gd name="connsiteX513" fmla="*/ 910333 w 3565209"/>
                  <a:gd name="connsiteY513" fmla="*/ 686096 h 3993936"/>
                  <a:gd name="connsiteX514" fmla="*/ 919359 w 3565209"/>
                  <a:gd name="connsiteY514" fmla="*/ 685419 h 3993936"/>
                  <a:gd name="connsiteX515" fmla="*/ 934026 w 3565209"/>
                  <a:gd name="connsiteY515" fmla="*/ 676168 h 3993936"/>
                  <a:gd name="connsiteX516" fmla="*/ 937636 w 3565209"/>
                  <a:gd name="connsiteY516" fmla="*/ 668045 h 3993936"/>
                  <a:gd name="connsiteX517" fmla="*/ 939667 w 3565209"/>
                  <a:gd name="connsiteY517" fmla="*/ 664209 h 3993936"/>
                  <a:gd name="connsiteX518" fmla="*/ 933800 w 3565209"/>
                  <a:gd name="connsiteY518" fmla="*/ 647737 h 3993936"/>
                  <a:gd name="connsiteX519" fmla="*/ 926805 w 3565209"/>
                  <a:gd name="connsiteY519" fmla="*/ 642547 h 3993936"/>
                  <a:gd name="connsiteX520" fmla="*/ 910107 w 3565209"/>
                  <a:gd name="connsiteY520" fmla="*/ 631716 h 3993936"/>
                  <a:gd name="connsiteX521" fmla="*/ 900405 w 3565209"/>
                  <a:gd name="connsiteY521" fmla="*/ 631716 h 3993936"/>
                  <a:gd name="connsiteX522" fmla="*/ 878968 w 3565209"/>
                  <a:gd name="connsiteY522" fmla="*/ 630587 h 3993936"/>
                  <a:gd name="connsiteX523" fmla="*/ 875358 w 3565209"/>
                  <a:gd name="connsiteY523" fmla="*/ 629459 h 3993936"/>
                  <a:gd name="connsiteX524" fmla="*/ 866783 w 3565209"/>
                  <a:gd name="connsiteY524" fmla="*/ 624269 h 3993936"/>
                  <a:gd name="connsiteX525" fmla="*/ 865655 w 3565209"/>
                  <a:gd name="connsiteY525" fmla="*/ 622690 h 3993936"/>
                  <a:gd name="connsiteX526" fmla="*/ 862722 w 3565209"/>
                  <a:gd name="connsiteY526" fmla="*/ 611633 h 3993936"/>
                  <a:gd name="connsiteX527" fmla="*/ 862947 w 3565209"/>
                  <a:gd name="connsiteY527" fmla="*/ 590648 h 3993936"/>
                  <a:gd name="connsiteX528" fmla="*/ 857757 w 3565209"/>
                  <a:gd name="connsiteY528" fmla="*/ 589971 h 3993936"/>
                  <a:gd name="connsiteX529" fmla="*/ 834967 w 3565209"/>
                  <a:gd name="connsiteY529" fmla="*/ 586361 h 3993936"/>
                  <a:gd name="connsiteX530" fmla="*/ 805633 w 3565209"/>
                  <a:gd name="connsiteY530" fmla="*/ 572145 h 3993936"/>
                  <a:gd name="connsiteX531" fmla="*/ 802023 w 3565209"/>
                  <a:gd name="connsiteY531" fmla="*/ 569212 h 3993936"/>
                  <a:gd name="connsiteX532" fmla="*/ 800443 w 3565209"/>
                  <a:gd name="connsiteY532" fmla="*/ 568084 h 3993936"/>
                  <a:gd name="connsiteX533" fmla="*/ 781940 w 3565209"/>
                  <a:gd name="connsiteY533" fmla="*/ 557704 h 3993936"/>
                  <a:gd name="connsiteX534" fmla="*/ 762535 w 3565209"/>
                  <a:gd name="connsiteY534" fmla="*/ 549581 h 3993936"/>
                  <a:gd name="connsiteX535" fmla="*/ 745837 w 3565209"/>
                  <a:gd name="connsiteY535" fmla="*/ 522052 h 3993936"/>
                  <a:gd name="connsiteX536" fmla="*/ 744258 w 3565209"/>
                  <a:gd name="connsiteY536" fmla="*/ 514831 h 3993936"/>
                  <a:gd name="connsiteX537" fmla="*/ 742227 w 3565209"/>
                  <a:gd name="connsiteY537" fmla="*/ 471281 h 3993936"/>
                  <a:gd name="connsiteX538" fmla="*/ 744032 w 3565209"/>
                  <a:gd name="connsiteY538" fmla="*/ 417352 h 3993936"/>
                  <a:gd name="connsiteX539" fmla="*/ 743355 w 3565209"/>
                  <a:gd name="connsiteY539" fmla="*/ 410583 h 3993936"/>
                  <a:gd name="connsiteX540" fmla="*/ 740196 w 3565209"/>
                  <a:gd name="connsiteY540" fmla="*/ 386213 h 3993936"/>
                  <a:gd name="connsiteX541" fmla="*/ 737037 w 3565209"/>
                  <a:gd name="connsiteY541" fmla="*/ 376736 h 3993936"/>
                  <a:gd name="connsiteX542" fmla="*/ 735457 w 3565209"/>
                  <a:gd name="connsiteY542" fmla="*/ 350335 h 3993936"/>
                  <a:gd name="connsiteX543" fmla="*/ 755314 w 3565209"/>
                  <a:gd name="connsiteY543" fmla="*/ 334765 h 3993936"/>
                  <a:gd name="connsiteX544" fmla="*/ 759827 w 3565209"/>
                  <a:gd name="connsiteY544" fmla="*/ 332283 h 3993936"/>
                  <a:gd name="connsiteX545" fmla="*/ 759150 w 3565209"/>
                  <a:gd name="connsiteY545" fmla="*/ 325288 h 3993936"/>
                  <a:gd name="connsiteX546" fmla="*/ 758925 w 3565209"/>
                  <a:gd name="connsiteY546" fmla="*/ 312426 h 3993936"/>
                  <a:gd name="connsiteX547" fmla="*/ 767499 w 3565209"/>
                  <a:gd name="connsiteY547" fmla="*/ 308365 h 3993936"/>
                  <a:gd name="connsiteX548" fmla="*/ 789612 w 3565209"/>
                  <a:gd name="connsiteY548" fmla="*/ 292344 h 3993936"/>
                  <a:gd name="connsiteX549" fmla="*/ 797736 w 3565209"/>
                  <a:gd name="connsiteY549" fmla="*/ 283092 h 3993936"/>
                  <a:gd name="connsiteX550" fmla="*/ 800218 w 3565209"/>
                  <a:gd name="connsiteY550" fmla="*/ 275872 h 3993936"/>
                  <a:gd name="connsiteX551" fmla="*/ 783971 w 3565209"/>
                  <a:gd name="connsiteY551" fmla="*/ 244733 h 3993936"/>
                  <a:gd name="connsiteX552" fmla="*/ 770207 w 3565209"/>
                  <a:gd name="connsiteY552" fmla="*/ 227584 h 3993936"/>
                  <a:gd name="connsiteX553" fmla="*/ 761181 w 3565209"/>
                  <a:gd name="connsiteY553" fmla="*/ 215173 h 3993936"/>
                  <a:gd name="connsiteX554" fmla="*/ 743581 w 3565209"/>
                  <a:gd name="connsiteY554" fmla="*/ 206598 h 3993936"/>
                  <a:gd name="connsiteX555" fmla="*/ 726883 w 3565209"/>
                  <a:gd name="connsiteY555" fmla="*/ 198926 h 3993936"/>
                  <a:gd name="connsiteX556" fmla="*/ 711539 w 3565209"/>
                  <a:gd name="connsiteY556" fmla="*/ 180875 h 3993936"/>
                  <a:gd name="connsiteX557" fmla="*/ 684010 w 3565209"/>
                  <a:gd name="connsiteY557" fmla="*/ 153346 h 3993936"/>
                  <a:gd name="connsiteX558" fmla="*/ 676789 w 3565209"/>
                  <a:gd name="connsiteY558" fmla="*/ 153120 h 3993936"/>
                  <a:gd name="connsiteX559" fmla="*/ 645199 w 3565209"/>
                  <a:gd name="connsiteY559" fmla="*/ 147254 h 3993936"/>
                  <a:gd name="connsiteX560" fmla="*/ 634368 w 3565209"/>
                  <a:gd name="connsiteY560" fmla="*/ 111827 h 3993936"/>
                  <a:gd name="connsiteX561" fmla="*/ 642265 w 3565209"/>
                  <a:gd name="connsiteY561" fmla="*/ 95129 h 3993936"/>
                  <a:gd name="connsiteX562" fmla="*/ 661671 w 3565209"/>
                  <a:gd name="connsiteY562" fmla="*/ 84073 h 3993936"/>
                  <a:gd name="connsiteX563" fmla="*/ 681077 w 3565209"/>
                  <a:gd name="connsiteY563" fmla="*/ 72790 h 3993936"/>
                  <a:gd name="connsiteX564" fmla="*/ 691682 w 3565209"/>
                  <a:gd name="connsiteY564" fmla="*/ 54513 h 3993936"/>
                  <a:gd name="connsiteX565" fmla="*/ 698000 w 3565209"/>
                  <a:gd name="connsiteY565" fmla="*/ 41877 h 3993936"/>
                  <a:gd name="connsiteX566" fmla="*/ 727108 w 3565209"/>
                  <a:gd name="connsiteY566" fmla="*/ 29918 h 3993936"/>
                  <a:gd name="connsiteX567" fmla="*/ 753283 w 3565209"/>
                  <a:gd name="connsiteY567" fmla="*/ 31723 h 3993936"/>
                  <a:gd name="connsiteX568" fmla="*/ 784422 w 3565209"/>
                  <a:gd name="connsiteY568" fmla="*/ 32625 h 3993936"/>
                  <a:gd name="connsiteX569" fmla="*/ 807213 w 3565209"/>
                  <a:gd name="connsiteY569" fmla="*/ 23148 h 3993936"/>
                  <a:gd name="connsiteX570" fmla="*/ 816013 w 3565209"/>
                  <a:gd name="connsiteY570" fmla="*/ 18410 h 3993936"/>
                  <a:gd name="connsiteX571" fmla="*/ 817592 w 3565209"/>
                  <a:gd name="connsiteY571" fmla="*/ 17733 h 3993936"/>
                  <a:gd name="connsiteX572" fmla="*/ 857757 w 3565209"/>
                  <a:gd name="connsiteY572" fmla="*/ 3968 h 3993936"/>
                  <a:gd name="connsiteX573" fmla="*/ 875809 w 3565209"/>
                  <a:gd name="connsiteY573" fmla="*/ 2163 h 3993936"/>
                  <a:gd name="connsiteX574" fmla="*/ 890251 w 3565209"/>
                  <a:gd name="connsiteY574" fmla="*/ 132 h 3993936"/>
                  <a:gd name="connsiteX575" fmla="*/ 906271 w 3565209"/>
                  <a:gd name="connsiteY575" fmla="*/ 3743 h 3993936"/>
                  <a:gd name="connsiteX576" fmla="*/ 923195 w 3565209"/>
                  <a:gd name="connsiteY576" fmla="*/ 8932 h 3993936"/>
                  <a:gd name="connsiteX577" fmla="*/ 943729 w 3565209"/>
                  <a:gd name="connsiteY577" fmla="*/ 6676 h 3993936"/>
                  <a:gd name="connsiteX578" fmla="*/ 965165 w 3565209"/>
                  <a:gd name="connsiteY578" fmla="*/ 8707 h 3993936"/>
                  <a:gd name="connsiteX579" fmla="*/ 977801 w 3565209"/>
                  <a:gd name="connsiteY579" fmla="*/ 23374 h 3993936"/>
                  <a:gd name="connsiteX580" fmla="*/ 1013228 w 3565209"/>
                  <a:gd name="connsiteY580" fmla="*/ 59928 h 3993936"/>
                  <a:gd name="connsiteX581" fmla="*/ 1035792 w 3565209"/>
                  <a:gd name="connsiteY581" fmla="*/ 72790 h 3993936"/>
                  <a:gd name="connsiteX582" fmla="*/ 1059485 w 3565209"/>
                  <a:gd name="connsiteY582" fmla="*/ 86329 h 3993936"/>
                  <a:gd name="connsiteX583" fmla="*/ 1082275 w 3565209"/>
                  <a:gd name="connsiteY583" fmla="*/ 106412 h 3993936"/>
                  <a:gd name="connsiteX584" fmla="*/ 1095137 w 3565209"/>
                  <a:gd name="connsiteY584" fmla="*/ 118822 h 3993936"/>
                  <a:gd name="connsiteX585" fmla="*/ 1099876 w 3565209"/>
                  <a:gd name="connsiteY585" fmla="*/ 122207 h 3993936"/>
                  <a:gd name="connsiteX586" fmla="*/ 1124020 w 3565209"/>
                  <a:gd name="connsiteY586" fmla="*/ 148156 h 3993936"/>
                  <a:gd name="connsiteX587" fmla="*/ 1126276 w 3565209"/>
                  <a:gd name="connsiteY587" fmla="*/ 156731 h 3993936"/>
                  <a:gd name="connsiteX588" fmla="*/ 1132820 w 3565209"/>
                  <a:gd name="connsiteY588" fmla="*/ 177039 h 3993936"/>
                  <a:gd name="connsiteX589" fmla="*/ 1183365 w 3565209"/>
                  <a:gd name="connsiteY589" fmla="*/ 197347 h 3993936"/>
                  <a:gd name="connsiteX590" fmla="*/ 1199611 w 3565209"/>
                  <a:gd name="connsiteY590" fmla="*/ 210886 h 3993936"/>
                  <a:gd name="connsiteX591" fmla="*/ 1221048 w 3565209"/>
                  <a:gd name="connsiteY591" fmla="*/ 221040 h 3993936"/>
                  <a:gd name="connsiteX592" fmla="*/ 1262567 w 3565209"/>
                  <a:gd name="connsiteY592" fmla="*/ 212014 h 3993936"/>
                  <a:gd name="connsiteX593" fmla="*/ 1274300 w 3565209"/>
                  <a:gd name="connsiteY593" fmla="*/ 203214 h 3993936"/>
                  <a:gd name="connsiteX594" fmla="*/ 1318753 w 3565209"/>
                  <a:gd name="connsiteY594" fmla="*/ 174105 h 3993936"/>
                  <a:gd name="connsiteX595" fmla="*/ 1360497 w 3565209"/>
                  <a:gd name="connsiteY595" fmla="*/ 171849 h 3993936"/>
                  <a:gd name="connsiteX596" fmla="*/ 1386446 w 3565209"/>
                  <a:gd name="connsiteY596" fmla="*/ 170946 h 3993936"/>
                  <a:gd name="connsiteX597" fmla="*/ 1392088 w 3565209"/>
                  <a:gd name="connsiteY597" fmla="*/ 167336 h 3993936"/>
                  <a:gd name="connsiteX598" fmla="*/ 1408560 w 3565209"/>
                  <a:gd name="connsiteY598" fmla="*/ 162146 h 3993936"/>
                  <a:gd name="connsiteX599" fmla="*/ 1436314 w 3565209"/>
                  <a:gd name="connsiteY599" fmla="*/ 173880 h 3993936"/>
                  <a:gd name="connsiteX600" fmla="*/ 1467905 w 3565209"/>
                  <a:gd name="connsiteY600" fmla="*/ 189224 h 3993936"/>
                  <a:gd name="connsiteX601" fmla="*/ 1504008 w 3565209"/>
                  <a:gd name="connsiteY601" fmla="*/ 207727 h 3993936"/>
                  <a:gd name="connsiteX602" fmla="*/ 1508295 w 3565209"/>
                  <a:gd name="connsiteY602" fmla="*/ 211563 h 3993936"/>
                  <a:gd name="connsiteX603" fmla="*/ 1506265 w 3565209"/>
                  <a:gd name="connsiteY603" fmla="*/ 259400 h 3993936"/>
                  <a:gd name="connsiteX604" fmla="*/ 1487310 w 3565209"/>
                  <a:gd name="connsiteY604" fmla="*/ 310847 h 3993936"/>
                  <a:gd name="connsiteX605" fmla="*/ 1486859 w 3565209"/>
                  <a:gd name="connsiteY605" fmla="*/ 312426 h 3993936"/>
                  <a:gd name="connsiteX606" fmla="*/ 1467228 w 3565209"/>
                  <a:gd name="connsiteY606" fmla="*/ 339730 h 3993936"/>
                  <a:gd name="connsiteX607" fmla="*/ 1461812 w 3565209"/>
                  <a:gd name="connsiteY607" fmla="*/ 342663 h 3993936"/>
                  <a:gd name="connsiteX608" fmla="*/ 1451884 w 3565209"/>
                  <a:gd name="connsiteY608" fmla="*/ 353720 h 3993936"/>
                  <a:gd name="connsiteX609" fmla="*/ 1439248 w 3565209"/>
                  <a:gd name="connsiteY609" fmla="*/ 364776 h 3993936"/>
                  <a:gd name="connsiteX610" fmla="*/ 1431576 w 3565209"/>
                  <a:gd name="connsiteY610" fmla="*/ 367935 h 3993936"/>
                  <a:gd name="connsiteX611" fmla="*/ 1423001 w 3565209"/>
                  <a:gd name="connsiteY611" fmla="*/ 389823 h 3993936"/>
                  <a:gd name="connsiteX612" fmla="*/ 1415780 w 3565209"/>
                  <a:gd name="connsiteY612" fmla="*/ 416224 h 3993936"/>
                  <a:gd name="connsiteX613" fmla="*/ 1397954 w 3565209"/>
                  <a:gd name="connsiteY613" fmla="*/ 420962 h 3993936"/>
                  <a:gd name="connsiteX614" fmla="*/ 1377872 w 3565209"/>
                  <a:gd name="connsiteY614" fmla="*/ 423670 h 3993936"/>
                  <a:gd name="connsiteX615" fmla="*/ 1356661 w 3565209"/>
                  <a:gd name="connsiteY615" fmla="*/ 438788 h 3993936"/>
                  <a:gd name="connsiteX616" fmla="*/ 1363205 w 3565209"/>
                  <a:gd name="connsiteY616" fmla="*/ 455260 h 3993936"/>
                  <a:gd name="connsiteX617" fmla="*/ 1370200 w 3565209"/>
                  <a:gd name="connsiteY617" fmla="*/ 477825 h 3993936"/>
                  <a:gd name="connsiteX618" fmla="*/ 1364333 w 3565209"/>
                  <a:gd name="connsiteY618" fmla="*/ 484143 h 3993936"/>
                  <a:gd name="connsiteX619" fmla="*/ 1356661 w 3565209"/>
                  <a:gd name="connsiteY619" fmla="*/ 498359 h 3993936"/>
                  <a:gd name="connsiteX620" fmla="*/ 1356661 w 3565209"/>
                  <a:gd name="connsiteY620" fmla="*/ 500390 h 3993936"/>
                  <a:gd name="connsiteX621" fmla="*/ 1367718 w 3565209"/>
                  <a:gd name="connsiteY621" fmla="*/ 518441 h 3993936"/>
                  <a:gd name="connsiteX622" fmla="*/ 1372005 w 3565209"/>
                  <a:gd name="connsiteY622" fmla="*/ 519344 h 3993936"/>
                  <a:gd name="connsiteX623" fmla="*/ 1411042 w 3565209"/>
                  <a:gd name="connsiteY623" fmla="*/ 534011 h 3993936"/>
                  <a:gd name="connsiteX624" fmla="*/ 1410816 w 3565209"/>
                  <a:gd name="connsiteY624" fmla="*/ 548904 h 3993936"/>
                  <a:gd name="connsiteX625" fmla="*/ 1413298 w 3565209"/>
                  <a:gd name="connsiteY625" fmla="*/ 571694 h 3993936"/>
                  <a:gd name="connsiteX626" fmla="*/ 1416232 w 3565209"/>
                  <a:gd name="connsiteY626" fmla="*/ 574627 h 3993936"/>
                  <a:gd name="connsiteX627" fmla="*/ 1428191 w 3565209"/>
                  <a:gd name="connsiteY627" fmla="*/ 606669 h 3993936"/>
                  <a:gd name="connsiteX628" fmla="*/ 1411268 w 3565209"/>
                  <a:gd name="connsiteY628" fmla="*/ 626300 h 3993936"/>
                  <a:gd name="connsiteX629" fmla="*/ 1407657 w 3565209"/>
                  <a:gd name="connsiteY629" fmla="*/ 625849 h 3993936"/>
                  <a:gd name="connsiteX630" fmla="*/ 1390282 w 3565209"/>
                  <a:gd name="connsiteY630" fmla="*/ 633295 h 3993936"/>
                  <a:gd name="connsiteX631" fmla="*/ 1387123 w 3565209"/>
                  <a:gd name="connsiteY631" fmla="*/ 636906 h 3993936"/>
                  <a:gd name="connsiteX632" fmla="*/ 1364333 w 3565209"/>
                  <a:gd name="connsiteY632" fmla="*/ 652250 h 3993936"/>
                  <a:gd name="connsiteX633" fmla="*/ 1346507 w 3565209"/>
                  <a:gd name="connsiteY633" fmla="*/ 642547 h 3993936"/>
                  <a:gd name="connsiteX634" fmla="*/ 1343348 w 3565209"/>
                  <a:gd name="connsiteY634" fmla="*/ 640065 h 3993936"/>
                  <a:gd name="connsiteX635" fmla="*/ 1338158 w 3565209"/>
                  <a:gd name="connsiteY635" fmla="*/ 632393 h 3993936"/>
                  <a:gd name="connsiteX636" fmla="*/ 1328004 w 3565209"/>
                  <a:gd name="connsiteY636" fmla="*/ 619531 h 3993936"/>
                  <a:gd name="connsiteX637" fmla="*/ 1310178 w 3565209"/>
                  <a:gd name="connsiteY637" fmla="*/ 622915 h 3993936"/>
                  <a:gd name="connsiteX638" fmla="*/ 1303183 w 3565209"/>
                  <a:gd name="connsiteY638" fmla="*/ 624946 h 3993936"/>
                  <a:gd name="connsiteX639" fmla="*/ 1298670 w 3565209"/>
                  <a:gd name="connsiteY639" fmla="*/ 628557 h 3993936"/>
                  <a:gd name="connsiteX640" fmla="*/ 1298896 w 3565209"/>
                  <a:gd name="connsiteY640" fmla="*/ 637131 h 3993936"/>
                  <a:gd name="connsiteX641" fmla="*/ 1301829 w 3565209"/>
                  <a:gd name="connsiteY641" fmla="*/ 650896 h 3993936"/>
                  <a:gd name="connsiteX642" fmla="*/ 1303183 w 3565209"/>
                  <a:gd name="connsiteY642" fmla="*/ 661275 h 3993936"/>
                  <a:gd name="connsiteX643" fmla="*/ 1319655 w 3565209"/>
                  <a:gd name="connsiteY643" fmla="*/ 686096 h 3993936"/>
                  <a:gd name="connsiteX644" fmla="*/ 1322137 w 3565209"/>
                  <a:gd name="connsiteY644" fmla="*/ 689255 h 3993936"/>
                  <a:gd name="connsiteX645" fmla="*/ 1332968 w 3565209"/>
                  <a:gd name="connsiteY645" fmla="*/ 724682 h 3993936"/>
                  <a:gd name="connsiteX646" fmla="*/ 1331163 w 3565209"/>
                  <a:gd name="connsiteY646" fmla="*/ 735062 h 3993936"/>
                  <a:gd name="connsiteX647" fmla="*/ 1332517 w 3565209"/>
                  <a:gd name="connsiteY647" fmla="*/ 746118 h 3993936"/>
                  <a:gd name="connsiteX648" fmla="*/ 1338609 w 3565209"/>
                  <a:gd name="connsiteY648" fmla="*/ 770037 h 3993936"/>
                  <a:gd name="connsiteX649" fmla="*/ 1344928 w 3565209"/>
                  <a:gd name="connsiteY649" fmla="*/ 794407 h 3993936"/>
                  <a:gd name="connsiteX650" fmla="*/ 1359143 w 3565209"/>
                  <a:gd name="connsiteY650" fmla="*/ 798017 h 3993936"/>
                  <a:gd name="connsiteX651" fmla="*/ 1361851 w 3565209"/>
                  <a:gd name="connsiteY651" fmla="*/ 796437 h 3993936"/>
                  <a:gd name="connsiteX652" fmla="*/ 1381257 w 3565209"/>
                  <a:gd name="connsiteY652" fmla="*/ 791473 h 3993936"/>
                  <a:gd name="connsiteX653" fmla="*/ 1399083 w 3565209"/>
                  <a:gd name="connsiteY653" fmla="*/ 814715 h 3993936"/>
                  <a:gd name="connsiteX654" fmla="*/ 1399985 w 3565209"/>
                  <a:gd name="connsiteY654" fmla="*/ 816294 h 3993936"/>
                  <a:gd name="connsiteX655" fmla="*/ 1433381 w 3565209"/>
                  <a:gd name="connsiteY655" fmla="*/ 843146 h 3993936"/>
                  <a:gd name="connsiteX656" fmla="*/ 1447371 w 3565209"/>
                  <a:gd name="connsiteY656" fmla="*/ 843597 h 3993936"/>
                  <a:gd name="connsiteX657" fmla="*/ 1461361 w 3565209"/>
                  <a:gd name="connsiteY657" fmla="*/ 846079 h 3993936"/>
                  <a:gd name="connsiteX658" fmla="*/ 1484151 w 3565209"/>
                  <a:gd name="connsiteY658" fmla="*/ 860521 h 3993936"/>
                  <a:gd name="connsiteX659" fmla="*/ 1492951 w 3565209"/>
                  <a:gd name="connsiteY659" fmla="*/ 866388 h 3993936"/>
                  <a:gd name="connsiteX660" fmla="*/ 1504685 w 3565209"/>
                  <a:gd name="connsiteY660" fmla="*/ 877219 h 3993936"/>
                  <a:gd name="connsiteX661" fmla="*/ 1511680 w 3565209"/>
                  <a:gd name="connsiteY661" fmla="*/ 884891 h 3993936"/>
                  <a:gd name="connsiteX662" fmla="*/ 1517773 w 3565209"/>
                  <a:gd name="connsiteY662" fmla="*/ 891209 h 3993936"/>
                  <a:gd name="connsiteX663" fmla="*/ 1533342 w 3565209"/>
                  <a:gd name="connsiteY663" fmla="*/ 904071 h 3993936"/>
                  <a:gd name="connsiteX664" fmla="*/ 1560194 w 3565209"/>
                  <a:gd name="connsiteY664" fmla="*/ 915127 h 3993936"/>
                  <a:gd name="connsiteX665" fmla="*/ 1580276 w 3565209"/>
                  <a:gd name="connsiteY665" fmla="*/ 936789 h 3993936"/>
                  <a:gd name="connsiteX666" fmla="*/ 1582533 w 3565209"/>
                  <a:gd name="connsiteY666" fmla="*/ 940851 h 3993936"/>
                  <a:gd name="connsiteX667" fmla="*/ 1566963 w 3565209"/>
                  <a:gd name="connsiteY667" fmla="*/ 978534 h 3993936"/>
                  <a:gd name="connsiteX668" fmla="*/ 1561773 w 3565209"/>
                  <a:gd name="connsiteY668" fmla="*/ 985077 h 3993936"/>
                  <a:gd name="connsiteX669" fmla="*/ 1550265 w 3565209"/>
                  <a:gd name="connsiteY669" fmla="*/ 994555 h 3993936"/>
                  <a:gd name="connsiteX670" fmla="*/ 1537404 w 3565209"/>
                  <a:gd name="connsiteY670" fmla="*/ 1008093 h 3993936"/>
                  <a:gd name="connsiteX671" fmla="*/ 1533793 w 3565209"/>
                  <a:gd name="connsiteY671" fmla="*/ 1022084 h 3993936"/>
                  <a:gd name="connsiteX672" fmla="*/ 1522737 w 3565209"/>
                  <a:gd name="connsiteY672" fmla="*/ 1046453 h 3993936"/>
                  <a:gd name="connsiteX673" fmla="*/ 1508295 w 3565209"/>
                  <a:gd name="connsiteY673" fmla="*/ 1078721 h 3993936"/>
                  <a:gd name="connsiteX674" fmla="*/ 1497690 w 3565209"/>
                  <a:gd name="connsiteY674" fmla="*/ 1115050 h 3993936"/>
                  <a:gd name="connsiteX675" fmla="*/ 1492274 w 3565209"/>
                  <a:gd name="connsiteY675" fmla="*/ 1129040 h 3993936"/>
                  <a:gd name="connsiteX676" fmla="*/ 1529732 w 3565209"/>
                  <a:gd name="connsiteY676" fmla="*/ 1161758 h 3993936"/>
                  <a:gd name="connsiteX677" fmla="*/ 1550040 w 3565209"/>
                  <a:gd name="connsiteY677" fmla="*/ 1168979 h 3993936"/>
                  <a:gd name="connsiteX678" fmla="*/ 1596749 w 3565209"/>
                  <a:gd name="connsiteY678" fmla="*/ 1189287 h 3993936"/>
                  <a:gd name="connsiteX679" fmla="*/ 1615929 w 3565209"/>
                  <a:gd name="connsiteY679" fmla="*/ 1200795 h 3993936"/>
                  <a:gd name="connsiteX680" fmla="*/ 1647970 w 3565209"/>
                  <a:gd name="connsiteY680" fmla="*/ 1225842 h 3993936"/>
                  <a:gd name="connsiteX681" fmla="*/ 1668278 w 3565209"/>
                  <a:gd name="connsiteY681" fmla="*/ 1243894 h 3993936"/>
                  <a:gd name="connsiteX682" fmla="*/ 1681140 w 3565209"/>
                  <a:gd name="connsiteY682" fmla="*/ 1253596 h 3993936"/>
                  <a:gd name="connsiteX683" fmla="*/ 1717921 w 3565209"/>
                  <a:gd name="connsiteY683" fmla="*/ 1268940 h 3993936"/>
                  <a:gd name="connsiteX684" fmla="*/ 1749285 w 3565209"/>
                  <a:gd name="connsiteY684" fmla="*/ 1278869 h 3993936"/>
                  <a:gd name="connsiteX685" fmla="*/ 1750639 w 3565209"/>
                  <a:gd name="connsiteY685" fmla="*/ 1279546 h 3993936"/>
                  <a:gd name="connsiteX686" fmla="*/ 1763727 w 3565209"/>
                  <a:gd name="connsiteY686" fmla="*/ 1286315 h 3993936"/>
                  <a:gd name="connsiteX687" fmla="*/ 1785163 w 3565209"/>
                  <a:gd name="connsiteY687" fmla="*/ 1296920 h 3993936"/>
                  <a:gd name="connsiteX688" fmla="*/ 1836159 w 3565209"/>
                  <a:gd name="connsiteY688" fmla="*/ 1320839 h 3993936"/>
                  <a:gd name="connsiteX689" fmla="*/ 1836159 w 3565209"/>
                  <a:gd name="connsiteY689" fmla="*/ 1320839 h 3993936"/>
                  <a:gd name="connsiteX690" fmla="*/ 1856016 w 3565209"/>
                  <a:gd name="connsiteY690" fmla="*/ 1321290 h 3993936"/>
                  <a:gd name="connsiteX691" fmla="*/ 1856919 w 3565209"/>
                  <a:gd name="connsiteY691" fmla="*/ 1321065 h 3993936"/>
                  <a:gd name="connsiteX692" fmla="*/ 1875422 w 3565209"/>
                  <a:gd name="connsiteY692" fmla="*/ 1325803 h 3993936"/>
                  <a:gd name="connsiteX693" fmla="*/ 1887832 w 3565209"/>
                  <a:gd name="connsiteY693" fmla="*/ 1338665 h 3993936"/>
                  <a:gd name="connsiteX694" fmla="*/ 1887155 w 3565209"/>
                  <a:gd name="connsiteY694" fmla="*/ 1334152 h 3993936"/>
                  <a:gd name="connsiteX695" fmla="*/ 1888058 w 3565209"/>
                  <a:gd name="connsiteY695" fmla="*/ 1320613 h 3993936"/>
                  <a:gd name="connsiteX696" fmla="*/ 1893022 w 3565209"/>
                  <a:gd name="connsiteY696" fmla="*/ 1318131 h 3993936"/>
                  <a:gd name="connsiteX697" fmla="*/ 1894602 w 3565209"/>
                  <a:gd name="connsiteY697" fmla="*/ 1317906 h 3993936"/>
                  <a:gd name="connsiteX698" fmla="*/ 1929577 w 3565209"/>
                  <a:gd name="connsiteY698" fmla="*/ 1320839 h 3993936"/>
                  <a:gd name="connsiteX699" fmla="*/ 1937023 w 3565209"/>
                  <a:gd name="connsiteY699" fmla="*/ 1326254 h 3993936"/>
                  <a:gd name="connsiteX700" fmla="*/ 1946951 w 3565209"/>
                  <a:gd name="connsiteY700" fmla="*/ 1334378 h 3993936"/>
                  <a:gd name="connsiteX701" fmla="*/ 1947177 w 3565209"/>
                  <a:gd name="connsiteY701" fmla="*/ 1333926 h 3993936"/>
                  <a:gd name="connsiteX702" fmla="*/ 1961393 w 3565209"/>
                  <a:gd name="connsiteY702" fmla="*/ 1319936 h 3993936"/>
                  <a:gd name="connsiteX703" fmla="*/ 1963875 w 3565209"/>
                  <a:gd name="connsiteY703" fmla="*/ 1320388 h 3993936"/>
                  <a:gd name="connsiteX704" fmla="*/ 1974706 w 3565209"/>
                  <a:gd name="connsiteY704" fmla="*/ 1317454 h 3993936"/>
                  <a:gd name="connsiteX705" fmla="*/ 1975383 w 3565209"/>
                  <a:gd name="connsiteY705" fmla="*/ 1316777 h 3993936"/>
                  <a:gd name="connsiteX706" fmla="*/ 1996819 w 3565209"/>
                  <a:gd name="connsiteY706" fmla="*/ 1315198 h 3993936"/>
                  <a:gd name="connsiteX707" fmla="*/ 2001783 w 3565209"/>
                  <a:gd name="connsiteY707" fmla="*/ 1323998 h 3993936"/>
                  <a:gd name="connsiteX708" fmla="*/ 2006973 w 3565209"/>
                  <a:gd name="connsiteY708" fmla="*/ 1330316 h 3993936"/>
                  <a:gd name="connsiteX709" fmla="*/ 2014194 w 3565209"/>
                  <a:gd name="connsiteY709" fmla="*/ 1328962 h 3993936"/>
                  <a:gd name="connsiteX710" fmla="*/ 2025251 w 3565209"/>
                  <a:gd name="connsiteY710" fmla="*/ 1327157 h 3993936"/>
                  <a:gd name="connsiteX711" fmla="*/ 2045107 w 3565209"/>
                  <a:gd name="connsiteY711" fmla="*/ 1338439 h 3993936"/>
                  <a:gd name="connsiteX712" fmla="*/ 2050072 w 3565209"/>
                  <a:gd name="connsiteY712" fmla="*/ 1359650 h 3993936"/>
                  <a:gd name="connsiteX713" fmla="*/ 2048492 w 3565209"/>
                  <a:gd name="connsiteY713" fmla="*/ 1363937 h 3993936"/>
                  <a:gd name="connsiteX714" fmla="*/ 2046236 w 3565209"/>
                  <a:gd name="connsiteY714" fmla="*/ 1373866 h 3993936"/>
                  <a:gd name="connsiteX715" fmla="*/ 2047364 w 3565209"/>
                  <a:gd name="connsiteY715" fmla="*/ 1374317 h 3993936"/>
                  <a:gd name="connsiteX716" fmla="*/ 2095201 w 3565209"/>
                  <a:gd name="connsiteY716" fmla="*/ 1388758 h 3993936"/>
                  <a:gd name="connsiteX717" fmla="*/ 2101519 w 3565209"/>
                  <a:gd name="connsiteY717" fmla="*/ 1393497 h 3993936"/>
                  <a:gd name="connsiteX718" fmla="*/ 2143715 w 3565209"/>
                  <a:gd name="connsiteY718" fmla="*/ 1402748 h 3993936"/>
                  <a:gd name="connsiteX719" fmla="*/ 2148228 w 3565209"/>
                  <a:gd name="connsiteY719" fmla="*/ 1399815 h 3993936"/>
                  <a:gd name="connsiteX720" fmla="*/ 2173049 w 3565209"/>
                  <a:gd name="connsiteY720" fmla="*/ 1394851 h 3993936"/>
                  <a:gd name="connsiteX721" fmla="*/ 2178239 w 3565209"/>
                  <a:gd name="connsiteY721" fmla="*/ 1410195 h 3993936"/>
                  <a:gd name="connsiteX722" fmla="*/ 2180270 w 3565209"/>
                  <a:gd name="connsiteY722" fmla="*/ 1421026 h 3993936"/>
                  <a:gd name="connsiteX723" fmla="*/ 2198998 w 3565209"/>
                  <a:gd name="connsiteY723" fmla="*/ 1428021 h 3993936"/>
                  <a:gd name="connsiteX724" fmla="*/ 2210732 w 3565209"/>
                  <a:gd name="connsiteY724" fmla="*/ 1425087 h 3993936"/>
                  <a:gd name="connsiteX725" fmla="*/ 2221789 w 3565209"/>
                  <a:gd name="connsiteY725" fmla="*/ 1422154 h 3993936"/>
                  <a:gd name="connsiteX726" fmla="*/ 2268497 w 3565209"/>
                  <a:gd name="connsiteY726" fmla="*/ 1432082 h 3993936"/>
                  <a:gd name="connsiteX727" fmla="*/ 2272333 w 3565209"/>
                  <a:gd name="connsiteY727" fmla="*/ 1433662 h 3993936"/>
                  <a:gd name="connsiteX728" fmla="*/ 2320621 w 3565209"/>
                  <a:gd name="connsiteY728" fmla="*/ 1438175 h 3993936"/>
                  <a:gd name="connsiteX729" fmla="*/ 2354920 w 3565209"/>
                  <a:gd name="connsiteY729" fmla="*/ 1439980 h 3993936"/>
                  <a:gd name="connsiteX730" fmla="*/ 2359207 w 3565209"/>
                  <a:gd name="connsiteY730" fmla="*/ 1442914 h 3993936"/>
                  <a:gd name="connsiteX731" fmla="*/ 2378161 w 3565209"/>
                  <a:gd name="connsiteY731" fmla="*/ 1445170 h 3993936"/>
                  <a:gd name="connsiteX732" fmla="*/ 2396213 w 3565209"/>
                  <a:gd name="connsiteY732" fmla="*/ 1439078 h 3993936"/>
                  <a:gd name="connsiteX733" fmla="*/ 2404336 w 3565209"/>
                  <a:gd name="connsiteY733" fmla="*/ 1443365 h 3993936"/>
                  <a:gd name="connsiteX734" fmla="*/ 2408398 w 3565209"/>
                  <a:gd name="connsiteY734" fmla="*/ 1445847 h 3993936"/>
                  <a:gd name="connsiteX735" fmla="*/ 2414265 w 3565209"/>
                  <a:gd name="connsiteY735" fmla="*/ 1444944 h 3993936"/>
                  <a:gd name="connsiteX736" fmla="*/ 2417649 w 3565209"/>
                  <a:gd name="connsiteY736" fmla="*/ 1443590 h 3993936"/>
                  <a:gd name="connsiteX737" fmla="*/ 2424419 w 3565209"/>
                  <a:gd name="connsiteY737" fmla="*/ 1438626 h 3993936"/>
                  <a:gd name="connsiteX738" fmla="*/ 2424193 w 3565209"/>
                  <a:gd name="connsiteY738" fmla="*/ 1436595 h 3993936"/>
                  <a:gd name="connsiteX739" fmla="*/ 2424419 w 3565209"/>
                  <a:gd name="connsiteY739" fmla="*/ 1433211 h 3993936"/>
                  <a:gd name="connsiteX740" fmla="*/ 2430511 w 3565209"/>
                  <a:gd name="connsiteY740" fmla="*/ 1430954 h 3993936"/>
                  <a:gd name="connsiteX741" fmla="*/ 2434799 w 3565209"/>
                  <a:gd name="connsiteY741" fmla="*/ 1430277 h 3993936"/>
                  <a:gd name="connsiteX742" fmla="*/ 2447435 w 3565209"/>
                  <a:gd name="connsiteY742" fmla="*/ 1434113 h 3993936"/>
                  <a:gd name="connsiteX743" fmla="*/ 2454204 w 3565209"/>
                  <a:gd name="connsiteY743" fmla="*/ 1441334 h 3993936"/>
                  <a:gd name="connsiteX744" fmla="*/ 2456461 w 3565209"/>
                  <a:gd name="connsiteY744" fmla="*/ 1442688 h 3993936"/>
                  <a:gd name="connsiteX745" fmla="*/ 2458943 w 3565209"/>
                  <a:gd name="connsiteY745" fmla="*/ 1444042 h 3993936"/>
                  <a:gd name="connsiteX746" fmla="*/ 2461650 w 3565209"/>
                  <a:gd name="connsiteY746" fmla="*/ 1436144 h 3993936"/>
                  <a:gd name="connsiteX747" fmla="*/ 2467517 w 3565209"/>
                  <a:gd name="connsiteY747" fmla="*/ 1421477 h 3993936"/>
                  <a:gd name="connsiteX748" fmla="*/ 2470450 w 3565209"/>
                  <a:gd name="connsiteY748" fmla="*/ 1414256 h 3993936"/>
                  <a:gd name="connsiteX749" fmla="*/ 2474738 w 3565209"/>
                  <a:gd name="connsiteY749" fmla="*/ 1405456 h 3993936"/>
                  <a:gd name="connsiteX750" fmla="*/ 2475866 w 3565209"/>
                  <a:gd name="connsiteY750" fmla="*/ 1385599 h 3993936"/>
                  <a:gd name="connsiteX751" fmla="*/ 2475189 w 3565209"/>
                  <a:gd name="connsiteY751" fmla="*/ 1383794 h 3993936"/>
                  <a:gd name="connsiteX752" fmla="*/ 2462327 w 3565209"/>
                  <a:gd name="connsiteY752" fmla="*/ 1365066 h 3993936"/>
                  <a:gd name="connsiteX753" fmla="*/ 2447435 w 3565209"/>
                  <a:gd name="connsiteY753" fmla="*/ 1343404 h 3993936"/>
                  <a:gd name="connsiteX754" fmla="*/ 2453076 w 3565209"/>
                  <a:gd name="connsiteY754" fmla="*/ 1333475 h 3993936"/>
                  <a:gd name="connsiteX755" fmla="*/ 2455558 w 3565209"/>
                  <a:gd name="connsiteY755" fmla="*/ 1330542 h 3993936"/>
                  <a:gd name="connsiteX756" fmla="*/ 2454881 w 3565209"/>
                  <a:gd name="connsiteY756" fmla="*/ 1328511 h 3993936"/>
                  <a:gd name="connsiteX757" fmla="*/ 2452173 w 3565209"/>
                  <a:gd name="connsiteY757" fmla="*/ 1310685 h 3993936"/>
                  <a:gd name="connsiteX758" fmla="*/ 2456686 w 3565209"/>
                  <a:gd name="connsiteY758" fmla="*/ 1290602 h 3993936"/>
                  <a:gd name="connsiteX759" fmla="*/ 2458040 w 3565209"/>
                  <a:gd name="connsiteY759" fmla="*/ 1287895 h 3993936"/>
                  <a:gd name="connsiteX760" fmla="*/ 2458943 w 3565209"/>
                  <a:gd name="connsiteY760" fmla="*/ 1279997 h 3993936"/>
                  <a:gd name="connsiteX761" fmla="*/ 2461876 w 3565209"/>
                  <a:gd name="connsiteY761" fmla="*/ 1269392 h 3993936"/>
                  <a:gd name="connsiteX762" fmla="*/ 2465938 w 3565209"/>
                  <a:gd name="connsiteY762" fmla="*/ 1263299 h 3993936"/>
                  <a:gd name="connsiteX763" fmla="*/ 2468645 w 3565209"/>
                  <a:gd name="connsiteY763" fmla="*/ 1258109 h 3993936"/>
                  <a:gd name="connsiteX764" fmla="*/ 2467066 w 3565209"/>
                  <a:gd name="connsiteY764" fmla="*/ 1252242 h 3993936"/>
                  <a:gd name="connsiteX765" fmla="*/ 2463907 w 3565209"/>
                  <a:gd name="connsiteY765" fmla="*/ 1247278 h 3993936"/>
                  <a:gd name="connsiteX766" fmla="*/ 2460973 w 3565209"/>
                  <a:gd name="connsiteY766" fmla="*/ 1242540 h 3993936"/>
                  <a:gd name="connsiteX767" fmla="*/ 2458266 w 3565209"/>
                  <a:gd name="connsiteY767" fmla="*/ 1234191 h 3993936"/>
                  <a:gd name="connsiteX768" fmla="*/ 2474061 w 3565209"/>
                  <a:gd name="connsiteY768" fmla="*/ 1229227 h 3993936"/>
                  <a:gd name="connsiteX769" fmla="*/ 2481056 w 3565209"/>
                  <a:gd name="connsiteY769" fmla="*/ 1230355 h 3993936"/>
                  <a:gd name="connsiteX770" fmla="*/ 2488954 w 3565209"/>
                  <a:gd name="connsiteY770" fmla="*/ 1229678 h 3993936"/>
                  <a:gd name="connsiteX771" fmla="*/ 2500913 w 3565209"/>
                  <a:gd name="connsiteY771" fmla="*/ 1219073 h 3993936"/>
                  <a:gd name="connsiteX772" fmla="*/ 2503620 w 3565209"/>
                  <a:gd name="connsiteY772" fmla="*/ 1215237 h 3993936"/>
                  <a:gd name="connsiteX773" fmla="*/ 2512872 w 3565209"/>
                  <a:gd name="connsiteY773" fmla="*/ 1208918 h 3993936"/>
                  <a:gd name="connsiteX774" fmla="*/ 2515580 w 3565209"/>
                  <a:gd name="connsiteY774" fmla="*/ 1207790 h 3993936"/>
                  <a:gd name="connsiteX775" fmla="*/ 2527765 w 3565209"/>
                  <a:gd name="connsiteY775" fmla="*/ 1208693 h 3993936"/>
                  <a:gd name="connsiteX776" fmla="*/ 2551683 w 3565209"/>
                  <a:gd name="connsiteY776" fmla="*/ 1222909 h 3993936"/>
                  <a:gd name="connsiteX777" fmla="*/ 2552134 w 3565209"/>
                  <a:gd name="connsiteY777" fmla="*/ 1223360 h 3993936"/>
                  <a:gd name="connsiteX778" fmla="*/ 2557099 w 3565209"/>
                  <a:gd name="connsiteY778" fmla="*/ 1245699 h 3993936"/>
                  <a:gd name="connsiteX779" fmla="*/ 2553037 w 3565209"/>
                  <a:gd name="connsiteY779" fmla="*/ 1266910 h 3993936"/>
                  <a:gd name="connsiteX780" fmla="*/ 2552811 w 3565209"/>
                  <a:gd name="connsiteY780" fmla="*/ 1269166 h 3993936"/>
                  <a:gd name="connsiteX781" fmla="*/ 2548750 w 3565209"/>
                  <a:gd name="connsiteY781" fmla="*/ 1277741 h 3993936"/>
                  <a:gd name="connsiteX782" fmla="*/ 2545591 w 3565209"/>
                  <a:gd name="connsiteY782" fmla="*/ 1282479 h 3993936"/>
                  <a:gd name="connsiteX783" fmla="*/ 2546268 w 3565209"/>
                  <a:gd name="connsiteY783" fmla="*/ 1295341 h 3993936"/>
                  <a:gd name="connsiteX784" fmla="*/ 2548298 w 3565209"/>
                  <a:gd name="connsiteY784" fmla="*/ 1298726 h 3993936"/>
                  <a:gd name="connsiteX785" fmla="*/ 2553263 w 3565209"/>
                  <a:gd name="connsiteY785" fmla="*/ 1303239 h 3993936"/>
                  <a:gd name="connsiteX786" fmla="*/ 2558227 w 3565209"/>
                  <a:gd name="connsiteY786" fmla="*/ 1308428 h 3993936"/>
                  <a:gd name="connsiteX787" fmla="*/ 2554842 w 3565209"/>
                  <a:gd name="connsiteY787" fmla="*/ 1317003 h 3993936"/>
                  <a:gd name="connsiteX788" fmla="*/ 2550781 w 3565209"/>
                  <a:gd name="connsiteY788" fmla="*/ 1321967 h 3993936"/>
                  <a:gd name="connsiteX789" fmla="*/ 2542883 w 3565209"/>
                  <a:gd name="connsiteY789" fmla="*/ 1332347 h 3993936"/>
                  <a:gd name="connsiteX790" fmla="*/ 2548524 w 3565209"/>
                  <a:gd name="connsiteY790" fmla="*/ 1334378 h 3993936"/>
                  <a:gd name="connsiteX791" fmla="*/ 2549652 w 3565209"/>
                  <a:gd name="connsiteY791" fmla="*/ 1334603 h 3993936"/>
                  <a:gd name="connsiteX792" fmla="*/ 2561837 w 3565209"/>
                  <a:gd name="connsiteY792" fmla="*/ 1350624 h 3993936"/>
                  <a:gd name="connsiteX793" fmla="*/ 2560483 w 3565209"/>
                  <a:gd name="connsiteY793" fmla="*/ 1355363 h 3993936"/>
                  <a:gd name="connsiteX794" fmla="*/ 2559581 w 3565209"/>
                  <a:gd name="connsiteY794" fmla="*/ 1358296 h 3993936"/>
                  <a:gd name="connsiteX795" fmla="*/ 2563417 w 3565209"/>
                  <a:gd name="connsiteY795" fmla="*/ 1358973 h 3993936"/>
                  <a:gd name="connsiteX796" fmla="*/ 2578761 w 3565209"/>
                  <a:gd name="connsiteY796" fmla="*/ 1363035 h 3993936"/>
                  <a:gd name="connsiteX797" fmla="*/ 2581469 w 3565209"/>
                  <a:gd name="connsiteY797" fmla="*/ 1364840 h 3993936"/>
                  <a:gd name="connsiteX798" fmla="*/ 2589140 w 3565209"/>
                  <a:gd name="connsiteY798" fmla="*/ 1370255 h 3993936"/>
                  <a:gd name="connsiteX799" fmla="*/ 2597489 w 3565209"/>
                  <a:gd name="connsiteY799" fmla="*/ 1375897 h 3993936"/>
                  <a:gd name="connsiteX800" fmla="*/ 2597489 w 3565209"/>
                  <a:gd name="connsiteY800" fmla="*/ 1375897 h 3993936"/>
                  <a:gd name="connsiteX801" fmla="*/ 2599971 w 3565209"/>
                  <a:gd name="connsiteY801" fmla="*/ 1377476 h 3993936"/>
                  <a:gd name="connsiteX802" fmla="*/ 2602905 w 3565209"/>
                  <a:gd name="connsiteY802" fmla="*/ 1376122 h 3993936"/>
                  <a:gd name="connsiteX803" fmla="*/ 2608772 w 3565209"/>
                  <a:gd name="connsiteY803" fmla="*/ 1371609 h 3993936"/>
                  <a:gd name="connsiteX804" fmla="*/ 2618474 w 3565209"/>
                  <a:gd name="connsiteY804" fmla="*/ 1366645 h 3993936"/>
                  <a:gd name="connsiteX805" fmla="*/ 2620731 w 3565209"/>
                  <a:gd name="connsiteY805" fmla="*/ 1366645 h 3993936"/>
                  <a:gd name="connsiteX806" fmla="*/ 2636075 w 3565209"/>
                  <a:gd name="connsiteY806" fmla="*/ 1371835 h 3993936"/>
                  <a:gd name="connsiteX807" fmla="*/ 2641039 w 3565209"/>
                  <a:gd name="connsiteY807" fmla="*/ 1376348 h 3993936"/>
                  <a:gd name="connsiteX808" fmla="*/ 2650516 w 3565209"/>
                  <a:gd name="connsiteY808" fmla="*/ 1380861 h 3993936"/>
                  <a:gd name="connsiteX809" fmla="*/ 2656157 w 3565209"/>
                  <a:gd name="connsiteY809" fmla="*/ 1380635 h 3993936"/>
                  <a:gd name="connsiteX810" fmla="*/ 2664732 w 3565209"/>
                  <a:gd name="connsiteY810" fmla="*/ 1381989 h 3993936"/>
                  <a:gd name="connsiteX811" fmla="*/ 2671501 w 3565209"/>
                  <a:gd name="connsiteY811" fmla="*/ 1383343 h 3993936"/>
                  <a:gd name="connsiteX812" fmla="*/ 2677594 w 3565209"/>
                  <a:gd name="connsiteY812" fmla="*/ 1384246 h 3993936"/>
                  <a:gd name="connsiteX813" fmla="*/ 2686620 w 3565209"/>
                  <a:gd name="connsiteY813" fmla="*/ 1383117 h 3993936"/>
                  <a:gd name="connsiteX814" fmla="*/ 2702189 w 3565209"/>
                  <a:gd name="connsiteY814" fmla="*/ 1380861 h 3993936"/>
                  <a:gd name="connsiteX815" fmla="*/ 2718210 w 3565209"/>
                  <a:gd name="connsiteY815" fmla="*/ 1374543 h 3993936"/>
                  <a:gd name="connsiteX816" fmla="*/ 2722497 w 3565209"/>
                  <a:gd name="connsiteY816" fmla="*/ 1367548 h 3993936"/>
                  <a:gd name="connsiteX817" fmla="*/ 2729041 w 3565209"/>
                  <a:gd name="connsiteY817" fmla="*/ 1360101 h 3993936"/>
                  <a:gd name="connsiteX818" fmla="*/ 2731749 w 3565209"/>
                  <a:gd name="connsiteY818" fmla="*/ 1358747 h 3993936"/>
                  <a:gd name="connsiteX819" fmla="*/ 2743482 w 3565209"/>
                  <a:gd name="connsiteY819" fmla="*/ 1355814 h 3993936"/>
                  <a:gd name="connsiteX820" fmla="*/ 2753862 w 3565209"/>
                  <a:gd name="connsiteY820" fmla="*/ 1362358 h 3993936"/>
                  <a:gd name="connsiteX821" fmla="*/ 2757924 w 3565209"/>
                  <a:gd name="connsiteY821" fmla="*/ 1366194 h 3993936"/>
                  <a:gd name="connsiteX822" fmla="*/ 2788386 w 3565209"/>
                  <a:gd name="connsiteY822" fmla="*/ 1368225 h 3993936"/>
                  <a:gd name="connsiteX823" fmla="*/ 2798314 w 3565209"/>
                  <a:gd name="connsiteY823" fmla="*/ 1365291 h 3993936"/>
                  <a:gd name="connsiteX824" fmla="*/ 2813884 w 3565209"/>
                  <a:gd name="connsiteY824" fmla="*/ 1363712 h 3993936"/>
                  <a:gd name="connsiteX825" fmla="*/ 2828100 w 3565209"/>
                  <a:gd name="connsiteY825" fmla="*/ 1357394 h 3993936"/>
                  <a:gd name="connsiteX826" fmla="*/ 2843444 w 3565209"/>
                  <a:gd name="connsiteY826" fmla="*/ 1353783 h 3993936"/>
                  <a:gd name="connsiteX827" fmla="*/ 2854726 w 3565209"/>
                  <a:gd name="connsiteY827" fmla="*/ 1359876 h 3993936"/>
                  <a:gd name="connsiteX828" fmla="*/ 2861270 w 3565209"/>
                  <a:gd name="connsiteY828" fmla="*/ 1361230 h 3993936"/>
                  <a:gd name="connsiteX829" fmla="*/ 2878419 w 3565209"/>
                  <a:gd name="connsiteY829" fmla="*/ 1354235 h 3993936"/>
                  <a:gd name="connsiteX830" fmla="*/ 2889701 w 3565209"/>
                  <a:gd name="connsiteY830" fmla="*/ 1354235 h 3993936"/>
                  <a:gd name="connsiteX831" fmla="*/ 2901660 w 3565209"/>
                  <a:gd name="connsiteY831" fmla="*/ 1352881 h 3993936"/>
                  <a:gd name="connsiteX832" fmla="*/ 2909784 w 3565209"/>
                  <a:gd name="connsiteY832" fmla="*/ 1345209 h 3993936"/>
                  <a:gd name="connsiteX833" fmla="*/ 2927610 w 3565209"/>
                  <a:gd name="connsiteY833" fmla="*/ 1337537 h 3993936"/>
                  <a:gd name="connsiteX834" fmla="*/ 2937538 w 3565209"/>
                  <a:gd name="connsiteY834" fmla="*/ 1343855 h 3993936"/>
                  <a:gd name="connsiteX835" fmla="*/ 2948143 w 3565209"/>
                  <a:gd name="connsiteY835" fmla="*/ 1344983 h 3993936"/>
                  <a:gd name="connsiteX836" fmla="*/ 2949497 w 3565209"/>
                  <a:gd name="connsiteY836" fmla="*/ 1331896 h 3993936"/>
                  <a:gd name="connsiteX837" fmla="*/ 2943856 w 3565209"/>
                  <a:gd name="connsiteY837" fmla="*/ 1317906 h 3993936"/>
                  <a:gd name="connsiteX838" fmla="*/ 2938892 w 3565209"/>
                  <a:gd name="connsiteY838" fmla="*/ 1301208 h 3993936"/>
                  <a:gd name="connsiteX839" fmla="*/ 2942954 w 3565209"/>
                  <a:gd name="connsiteY839" fmla="*/ 1286089 h 3993936"/>
                  <a:gd name="connsiteX840" fmla="*/ 2935733 w 3565209"/>
                  <a:gd name="connsiteY840" fmla="*/ 1271197 h 3993936"/>
                  <a:gd name="connsiteX841" fmla="*/ 2934153 w 3565209"/>
                  <a:gd name="connsiteY841" fmla="*/ 1268715 h 3993936"/>
                  <a:gd name="connsiteX842" fmla="*/ 2924451 w 3565209"/>
                  <a:gd name="connsiteY842" fmla="*/ 1262171 h 3993936"/>
                  <a:gd name="connsiteX843" fmla="*/ 2923322 w 3565209"/>
                  <a:gd name="connsiteY843" fmla="*/ 1262397 h 3993936"/>
                  <a:gd name="connsiteX844" fmla="*/ 2903014 w 3565209"/>
                  <a:gd name="connsiteY844" fmla="*/ 1264879 h 3993936"/>
                  <a:gd name="connsiteX845" fmla="*/ 2901435 w 3565209"/>
                  <a:gd name="connsiteY845" fmla="*/ 1265556 h 3993936"/>
                  <a:gd name="connsiteX846" fmla="*/ 2899404 w 3565209"/>
                  <a:gd name="connsiteY846" fmla="*/ 1267361 h 3993936"/>
                  <a:gd name="connsiteX847" fmla="*/ 2896470 w 3565209"/>
                  <a:gd name="connsiteY847" fmla="*/ 1266007 h 3993936"/>
                  <a:gd name="connsiteX848" fmla="*/ 2887445 w 3565209"/>
                  <a:gd name="connsiteY848" fmla="*/ 1261945 h 3993936"/>
                  <a:gd name="connsiteX849" fmla="*/ 2876162 w 3565209"/>
                  <a:gd name="connsiteY849" fmla="*/ 1248858 h 3993936"/>
                  <a:gd name="connsiteX850" fmla="*/ 2875711 w 3565209"/>
                  <a:gd name="connsiteY850" fmla="*/ 1245473 h 3993936"/>
                  <a:gd name="connsiteX851" fmla="*/ 2878870 w 3565209"/>
                  <a:gd name="connsiteY851" fmla="*/ 1235319 h 3993936"/>
                  <a:gd name="connsiteX852" fmla="*/ 2881352 w 3565209"/>
                  <a:gd name="connsiteY852" fmla="*/ 1230806 h 3993936"/>
                  <a:gd name="connsiteX853" fmla="*/ 2883157 w 3565209"/>
                  <a:gd name="connsiteY853" fmla="*/ 1225842 h 3993936"/>
                  <a:gd name="connsiteX854" fmla="*/ 2882029 w 3565209"/>
                  <a:gd name="connsiteY854" fmla="*/ 1222683 h 3993936"/>
                  <a:gd name="connsiteX855" fmla="*/ 2880901 w 3565209"/>
                  <a:gd name="connsiteY855" fmla="*/ 1216139 h 3993936"/>
                  <a:gd name="connsiteX856" fmla="*/ 2884286 w 3565209"/>
                  <a:gd name="connsiteY856" fmla="*/ 1213883 h 3993936"/>
                  <a:gd name="connsiteX857" fmla="*/ 2904819 w 3565209"/>
                  <a:gd name="connsiteY857" fmla="*/ 1221780 h 3993936"/>
                  <a:gd name="connsiteX858" fmla="*/ 2909558 w 3565209"/>
                  <a:gd name="connsiteY858" fmla="*/ 1228098 h 3993936"/>
                  <a:gd name="connsiteX859" fmla="*/ 2914296 w 3565209"/>
                  <a:gd name="connsiteY859" fmla="*/ 1229678 h 3993936"/>
                  <a:gd name="connsiteX860" fmla="*/ 2925128 w 3565209"/>
                  <a:gd name="connsiteY860" fmla="*/ 1224037 h 3993936"/>
                  <a:gd name="connsiteX861" fmla="*/ 2933702 w 3565209"/>
                  <a:gd name="connsiteY861" fmla="*/ 1219298 h 3993936"/>
                  <a:gd name="connsiteX862" fmla="*/ 2937312 w 3565209"/>
                  <a:gd name="connsiteY862" fmla="*/ 1215914 h 3993936"/>
                  <a:gd name="connsiteX863" fmla="*/ 2944533 w 3565209"/>
                  <a:gd name="connsiteY863" fmla="*/ 1208242 h 3993936"/>
                  <a:gd name="connsiteX864" fmla="*/ 2947241 w 3565209"/>
                  <a:gd name="connsiteY864" fmla="*/ 1206436 h 3993936"/>
                  <a:gd name="connsiteX865" fmla="*/ 2951979 w 3565209"/>
                  <a:gd name="connsiteY865" fmla="*/ 1204180 h 3993936"/>
                  <a:gd name="connsiteX866" fmla="*/ 2961457 w 3565209"/>
                  <a:gd name="connsiteY866" fmla="*/ 1208918 h 3993936"/>
                  <a:gd name="connsiteX867" fmla="*/ 2964390 w 3565209"/>
                  <a:gd name="connsiteY867" fmla="*/ 1211626 h 3993936"/>
                  <a:gd name="connsiteX868" fmla="*/ 2983344 w 3565209"/>
                  <a:gd name="connsiteY868" fmla="*/ 1206211 h 3993936"/>
                  <a:gd name="connsiteX869" fmla="*/ 2992821 w 3565209"/>
                  <a:gd name="connsiteY869" fmla="*/ 1202826 h 3993936"/>
                  <a:gd name="connsiteX870" fmla="*/ 3004781 w 3565209"/>
                  <a:gd name="connsiteY870" fmla="*/ 1190416 h 3993936"/>
                  <a:gd name="connsiteX871" fmla="*/ 3065028 w 3565209"/>
                  <a:gd name="connsiteY871" fmla="*/ 1132650 h 3993936"/>
                  <a:gd name="connsiteX872" fmla="*/ 3084434 w 3565209"/>
                  <a:gd name="connsiteY872" fmla="*/ 1085716 h 3993936"/>
                  <a:gd name="connsiteX873" fmla="*/ 3108352 w 3565209"/>
                  <a:gd name="connsiteY873" fmla="*/ 1079398 h 3993936"/>
                  <a:gd name="connsiteX874" fmla="*/ 3122117 w 3565209"/>
                  <a:gd name="connsiteY874" fmla="*/ 1077367 h 3993936"/>
                  <a:gd name="connsiteX875" fmla="*/ 3171307 w 3565209"/>
                  <a:gd name="connsiteY875" fmla="*/ 1030884 h 3993936"/>
                  <a:gd name="connsiteX876" fmla="*/ 3188231 w 3565209"/>
                  <a:gd name="connsiteY876" fmla="*/ 1006740 h 3993936"/>
                  <a:gd name="connsiteX877" fmla="*/ 3214406 w 3565209"/>
                  <a:gd name="connsiteY877" fmla="*/ 987108 h 3993936"/>
                  <a:gd name="connsiteX878" fmla="*/ 3244191 w 3565209"/>
                  <a:gd name="connsiteY878" fmla="*/ 991170 h 3993936"/>
                  <a:gd name="connsiteX879" fmla="*/ 3270140 w 3565209"/>
                  <a:gd name="connsiteY879" fmla="*/ 996360 h 3993936"/>
                  <a:gd name="connsiteX880" fmla="*/ 3292931 w 3565209"/>
                  <a:gd name="connsiteY880" fmla="*/ 1001324 h 3993936"/>
                  <a:gd name="connsiteX881" fmla="*/ 3298572 w 3565209"/>
                  <a:gd name="connsiteY881" fmla="*/ 1004709 h 3993936"/>
                  <a:gd name="connsiteX882" fmla="*/ 3303987 w 3565209"/>
                  <a:gd name="connsiteY882" fmla="*/ 1007416 h 3993936"/>
                  <a:gd name="connsiteX883" fmla="*/ 3307823 w 3565209"/>
                  <a:gd name="connsiteY883" fmla="*/ 1009447 h 3993936"/>
                  <a:gd name="connsiteX884" fmla="*/ 3313690 w 3565209"/>
                  <a:gd name="connsiteY884" fmla="*/ 1010576 h 3993936"/>
                  <a:gd name="connsiteX885" fmla="*/ 3314818 w 3565209"/>
                  <a:gd name="connsiteY885" fmla="*/ 1007191 h 3993936"/>
                  <a:gd name="connsiteX886" fmla="*/ 3321362 w 3565209"/>
                  <a:gd name="connsiteY886" fmla="*/ 997037 h 3993936"/>
                  <a:gd name="connsiteX887" fmla="*/ 3328132 w 3565209"/>
                  <a:gd name="connsiteY887" fmla="*/ 989590 h 3993936"/>
                  <a:gd name="connsiteX888" fmla="*/ 3331742 w 3565209"/>
                  <a:gd name="connsiteY888" fmla="*/ 982144 h 3993936"/>
                  <a:gd name="connsiteX889" fmla="*/ 3364235 w 3565209"/>
                  <a:gd name="connsiteY889" fmla="*/ 961836 h 3993936"/>
                  <a:gd name="connsiteX890" fmla="*/ 3374163 w 3565209"/>
                  <a:gd name="connsiteY890" fmla="*/ 955067 h 3993936"/>
                  <a:gd name="connsiteX891" fmla="*/ 3394471 w 3565209"/>
                  <a:gd name="connsiteY891" fmla="*/ 943333 h 3993936"/>
                  <a:gd name="connsiteX892" fmla="*/ 3395600 w 3565209"/>
                  <a:gd name="connsiteY892" fmla="*/ 943333 h 3993936"/>
                  <a:gd name="connsiteX893" fmla="*/ 3409139 w 3565209"/>
                  <a:gd name="connsiteY893" fmla="*/ 952133 h 3993936"/>
                  <a:gd name="connsiteX894" fmla="*/ 3410944 w 3565209"/>
                  <a:gd name="connsiteY894" fmla="*/ 961385 h 3993936"/>
                  <a:gd name="connsiteX895" fmla="*/ 3410718 w 3565209"/>
                  <a:gd name="connsiteY895" fmla="*/ 962739 h 3993936"/>
                  <a:gd name="connsiteX896" fmla="*/ 3415457 w 3565209"/>
                  <a:gd name="connsiteY896" fmla="*/ 963415 h 3993936"/>
                  <a:gd name="connsiteX897" fmla="*/ 3423129 w 3565209"/>
                  <a:gd name="connsiteY897" fmla="*/ 967251 h 3993936"/>
                  <a:gd name="connsiteX898" fmla="*/ 3415682 w 3565209"/>
                  <a:gd name="connsiteY898" fmla="*/ 983949 h 3993936"/>
                  <a:gd name="connsiteX899" fmla="*/ 3410718 w 3565209"/>
                  <a:gd name="connsiteY899" fmla="*/ 988462 h 3993936"/>
                  <a:gd name="connsiteX900" fmla="*/ 3408913 w 3565209"/>
                  <a:gd name="connsiteY900" fmla="*/ 994103 h 3993936"/>
                  <a:gd name="connsiteX901" fmla="*/ 3410041 w 3565209"/>
                  <a:gd name="connsiteY901" fmla="*/ 1000873 h 3993936"/>
                  <a:gd name="connsiteX902" fmla="*/ 3412072 w 3565209"/>
                  <a:gd name="connsiteY902" fmla="*/ 1007416 h 3993936"/>
                  <a:gd name="connsiteX903" fmla="*/ 3412749 w 3565209"/>
                  <a:gd name="connsiteY903" fmla="*/ 1008319 h 3993936"/>
                  <a:gd name="connsiteX904" fmla="*/ 3421549 w 3565209"/>
                  <a:gd name="connsiteY904" fmla="*/ 1000873 h 3993936"/>
                  <a:gd name="connsiteX905" fmla="*/ 3423129 w 3565209"/>
                  <a:gd name="connsiteY905" fmla="*/ 999068 h 3993936"/>
                  <a:gd name="connsiteX906" fmla="*/ 3425836 w 3565209"/>
                  <a:gd name="connsiteY906" fmla="*/ 995232 h 3993936"/>
                  <a:gd name="connsiteX907" fmla="*/ 3435990 w 3565209"/>
                  <a:gd name="connsiteY907" fmla="*/ 990944 h 3993936"/>
                  <a:gd name="connsiteX908" fmla="*/ 3444791 w 3565209"/>
                  <a:gd name="connsiteY908" fmla="*/ 1000421 h 3993936"/>
                  <a:gd name="connsiteX909" fmla="*/ 3449529 w 3565209"/>
                  <a:gd name="connsiteY909" fmla="*/ 1008093 h 3993936"/>
                  <a:gd name="connsiteX910" fmla="*/ 3463068 w 3565209"/>
                  <a:gd name="connsiteY910" fmla="*/ 1028853 h 3993936"/>
                  <a:gd name="connsiteX911" fmla="*/ 3456524 w 3565209"/>
                  <a:gd name="connsiteY911" fmla="*/ 1046228 h 3993936"/>
                  <a:gd name="connsiteX912" fmla="*/ 3451786 w 3565209"/>
                  <a:gd name="connsiteY912" fmla="*/ 1052546 h 3993936"/>
                  <a:gd name="connsiteX913" fmla="*/ 3444114 w 3565209"/>
                  <a:gd name="connsiteY913" fmla="*/ 1061797 h 3993936"/>
                  <a:gd name="connsiteX914" fmla="*/ 3439601 w 3565209"/>
                  <a:gd name="connsiteY914" fmla="*/ 1073080 h 3993936"/>
                  <a:gd name="connsiteX915" fmla="*/ 3439601 w 3565209"/>
                  <a:gd name="connsiteY915" fmla="*/ 1077141 h 3993936"/>
                  <a:gd name="connsiteX916" fmla="*/ 3440729 w 3565209"/>
                  <a:gd name="connsiteY916" fmla="*/ 1083008 h 3993936"/>
                  <a:gd name="connsiteX917" fmla="*/ 3443888 w 3565209"/>
                  <a:gd name="connsiteY917" fmla="*/ 1084136 h 3993936"/>
                  <a:gd name="connsiteX918" fmla="*/ 3456524 w 3565209"/>
                  <a:gd name="connsiteY918" fmla="*/ 1078721 h 3993936"/>
                  <a:gd name="connsiteX919" fmla="*/ 3461263 w 3565209"/>
                  <a:gd name="connsiteY919" fmla="*/ 1074433 h 3993936"/>
                  <a:gd name="connsiteX920" fmla="*/ 3473673 w 3565209"/>
                  <a:gd name="connsiteY920" fmla="*/ 1070146 h 3993936"/>
                  <a:gd name="connsiteX921" fmla="*/ 3487212 w 3565209"/>
                  <a:gd name="connsiteY921" fmla="*/ 1076464 h 3993936"/>
                  <a:gd name="connsiteX922" fmla="*/ 3500074 w 3565209"/>
                  <a:gd name="connsiteY922" fmla="*/ 1081880 h 3993936"/>
                  <a:gd name="connsiteX923" fmla="*/ 3505490 w 3565209"/>
                  <a:gd name="connsiteY923" fmla="*/ 1081880 h 3993936"/>
                  <a:gd name="connsiteX924" fmla="*/ 3518803 w 3565209"/>
                  <a:gd name="connsiteY924" fmla="*/ 1078721 h 3993936"/>
                  <a:gd name="connsiteX925" fmla="*/ 3534372 w 3565209"/>
                  <a:gd name="connsiteY925" fmla="*/ 1078044 h 3993936"/>
                  <a:gd name="connsiteX926" fmla="*/ 3538885 w 3565209"/>
                  <a:gd name="connsiteY926" fmla="*/ 1079849 h 3993936"/>
                  <a:gd name="connsiteX927" fmla="*/ 3554229 w 3565209"/>
                  <a:gd name="connsiteY927" fmla="*/ 1082557 h 3993936"/>
                  <a:gd name="connsiteX928" fmla="*/ 3569122 w 3565209"/>
                  <a:gd name="connsiteY928" fmla="*/ 1089326 h 3993936"/>
                  <a:gd name="connsiteX929" fmla="*/ 3568896 w 3565209"/>
                  <a:gd name="connsiteY929" fmla="*/ 1099254 h 3993936"/>
                  <a:gd name="connsiteX930" fmla="*/ 3566188 w 3565209"/>
                  <a:gd name="connsiteY930" fmla="*/ 1104896 h 3993936"/>
                  <a:gd name="connsiteX931" fmla="*/ 3566639 w 3565209"/>
                  <a:gd name="connsiteY931" fmla="*/ 1110085 h 3993936"/>
                  <a:gd name="connsiteX932" fmla="*/ 3568219 w 3565209"/>
                  <a:gd name="connsiteY932" fmla="*/ 1113244 h 3993936"/>
                  <a:gd name="connsiteX933" fmla="*/ 3564834 w 3565209"/>
                  <a:gd name="connsiteY933" fmla="*/ 1128814 h 3993936"/>
                  <a:gd name="connsiteX934" fmla="*/ 3560321 w 3565209"/>
                  <a:gd name="connsiteY934" fmla="*/ 1135358 h 3993936"/>
                  <a:gd name="connsiteX935" fmla="*/ 3554680 w 3565209"/>
                  <a:gd name="connsiteY935" fmla="*/ 1144158 h 3993936"/>
                  <a:gd name="connsiteX936" fmla="*/ 3548814 w 3565209"/>
                  <a:gd name="connsiteY936" fmla="*/ 1151153 h 3993936"/>
                  <a:gd name="connsiteX937" fmla="*/ 3543172 w 3565209"/>
                  <a:gd name="connsiteY937" fmla="*/ 1159953 h 3993936"/>
                  <a:gd name="connsiteX938" fmla="*/ 3534823 w 3565209"/>
                  <a:gd name="connsiteY938" fmla="*/ 1169882 h 3993936"/>
                  <a:gd name="connsiteX939" fmla="*/ 3527828 w 3565209"/>
                  <a:gd name="connsiteY939" fmla="*/ 1179133 h 3993936"/>
                  <a:gd name="connsiteX940" fmla="*/ 3526249 w 3565209"/>
                  <a:gd name="connsiteY940" fmla="*/ 1182969 h 3993936"/>
                  <a:gd name="connsiteX941" fmla="*/ 3524895 w 3565209"/>
                  <a:gd name="connsiteY941" fmla="*/ 1193575 h 3993936"/>
                  <a:gd name="connsiteX942" fmla="*/ 3525121 w 3565209"/>
                  <a:gd name="connsiteY942" fmla="*/ 1195831 h 3993936"/>
                  <a:gd name="connsiteX943" fmla="*/ 3525121 w 3565209"/>
                  <a:gd name="connsiteY943" fmla="*/ 1200795 h 3993936"/>
                  <a:gd name="connsiteX944" fmla="*/ 3532116 w 3565209"/>
                  <a:gd name="connsiteY944" fmla="*/ 1214560 h 3993936"/>
                  <a:gd name="connsiteX945" fmla="*/ 3547911 w 3565209"/>
                  <a:gd name="connsiteY945" fmla="*/ 1230355 h 3993936"/>
                  <a:gd name="connsiteX946" fmla="*/ 3548588 w 3565209"/>
                  <a:gd name="connsiteY946" fmla="*/ 1231934 h 3993936"/>
                  <a:gd name="connsiteX947" fmla="*/ 3548814 w 3565209"/>
                  <a:gd name="connsiteY947" fmla="*/ 1245022 h 3993936"/>
                  <a:gd name="connsiteX948" fmla="*/ 3538208 w 3565209"/>
                  <a:gd name="connsiteY948" fmla="*/ 1248632 h 3993936"/>
                  <a:gd name="connsiteX949" fmla="*/ 3523315 w 3565209"/>
                  <a:gd name="connsiteY949" fmla="*/ 1240960 h 3993936"/>
                  <a:gd name="connsiteX950" fmla="*/ 3519705 w 3565209"/>
                  <a:gd name="connsiteY950" fmla="*/ 1236899 h 3993936"/>
                  <a:gd name="connsiteX951" fmla="*/ 3518577 w 3565209"/>
                  <a:gd name="connsiteY951" fmla="*/ 1235770 h 3993936"/>
                  <a:gd name="connsiteX952" fmla="*/ 3502331 w 3565209"/>
                  <a:gd name="connsiteY952" fmla="*/ 1225165 h 3993936"/>
                  <a:gd name="connsiteX953" fmla="*/ 3477961 w 3565209"/>
                  <a:gd name="connsiteY953" fmla="*/ 1231032 h 3993936"/>
                  <a:gd name="connsiteX954" fmla="*/ 3455622 w 3565209"/>
                  <a:gd name="connsiteY954" fmla="*/ 1237124 h 3993936"/>
                  <a:gd name="connsiteX955" fmla="*/ 3431026 w 3565209"/>
                  <a:gd name="connsiteY955" fmla="*/ 1252017 h 3993936"/>
                  <a:gd name="connsiteX956" fmla="*/ 3383640 w 3565209"/>
                  <a:gd name="connsiteY956" fmla="*/ 1298951 h 3993936"/>
                  <a:gd name="connsiteX957" fmla="*/ 3371907 w 3565209"/>
                  <a:gd name="connsiteY957" fmla="*/ 1310459 h 3993936"/>
                  <a:gd name="connsiteX958" fmla="*/ 3364686 w 3565209"/>
                  <a:gd name="connsiteY958" fmla="*/ 1318131 h 3993936"/>
                  <a:gd name="connsiteX959" fmla="*/ 3344378 w 3565209"/>
                  <a:gd name="connsiteY959" fmla="*/ 1336183 h 3993936"/>
                  <a:gd name="connsiteX960" fmla="*/ 3336255 w 3565209"/>
                  <a:gd name="connsiteY960" fmla="*/ 1336860 h 3993936"/>
                  <a:gd name="connsiteX961" fmla="*/ 3329937 w 3565209"/>
                  <a:gd name="connsiteY961" fmla="*/ 1338891 h 3993936"/>
                  <a:gd name="connsiteX962" fmla="*/ 3322039 w 3565209"/>
                  <a:gd name="connsiteY962" fmla="*/ 1367322 h 3993936"/>
                  <a:gd name="connsiteX963" fmla="*/ 3327229 w 3565209"/>
                  <a:gd name="connsiteY963" fmla="*/ 1377702 h 3993936"/>
                  <a:gd name="connsiteX964" fmla="*/ 3330388 w 3565209"/>
                  <a:gd name="connsiteY964" fmla="*/ 1383117 h 3993936"/>
                  <a:gd name="connsiteX965" fmla="*/ 3330162 w 3565209"/>
                  <a:gd name="connsiteY965" fmla="*/ 1396656 h 3993936"/>
                  <a:gd name="connsiteX966" fmla="*/ 3329937 w 3565209"/>
                  <a:gd name="connsiteY966" fmla="*/ 1400266 h 3993936"/>
                  <a:gd name="connsiteX967" fmla="*/ 3332870 w 3565209"/>
                  <a:gd name="connsiteY967" fmla="*/ 1405908 h 3993936"/>
                  <a:gd name="connsiteX968" fmla="*/ 3336706 w 3565209"/>
                  <a:gd name="connsiteY968" fmla="*/ 1412451 h 3993936"/>
                  <a:gd name="connsiteX969" fmla="*/ 3333773 w 3565209"/>
                  <a:gd name="connsiteY969" fmla="*/ 1427570 h 3993936"/>
                  <a:gd name="connsiteX970" fmla="*/ 3330162 w 3565209"/>
                  <a:gd name="connsiteY970" fmla="*/ 1432759 h 3993936"/>
                  <a:gd name="connsiteX971" fmla="*/ 3324973 w 3565209"/>
                  <a:gd name="connsiteY971" fmla="*/ 1448103 h 3993936"/>
                  <a:gd name="connsiteX972" fmla="*/ 3325875 w 3565209"/>
                  <a:gd name="connsiteY972" fmla="*/ 1458934 h 3993936"/>
                  <a:gd name="connsiteX973" fmla="*/ 3323618 w 3565209"/>
                  <a:gd name="connsiteY973" fmla="*/ 1472247 h 3993936"/>
                  <a:gd name="connsiteX974" fmla="*/ 3319331 w 3565209"/>
                  <a:gd name="connsiteY974" fmla="*/ 1479017 h 3993936"/>
                  <a:gd name="connsiteX975" fmla="*/ 3313690 w 3565209"/>
                  <a:gd name="connsiteY975" fmla="*/ 1487366 h 3993936"/>
                  <a:gd name="connsiteX976" fmla="*/ 3299700 w 3565209"/>
                  <a:gd name="connsiteY976" fmla="*/ 1501130 h 3993936"/>
                  <a:gd name="connsiteX977" fmla="*/ 3281874 w 3565209"/>
                  <a:gd name="connsiteY977" fmla="*/ 1510833 h 3993936"/>
                  <a:gd name="connsiteX978" fmla="*/ 3281423 w 3565209"/>
                  <a:gd name="connsiteY978" fmla="*/ 1511059 h 3993936"/>
                  <a:gd name="connsiteX979" fmla="*/ 3281423 w 3565209"/>
                  <a:gd name="connsiteY979" fmla="*/ 1513090 h 3993936"/>
                  <a:gd name="connsiteX980" fmla="*/ 3280294 w 3565209"/>
                  <a:gd name="connsiteY980" fmla="*/ 1521890 h 3993936"/>
                  <a:gd name="connsiteX981" fmla="*/ 3278941 w 3565209"/>
                  <a:gd name="connsiteY981" fmla="*/ 1525726 h 3993936"/>
                  <a:gd name="connsiteX982" fmla="*/ 3279166 w 3565209"/>
                  <a:gd name="connsiteY982" fmla="*/ 1537008 h 3993936"/>
                  <a:gd name="connsiteX983" fmla="*/ 3292480 w 3565209"/>
                  <a:gd name="connsiteY983" fmla="*/ 1549870 h 3993936"/>
                  <a:gd name="connsiteX984" fmla="*/ 3293833 w 3565209"/>
                  <a:gd name="connsiteY984" fmla="*/ 1550772 h 3993936"/>
                  <a:gd name="connsiteX985" fmla="*/ 3293156 w 3565209"/>
                  <a:gd name="connsiteY985" fmla="*/ 1565214 h 3993936"/>
                  <a:gd name="connsiteX986" fmla="*/ 3288418 w 3565209"/>
                  <a:gd name="connsiteY986" fmla="*/ 1585973 h 3993936"/>
                  <a:gd name="connsiteX987" fmla="*/ 3278941 w 3565209"/>
                  <a:gd name="connsiteY987" fmla="*/ 1615758 h 3993936"/>
                  <a:gd name="connsiteX988" fmla="*/ 3276007 w 3565209"/>
                  <a:gd name="connsiteY988" fmla="*/ 1621174 h 3993936"/>
                  <a:gd name="connsiteX989" fmla="*/ 3268561 w 3565209"/>
                  <a:gd name="connsiteY989" fmla="*/ 1639451 h 3993936"/>
                  <a:gd name="connsiteX990" fmla="*/ 3265628 w 3565209"/>
                  <a:gd name="connsiteY990" fmla="*/ 1647800 h 3993936"/>
                  <a:gd name="connsiteX991" fmla="*/ 3259535 w 3565209"/>
                  <a:gd name="connsiteY991" fmla="*/ 1661565 h 3993936"/>
                  <a:gd name="connsiteX992" fmla="*/ 3249607 w 3565209"/>
                  <a:gd name="connsiteY992" fmla="*/ 1691350 h 3993936"/>
                  <a:gd name="connsiteX993" fmla="*/ 3250283 w 3565209"/>
                  <a:gd name="connsiteY993" fmla="*/ 1697217 h 3993936"/>
                  <a:gd name="connsiteX994" fmla="*/ 3250509 w 3565209"/>
                  <a:gd name="connsiteY994" fmla="*/ 1712561 h 3993936"/>
                  <a:gd name="connsiteX995" fmla="*/ 3221852 w 3565209"/>
                  <a:gd name="connsiteY995" fmla="*/ 1731289 h 3993936"/>
                  <a:gd name="connsiteX996" fmla="*/ 3221627 w 3565209"/>
                  <a:gd name="connsiteY996" fmla="*/ 1731289 h 3993936"/>
                  <a:gd name="connsiteX997" fmla="*/ 3194098 w 3565209"/>
                  <a:gd name="connsiteY997" fmla="*/ 1724971 h 3993936"/>
                  <a:gd name="connsiteX998" fmla="*/ 3187780 w 3565209"/>
                  <a:gd name="connsiteY998" fmla="*/ 1722715 h 3993936"/>
                  <a:gd name="connsiteX999" fmla="*/ 3174466 w 3565209"/>
                  <a:gd name="connsiteY999" fmla="*/ 1721135 h 3993936"/>
                  <a:gd name="connsiteX1000" fmla="*/ 3169502 w 3565209"/>
                  <a:gd name="connsiteY1000" fmla="*/ 1723166 h 3993936"/>
                  <a:gd name="connsiteX1001" fmla="*/ 3159348 w 3565209"/>
                  <a:gd name="connsiteY1001" fmla="*/ 1725648 h 3993936"/>
                  <a:gd name="connsiteX1002" fmla="*/ 3149420 w 3565209"/>
                  <a:gd name="connsiteY1002" fmla="*/ 1718879 h 3993936"/>
                  <a:gd name="connsiteX1003" fmla="*/ 3148066 w 3565209"/>
                  <a:gd name="connsiteY1003" fmla="*/ 1717525 h 3993936"/>
                  <a:gd name="connsiteX1004" fmla="*/ 3138815 w 3565209"/>
                  <a:gd name="connsiteY1004" fmla="*/ 1713914 h 3993936"/>
                  <a:gd name="connsiteX1005" fmla="*/ 3139717 w 3565209"/>
                  <a:gd name="connsiteY1005" fmla="*/ 1728356 h 3993936"/>
                  <a:gd name="connsiteX1006" fmla="*/ 3139943 w 3565209"/>
                  <a:gd name="connsiteY1006" fmla="*/ 1841856 h 3993936"/>
                  <a:gd name="connsiteX1007" fmla="*/ 3132948 w 3565209"/>
                  <a:gd name="connsiteY1007" fmla="*/ 1853815 h 3993936"/>
                  <a:gd name="connsiteX1008" fmla="*/ 3123245 w 3565209"/>
                  <a:gd name="connsiteY1008" fmla="*/ 1871867 h 3993936"/>
                  <a:gd name="connsiteX1009" fmla="*/ 3123470 w 3565209"/>
                  <a:gd name="connsiteY1009" fmla="*/ 1890821 h 3993936"/>
                  <a:gd name="connsiteX1010" fmla="*/ 3125953 w 3565209"/>
                  <a:gd name="connsiteY1010" fmla="*/ 1902329 h 3993936"/>
                  <a:gd name="connsiteX1011" fmla="*/ 3124824 w 3565209"/>
                  <a:gd name="connsiteY1011" fmla="*/ 1911806 h 3993936"/>
                  <a:gd name="connsiteX1012" fmla="*/ 3127306 w 3565209"/>
                  <a:gd name="connsiteY1012" fmla="*/ 1926699 h 3993936"/>
                  <a:gd name="connsiteX1013" fmla="*/ 3137235 w 3565209"/>
                  <a:gd name="connsiteY1013" fmla="*/ 1942043 h 3993936"/>
                  <a:gd name="connsiteX1014" fmla="*/ 3137460 w 3565209"/>
                  <a:gd name="connsiteY1014" fmla="*/ 1942945 h 3993936"/>
                  <a:gd name="connsiteX1015" fmla="*/ 3135881 w 3565209"/>
                  <a:gd name="connsiteY1015" fmla="*/ 1955807 h 3993936"/>
                  <a:gd name="connsiteX1016" fmla="*/ 3137460 w 3565209"/>
                  <a:gd name="connsiteY1016" fmla="*/ 1961674 h 3993936"/>
                  <a:gd name="connsiteX1017" fmla="*/ 3137235 w 3565209"/>
                  <a:gd name="connsiteY1017" fmla="*/ 1970925 h 3993936"/>
                  <a:gd name="connsiteX1018" fmla="*/ 3134753 w 3565209"/>
                  <a:gd name="connsiteY1018" fmla="*/ 1972279 h 3993936"/>
                  <a:gd name="connsiteX1019" fmla="*/ 3129112 w 3565209"/>
                  <a:gd name="connsiteY1019" fmla="*/ 1978146 h 3993936"/>
                  <a:gd name="connsiteX1020" fmla="*/ 3124824 w 3565209"/>
                  <a:gd name="connsiteY1020" fmla="*/ 1990331 h 3993936"/>
                  <a:gd name="connsiteX1021" fmla="*/ 3123696 w 3565209"/>
                  <a:gd name="connsiteY1021" fmla="*/ 1993039 h 3993936"/>
                  <a:gd name="connsiteX1022" fmla="*/ 3123019 w 3565209"/>
                  <a:gd name="connsiteY1022" fmla="*/ 1994844 h 3993936"/>
                  <a:gd name="connsiteX1023" fmla="*/ 3117829 w 3565209"/>
                  <a:gd name="connsiteY1023" fmla="*/ 2002290 h 3993936"/>
                  <a:gd name="connsiteX1024" fmla="*/ 3111286 w 3565209"/>
                  <a:gd name="connsiteY1024" fmla="*/ 2001613 h 3993936"/>
                  <a:gd name="connsiteX1025" fmla="*/ 3097521 w 3565209"/>
                  <a:gd name="connsiteY1025" fmla="*/ 1995521 h 3993936"/>
                  <a:gd name="connsiteX1026" fmla="*/ 3095265 w 3565209"/>
                  <a:gd name="connsiteY1026" fmla="*/ 1992587 h 3993936"/>
                  <a:gd name="connsiteX1027" fmla="*/ 3093234 w 3565209"/>
                  <a:gd name="connsiteY1027" fmla="*/ 1991233 h 3993936"/>
                  <a:gd name="connsiteX1028" fmla="*/ 3088721 w 3565209"/>
                  <a:gd name="connsiteY1028" fmla="*/ 1989203 h 3993936"/>
                  <a:gd name="connsiteX1029" fmla="*/ 3086690 w 3565209"/>
                  <a:gd name="connsiteY1029" fmla="*/ 1989203 h 3993936"/>
                  <a:gd name="connsiteX1030" fmla="*/ 3084885 w 3565209"/>
                  <a:gd name="connsiteY1030" fmla="*/ 1991685 h 3993936"/>
                  <a:gd name="connsiteX1031" fmla="*/ 3077664 w 3565209"/>
                  <a:gd name="connsiteY1031" fmla="*/ 1999582 h 3993936"/>
                  <a:gd name="connsiteX1032" fmla="*/ 3070443 w 3565209"/>
                  <a:gd name="connsiteY1032" fmla="*/ 1999582 h 3993936"/>
                  <a:gd name="connsiteX1033" fmla="*/ 3065028 w 3565209"/>
                  <a:gd name="connsiteY1033" fmla="*/ 1983110 h 3993936"/>
                  <a:gd name="connsiteX1034" fmla="*/ 3062997 w 3565209"/>
                  <a:gd name="connsiteY1034" fmla="*/ 1976115 h 3993936"/>
                  <a:gd name="connsiteX1035" fmla="*/ 3059387 w 3565209"/>
                  <a:gd name="connsiteY1035" fmla="*/ 1962125 h 3993936"/>
                  <a:gd name="connsiteX1036" fmla="*/ 3057807 w 3565209"/>
                  <a:gd name="connsiteY1036" fmla="*/ 1949489 h 3993936"/>
                  <a:gd name="connsiteX1037" fmla="*/ 3056002 w 3565209"/>
                  <a:gd name="connsiteY1037" fmla="*/ 1935950 h 3993936"/>
                  <a:gd name="connsiteX1038" fmla="*/ 3046751 w 3565209"/>
                  <a:gd name="connsiteY1038" fmla="*/ 1912032 h 3993936"/>
                  <a:gd name="connsiteX1039" fmla="*/ 3041561 w 3565209"/>
                  <a:gd name="connsiteY1039" fmla="*/ 1902555 h 3993936"/>
                  <a:gd name="connsiteX1040" fmla="*/ 3021253 w 3565209"/>
                  <a:gd name="connsiteY1040" fmla="*/ 1842081 h 3993936"/>
                  <a:gd name="connsiteX1041" fmla="*/ 3021478 w 3565209"/>
                  <a:gd name="connsiteY1041" fmla="*/ 1832830 h 3993936"/>
                  <a:gd name="connsiteX1042" fmla="*/ 3025314 w 3565209"/>
                  <a:gd name="connsiteY1042" fmla="*/ 1828768 h 3993936"/>
                  <a:gd name="connsiteX1043" fmla="*/ 3010422 w 3565209"/>
                  <a:gd name="connsiteY1043" fmla="*/ 1787475 h 3993936"/>
                  <a:gd name="connsiteX1044" fmla="*/ 3011550 w 3565209"/>
                  <a:gd name="connsiteY1044" fmla="*/ 1782962 h 3993936"/>
                  <a:gd name="connsiteX1045" fmla="*/ 3012227 w 3565209"/>
                  <a:gd name="connsiteY1045" fmla="*/ 1778675 h 3993936"/>
                  <a:gd name="connsiteX1046" fmla="*/ 3011776 w 3565209"/>
                  <a:gd name="connsiteY1046" fmla="*/ 1778675 h 3993936"/>
                  <a:gd name="connsiteX1047" fmla="*/ 3010196 w 3565209"/>
                  <a:gd name="connsiteY1047" fmla="*/ 1778901 h 3993936"/>
                  <a:gd name="connsiteX1048" fmla="*/ 3004781 w 3565209"/>
                  <a:gd name="connsiteY1048" fmla="*/ 1780029 h 3993936"/>
                  <a:gd name="connsiteX1049" fmla="*/ 2996883 w 3565209"/>
                  <a:gd name="connsiteY1049" fmla="*/ 1779352 h 3993936"/>
                  <a:gd name="connsiteX1050" fmla="*/ 2995304 w 3565209"/>
                  <a:gd name="connsiteY1050" fmla="*/ 1777547 h 3993936"/>
                  <a:gd name="connsiteX1051" fmla="*/ 2994852 w 3565209"/>
                  <a:gd name="connsiteY1051" fmla="*/ 1777095 h 3993936"/>
                  <a:gd name="connsiteX1052" fmla="*/ 2993273 w 3565209"/>
                  <a:gd name="connsiteY1052" fmla="*/ 1778675 h 3993936"/>
                  <a:gd name="connsiteX1053" fmla="*/ 2981539 w 3565209"/>
                  <a:gd name="connsiteY1053" fmla="*/ 1784542 h 3993936"/>
                  <a:gd name="connsiteX1054" fmla="*/ 2978380 w 3565209"/>
                  <a:gd name="connsiteY1054" fmla="*/ 1783639 h 3993936"/>
                  <a:gd name="connsiteX1055" fmla="*/ 2972965 w 3565209"/>
                  <a:gd name="connsiteY1055" fmla="*/ 1784993 h 3993936"/>
                  <a:gd name="connsiteX1056" fmla="*/ 2971159 w 3565209"/>
                  <a:gd name="connsiteY1056" fmla="*/ 1794019 h 3993936"/>
                  <a:gd name="connsiteX1057" fmla="*/ 2971836 w 3565209"/>
                  <a:gd name="connsiteY1057" fmla="*/ 1796727 h 3993936"/>
                  <a:gd name="connsiteX1058" fmla="*/ 2972288 w 3565209"/>
                  <a:gd name="connsiteY1058" fmla="*/ 1799209 h 3993936"/>
                  <a:gd name="connsiteX1059" fmla="*/ 2968000 w 3565209"/>
                  <a:gd name="connsiteY1059" fmla="*/ 1815455 h 3993936"/>
                  <a:gd name="connsiteX1060" fmla="*/ 2964390 w 3565209"/>
                  <a:gd name="connsiteY1060" fmla="*/ 1819066 h 3993936"/>
                  <a:gd name="connsiteX1061" fmla="*/ 2958298 w 3565209"/>
                  <a:gd name="connsiteY1061" fmla="*/ 1829220 h 3993936"/>
                  <a:gd name="connsiteX1062" fmla="*/ 2960103 w 3565209"/>
                  <a:gd name="connsiteY1062" fmla="*/ 1837117 h 3993936"/>
                  <a:gd name="connsiteX1063" fmla="*/ 2962134 w 3565209"/>
                  <a:gd name="connsiteY1063" fmla="*/ 1848625 h 3993936"/>
                  <a:gd name="connsiteX1064" fmla="*/ 2955816 w 3565209"/>
                  <a:gd name="connsiteY1064" fmla="*/ 1870739 h 3993936"/>
                  <a:gd name="connsiteX1065" fmla="*/ 2947466 w 3565209"/>
                  <a:gd name="connsiteY1065" fmla="*/ 1882021 h 3993936"/>
                  <a:gd name="connsiteX1066" fmla="*/ 2944984 w 3565209"/>
                  <a:gd name="connsiteY1066" fmla="*/ 1884954 h 3993936"/>
                  <a:gd name="connsiteX1067" fmla="*/ 2936410 w 3565209"/>
                  <a:gd name="connsiteY1067" fmla="*/ 1887888 h 3993936"/>
                  <a:gd name="connsiteX1068" fmla="*/ 2935056 w 3565209"/>
                  <a:gd name="connsiteY1068" fmla="*/ 1887662 h 3993936"/>
                  <a:gd name="connsiteX1069" fmla="*/ 2922871 w 3565209"/>
                  <a:gd name="connsiteY1069" fmla="*/ 1881118 h 3993936"/>
                  <a:gd name="connsiteX1070" fmla="*/ 2921066 w 3565209"/>
                  <a:gd name="connsiteY1070" fmla="*/ 1868031 h 3993936"/>
                  <a:gd name="connsiteX1071" fmla="*/ 2921517 w 3565209"/>
                  <a:gd name="connsiteY1071" fmla="*/ 1865323 h 3993936"/>
                  <a:gd name="connsiteX1072" fmla="*/ 2918810 w 3565209"/>
                  <a:gd name="connsiteY1072" fmla="*/ 1862615 h 3993936"/>
                  <a:gd name="connsiteX1073" fmla="*/ 2914748 w 3565209"/>
                  <a:gd name="connsiteY1073" fmla="*/ 1857200 h 3993936"/>
                  <a:gd name="connsiteX1074" fmla="*/ 2911363 w 3565209"/>
                  <a:gd name="connsiteY1074" fmla="*/ 1853138 h 3993936"/>
                  <a:gd name="connsiteX1075" fmla="*/ 2906399 w 3565209"/>
                  <a:gd name="connsiteY1075" fmla="*/ 1851784 h 3993936"/>
                  <a:gd name="connsiteX1076" fmla="*/ 2905496 w 3565209"/>
                  <a:gd name="connsiteY1076" fmla="*/ 1852461 h 3993936"/>
                  <a:gd name="connsiteX1077" fmla="*/ 2905271 w 3565209"/>
                  <a:gd name="connsiteY1077" fmla="*/ 1856072 h 3993936"/>
                  <a:gd name="connsiteX1078" fmla="*/ 2905722 w 3565209"/>
                  <a:gd name="connsiteY1078" fmla="*/ 1859682 h 3993936"/>
                  <a:gd name="connsiteX1079" fmla="*/ 2902112 w 3565209"/>
                  <a:gd name="connsiteY1079" fmla="*/ 1871415 h 3993936"/>
                  <a:gd name="connsiteX1080" fmla="*/ 2901209 w 3565209"/>
                  <a:gd name="connsiteY1080" fmla="*/ 1872318 h 3993936"/>
                  <a:gd name="connsiteX1081" fmla="*/ 2899630 w 3565209"/>
                  <a:gd name="connsiteY1081" fmla="*/ 1871867 h 3993936"/>
                  <a:gd name="connsiteX1082" fmla="*/ 2893537 w 3565209"/>
                  <a:gd name="connsiteY1082" fmla="*/ 1859231 h 3993936"/>
                  <a:gd name="connsiteX1083" fmla="*/ 2893311 w 3565209"/>
                  <a:gd name="connsiteY1083" fmla="*/ 1845692 h 3993936"/>
                  <a:gd name="connsiteX1084" fmla="*/ 2891506 w 3565209"/>
                  <a:gd name="connsiteY1084" fmla="*/ 1844112 h 3993936"/>
                  <a:gd name="connsiteX1085" fmla="*/ 2885188 w 3565209"/>
                  <a:gd name="connsiteY1085" fmla="*/ 1836440 h 3993936"/>
                  <a:gd name="connsiteX1086" fmla="*/ 2883834 w 3565209"/>
                  <a:gd name="connsiteY1086" fmla="*/ 1833507 h 3993936"/>
                  <a:gd name="connsiteX1087" fmla="*/ 2882706 w 3565209"/>
                  <a:gd name="connsiteY1087" fmla="*/ 1825384 h 3993936"/>
                  <a:gd name="connsiteX1088" fmla="*/ 2879773 w 3565209"/>
                  <a:gd name="connsiteY1088" fmla="*/ 1819968 h 3993936"/>
                  <a:gd name="connsiteX1089" fmla="*/ 2876839 w 3565209"/>
                  <a:gd name="connsiteY1089" fmla="*/ 1815907 h 3993936"/>
                  <a:gd name="connsiteX1090" fmla="*/ 2874583 w 3565209"/>
                  <a:gd name="connsiteY1090" fmla="*/ 1812071 h 3993936"/>
                  <a:gd name="connsiteX1091" fmla="*/ 2871198 w 3565209"/>
                  <a:gd name="connsiteY1091" fmla="*/ 1804850 h 3993936"/>
                  <a:gd name="connsiteX1092" fmla="*/ 2870521 w 3565209"/>
                  <a:gd name="connsiteY1092" fmla="*/ 1801916 h 3993936"/>
                  <a:gd name="connsiteX1093" fmla="*/ 2870747 w 3565209"/>
                  <a:gd name="connsiteY1093" fmla="*/ 1791085 h 3993936"/>
                  <a:gd name="connsiteX1094" fmla="*/ 2871198 w 3565209"/>
                  <a:gd name="connsiteY1094" fmla="*/ 1781383 h 3993936"/>
                  <a:gd name="connsiteX1095" fmla="*/ 2872101 w 3565209"/>
                  <a:gd name="connsiteY1095" fmla="*/ 1771229 h 3993936"/>
                  <a:gd name="connsiteX1096" fmla="*/ 2873229 w 3565209"/>
                  <a:gd name="connsiteY1096" fmla="*/ 1767167 h 3993936"/>
                  <a:gd name="connsiteX1097" fmla="*/ 2876614 w 3565209"/>
                  <a:gd name="connsiteY1097" fmla="*/ 1760398 h 3993936"/>
                  <a:gd name="connsiteX1098" fmla="*/ 2880224 w 3565209"/>
                  <a:gd name="connsiteY1098" fmla="*/ 1759044 h 3993936"/>
                  <a:gd name="connsiteX1099" fmla="*/ 2882706 w 3565209"/>
                  <a:gd name="connsiteY1099" fmla="*/ 1756787 h 3993936"/>
                  <a:gd name="connsiteX1100" fmla="*/ 2883157 w 3565209"/>
                  <a:gd name="connsiteY1100" fmla="*/ 1753177 h 3993936"/>
                  <a:gd name="connsiteX1101" fmla="*/ 2886768 w 3565209"/>
                  <a:gd name="connsiteY1101" fmla="*/ 1744151 h 3993936"/>
                  <a:gd name="connsiteX1102" fmla="*/ 2889476 w 3565209"/>
                  <a:gd name="connsiteY1102" fmla="*/ 1741218 h 3993936"/>
                  <a:gd name="connsiteX1103" fmla="*/ 2893988 w 3565209"/>
                  <a:gd name="connsiteY1103" fmla="*/ 1737156 h 3993936"/>
                  <a:gd name="connsiteX1104" fmla="*/ 2896922 w 3565209"/>
                  <a:gd name="connsiteY1104" fmla="*/ 1733094 h 3993936"/>
                  <a:gd name="connsiteX1105" fmla="*/ 2900306 w 3565209"/>
                  <a:gd name="connsiteY1105" fmla="*/ 1729484 h 3993936"/>
                  <a:gd name="connsiteX1106" fmla="*/ 2901660 w 3565209"/>
                  <a:gd name="connsiteY1106" fmla="*/ 1729033 h 3993936"/>
                  <a:gd name="connsiteX1107" fmla="*/ 2912943 w 3565209"/>
                  <a:gd name="connsiteY1107" fmla="*/ 1727453 h 3993936"/>
                  <a:gd name="connsiteX1108" fmla="*/ 2925353 w 3565209"/>
                  <a:gd name="connsiteY1108" fmla="*/ 1722715 h 3993936"/>
                  <a:gd name="connsiteX1109" fmla="*/ 2927384 w 3565209"/>
                  <a:gd name="connsiteY1109" fmla="*/ 1717751 h 3993936"/>
                  <a:gd name="connsiteX1110" fmla="*/ 2935056 w 3565209"/>
                  <a:gd name="connsiteY1110" fmla="*/ 1708950 h 3993936"/>
                  <a:gd name="connsiteX1111" fmla="*/ 2943179 w 3565209"/>
                  <a:gd name="connsiteY1111" fmla="*/ 1710304 h 3993936"/>
                  <a:gd name="connsiteX1112" fmla="*/ 2947015 w 3565209"/>
                  <a:gd name="connsiteY1112" fmla="*/ 1710755 h 3993936"/>
                  <a:gd name="connsiteX1113" fmla="*/ 2951077 w 3565209"/>
                  <a:gd name="connsiteY1113" fmla="*/ 1707822 h 3993936"/>
                  <a:gd name="connsiteX1114" fmla="*/ 2955139 w 3565209"/>
                  <a:gd name="connsiteY1114" fmla="*/ 1704212 h 3993936"/>
                  <a:gd name="connsiteX1115" fmla="*/ 2954687 w 3565209"/>
                  <a:gd name="connsiteY1115" fmla="*/ 1700376 h 3993936"/>
                  <a:gd name="connsiteX1116" fmla="*/ 2955139 w 3565209"/>
                  <a:gd name="connsiteY1116" fmla="*/ 1691124 h 3993936"/>
                  <a:gd name="connsiteX1117" fmla="*/ 2969580 w 3565209"/>
                  <a:gd name="connsiteY1117" fmla="*/ 1682098 h 3993936"/>
                  <a:gd name="connsiteX1118" fmla="*/ 2974093 w 3565209"/>
                  <a:gd name="connsiteY1118" fmla="*/ 1682098 h 3993936"/>
                  <a:gd name="connsiteX1119" fmla="*/ 2979960 w 3565209"/>
                  <a:gd name="connsiteY1119" fmla="*/ 1680744 h 3993936"/>
                  <a:gd name="connsiteX1120" fmla="*/ 2984021 w 3565209"/>
                  <a:gd name="connsiteY1120" fmla="*/ 1673073 h 3993936"/>
                  <a:gd name="connsiteX1121" fmla="*/ 2990790 w 3565209"/>
                  <a:gd name="connsiteY1121" fmla="*/ 1663370 h 3993936"/>
                  <a:gd name="connsiteX1122" fmla="*/ 2992596 w 3565209"/>
                  <a:gd name="connsiteY1122" fmla="*/ 1656149 h 3993936"/>
                  <a:gd name="connsiteX1123" fmla="*/ 2991919 w 3565209"/>
                  <a:gd name="connsiteY1123" fmla="*/ 1654795 h 3993936"/>
                  <a:gd name="connsiteX1124" fmla="*/ 2990565 w 3565209"/>
                  <a:gd name="connsiteY1124" fmla="*/ 1639451 h 3993936"/>
                  <a:gd name="connsiteX1125" fmla="*/ 2991919 w 3565209"/>
                  <a:gd name="connsiteY1125" fmla="*/ 1630200 h 3993936"/>
                  <a:gd name="connsiteX1126" fmla="*/ 2991693 w 3565209"/>
                  <a:gd name="connsiteY1126" fmla="*/ 1628620 h 3993936"/>
                  <a:gd name="connsiteX1127" fmla="*/ 2991242 w 3565209"/>
                  <a:gd name="connsiteY1127" fmla="*/ 1626815 h 3993936"/>
                  <a:gd name="connsiteX1128" fmla="*/ 2991016 w 3565209"/>
                  <a:gd name="connsiteY1128" fmla="*/ 1616887 h 3993936"/>
                  <a:gd name="connsiteX1129" fmla="*/ 2997786 w 3565209"/>
                  <a:gd name="connsiteY1129" fmla="*/ 1607409 h 3993936"/>
                  <a:gd name="connsiteX1130" fmla="*/ 3002976 w 3565209"/>
                  <a:gd name="connsiteY1130" fmla="*/ 1608763 h 3993936"/>
                  <a:gd name="connsiteX1131" fmla="*/ 3004781 w 3565209"/>
                  <a:gd name="connsiteY1131" fmla="*/ 1611246 h 3993936"/>
                  <a:gd name="connsiteX1132" fmla="*/ 3007488 w 3565209"/>
                  <a:gd name="connsiteY1132" fmla="*/ 1614630 h 3993936"/>
                  <a:gd name="connsiteX1133" fmla="*/ 3012001 w 3565209"/>
                  <a:gd name="connsiteY1133" fmla="*/ 1611922 h 3993936"/>
                  <a:gd name="connsiteX1134" fmla="*/ 3017417 w 3565209"/>
                  <a:gd name="connsiteY1134" fmla="*/ 1608312 h 3993936"/>
                  <a:gd name="connsiteX1135" fmla="*/ 3012678 w 3565209"/>
                  <a:gd name="connsiteY1135" fmla="*/ 1599963 h 3993936"/>
                  <a:gd name="connsiteX1136" fmla="*/ 3009970 w 3565209"/>
                  <a:gd name="connsiteY1136" fmla="*/ 1595450 h 3993936"/>
                  <a:gd name="connsiteX1137" fmla="*/ 3009294 w 3565209"/>
                  <a:gd name="connsiteY1137" fmla="*/ 1593871 h 3993936"/>
                  <a:gd name="connsiteX1138" fmla="*/ 3007940 w 3565209"/>
                  <a:gd name="connsiteY1138" fmla="*/ 1589132 h 3993936"/>
                  <a:gd name="connsiteX1139" fmla="*/ 3001170 w 3565209"/>
                  <a:gd name="connsiteY1139" fmla="*/ 1589132 h 3993936"/>
                  <a:gd name="connsiteX1140" fmla="*/ 2997560 w 3565209"/>
                  <a:gd name="connsiteY1140" fmla="*/ 1589358 h 3993936"/>
                  <a:gd name="connsiteX1141" fmla="*/ 2981088 w 3565209"/>
                  <a:gd name="connsiteY1141" fmla="*/ 1584619 h 3993936"/>
                  <a:gd name="connsiteX1142" fmla="*/ 2977929 w 3565209"/>
                  <a:gd name="connsiteY1142" fmla="*/ 1582363 h 3993936"/>
                  <a:gd name="connsiteX1143" fmla="*/ 2967775 w 3565209"/>
                  <a:gd name="connsiteY1143" fmla="*/ 1577850 h 3993936"/>
                  <a:gd name="connsiteX1144" fmla="*/ 2960328 w 3565209"/>
                  <a:gd name="connsiteY1144" fmla="*/ 1575819 h 3993936"/>
                  <a:gd name="connsiteX1145" fmla="*/ 2951528 w 3565209"/>
                  <a:gd name="connsiteY1145" fmla="*/ 1576496 h 3993936"/>
                  <a:gd name="connsiteX1146" fmla="*/ 2930543 w 3565209"/>
                  <a:gd name="connsiteY1146" fmla="*/ 1585747 h 3993936"/>
                  <a:gd name="connsiteX1147" fmla="*/ 2921969 w 3565209"/>
                  <a:gd name="connsiteY1147" fmla="*/ 1586876 h 3993936"/>
                  <a:gd name="connsiteX1148" fmla="*/ 2914296 w 3565209"/>
                  <a:gd name="connsiteY1148" fmla="*/ 1587101 h 3993936"/>
                  <a:gd name="connsiteX1149" fmla="*/ 2904142 w 3565209"/>
                  <a:gd name="connsiteY1149" fmla="*/ 1586199 h 3993936"/>
                  <a:gd name="connsiteX1150" fmla="*/ 2903240 w 3565209"/>
                  <a:gd name="connsiteY1150" fmla="*/ 1586199 h 3993936"/>
                  <a:gd name="connsiteX1151" fmla="*/ 2887445 w 3565209"/>
                  <a:gd name="connsiteY1151" fmla="*/ 1584845 h 3993936"/>
                  <a:gd name="connsiteX1152" fmla="*/ 2885865 w 3565209"/>
                  <a:gd name="connsiteY1152" fmla="*/ 1584168 h 3993936"/>
                  <a:gd name="connsiteX1153" fmla="*/ 2869167 w 3565209"/>
                  <a:gd name="connsiteY1153" fmla="*/ 1580332 h 3993936"/>
                  <a:gd name="connsiteX1154" fmla="*/ 2863977 w 3565209"/>
                  <a:gd name="connsiteY1154" fmla="*/ 1580106 h 3993936"/>
                  <a:gd name="connsiteX1155" fmla="*/ 2848408 w 3565209"/>
                  <a:gd name="connsiteY1155" fmla="*/ 1580558 h 3993936"/>
                  <a:gd name="connsiteX1156" fmla="*/ 2845700 w 3565209"/>
                  <a:gd name="connsiteY1156" fmla="*/ 1581911 h 3993936"/>
                  <a:gd name="connsiteX1157" fmla="*/ 2839833 w 3565209"/>
                  <a:gd name="connsiteY1157" fmla="*/ 1584619 h 3993936"/>
                  <a:gd name="connsiteX1158" fmla="*/ 2836223 w 3565209"/>
                  <a:gd name="connsiteY1158" fmla="*/ 1586199 h 3993936"/>
                  <a:gd name="connsiteX1159" fmla="*/ 2821105 w 3565209"/>
                  <a:gd name="connsiteY1159" fmla="*/ 1587327 h 3993936"/>
                  <a:gd name="connsiteX1160" fmla="*/ 2792448 w 3565209"/>
                  <a:gd name="connsiteY1160" fmla="*/ 1585522 h 3993936"/>
                  <a:gd name="connsiteX1161" fmla="*/ 2788612 w 3565209"/>
                  <a:gd name="connsiteY1161" fmla="*/ 1587101 h 3993936"/>
                  <a:gd name="connsiteX1162" fmla="*/ 2777104 w 3565209"/>
                  <a:gd name="connsiteY1162" fmla="*/ 1591840 h 3993936"/>
                  <a:gd name="connsiteX1163" fmla="*/ 2773945 w 3565209"/>
                  <a:gd name="connsiteY1163" fmla="*/ 1592968 h 3993936"/>
                  <a:gd name="connsiteX1164" fmla="*/ 2750477 w 3565209"/>
                  <a:gd name="connsiteY1164" fmla="*/ 1594548 h 3993936"/>
                  <a:gd name="connsiteX1165" fmla="*/ 2745062 w 3565209"/>
                  <a:gd name="connsiteY1165" fmla="*/ 1592291 h 3993936"/>
                  <a:gd name="connsiteX1166" fmla="*/ 2729944 w 3565209"/>
                  <a:gd name="connsiteY1166" fmla="*/ 1589132 h 3993936"/>
                  <a:gd name="connsiteX1167" fmla="*/ 2720241 w 3565209"/>
                  <a:gd name="connsiteY1167" fmla="*/ 1585296 h 3993936"/>
                  <a:gd name="connsiteX1168" fmla="*/ 2715728 w 3565209"/>
                  <a:gd name="connsiteY1168" fmla="*/ 1583942 h 3993936"/>
                  <a:gd name="connsiteX1169" fmla="*/ 2698804 w 3565209"/>
                  <a:gd name="connsiteY1169" fmla="*/ 1582814 h 3993936"/>
                  <a:gd name="connsiteX1170" fmla="*/ 2695420 w 3565209"/>
                  <a:gd name="connsiteY1170" fmla="*/ 1582363 h 3993936"/>
                  <a:gd name="connsiteX1171" fmla="*/ 2686394 w 3565209"/>
                  <a:gd name="connsiteY1171" fmla="*/ 1571306 h 3993936"/>
                  <a:gd name="connsiteX1172" fmla="*/ 2688650 w 3565209"/>
                  <a:gd name="connsiteY1172" fmla="*/ 1555962 h 3993936"/>
                  <a:gd name="connsiteX1173" fmla="*/ 2689102 w 3565209"/>
                  <a:gd name="connsiteY1173" fmla="*/ 1555060 h 3993936"/>
                  <a:gd name="connsiteX1174" fmla="*/ 2689779 w 3565209"/>
                  <a:gd name="connsiteY1174" fmla="*/ 1543100 h 3993936"/>
                  <a:gd name="connsiteX1175" fmla="*/ 2689102 w 3565209"/>
                  <a:gd name="connsiteY1175" fmla="*/ 1538362 h 3993936"/>
                  <a:gd name="connsiteX1176" fmla="*/ 2685266 w 3565209"/>
                  <a:gd name="connsiteY1176" fmla="*/ 1526628 h 3993936"/>
                  <a:gd name="connsiteX1177" fmla="*/ 2679625 w 3565209"/>
                  <a:gd name="connsiteY1177" fmla="*/ 1507674 h 3993936"/>
                  <a:gd name="connsiteX1178" fmla="*/ 2681655 w 3565209"/>
                  <a:gd name="connsiteY1178" fmla="*/ 1499099 h 3993936"/>
                  <a:gd name="connsiteX1179" fmla="*/ 2683912 w 3565209"/>
                  <a:gd name="connsiteY1179" fmla="*/ 1488494 h 3993936"/>
                  <a:gd name="connsiteX1180" fmla="*/ 2678271 w 3565209"/>
                  <a:gd name="connsiteY1180" fmla="*/ 1479017 h 3993936"/>
                  <a:gd name="connsiteX1181" fmla="*/ 2674209 w 3565209"/>
                  <a:gd name="connsiteY1181" fmla="*/ 1472924 h 3993936"/>
                  <a:gd name="connsiteX1182" fmla="*/ 2666988 w 3565209"/>
                  <a:gd name="connsiteY1182" fmla="*/ 1461642 h 3993936"/>
                  <a:gd name="connsiteX1183" fmla="*/ 2663829 w 3565209"/>
                  <a:gd name="connsiteY1183" fmla="*/ 1461191 h 3993936"/>
                  <a:gd name="connsiteX1184" fmla="*/ 2655706 w 3565209"/>
                  <a:gd name="connsiteY1184" fmla="*/ 1462093 h 3993936"/>
                  <a:gd name="connsiteX1185" fmla="*/ 2655932 w 3565209"/>
                  <a:gd name="connsiteY1185" fmla="*/ 1468186 h 3993936"/>
                  <a:gd name="connsiteX1186" fmla="*/ 2653901 w 3565209"/>
                  <a:gd name="connsiteY1186" fmla="*/ 1479468 h 3993936"/>
                  <a:gd name="connsiteX1187" fmla="*/ 2635172 w 3565209"/>
                  <a:gd name="connsiteY1187" fmla="*/ 1488043 h 3993936"/>
                  <a:gd name="connsiteX1188" fmla="*/ 2633593 w 3565209"/>
                  <a:gd name="connsiteY1188" fmla="*/ 1488043 h 3993936"/>
                  <a:gd name="connsiteX1189" fmla="*/ 2612608 w 3565209"/>
                  <a:gd name="connsiteY1189" fmla="*/ 1484432 h 3993936"/>
                  <a:gd name="connsiteX1190" fmla="*/ 2604484 w 3565209"/>
                  <a:gd name="connsiteY1190" fmla="*/ 1475181 h 3993936"/>
                  <a:gd name="connsiteX1191" fmla="*/ 2601100 w 3565209"/>
                  <a:gd name="connsiteY1191" fmla="*/ 1469991 h 3993936"/>
                  <a:gd name="connsiteX1192" fmla="*/ 2596361 w 3565209"/>
                  <a:gd name="connsiteY1192" fmla="*/ 1465478 h 3993936"/>
                  <a:gd name="connsiteX1193" fmla="*/ 2592751 w 3565209"/>
                  <a:gd name="connsiteY1193" fmla="*/ 1459837 h 3993936"/>
                  <a:gd name="connsiteX1194" fmla="*/ 2591171 w 3565209"/>
                  <a:gd name="connsiteY1194" fmla="*/ 1457129 h 3993936"/>
                  <a:gd name="connsiteX1195" fmla="*/ 2586658 w 3565209"/>
                  <a:gd name="connsiteY1195" fmla="*/ 1447878 h 3993936"/>
                  <a:gd name="connsiteX1196" fmla="*/ 2586207 w 3565209"/>
                  <a:gd name="connsiteY1196" fmla="*/ 1443590 h 3993936"/>
                  <a:gd name="connsiteX1197" fmla="*/ 2583274 w 3565209"/>
                  <a:gd name="connsiteY1197" fmla="*/ 1434565 h 3993936"/>
                  <a:gd name="connsiteX1198" fmla="*/ 2573345 w 3565209"/>
                  <a:gd name="connsiteY1198" fmla="*/ 1433888 h 3993936"/>
                  <a:gd name="connsiteX1199" fmla="*/ 2572668 w 3565209"/>
                  <a:gd name="connsiteY1199" fmla="*/ 1435467 h 3993936"/>
                  <a:gd name="connsiteX1200" fmla="*/ 2572443 w 3565209"/>
                  <a:gd name="connsiteY1200" fmla="*/ 1439078 h 3993936"/>
                  <a:gd name="connsiteX1201" fmla="*/ 2569284 w 3565209"/>
                  <a:gd name="connsiteY1201" fmla="*/ 1451488 h 3993936"/>
                  <a:gd name="connsiteX1202" fmla="*/ 2564545 w 3565209"/>
                  <a:gd name="connsiteY1202" fmla="*/ 1455098 h 3993936"/>
                  <a:gd name="connsiteX1203" fmla="*/ 2558227 w 3565209"/>
                  <a:gd name="connsiteY1203" fmla="*/ 1460965 h 3993936"/>
                  <a:gd name="connsiteX1204" fmla="*/ 2556422 w 3565209"/>
                  <a:gd name="connsiteY1204" fmla="*/ 1466381 h 3993936"/>
                  <a:gd name="connsiteX1205" fmla="*/ 2551458 w 3565209"/>
                  <a:gd name="connsiteY1205" fmla="*/ 1473376 h 3993936"/>
                  <a:gd name="connsiteX1206" fmla="*/ 2549652 w 3565209"/>
                  <a:gd name="connsiteY1206" fmla="*/ 1474053 h 3993936"/>
                  <a:gd name="connsiteX1207" fmla="*/ 2544914 w 3565209"/>
                  <a:gd name="connsiteY1207" fmla="*/ 1473827 h 3993936"/>
                  <a:gd name="connsiteX1208" fmla="*/ 2541304 w 3565209"/>
                  <a:gd name="connsiteY1208" fmla="*/ 1463447 h 3993936"/>
                  <a:gd name="connsiteX1209" fmla="*/ 2535662 w 3565209"/>
                  <a:gd name="connsiteY1209" fmla="*/ 1461642 h 3993936"/>
                  <a:gd name="connsiteX1210" fmla="*/ 2535211 w 3565209"/>
                  <a:gd name="connsiteY1210" fmla="*/ 1456903 h 3993936"/>
                  <a:gd name="connsiteX1211" fmla="*/ 2534760 w 3565209"/>
                  <a:gd name="connsiteY1211" fmla="*/ 1444267 h 3993936"/>
                  <a:gd name="connsiteX1212" fmla="*/ 2530472 w 3565209"/>
                  <a:gd name="connsiteY1212" fmla="*/ 1441108 h 3993936"/>
                  <a:gd name="connsiteX1213" fmla="*/ 2525057 w 3565209"/>
                  <a:gd name="connsiteY1213" fmla="*/ 1437498 h 3993936"/>
                  <a:gd name="connsiteX1214" fmla="*/ 2521447 w 3565209"/>
                  <a:gd name="connsiteY1214" fmla="*/ 1434565 h 3993936"/>
                  <a:gd name="connsiteX1215" fmla="*/ 2514677 w 3565209"/>
                  <a:gd name="connsiteY1215" fmla="*/ 1429600 h 3993936"/>
                  <a:gd name="connsiteX1216" fmla="*/ 2510841 w 3565209"/>
                  <a:gd name="connsiteY1216" fmla="*/ 1427118 h 3993936"/>
                  <a:gd name="connsiteX1217" fmla="*/ 2507908 w 3565209"/>
                  <a:gd name="connsiteY1217" fmla="*/ 1425539 h 3993936"/>
                  <a:gd name="connsiteX1218" fmla="*/ 2503395 w 3565209"/>
                  <a:gd name="connsiteY1218" fmla="*/ 1429149 h 3993936"/>
                  <a:gd name="connsiteX1219" fmla="*/ 2505426 w 3565209"/>
                  <a:gd name="connsiteY1219" fmla="*/ 1432759 h 3993936"/>
                  <a:gd name="connsiteX1220" fmla="*/ 2515128 w 3565209"/>
                  <a:gd name="connsiteY1220" fmla="*/ 1440657 h 3993936"/>
                  <a:gd name="connsiteX1221" fmla="*/ 2517385 w 3565209"/>
                  <a:gd name="connsiteY1221" fmla="*/ 1444042 h 3993936"/>
                  <a:gd name="connsiteX1222" fmla="*/ 2519867 w 3565209"/>
                  <a:gd name="connsiteY1222" fmla="*/ 1450134 h 3993936"/>
                  <a:gd name="connsiteX1223" fmla="*/ 2517836 w 3565209"/>
                  <a:gd name="connsiteY1223" fmla="*/ 1452391 h 3993936"/>
                  <a:gd name="connsiteX1224" fmla="*/ 2510841 w 3565209"/>
                  <a:gd name="connsiteY1224" fmla="*/ 1453293 h 3993936"/>
                  <a:gd name="connsiteX1225" fmla="*/ 2502718 w 3565209"/>
                  <a:gd name="connsiteY1225" fmla="*/ 1454647 h 3993936"/>
                  <a:gd name="connsiteX1226" fmla="*/ 2502267 w 3565209"/>
                  <a:gd name="connsiteY1226" fmla="*/ 1457806 h 3993936"/>
                  <a:gd name="connsiteX1227" fmla="*/ 2499333 w 3565209"/>
                  <a:gd name="connsiteY1227" fmla="*/ 1467058 h 3993936"/>
                  <a:gd name="connsiteX1228" fmla="*/ 2493015 w 3565209"/>
                  <a:gd name="connsiteY1228" fmla="*/ 1472247 h 3993936"/>
                  <a:gd name="connsiteX1229" fmla="*/ 2488051 w 3565209"/>
                  <a:gd name="connsiteY1229" fmla="*/ 1476535 h 3993936"/>
                  <a:gd name="connsiteX1230" fmla="*/ 2481282 w 3565209"/>
                  <a:gd name="connsiteY1230" fmla="*/ 1484658 h 3993936"/>
                  <a:gd name="connsiteX1231" fmla="*/ 2475640 w 3565209"/>
                  <a:gd name="connsiteY1231" fmla="*/ 1491879 h 3993936"/>
                  <a:gd name="connsiteX1232" fmla="*/ 2476543 w 3565209"/>
                  <a:gd name="connsiteY1232" fmla="*/ 1496392 h 3993936"/>
                  <a:gd name="connsiteX1233" fmla="*/ 2476994 w 3565209"/>
                  <a:gd name="connsiteY1233" fmla="*/ 1506320 h 3993936"/>
                  <a:gd name="connsiteX1234" fmla="*/ 2475189 w 3565209"/>
                  <a:gd name="connsiteY1234" fmla="*/ 1519633 h 3993936"/>
                  <a:gd name="connsiteX1235" fmla="*/ 2475189 w 3565209"/>
                  <a:gd name="connsiteY1235" fmla="*/ 1523695 h 3993936"/>
                  <a:gd name="connsiteX1236" fmla="*/ 2475189 w 3565209"/>
                  <a:gd name="connsiteY1236" fmla="*/ 1527531 h 3993936"/>
                  <a:gd name="connsiteX1237" fmla="*/ 2480605 w 3565209"/>
                  <a:gd name="connsiteY1237" fmla="*/ 1526177 h 3993936"/>
                  <a:gd name="connsiteX1238" fmla="*/ 2483989 w 3565209"/>
                  <a:gd name="connsiteY1238" fmla="*/ 1524597 h 3993936"/>
                  <a:gd name="connsiteX1239" fmla="*/ 2499785 w 3565209"/>
                  <a:gd name="connsiteY1239" fmla="*/ 1526403 h 3993936"/>
                  <a:gd name="connsiteX1240" fmla="*/ 2502041 w 3565209"/>
                  <a:gd name="connsiteY1240" fmla="*/ 1531818 h 3993936"/>
                  <a:gd name="connsiteX1241" fmla="*/ 2507457 w 3565209"/>
                  <a:gd name="connsiteY1241" fmla="*/ 1535654 h 3993936"/>
                  <a:gd name="connsiteX1242" fmla="*/ 2518513 w 3565209"/>
                  <a:gd name="connsiteY1242" fmla="*/ 1542423 h 3993936"/>
                  <a:gd name="connsiteX1243" fmla="*/ 2519867 w 3565209"/>
                  <a:gd name="connsiteY1243" fmla="*/ 1546936 h 3993936"/>
                  <a:gd name="connsiteX1244" fmla="*/ 2520093 w 3565209"/>
                  <a:gd name="connsiteY1244" fmla="*/ 1547162 h 3993936"/>
                  <a:gd name="connsiteX1245" fmla="*/ 2523929 w 3565209"/>
                  <a:gd name="connsiteY1245" fmla="*/ 1555285 h 3993936"/>
                  <a:gd name="connsiteX1246" fmla="*/ 2533180 w 3565209"/>
                  <a:gd name="connsiteY1246" fmla="*/ 1561829 h 3993936"/>
                  <a:gd name="connsiteX1247" fmla="*/ 2542206 w 3565209"/>
                  <a:gd name="connsiteY1247" fmla="*/ 1561378 h 3993936"/>
                  <a:gd name="connsiteX1248" fmla="*/ 2552360 w 3565209"/>
                  <a:gd name="connsiteY1248" fmla="*/ 1560475 h 3993936"/>
                  <a:gd name="connsiteX1249" fmla="*/ 2555745 w 3565209"/>
                  <a:gd name="connsiteY1249" fmla="*/ 1558896 h 3993936"/>
                  <a:gd name="connsiteX1250" fmla="*/ 2560935 w 3565209"/>
                  <a:gd name="connsiteY1250" fmla="*/ 1557542 h 3993936"/>
                  <a:gd name="connsiteX1251" fmla="*/ 2564771 w 3565209"/>
                  <a:gd name="connsiteY1251" fmla="*/ 1561829 h 3993936"/>
                  <a:gd name="connsiteX1252" fmla="*/ 2564094 w 3565209"/>
                  <a:gd name="connsiteY1252" fmla="*/ 1571757 h 3993936"/>
                  <a:gd name="connsiteX1253" fmla="*/ 2563868 w 3565209"/>
                  <a:gd name="connsiteY1253" fmla="*/ 1576270 h 3993936"/>
                  <a:gd name="connsiteX1254" fmla="*/ 2577407 w 3565209"/>
                  <a:gd name="connsiteY1254" fmla="*/ 1583717 h 3993936"/>
                  <a:gd name="connsiteX1255" fmla="*/ 2583725 w 3565209"/>
                  <a:gd name="connsiteY1255" fmla="*/ 1594999 h 3993936"/>
                  <a:gd name="connsiteX1256" fmla="*/ 2581694 w 3565209"/>
                  <a:gd name="connsiteY1256" fmla="*/ 1599061 h 3993936"/>
                  <a:gd name="connsiteX1257" fmla="*/ 2580792 w 3565209"/>
                  <a:gd name="connsiteY1257" fmla="*/ 1601768 h 3993936"/>
                  <a:gd name="connsiteX1258" fmla="*/ 2569058 w 3565209"/>
                  <a:gd name="connsiteY1258" fmla="*/ 1608538 h 3993936"/>
                  <a:gd name="connsiteX1259" fmla="*/ 2564319 w 3565209"/>
                  <a:gd name="connsiteY1259" fmla="*/ 1609892 h 3993936"/>
                  <a:gd name="connsiteX1260" fmla="*/ 2554617 w 3565209"/>
                  <a:gd name="connsiteY1260" fmla="*/ 1609440 h 3993936"/>
                  <a:gd name="connsiteX1261" fmla="*/ 2551458 w 3565209"/>
                  <a:gd name="connsiteY1261" fmla="*/ 1607409 h 3993936"/>
                  <a:gd name="connsiteX1262" fmla="*/ 2547170 w 3565209"/>
                  <a:gd name="connsiteY1262" fmla="*/ 1606281 h 3993936"/>
                  <a:gd name="connsiteX1263" fmla="*/ 2545139 w 3565209"/>
                  <a:gd name="connsiteY1263" fmla="*/ 1607861 h 3993936"/>
                  <a:gd name="connsiteX1264" fmla="*/ 2537693 w 3565209"/>
                  <a:gd name="connsiteY1264" fmla="*/ 1610794 h 3993936"/>
                  <a:gd name="connsiteX1265" fmla="*/ 2530247 w 3565209"/>
                  <a:gd name="connsiteY1265" fmla="*/ 1610343 h 3993936"/>
                  <a:gd name="connsiteX1266" fmla="*/ 2526636 w 3565209"/>
                  <a:gd name="connsiteY1266" fmla="*/ 1610117 h 3993936"/>
                  <a:gd name="connsiteX1267" fmla="*/ 2525734 w 3565209"/>
                  <a:gd name="connsiteY1267" fmla="*/ 1611020 h 3993936"/>
                  <a:gd name="connsiteX1268" fmla="*/ 2522801 w 3565209"/>
                  <a:gd name="connsiteY1268" fmla="*/ 1615533 h 3993936"/>
                  <a:gd name="connsiteX1269" fmla="*/ 2523703 w 3565209"/>
                  <a:gd name="connsiteY1269" fmla="*/ 1620948 h 3993936"/>
                  <a:gd name="connsiteX1270" fmla="*/ 2524380 w 3565209"/>
                  <a:gd name="connsiteY1270" fmla="*/ 1628846 h 3993936"/>
                  <a:gd name="connsiteX1271" fmla="*/ 2520770 w 3565209"/>
                  <a:gd name="connsiteY1271" fmla="*/ 1634487 h 3993936"/>
                  <a:gd name="connsiteX1272" fmla="*/ 2518964 w 3565209"/>
                  <a:gd name="connsiteY1272" fmla="*/ 1636743 h 3993936"/>
                  <a:gd name="connsiteX1273" fmla="*/ 2516257 w 3565209"/>
                  <a:gd name="connsiteY1273" fmla="*/ 1640128 h 3993936"/>
                  <a:gd name="connsiteX1274" fmla="*/ 2510616 w 3565209"/>
                  <a:gd name="connsiteY1274" fmla="*/ 1646897 h 3993936"/>
                  <a:gd name="connsiteX1275" fmla="*/ 2508359 w 3565209"/>
                  <a:gd name="connsiteY1275" fmla="*/ 1651185 h 3993936"/>
                  <a:gd name="connsiteX1276" fmla="*/ 2504974 w 3565209"/>
                  <a:gd name="connsiteY1276" fmla="*/ 1654795 h 3993936"/>
                  <a:gd name="connsiteX1277" fmla="*/ 2500913 w 3565209"/>
                  <a:gd name="connsiteY1277" fmla="*/ 1653216 h 3993936"/>
                  <a:gd name="connsiteX1278" fmla="*/ 2498431 w 3565209"/>
                  <a:gd name="connsiteY1278" fmla="*/ 1647575 h 3993936"/>
                  <a:gd name="connsiteX1279" fmla="*/ 2498205 w 3565209"/>
                  <a:gd name="connsiteY1279" fmla="*/ 1646221 h 3993936"/>
                  <a:gd name="connsiteX1280" fmla="*/ 2497528 w 3565209"/>
                  <a:gd name="connsiteY1280" fmla="*/ 1646221 h 3993936"/>
                  <a:gd name="connsiteX1281" fmla="*/ 2495497 w 3565209"/>
                  <a:gd name="connsiteY1281" fmla="*/ 1646446 h 3993936"/>
                  <a:gd name="connsiteX1282" fmla="*/ 2490984 w 3565209"/>
                  <a:gd name="connsiteY1282" fmla="*/ 1650734 h 3993936"/>
                  <a:gd name="connsiteX1283" fmla="*/ 2491210 w 3565209"/>
                  <a:gd name="connsiteY1283" fmla="*/ 1652990 h 3993936"/>
                  <a:gd name="connsiteX1284" fmla="*/ 2486697 w 3565209"/>
                  <a:gd name="connsiteY1284" fmla="*/ 1661565 h 3993936"/>
                  <a:gd name="connsiteX1285" fmla="*/ 2483989 w 3565209"/>
                  <a:gd name="connsiteY1285" fmla="*/ 1664498 h 3993936"/>
                  <a:gd name="connsiteX1286" fmla="*/ 2477446 w 3565209"/>
                  <a:gd name="connsiteY1286" fmla="*/ 1675555 h 3993936"/>
                  <a:gd name="connsiteX1287" fmla="*/ 2478799 w 3565209"/>
                  <a:gd name="connsiteY1287" fmla="*/ 1681196 h 3993936"/>
                  <a:gd name="connsiteX1288" fmla="*/ 2481958 w 3565209"/>
                  <a:gd name="connsiteY1288" fmla="*/ 1687288 h 3993936"/>
                  <a:gd name="connsiteX1289" fmla="*/ 2488502 w 3565209"/>
                  <a:gd name="connsiteY1289" fmla="*/ 1696088 h 3993936"/>
                  <a:gd name="connsiteX1290" fmla="*/ 2494369 w 3565209"/>
                  <a:gd name="connsiteY1290" fmla="*/ 1703083 h 3993936"/>
                  <a:gd name="connsiteX1291" fmla="*/ 2506328 w 3565209"/>
                  <a:gd name="connsiteY1291" fmla="*/ 1713914 h 3993936"/>
                  <a:gd name="connsiteX1292" fmla="*/ 2507457 w 3565209"/>
                  <a:gd name="connsiteY1292" fmla="*/ 1714591 h 3993936"/>
                  <a:gd name="connsiteX1293" fmla="*/ 2532729 w 3565209"/>
                  <a:gd name="connsiteY1293" fmla="*/ 1721812 h 3993936"/>
                  <a:gd name="connsiteX1294" fmla="*/ 2554842 w 3565209"/>
                  <a:gd name="connsiteY1294" fmla="*/ 1721586 h 3993936"/>
                  <a:gd name="connsiteX1295" fmla="*/ 2563417 w 3565209"/>
                  <a:gd name="connsiteY1295" fmla="*/ 1729258 h 3993936"/>
                  <a:gd name="connsiteX1296" fmla="*/ 2563417 w 3565209"/>
                  <a:gd name="connsiteY1296" fmla="*/ 1735802 h 3993936"/>
                  <a:gd name="connsiteX1297" fmla="*/ 2561612 w 3565209"/>
                  <a:gd name="connsiteY1297" fmla="*/ 1752726 h 3993936"/>
                  <a:gd name="connsiteX1298" fmla="*/ 2563417 w 3565209"/>
                  <a:gd name="connsiteY1298" fmla="*/ 1756561 h 3993936"/>
                  <a:gd name="connsiteX1299" fmla="*/ 2567478 w 3565209"/>
                  <a:gd name="connsiteY1299" fmla="*/ 1773034 h 3993936"/>
                  <a:gd name="connsiteX1300" fmla="*/ 2555970 w 3565209"/>
                  <a:gd name="connsiteY1300" fmla="*/ 1786121 h 3993936"/>
                  <a:gd name="connsiteX1301" fmla="*/ 2546719 w 3565209"/>
                  <a:gd name="connsiteY1301" fmla="*/ 1797178 h 3993936"/>
                  <a:gd name="connsiteX1302" fmla="*/ 2560483 w 3565209"/>
                  <a:gd name="connsiteY1302" fmla="*/ 1825158 h 3993936"/>
                  <a:gd name="connsiteX1303" fmla="*/ 2573571 w 3565209"/>
                  <a:gd name="connsiteY1303" fmla="*/ 1856072 h 3993936"/>
                  <a:gd name="connsiteX1304" fmla="*/ 2573345 w 3565209"/>
                  <a:gd name="connsiteY1304" fmla="*/ 1866902 h 3993936"/>
                  <a:gd name="connsiteX1305" fmla="*/ 2585981 w 3565209"/>
                  <a:gd name="connsiteY1305" fmla="*/ 1869159 h 3993936"/>
                  <a:gd name="connsiteX1306" fmla="*/ 2601551 w 3565209"/>
                  <a:gd name="connsiteY1306" fmla="*/ 1874123 h 3993936"/>
                  <a:gd name="connsiteX1307" fmla="*/ 2600197 w 3565209"/>
                  <a:gd name="connsiteY1307" fmla="*/ 1885857 h 3993936"/>
                  <a:gd name="connsiteX1308" fmla="*/ 2599746 w 3565209"/>
                  <a:gd name="connsiteY1308" fmla="*/ 1886759 h 3993936"/>
                  <a:gd name="connsiteX1309" fmla="*/ 2603131 w 3565209"/>
                  <a:gd name="connsiteY1309" fmla="*/ 1943397 h 3993936"/>
                  <a:gd name="connsiteX1310" fmla="*/ 2607869 w 3565209"/>
                  <a:gd name="connsiteY1310" fmla="*/ 1962802 h 3993936"/>
                  <a:gd name="connsiteX1311" fmla="*/ 2608320 w 3565209"/>
                  <a:gd name="connsiteY1311" fmla="*/ 1977018 h 3993936"/>
                  <a:gd name="connsiteX1312" fmla="*/ 2609449 w 3565209"/>
                  <a:gd name="connsiteY1312" fmla="*/ 1992362 h 3993936"/>
                  <a:gd name="connsiteX1313" fmla="*/ 2609223 w 3565209"/>
                  <a:gd name="connsiteY1313" fmla="*/ 1996649 h 3993936"/>
                  <a:gd name="connsiteX1314" fmla="*/ 2611931 w 3565209"/>
                  <a:gd name="connsiteY1314" fmla="*/ 2000259 h 3993936"/>
                  <a:gd name="connsiteX1315" fmla="*/ 2621633 w 3565209"/>
                  <a:gd name="connsiteY1315" fmla="*/ 2015378 h 3993936"/>
                  <a:gd name="connsiteX1316" fmla="*/ 2621408 w 3565209"/>
                  <a:gd name="connsiteY1316" fmla="*/ 2020342 h 3993936"/>
                  <a:gd name="connsiteX1317" fmla="*/ 2622085 w 3565209"/>
                  <a:gd name="connsiteY1317" fmla="*/ 2027563 h 3993936"/>
                  <a:gd name="connsiteX1318" fmla="*/ 2622987 w 3565209"/>
                  <a:gd name="connsiteY1318" fmla="*/ 2029142 h 3993936"/>
                  <a:gd name="connsiteX1319" fmla="*/ 2622310 w 3565209"/>
                  <a:gd name="connsiteY1319" fmla="*/ 2038168 h 3993936"/>
                  <a:gd name="connsiteX1320" fmla="*/ 2621182 w 3565209"/>
                  <a:gd name="connsiteY1320" fmla="*/ 2042455 h 3993936"/>
                  <a:gd name="connsiteX1321" fmla="*/ 2615315 w 3565209"/>
                  <a:gd name="connsiteY1321" fmla="*/ 2050127 h 3993936"/>
                  <a:gd name="connsiteX1322" fmla="*/ 2606515 w 3565209"/>
                  <a:gd name="connsiteY1322" fmla="*/ 2049450 h 3993936"/>
                  <a:gd name="connsiteX1323" fmla="*/ 2599971 w 3565209"/>
                  <a:gd name="connsiteY1323" fmla="*/ 2047871 h 3993936"/>
                  <a:gd name="connsiteX1324" fmla="*/ 2595684 w 3565209"/>
                  <a:gd name="connsiteY1324" fmla="*/ 2047871 h 3993936"/>
                  <a:gd name="connsiteX1325" fmla="*/ 2584176 w 3565209"/>
                  <a:gd name="connsiteY1325" fmla="*/ 2045840 h 3993936"/>
                  <a:gd name="connsiteX1326" fmla="*/ 2579663 w 3565209"/>
                  <a:gd name="connsiteY1326" fmla="*/ 2034106 h 3993936"/>
                  <a:gd name="connsiteX1327" fmla="*/ 2579663 w 3565209"/>
                  <a:gd name="connsiteY1327" fmla="*/ 2032527 h 3993936"/>
                  <a:gd name="connsiteX1328" fmla="*/ 2576955 w 3565209"/>
                  <a:gd name="connsiteY1328" fmla="*/ 2032301 h 3993936"/>
                  <a:gd name="connsiteX1329" fmla="*/ 2571540 w 3565209"/>
                  <a:gd name="connsiteY1329" fmla="*/ 2031173 h 3993936"/>
                  <a:gd name="connsiteX1330" fmla="*/ 2570186 w 3565209"/>
                  <a:gd name="connsiteY1330" fmla="*/ 2030722 h 3993936"/>
                  <a:gd name="connsiteX1331" fmla="*/ 2570186 w 3565209"/>
                  <a:gd name="connsiteY1331" fmla="*/ 2030947 h 3993936"/>
                  <a:gd name="connsiteX1332" fmla="*/ 2566350 w 3565209"/>
                  <a:gd name="connsiteY1332" fmla="*/ 2033204 h 3993936"/>
                  <a:gd name="connsiteX1333" fmla="*/ 2566125 w 3565209"/>
                  <a:gd name="connsiteY1333" fmla="*/ 2035009 h 3993936"/>
                  <a:gd name="connsiteX1334" fmla="*/ 2565899 w 3565209"/>
                  <a:gd name="connsiteY1334" fmla="*/ 2037040 h 3993936"/>
                  <a:gd name="connsiteX1335" fmla="*/ 2561837 w 3565209"/>
                  <a:gd name="connsiteY1335" fmla="*/ 2049225 h 3993936"/>
                  <a:gd name="connsiteX1336" fmla="*/ 2558227 w 3565209"/>
                  <a:gd name="connsiteY1336" fmla="*/ 2052384 h 3993936"/>
                  <a:gd name="connsiteX1337" fmla="*/ 2556647 w 3565209"/>
                  <a:gd name="connsiteY1337" fmla="*/ 2055317 h 3993936"/>
                  <a:gd name="connsiteX1338" fmla="*/ 2553488 w 3565209"/>
                  <a:gd name="connsiteY1338" fmla="*/ 2060281 h 3993936"/>
                  <a:gd name="connsiteX1339" fmla="*/ 2549878 w 3565209"/>
                  <a:gd name="connsiteY1339" fmla="*/ 2063215 h 3993936"/>
                  <a:gd name="connsiteX1340" fmla="*/ 2548073 w 3565209"/>
                  <a:gd name="connsiteY1340" fmla="*/ 2065697 h 3993936"/>
                  <a:gd name="connsiteX1341" fmla="*/ 2541980 w 3565209"/>
                  <a:gd name="connsiteY1341" fmla="*/ 2070887 h 3993936"/>
                  <a:gd name="connsiteX1342" fmla="*/ 2539273 w 3565209"/>
                  <a:gd name="connsiteY1342" fmla="*/ 2072917 h 3993936"/>
                  <a:gd name="connsiteX1343" fmla="*/ 2528667 w 3565209"/>
                  <a:gd name="connsiteY1343" fmla="*/ 2073143 h 3993936"/>
                  <a:gd name="connsiteX1344" fmla="*/ 2518513 w 3565209"/>
                  <a:gd name="connsiteY1344" fmla="*/ 2069758 h 3993936"/>
                  <a:gd name="connsiteX1345" fmla="*/ 2511969 w 3565209"/>
                  <a:gd name="connsiteY1345" fmla="*/ 2063892 h 3993936"/>
                  <a:gd name="connsiteX1346" fmla="*/ 2511969 w 3565209"/>
                  <a:gd name="connsiteY1346" fmla="*/ 2058702 h 3993936"/>
                  <a:gd name="connsiteX1347" fmla="*/ 2511067 w 3565209"/>
                  <a:gd name="connsiteY1347" fmla="*/ 2055994 h 3993936"/>
                  <a:gd name="connsiteX1348" fmla="*/ 2510390 w 3565209"/>
                  <a:gd name="connsiteY1348" fmla="*/ 2045614 h 3993936"/>
                  <a:gd name="connsiteX1349" fmla="*/ 2516257 w 3565209"/>
                  <a:gd name="connsiteY1349" fmla="*/ 2033655 h 3993936"/>
                  <a:gd name="connsiteX1350" fmla="*/ 2516482 w 3565209"/>
                  <a:gd name="connsiteY1350" fmla="*/ 2032752 h 3993936"/>
                  <a:gd name="connsiteX1351" fmla="*/ 2518062 w 3565209"/>
                  <a:gd name="connsiteY1351" fmla="*/ 2029368 h 3993936"/>
                  <a:gd name="connsiteX1352" fmla="*/ 2518513 w 3565209"/>
                  <a:gd name="connsiteY1352" fmla="*/ 2026886 h 3993936"/>
                  <a:gd name="connsiteX1353" fmla="*/ 2514677 w 3565209"/>
                  <a:gd name="connsiteY1353" fmla="*/ 2023727 h 3993936"/>
                  <a:gd name="connsiteX1354" fmla="*/ 2511518 w 3565209"/>
                  <a:gd name="connsiteY1354" fmla="*/ 2021244 h 3993936"/>
                  <a:gd name="connsiteX1355" fmla="*/ 2506780 w 3565209"/>
                  <a:gd name="connsiteY1355" fmla="*/ 2018311 h 3993936"/>
                  <a:gd name="connsiteX1356" fmla="*/ 2507005 w 3565209"/>
                  <a:gd name="connsiteY1356" fmla="*/ 2018988 h 3993936"/>
                  <a:gd name="connsiteX1357" fmla="*/ 2509939 w 3565209"/>
                  <a:gd name="connsiteY1357" fmla="*/ 2023727 h 3993936"/>
                  <a:gd name="connsiteX1358" fmla="*/ 2511067 w 3565209"/>
                  <a:gd name="connsiteY1358" fmla="*/ 2034332 h 3993936"/>
                  <a:gd name="connsiteX1359" fmla="*/ 2503169 w 3565209"/>
                  <a:gd name="connsiteY1359" fmla="*/ 2041553 h 3993936"/>
                  <a:gd name="connsiteX1360" fmla="*/ 2496400 w 3565209"/>
                  <a:gd name="connsiteY1360" fmla="*/ 2049225 h 3993936"/>
                  <a:gd name="connsiteX1361" fmla="*/ 2476994 w 3565209"/>
                  <a:gd name="connsiteY1361" fmla="*/ 2078333 h 3993936"/>
                  <a:gd name="connsiteX1362" fmla="*/ 2472707 w 3565209"/>
                  <a:gd name="connsiteY1362" fmla="*/ 2083523 h 3993936"/>
                  <a:gd name="connsiteX1363" fmla="*/ 2469774 w 3565209"/>
                  <a:gd name="connsiteY1363" fmla="*/ 2087584 h 3993936"/>
                  <a:gd name="connsiteX1364" fmla="*/ 2457363 w 3565209"/>
                  <a:gd name="connsiteY1364" fmla="*/ 2095256 h 3993936"/>
                  <a:gd name="connsiteX1365" fmla="*/ 2451496 w 3565209"/>
                  <a:gd name="connsiteY1365" fmla="*/ 2097287 h 3993936"/>
                  <a:gd name="connsiteX1366" fmla="*/ 2426675 w 3565209"/>
                  <a:gd name="connsiteY1366" fmla="*/ 2102477 h 3993936"/>
                  <a:gd name="connsiteX1367" fmla="*/ 2412008 w 3565209"/>
                  <a:gd name="connsiteY1367" fmla="*/ 2111503 h 3993936"/>
                  <a:gd name="connsiteX1368" fmla="*/ 2397567 w 3565209"/>
                  <a:gd name="connsiteY1368" fmla="*/ 2112857 h 3993936"/>
                  <a:gd name="connsiteX1369" fmla="*/ 2390346 w 3565209"/>
                  <a:gd name="connsiteY1369" fmla="*/ 2112857 h 3993936"/>
                  <a:gd name="connsiteX1370" fmla="*/ 2353115 w 3565209"/>
                  <a:gd name="connsiteY1370" fmla="*/ 2149863 h 3993936"/>
                  <a:gd name="connsiteX1371" fmla="*/ 2358530 w 3565209"/>
                  <a:gd name="connsiteY1371" fmla="*/ 2186643 h 3993936"/>
                  <a:gd name="connsiteX1372" fmla="*/ 2359207 w 3565209"/>
                  <a:gd name="connsiteY1372" fmla="*/ 2187771 h 3993936"/>
                  <a:gd name="connsiteX1373" fmla="*/ 2368233 w 3565209"/>
                  <a:gd name="connsiteY1373" fmla="*/ 2199956 h 3993936"/>
                  <a:gd name="connsiteX1374" fmla="*/ 2371843 w 3565209"/>
                  <a:gd name="connsiteY1374" fmla="*/ 2207177 h 3993936"/>
                  <a:gd name="connsiteX1375" fmla="*/ 2366202 w 3565209"/>
                  <a:gd name="connsiteY1375" fmla="*/ 2215752 h 3993936"/>
                  <a:gd name="connsiteX1376" fmla="*/ 2363720 w 3565209"/>
                  <a:gd name="connsiteY1376" fmla="*/ 2216880 h 3993936"/>
                  <a:gd name="connsiteX1377" fmla="*/ 2365299 w 3565209"/>
                  <a:gd name="connsiteY1377" fmla="*/ 2216654 h 3993936"/>
                  <a:gd name="connsiteX1378" fmla="*/ 2372294 w 3565209"/>
                  <a:gd name="connsiteY1378" fmla="*/ 2218008 h 3993936"/>
                  <a:gd name="connsiteX1379" fmla="*/ 2373648 w 3565209"/>
                  <a:gd name="connsiteY1379" fmla="*/ 2230644 h 3993936"/>
                  <a:gd name="connsiteX1380" fmla="*/ 2365976 w 3565209"/>
                  <a:gd name="connsiteY1380" fmla="*/ 2236962 h 3993936"/>
                  <a:gd name="connsiteX1381" fmla="*/ 2356499 w 3565209"/>
                  <a:gd name="connsiteY1381" fmla="*/ 2243957 h 3993936"/>
                  <a:gd name="connsiteX1382" fmla="*/ 2345443 w 3565209"/>
                  <a:gd name="connsiteY1382" fmla="*/ 2257045 h 3993936"/>
                  <a:gd name="connsiteX1383" fmla="*/ 2345217 w 3565209"/>
                  <a:gd name="connsiteY1383" fmla="*/ 2257496 h 3993936"/>
                  <a:gd name="connsiteX1384" fmla="*/ 2345443 w 3565209"/>
                  <a:gd name="connsiteY1384" fmla="*/ 2266522 h 3993936"/>
                  <a:gd name="connsiteX1385" fmla="*/ 2346120 w 3565209"/>
                  <a:gd name="connsiteY1385" fmla="*/ 2282091 h 3993936"/>
                  <a:gd name="connsiteX1386" fmla="*/ 2327391 w 3565209"/>
                  <a:gd name="connsiteY1386" fmla="*/ 2294728 h 3993936"/>
                  <a:gd name="connsiteX1387" fmla="*/ 2319042 w 3565209"/>
                  <a:gd name="connsiteY1387" fmla="*/ 2299917 h 3993936"/>
                  <a:gd name="connsiteX1388" fmla="*/ 2307534 w 3565209"/>
                  <a:gd name="connsiteY1388" fmla="*/ 2316390 h 3993936"/>
                  <a:gd name="connsiteX1389" fmla="*/ 2304601 w 3565209"/>
                  <a:gd name="connsiteY1389" fmla="*/ 2321805 h 3993936"/>
                  <a:gd name="connsiteX1390" fmla="*/ 2302570 w 3565209"/>
                  <a:gd name="connsiteY1390" fmla="*/ 2324964 h 3993936"/>
                  <a:gd name="connsiteX1391" fmla="*/ 2294221 w 3565209"/>
                  <a:gd name="connsiteY1391" fmla="*/ 2334893 h 3993936"/>
                  <a:gd name="connsiteX1392" fmla="*/ 2285872 w 3565209"/>
                  <a:gd name="connsiteY1392" fmla="*/ 2338277 h 3993936"/>
                  <a:gd name="connsiteX1393" fmla="*/ 2246384 w 3565209"/>
                  <a:gd name="connsiteY1393" fmla="*/ 2353847 h 3993936"/>
                  <a:gd name="connsiteX1394" fmla="*/ 2226076 w 3565209"/>
                  <a:gd name="connsiteY1394" fmla="*/ 2360391 h 3993936"/>
                  <a:gd name="connsiteX1395" fmla="*/ 2198773 w 3565209"/>
                  <a:gd name="connsiteY1395" fmla="*/ 2372350 h 3993936"/>
                  <a:gd name="connsiteX1396" fmla="*/ 2175305 w 3565209"/>
                  <a:gd name="connsiteY1396" fmla="*/ 2383858 h 3993936"/>
                  <a:gd name="connsiteX1397" fmla="*/ 2151387 w 3565209"/>
                  <a:gd name="connsiteY1397" fmla="*/ 2397848 h 3993936"/>
                  <a:gd name="connsiteX1398" fmla="*/ 2140556 w 3565209"/>
                  <a:gd name="connsiteY1398" fmla="*/ 2408905 h 3993936"/>
                  <a:gd name="connsiteX1399" fmla="*/ 2131981 w 3565209"/>
                  <a:gd name="connsiteY1399" fmla="*/ 2416351 h 3993936"/>
                  <a:gd name="connsiteX1400" fmla="*/ 2113930 w 3565209"/>
                  <a:gd name="connsiteY1400" fmla="*/ 2436208 h 3993936"/>
                  <a:gd name="connsiteX1401" fmla="*/ 2105806 w 3565209"/>
                  <a:gd name="connsiteY1401" fmla="*/ 2443880 h 3993936"/>
                  <a:gd name="connsiteX1402" fmla="*/ 2099488 w 3565209"/>
                  <a:gd name="connsiteY1402" fmla="*/ 2449746 h 3993936"/>
                  <a:gd name="connsiteX1403" fmla="*/ 2094750 w 3565209"/>
                  <a:gd name="connsiteY1403" fmla="*/ 2459675 h 3993936"/>
                  <a:gd name="connsiteX1404" fmla="*/ 2073990 w 3565209"/>
                  <a:gd name="connsiteY1404" fmla="*/ 2489234 h 3993936"/>
                  <a:gd name="connsiteX1405" fmla="*/ 2058646 w 3565209"/>
                  <a:gd name="connsiteY1405" fmla="*/ 2507963 h 3993936"/>
                  <a:gd name="connsiteX1406" fmla="*/ 2043302 w 3565209"/>
                  <a:gd name="connsiteY1406" fmla="*/ 2526015 h 3993936"/>
                  <a:gd name="connsiteX1407" fmla="*/ 2023897 w 3565209"/>
                  <a:gd name="connsiteY1407" fmla="*/ 2551062 h 3993936"/>
                  <a:gd name="connsiteX1408" fmla="*/ 2020963 w 3565209"/>
                  <a:gd name="connsiteY1408" fmla="*/ 2560087 h 3993936"/>
                  <a:gd name="connsiteX1409" fmla="*/ 2004040 w 3565209"/>
                  <a:gd name="connsiteY1409" fmla="*/ 2578365 h 3993936"/>
                  <a:gd name="connsiteX1410" fmla="*/ 1944695 w 3565209"/>
                  <a:gd name="connsiteY1410" fmla="*/ 2611760 h 3993936"/>
                  <a:gd name="connsiteX1411" fmla="*/ 1931156 w 3565209"/>
                  <a:gd name="connsiteY1411" fmla="*/ 2624397 h 3993936"/>
                  <a:gd name="connsiteX1412" fmla="*/ 1915812 w 3565209"/>
                  <a:gd name="connsiteY1412" fmla="*/ 2640643 h 3993936"/>
                  <a:gd name="connsiteX1413" fmla="*/ 1911525 w 3565209"/>
                  <a:gd name="connsiteY1413" fmla="*/ 2648541 h 3993936"/>
                  <a:gd name="connsiteX1414" fmla="*/ 1896407 w 3565209"/>
                  <a:gd name="connsiteY1414" fmla="*/ 2667721 h 3993936"/>
                  <a:gd name="connsiteX1415" fmla="*/ 1890766 w 3565209"/>
                  <a:gd name="connsiteY1415" fmla="*/ 2671105 h 3993936"/>
                  <a:gd name="connsiteX1416" fmla="*/ 1853534 w 3565209"/>
                  <a:gd name="connsiteY1416" fmla="*/ 2696603 h 3993936"/>
                  <a:gd name="connsiteX1417" fmla="*/ 1830744 w 3565209"/>
                  <a:gd name="connsiteY1417" fmla="*/ 2709916 h 3993936"/>
                  <a:gd name="connsiteX1418" fmla="*/ 1820815 w 3565209"/>
                  <a:gd name="connsiteY1418" fmla="*/ 2714655 h 3993936"/>
                  <a:gd name="connsiteX1419" fmla="*/ 1809984 w 3565209"/>
                  <a:gd name="connsiteY1419" fmla="*/ 2721876 h 3993936"/>
                  <a:gd name="connsiteX1420" fmla="*/ 1785614 w 3565209"/>
                  <a:gd name="connsiteY1420" fmla="*/ 2739702 h 3993936"/>
                  <a:gd name="connsiteX1421" fmla="*/ 1777040 w 3565209"/>
                  <a:gd name="connsiteY1421" fmla="*/ 2764297 h 3993936"/>
                  <a:gd name="connsiteX1422" fmla="*/ 1779973 w 3565209"/>
                  <a:gd name="connsiteY1422" fmla="*/ 2769036 h 3993936"/>
                  <a:gd name="connsiteX1423" fmla="*/ 1785163 w 3565209"/>
                  <a:gd name="connsiteY1423" fmla="*/ 2763846 h 3993936"/>
                  <a:gd name="connsiteX1424" fmla="*/ 1788548 w 3565209"/>
                  <a:gd name="connsiteY1424" fmla="*/ 2760235 h 3993936"/>
                  <a:gd name="connsiteX1425" fmla="*/ 1790804 w 3565209"/>
                  <a:gd name="connsiteY1425" fmla="*/ 2761589 h 3993936"/>
                  <a:gd name="connsiteX1426" fmla="*/ 1788773 w 3565209"/>
                  <a:gd name="connsiteY1426" fmla="*/ 2782574 h 3993936"/>
                  <a:gd name="connsiteX1427" fmla="*/ 1775009 w 3565209"/>
                  <a:gd name="connsiteY1427" fmla="*/ 2792503 h 3993936"/>
                  <a:gd name="connsiteX1428" fmla="*/ 1772527 w 3565209"/>
                  <a:gd name="connsiteY1428" fmla="*/ 2792052 h 3993936"/>
                  <a:gd name="connsiteX1429" fmla="*/ 1762824 w 3565209"/>
                  <a:gd name="connsiteY1429" fmla="*/ 2791600 h 3993936"/>
                  <a:gd name="connsiteX1430" fmla="*/ 1763727 w 3565209"/>
                  <a:gd name="connsiteY1430" fmla="*/ 2796565 h 3993936"/>
                  <a:gd name="connsiteX1431" fmla="*/ 1768917 w 3565209"/>
                  <a:gd name="connsiteY1431" fmla="*/ 2797241 h 3993936"/>
                  <a:gd name="connsiteX1432" fmla="*/ 1778845 w 3565209"/>
                  <a:gd name="connsiteY1432" fmla="*/ 2792729 h 3993936"/>
                  <a:gd name="connsiteX1433" fmla="*/ 1781553 w 3565209"/>
                  <a:gd name="connsiteY1433" fmla="*/ 2790923 h 3993936"/>
                  <a:gd name="connsiteX1434" fmla="*/ 1784486 w 3565209"/>
                  <a:gd name="connsiteY1434" fmla="*/ 2791375 h 3993936"/>
                  <a:gd name="connsiteX1435" fmla="*/ 1764629 w 3565209"/>
                  <a:gd name="connsiteY1435" fmla="*/ 2819129 h 3993936"/>
                  <a:gd name="connsiteX1436" fmla="*/ 1739808 w 3565209"/>
                  <a:gd name="connsiteY1436" fmla="*/ 2829283 h 3993936"/>
                  <a:gd name="connsiteX1437" fmla="*/ 1719500 w 3565209"/>
                  <a:gd name="connsiteY1437" fmla="*/ 2837181 h 3993936"/>
                  <a:gd name="connsiteX1438" fmla="*/ 1685202 w 3565209"/>
                  <a:gd name="connsiteY1438" fmla="*/ 2843950 h 3993936"/>
                  <a:gd name="connsiteX1439" fmla="*/ 1672340 w 3565209"/>
                  <a:gd name="connsiteY1439" fmla="*/ 2844627 h 3993936"/>
                  <a:gd name="connsiteX1440" fmla="*/ 1666473 w 3565209"/>
                  <a:gd name="connsiteY1440" fmla="*/ 2845530 h 3993936"/>
                  <a:gd name="connsiteX1441" fmla="*/ 1649776 w 3565209"/>
                  <a:gd name="connsiteY1441" fmla="*/ 2854330 h 3993936"/>
                  <a:gd name="connsiteX1442" fmla="*/ 1647745 w 3565209"/>
                  <a:gd name="connsiteY1442" fmla="*/ 2860197 h 3993936"/>
                  <a:gd name="connsiteX1443" fmla="*/ 1636462 w 3565209"/>
                  <a:gd name="connsiteY1443" fmla="*/ 2877797 h 3993936"/>
                  <a:gd name="connsiteX1444" fmla="*/ 1623149 w 3565209"/>
                  <a:gd name="connsiteY1444" fmla="*/ 2891787 h 3993936"/>
                  <a:gd name="connsiteX1445" fmla="*/ 1616831 w 3565209"/>
                  <a:gd name="connsiteY1445" fmla="*/ 2902844 h 3993936"/>
                  <a:gd name="connsiteX1446" fmla="*/ 1609611 w 3565209"/>
                  <a:gd name="connsiteY1446" fmla="*/ 2922701 h 3993936"/>
                  <a:gd name="connsiteX1447" fmla="*/ 1585692 w 3565209"/>
                  <a:gd name="connsiteY1447" fmla="*/ 2925634 h 3993936"/>
                  <a:gd name="connsiteX1448" fmla="*/ 1584564 w 3565209"/>
                  <a:gd name="connsiteY1448" fmla="*/ 2925408 h 3993936"/>
                  <a:gd name="connsiteX1449" fmla="*/ 1580502 w 3565209"/>
                  <a:gd name="connsiteY1449" fmla="*/ 2921347 h 3993936"/>
                  <a:gd name="connsiteX1450" fmla="*/ 1567866 w 3565209"/>
                  <a:gd name="connsiteY1450" fmla="*/ 2912998 h 3993936"/>
                  <a:gd name="connsiteX1451" fmla="*/ 1519352 w 3565209"/>
                  <a:gd name="connsiteY1451" fmla="*/ 2940075 h 3993936"/>
                  <a:gd name="connsiteX1452" fmla="*/ 1516193 w 3565209"/>
                  <a:gd name="connsiteY1452" fmla="*/ 2952035 h 3993936"/>
                  <a:gd name="connsiteX1453" fmla="*/ 1505136 w 3565209"/>
                  <a:gd name="connsiteY1453" fmla="*/ 2973922 h 3993936"/>
                  <a:gd name="connsiteX1454" fmla="*/ 1493628 w 3565209"/>
                  <a:gd name="connsiteY1454" fmla="*/ 2983851 h 3993936"/>
                  <a:gd name="connsiteX1455" fmla="*/ 1485731 w 3565209"/>
                  <a:gd name="connsiteY1455" fmla="*/ 2995584 h 3993936"/>
                  <a:gd name="connsiteX1456" fmla="*/ 1485279 w 3565209"/>
                  <a:gd name="connsiteY1456" fmla="*/ 3004836 h 3993936"/>
                  <a:gd name="connsiteX1457" fmla="*/ 1487085 w 3565209"/>
                  <a:gd name="connsiteY1457" fmla="*/ 3046580 h 3993936"/>
                  <a:gd name="connsiteX1458" fmla="*/ 1495433 w 3565209"/>
                  <a:gd name="connsiteY1458" fmla="*/ 3070499 h 3993936"/>
                  <a:gd name="connsiteX1459" fmla="*/ 1501977 w 3565209"/>
                  <a:gd name="connsiteY1459" fmla="*/ 3090807 h 3993936"/>
                  <a:gd name="connsiteX1460" fmla="*/ 1498592 w 3565209"/>
                  <a:gd name="connsiteY1460" fmla="*/ 3108633 h 3993936"/>
                  <a:gd name="connsiteX1461" fmla="*/ 1494982 w 3565209"/>
                  <a:gd name="connsiteY1461" fmla="*/ 3132777 h 3993936"/>
                  <a:gd name="connsiteX1462" fmla="*/ 1496562 w 3565209"/>
                  <a:gd name="connsiteY1462" fmla="*/ 3152183 h 3993936"/>
                  <a:gd name="connsiteX1463" fmla="*/ 1500172 w 3565209"/>
                  <a:gd name="connsiteY1463" fmla="*/ 3168880 h 3993936"/>
                  <a:gd name="connsiteX1464" fmla="*/ 1510777 w 3565209"/>
                  <a:gd name="connsiteY1464" fmla="*/ 3207917 h 3993936"/>
                  <a:gd name="connsiteX1465" fmla="*/ 1517095 w 3565209"/>
                  <a:gd name="connsiteY1465" fmla="*/ 3249888 h 3993936"/>
                  <a:gd name="connsiteX1466" fmla="*/ 1522962 w 3565209"/>
                  <a:gd name="connsiteY1466" fmla="*/ 3288924 h 3993936"/>
                  <a:gd name="connsiteX1467" fmla="*/ 1514839 w 3565209"/>
                  <a:gd name="connsiteY1467" fmla="*/ 3303817 h 3993936"/>
                  <a:gd name="connsiteX1468" fmla="*/ 1507167 w 3565209"/>
                  <a:gd name="connsiteY1468" fmla="*/ 3324125 h 3993936"/>
                  <a:gd name="connsiteX1469" fmla="*/ 1508295 w 3565209"/>
                  <a:gd name="connsiteY1469" fmla="*/ 3336536 h 3993936"/>
                  <a:gd name="connsiteX1470" fmla="*/ 1505813 w 3565209"/>
                  <a:gd name="connsiteY1470" fmla="*/ 3355716 h 3993936"/>
                  <a:gd name="connsiteX1471" fmla="*/ 1491372 w 3565209"/>
                  <a:gd name="connsiteY1471" fmla="*/ 3392270 h 3993936"/>
                  <a:gd name="connsiteX1472" fmla="*/ 1460910 w 3565209"/>
                  <a:gd name="connsiteY1472" fmla="*/ 3434692 h 3993936"/>
                  <a:gd name="connsiteX1473" fmla="*/ 1450079 w 3565209"/>
                  <a:gd name="connsiteY1473" fmla="*/ 3443943 h 3993936"/>
                  <a:gd name="connsiteX1474" fmla="*/ 1440150 w 3565209"/>
                  <a:gd name="connsiteY1474" fmla="*/ 3462220 h 3993936"/>
                  <a:gd name="connsiteX1475" fmla="*/ 1444663 w 3565209"/>
                  <a:gd name="connsiteY1475" fmla="*/ 3486139 h 3993936"/>
                  <a:gd name="connsiteX1476" fmla="*/ 1448274 w 3565209"/>
                  <a:gd name="connsiteY1476" fmla="*/ 3511863 h 3993936"/>
                  <a:gd name="connsiteX1477" fmla="*/ 1448048 w 3565209"/>
                  <a:gd name="connsiteY1477" fmla="*/ 3512314 h 3993936"/>
                  <a:gd name="connsiteX1478" fmla="*/ 1448725 w 3565209"/>
                  <a:gd name="connsiteY1478" fmla="*/ 3531042 h 3993936"/>
                  <a:gd name="connsiteX1479" fmla="*/ 1457074 w 3565209"/>
                  <a:gd name="connsiteY1479" fmla="*/ 3580910 h 3993936"/>
                  <a:gd name="connsiteX1480" fmla="*/ 1456171 w 3565209"/>
                  <a:gd name="connsiteY1480" fmla="*/ 3609116 h 3993936"/>
                  <a:gd name="connsiteX1481" fmla="*/ 1455945 w 3565209"/>
                  <a:gd name="connsiteY1481" fmla="*/ 3633486 h 3993936"/>
                  <a:gd name="connsiteX1482" fmla="*/ 1455945 w 3565209"/>
                  <a:gd name="connsiteY1482" fmla="*/ 3633937 h 3993936"/>
                  <a:gd name="connsiteX1483" fmla="*/ 1456397 w 3565209"/>
                  <a:gd name="connsiteY1483" fmla="*/ 3678164 h 3993936"/>
                  <a:gd name="connsiteX1484" fmla="*/ 1456171 w 3565209"/>
                  <a:gd name="connsiteY1484" fmla="*/ 3678615 h 3993936"/>
                  <a:gd name="connsiteX1485" fmla="*/ 1450079 w 3565209"/>
                  <a:gd name="connsiteY1485" fmla="*/ 3690123 h 3993936"/>
                  <a:gd name="connsiteX1486" fmla="*/ 1445114 w 3565209"/>
                  <a:gd name="connsiteY1486" fmla="*/ 3690123 h 3993936"/>
                  <a:gd name="connsiteX1487" fmla="*/ 1441730 w 3565209"/>
                  <a:gd name="connsiteY1487" fmla="*/ 3688544 h 3993936"/>
                  <a:gd name="connsiteX1488" fmla="*/ 1418488 w 3565209"/>
                  <a:gd name="connsiteY1488" fmla="*/ 3683128 h 3993936"/>
                  <a:gd name="connsiteX1489" fmla="*/ 1410816 w 3565209"/>
                  <a:gd name="connsiteY1489" fmla="*/ 3683128 h 3993936"/>
                  <a:gd name="connsiteX1490" fmla="*/ 1382610 w 3565209"/>
                  <a:gd name="connsiteY1490" fmla="*/ 3688318 h 3993936"/>
                  <a:gd name="connsiteX1491" fmla="*/ 1372231 w 3565209"/>
                  <a:gd name="connsiteY1491" fmla="*/ 3709980 h 3993936"/>
                  <a:gd name="connsiteX1492" fmla="*/ 1371779 w 3565209"/>
                  <a:gd name="connsiteY1492" fmla="*/ 3712236 h 3993936"/>
                  <a:gd name="connsiteX1493" fmla="*/ 1357789 w 3565209"/>
                  <a:gd name="connsiteY1493" fmla="*/ 3741345 h 3993936"/>
                  <a:gd name="connsiteX1494" fmla="*/ 1328681 w 3565209"/>
                  <a:gd name="connsiteY1494" fmla="*/ 3787602 h 3993936"/>
                  <a:gd name="connsiteX1495" fmla="*/ 1339286 w 3565209"/>
                  <a:gd name="connsiteY1495" fmla="*/ 3816936 h 3993936"/>
                  <a:gd name="connsiteX1496" fmla="*/ 1342220 w 3565209"/>
                  <a:gd name="connsiteY1496" fmla="*/ 3818741 h 3993936"/>
                  <a:gd name="connsiteX1497" fmla="*/ 1353728 w 3565209"/>
                  <a:gd name="connsiteY1497" fmla="*/ 3823254 h 3993936"/>
                  <a:gd name="connsiteX1498" fmla="*/ 1358241 w 3565209"/>
                  <a:gd name="connsiteY1498" fmla="*/ 3825962 h 3993936"/>
                  <a:gd name="connsiteX1499" fmla="*/ 1357564 w 3565209"/>
                  <a:gd name="connsiteY1499" fmla="*/ 3829347 h 3993936"/>
                  <a:gd name="connsiteX1500" fmla="*/ 1337481 w 3565209"/>
                  <a:gd name="connsiteY1500" fmla="*/ 3832506 h 3993936"/>
                  <a:gd name="connsiteX1501" fmla="*/ 1330035 w 3565209"/>
                  <a:gd name="connsiteY1501" fmla="*/ 3831152 h 3993936"/>
                  <a:gd name="connsiteX1502" fmla="*/ 1311758 w 3565209"/>
                  <a:gd name="connsiteY1502" fmla="*/ 3831377 h 3993936"/>
                  <a:gd name="connsiteX1503" fmla="*/ 1301604 w 3565209"/>
                  <a:gd name="connsiteY1503" fmla="*/ 3835214 h 3993936"/>
                  <a:gd name="connsiteX1504" fmla="*/ 1282649 w 3565209"/>
                  <a:gd name="connsiteY1504" fmla="*/ 3843111 h 3993936"/>
                  <a:gd name="connsiteX1505" fmla="*/ 1265726 w 3565209"/>
                  <a:gd name="connsiteY1505" fmla="*/ 3848978 h 3993936"/>
                  <a:gd name="connsiteX1506" fmla="*/ 1259859 w 3565209"/>
                  <a:gd name="connsiteY1506" fmla="*/ 3849881 h 3993936"/>
                  <a:gd name="connsiteX1507" fmla="*/ 1226012 w 3565209"/>
                  <a:gd name="connsiteY1507" fmla="*/ 3867706 h 3993936"/>
                  <a:gd name="connsiteX1508" fmla="*/ 1221048 w 3565209"/>
                  <a:gd name="connsiteY1508" fmla="*/ 3880568 h 3993936"/>
                  <a:gd name="connsiteX1509" fmla="*/ 1216761 w 3565209"/>
                  <a:gd name="connsiteY1509" fmla="*/ 3894107 h 3993936"/>
                  <a:gd name="connsiteX1510" fmla="*/ 1216309 w 3565209"/>
                  <a:gd name="connsiteY1510" fmla="*/ 3906743 h 3993936"/>
                  <a:gd name="connsiteX1511" fmla="*/ 1216084 w 3565209"/>
                  <a:gd name="connsiteY1511" fmla="*/ 3920733 h 3993936"/>
                  <a:gd name="connsiteX1512" fmla="*/ 1208637 w 3565209"/>
                  <a:gd name="connsiteY1512" fmla="*/ 3942847 h 3993936"/>
                  <a:gd name="connsiteX1513" fmla="*/ 1196001 w 3565209"/>
                  <a:gd name="connsiteY1513" fmla="*/ 3955709 h 3993936"/>
                  <a:gd name="connsiteX1514" fmla="*/ 1149969 w 3565209"/>
                  <a:gd name="connsiteY1514" fmla="*/ 3982561 h 3993936"/>
                  <a:gd name="connsiteX1515" fmla="*/ 1142072 w 3565209"/>
                  <a:gd name="connsiteY1515" fmla="*/ 3993617 h 3993936"/>
                  <a:gd name="connsiteX1516" fmla="*/ 1140943 w 3565209"/>
                  <a:gd name="connsiteY1516" fmla="*/ 3995422 h 3993936"/>
                  <a:gd name="connsiteX1517" fmla="*/ 1138687 w 3565209"/>
                  <a:gd name="connsiteY1517" fmla="*/ 3991586 h 3993936"/>
                  <a:gd name="connsiteX1518" fmla="*/ 701836 w 3565209"/>
                  <a:gd name="connsiteY1518" fmla="*/ 3039360 h 3993936"/>
                  <a:gd name="connsiteX1519" fmla="*/ 702062 w 3565209"/>
                  <a:gd name="connsiteY1519" fmla="*/ 3039585 h 3993936"/>
                  <a:gd name="connsiteX1520" fmla="*/ 704769 w 3565209"/>
                  <a:gd name="connsiteY1520" fmla="*/ 3041842 h 3993936"/>
                  <a:gd name="connsiteX1521" fmla="*/ 716729 w 3565209"/>
                  <a:gd name="connsiteY1521" fmla="*/ 3054253 h 3993936"/>
                  <a:gd name="connsiteX1522" fmla="*/ 717857 w 3565209"/>
                  <a:gd name="connsiteY1522" fmla="*/ 3060345 h 3993936"/>
                  <a:gd name="connsiteX1523" fmla="*/ 719662 w 3565209"/>
                  <a:gd name="connsiteY1523" fmla="*/ 3069145 h 3993936"/>
                  <a:gd name="connsiteX1524" fmla="*/ 724401 w 3565209"/>
                  <a:gd name="connsiteY1524" fmla="*/ 3072981 h 3993936"/>
                  <a:gd name="connsiteX1525" fmla="*/ 728914 w 3565209"/>
                  <a:gd name="connsiteY1525" fmla="*/ 3075914 h 3993936"/>
                  <a:gd name="connsiteX1526" fmla="*/ 733652 w 3565209"/>
                  <a:gd name="connsiteY1526" fmla="*/ 3086745 h 3993936"/>
                  <a:gd name="connsiteX1527" fmla="*/ 733201 w 3565209"/>
                  <a:gd name="connsiteY1527" fmla="*/ 3088550 h 3993936"/>
                  <a:gd name="connsiteX1528" fmla="*/ 731847 w 3565209"/>
                  <a:gd name="connsiteY1528" fmla="*/ 3099382 h 3993936"/>
                  <a:gd name="connsiteX1529" fmla="*/ 735232 w 3565209"/>
                  <a:gd name="connsiteY1529" fmla="*/ 3115854 h 3993936"/>
                  <a:gd name="connsiteX1530" fmla="*/ 736586 w 3565209"/>
                  <a:gd name="connsiteY1530" fmla="*/ 3126233 h 3993936"/>
                  <a:gd name="connsiteX1531" fmla="*/ 737037 w 3565209"/>
                  <a:gd name="connsiteY1531" fmla="*/ 3127813 h 3993936"/>
                  <a:gd name="connsiteX1532" fmla="*/ 741775 w 3565209"/>
                  <a:gd name="connsiteY1532" fmla="*/ 3139998 h 3993936"/>
                  <a:gd name="connsiteX1533" fmla="*/ 746288 w 3565209"/>
                  <a:gd name="connsiteY1533" fmla="*/ 3151280 h 3993936"/>
                  <a:gd name="connsiteX1534" fmla="*/ 751929 w 3565209"/>
                  <a:gd name="connsiteY1534" fmla="*/ 3161660 h 3993936"/>
                  <a:gd name="connsiteX1535" fmla="*/ 756217 w 3565209"/>
                  <a:gd name="connsiteY1535" fmla="*/ 3171137 h 3993936"/>
                  <a:gd name="connsiteX1536" fmla="*/ 761632 w 3565209"/>
                  <a:gd name="connsiteY1536" fmla="*/ 3193250 h 3993936"/>
                  <a:gd name="connsiteX1537" fmla="*/ 765694 w 3565209"/>
                  <a:gd name="connsiteY1537" fmla="*/ 3210625 h 3993936"/>
                  <a:gd name="connsiteX1538" fmla="*/ 765920 w 3565209"/>
                  <a:gd name="connsiteY1538" fmla="*/ 3217395 h 3993936"/>
                  <a:gd name="connsiteX1539" fmla="*/ 765694 w 3565209"/>
                  <a:gd name="connsiteY1539" fmla="*/ 3232061 h 3993936"/>
                  <a:gd name="connsiteX1540" fmla="*/ 765017 w 3565209"/>
                  <a:gd name="connsiteY1540" fmla="*/ 3241538 h 3993936"/>
                  <a:gd name="connsiteX1541" fmla="*/ 768627 w 3565209"/>
                  <a:gd name="connsiteY1541" fmla="*/ 3258011 h 3993936"/>
                  <a:gd name="connsiteX1542" fmla="*/ 772463 w 3565209"/>
                  <a:gd name="connsiteY1542" fmla="*/ 3274709 h 3993936"/>
                  <a:gd name="connsiteX1543" fmla="*/ 779910 w 3565209"/>
                  <a:gd name="connsiteY1543" fmla="*/ 3302914 h 3993936"/>
                  <a:gd name="connsiteX1544" fmla="*/ 784197 w 3565209"/>
                  <a:gd name="connsiteY1544" fmla="*/ 3316228 h 3993936"/>
                  <a:gd name="connsiteX1545" fmla="*/ 788033 w 3565209"/>
                  <a:gd name="connsiteY1545" fmla="*/ 3328864 h 3993936"/>
                  <a:gd name="connsiteX1546" fmla="*/ 795479 w 3565209"/>
                  <a:gd name="connsiteY1546" fmla="*/ 3356393 h 3993936"/>
                  <a:gd name="connsiteX1547" fmla="*/ 805408 w 3565209"/>
                  <a:gd name="connsiteY1547" fmla="*/ 3378054 h 3993936"/>
                  <a:gd name="connsiteX1548" fmla="*/ 812854 w 3565209"/>
                  <a:gd name="connsiteY1548" fmla="*/ 3391819 h 3993936"/>
                  <a:gd name="connsiteX1549" fmla="*/ 847829 w 3565209"/>
                  <a:gd name="connsiteY1549" fmla="*/ 3447779 h 3993936"/>
                  <a:gd name="connsiteX1550" fmla="*/ 865429 w 3565209"/>
                  <a:gd name="connsiteY1550" fmla="*/ 3470118 h 3993936"/>
                  <a:gd name="connsiteX1551" fmla="*/ 866558 w 3565209"/>
                  <a:gd name="connsiteY1551" fmla="*/ 3471246 h 3993936"/>
                  <a:gd name="connsiteX1552" fmla="*/ 873327 w 3565209"/>
                  <a:gd name="connsiteY1552" fmla="*/ 3484108 h 3993936"/>
                  <a:gd name="connsiteX1553" fmla="*/ 884609 w 3565209"/>
                  <a:gd name="connsiteY1553" fmla="*/ 3503965 h 3993936"/>
                  <a:gd name="connsiteX1554" fmla="*/ 892733 w 3565209"/>
                  <a:gd name="connsiteY1554" fmla="*/ 3517053 h 3993936"/>
                  <a:gd name="connsiteX1555" fmla="*/ 895440 w 3565209"/>
                  <a:gd name="connsiteY1555" fmla="*/ 3523371 h 3993936"/>
                  <a:gd name="connsiteX1556" fmla="*/ 911687 w 3565209"/>
                  <a:gd name="connsiteY1556" fmla="*/ 3568048 h 3993936"/>
                  <a:gd name="connsiteX1557" fmla="*/ 915974 w 3565209"/>
                  <a:gd name="connsiteY1557" fmla="*/ 3587228 h 3993936"/>
                  <a:gd name="connsiteX1558" fmla="*/ 918231 w 3565209"/>
                  <a:gd name="connsiteY1558" fmla="*/ 3598511 h 3993936"/>
                  <a:gd name="connsiteX1559" fmla="*/ 937862 w 3565209"/>
                  <a:gd name="connsiteY1559" fmla="*/ 3650409 h 3993936"/>
                  <a:gd name="connsiteX1560" fmla="*/ 941923 w 3565209"/>
                  <a:gd name="connsiteY1560" fmla="*/ 3659887 h 3993936"/>
                  <a:gd name="connsiteX1561" fmla="*/ 960426 w 3565209"/>
                  <a:gd name="connsiteY1561" fmla="*/ 3709529 h 3993936"/>
                  <a:gd name="connsiteX1562" fmla="*/ 963134 w 3565209"/>
                  <a:gd name="connsiteY1562" fmla="*/ 3738186 h 3993936"/>
                  <a:gd name="connsiteX1563" fmla="*/ 965165 w 3565209"/>
                  <a:gd name="connsiteY1563" fmla="*/ 3766166 h 3993936"/>
                  <a:gd name="connsiteX1564" fmla="*/ 981412 w 3565209"/>
                  <a:gd name="connsiteY1564" fmla="*/ 3818516 h 3993936"/>
                  <a:gd name="connsiteX1565" fmla="*/ 995627 w 3565209"/>
                  <a:gd name="connsiteY1565" fmla="*/ 3853716 h 3993936"/>
                  <a:gd name="connsiteX1566" fmla="*/ 998561 w 3565209"/>
                  <a:gd name="connsiteY1566" fmla="*/ 3862517 h 3993936"/>
                  <a:gd name="connsiteX1567" fmla="*/ 1005330 w 3565209"/>
                  <a:gd name="connsiteY1567" fmla="*/ 3871542 h 3993936"/>
                  <a:gd name="connsiteX1568" fmla="*/ 1011874 w 3565209"/>
                  <a:gd name="connsiteY1568" fmla="*/ 3881020 h 3993936"/>
                  <a:gd name="connsiteX1569" fmla="*/ 1043239 w 3565209"/>
                  <a:gd name="connsiteY1569" fmla="*/ 3925698 h 3993936"/>
                  <a:gd name="connsiteX1570" fmla="*/ 1054070 w 3565209"/>
                  <a:gd name="connsiteY1570" fmla="*/ 3936754 h 3993936"/>
                  <a:gd name="connsiteX1571" fmla="*/ 1073250 w 3565209"/>
                  <a:gd name="connsiteY1571" fmla="*/ 3952775 h 3993936"/>
                  <a:gd name="connsiteX1572" fmla="*/ 1096265 w 3565209"/>
                  <a:gd name="connsiteY1572" fmla="*/ 3971955 h 3993936"/>
                  <a:gd name="connsiteX1573" fmla="*/ 1103712 w 3565209"/>
                  <a:gd name="connsiteY1573" fmla="*/ 3978499 h 3993936"/>
                  <a:gd name="connsiteX1574" fmla="*/ 1107096 w 3565209"/>
                  <a:gd name="connsiteY1574" fmla="*/ 3980304 h 3993936"/>
                  <a:gd name="connsiteX1575" fmla="*/ 1116348 w 3565209"/>
                  <a:gd name="connsiteY1575" fmla="*/ 3983012 h 3993936"/>
                  <a:gd name="connsiteX1576" fmla="*/ 1126051 w 3565209"/>
                  <a:gd name="connsiteY1576" fmla="*/ 3985268 h 3993936"/>
                  <a:gd name="connsiteX1577" fmla="*/ 1138687 w 3565209"/>
                  <a:gd name="connsiteY1577" fmla="*/ 3987750 h 3993936"/>
                  <a:gd name="connsiteX1578" fmla="*/ 1147713 w 3565209"/>
                  <a:gd name="connsiteY1578" fmla="*/ 3974888 h 3993936"/>
                  <a:gd name="connsiteX1579" fmla="*/ 1194873 w 3565209"/>
                  <a:gd name="connsiteY1579" fmla="*/ 3947359 h 3993936"/>
                  <a:gd name="connsiteX1580" fmla="*/ 1205704 w 3565209"/>
                  <a:gd name="connsiteY1580" fmla="*/ 3935852 h 3993936"/>
                  <a:gd name="connsiteX1581" fmla="*/ 1212473 w 3565209"/>
                  <a:gd name="connsiteY1581" fmla="*/ 3916446 h 3993936"/>
                  <a:gd name="connsiteX1582" fmla="*/ 1212699 w 3565209"/>
                  <a:gd name="connsiteY1582" fmla="*/ 3901779 h 3993936"/>
                  <a:gd name="connsiteX1583" fmla="*/ 1212925 w 3565209"/>
                  <a:gd name="connsiteY1583" fmla="*/ 3889594 h 3993936"/>
                  <a:gd name="connsiteX1584" fmla="*/ 1217663 w 3565209"/>
                  <a:gd name="connsiteY1584" fmla="*/ 3874250 h 3993936"/>
                  <a:gd name="connsiteX1585" fmla="*/ 1222402 w 3565209"/>
                  <a:gd name="connsiteY1585" fmla="*/ 3862291 h 3993936"/>
                  <a:gd name="connsiteX1586" fmla="*/ 1259182 w 3565209"/>
                  <a:gd name="connsiteY1586" fmla="*/ 3841532 h 3993936"/>
                  <a:gd name="connsiteX1587" fmla="*/ 1265049 w 3565209"/>
                  <a:gd name="connsiteY1587" fmla="*/ 3840403 h 3993936"/>
                  <a:gd name="connsiteX1588" fmla="*/ 1280618 w 3565209"/>
                  <a:gd name="connsiteY1588" fmla="*/ 3834988 h 3993936"/>
                  <a:gd name="connsiteX1589" fmla="*/ 1300024 w 3565209"/>
                  <a:gd name="connsiteY1589" fmla="*/ 3826865 h 3993936"/>
                  <a:gd name="connsiteX1590" fmla="*/ 1309952 w 3565209"/>
                  <a:gd name="connsiteY1590" fmla="*/ 3823029 h 3993936"/>
                  <a:gd name="connsiteX1591" fmla="*/ 1330486 w 3565209"/>
                  <a:gd name="connsiteY1591" fmla="*/ 3822577 h 3993936"/>
                  <a:gd name="connsiteX1592" fmla="*/ 1337933 w 3565209"/>
                  <a:gd name="connsiteY1592" fmla="*/ 3823931 h 3993936"/>
                  <a:gd name="connsiteX1593" fmla="*/ 1354179 w 3565209"/>
                  <a:gd name="connsiteY1593" fmla="*/ 3822352 h 3993936"/>
                  <a:gd name="connsiteX1594" fmla="*/ 1352825 w 3565209"/>
                  <a:gd name="connsiteY1594" fmla="*/ 3822126 h 3993936"/>
                  <a:gd name="connsiteX1595" fmla="*/ 1339738 w 3565209"/>
                  <a:gd name="connsiteY1595" fmla="*/ 3817162 h 3993936"/>
                  <a:gd name="connsiteX1596" fmla="*/ 1337030 w 3565209"/>
                  <a:gd name="connsiteY1596" fmla="*/ 3815357 h 3993936"/>
                  <a:gd name="connsiteX1597" fmla="*/ 1325071 w 3565209"/>
                  <a:gd name="connsiteY1597" fmla="*/ 3781735 h 3993936"/>
                  <a:gd name="connsiteX1598" fmla="*/ 1355082 w 3565209"/>
                  <a:gd name="connsiteY1598" fmla="*/ 3733898 h 3993936"/>
                  <a:gd name="connsiteX1599" fmla="*/ 1368169 w 3565209"/>
                  <a:gd name="connsiteY1599" fmla="*/ 3706595 h 3993936"/>
                  <a:gd name="connsiteX1600" fmla="*/ 1368620 w 3565209"/>
                  <a:gd name="connsiteY1600" fmla="*/ 3704339 h 3993936"/>
                  <a:gd name="connsiteX1601" fmla="*/ 1379903 w 3565209"/>
                  <a:gd name="connsiteY1601" fmla="*/ 3680871 h 3993936"/>
                  <a:gd name="connsiteX1602" fmla="*/ 1410816 w 3565209"/>
                  <a:gd name="connsiteY1602" fmla="*/ 3674553 h 3993936"/>
                  <a:gd name="connsiteX1603" fmla="*/ 1418263 w 3565209"/>
                  <a:gd name="connsiteY1603" fmla="*/ 3674553 h 3993936"/>
                  <a:gd name="connsiteX1604" fmla="*/ 1443084 w 3565209"/>
                  <a:gd name="connsiteY1604" fmla="*/ 3680420 h 3993936"/>
                  <a:gd name="connsiteX1605" fmla="*/ 1446243 w 3565209"/>
                  <a:gd name="connsiteY1605" fmla="*/ 3681774 h 3993936"/>
                  <a:gd name="connsiteX1606" fmla="*/ 1448274 w 3565209"/>
                  <a:gd name="connsiteY1606" fmla="*/ 3682000 h 3993936"/>
                  <a:gd name="connsiteX1607" fmla="*/ 1452335 w 3565209"/>
                  <a:gd name="connsiteY1607" fmla="*/ 3672748 h 3993936"/>
                  <a:gd name="connsiteX1608" fmla="*/ 1452561 w 3565209"/>
                  <a:gd name="connsiteY1608" fmla="*/ 3672297 h 3993936"/>
                  <a:gd name="connsiteX1609" fmla="*/ 1451884 w 3565209"/>
                  <a:gd name="connsiteY1609" fmla="*/ 3629424 h 3993936"/>
                  <a:gd name="connsiteX1610" fmla="*/ 1451884 w 3565209"/>
                  <a:gd name="connsiteY1610" fmla="*/ 3628973 h 3993936"/>
                  <a:gd name="connsiteX1611" fmla="*/ 1452109 w 3565209"/>
                  <a:gd name="connsiteY1611" fmla="*/ 3604152 h 3993936"/>
                  <a:gd name="connsiteX1612" fmla="*/ 1453012 w 3565209"/>
                  <a:gd name="connsiteY1612" fmla="*/ 3576172 h 3993936"/>
                  <a:gd name="connsiteX1613" fmla="*/ 1445114 w 3565209"/>
                  <a:gd name="connsiteY1613" fmla="*/ 3528335 h 3993936"/>
                  <a:gd name="connsiteX1614" fmla="*/ 1444212 w 3565209"/>
                  <a:gd name="connsiteY1614" fmla="*/ 3506673 h 3993936"/>
                  <a:gd name="connsiteX1615" fmla="*/ 1444438 w 3565209"/>
                  <a:gd name="connsiteY1615" fmla="*/ 3506222 h 3993936"/>
                  <a:gd name="connsiteX1616" fmla="*/ 1440827 w 3565209"/>
                  <a:gd name="connsiteY1616" fmla="*/ 3482303 h 3993936"/>
                  <a:gd name="connsiteX1617" fmla="*/ 1436314 w 3565209"/>
                  <a:gd name="connsiteY1617" fmla="*/ 3457933 h 3993936"/>
                  <a:gd name="connsiteX1618" fmla="*/ 1447822 w 3565209"/>
                  <a:gd name="connsiteY1618" fmla="*/ 3436271 h 3993936"/>
                  <a:gd name="connsiteX1619" fmla="*/ 1457976 w 3565209"/>
                  <a:gd name="connsiteY1619" fmla="*/ 3427697 h 3993936"/>
                  <a:gd name="connsiteX1620" fmla="*/ 1487762 w 3565209"/>
                  <a:gd name="connsiteY1620" fmla="*/ 3386178 h 3993936"/>
                  <a:gd name="connsiteX1621" fmla="*/ 1501977 w 3565209"/>
                  <a:gd name="connsiteY1621" fmla="*/ 3350075 h 3993936"/>
                  <a:gd name="connsiteX1622" fmla="*/ 1504234 w 3565209"/>
                  <a:gd name="connsiteY1622" fmla="*/ 3332700 h 3993936"/>
                  <a:gd name="connsiteX1623" fmla="*/ 1503106 w 3565209"/>
                  <a:gd name="connsiteY1623" fmla="*/ 3319612 h 3993936"/>
                  <a:gd name="connsiteX1624" fmla="*/ 1511680 w 3565209"/>
                  <a:gd name="connsiteY1624" fmla="*/ 3297048 h 3993936"/>
                  <a:gd name="connsiteX1625" fmla="*/ 1519352 w 3565209"/>
                  <a:gd name="connsiteY1625" fmla="*/ 3283283 h 3993936"/>
                  <a:gd name="connsiteX1626" fmla="*/ 1513936 w 3565209"/>
                  <a:gd name="connsiteY1626" fmla="*/ 3247180 h 3993936"/>
                  <a:gd name="connsiteX1627" fmla="*/ 1507167 w 3565209"/>
                  <a:gd name="connsiteY1627" fmla="*/ 3203179 h 3993936"/>
                  <a:gd name="connsiteX1628" fmla="*/ 1497690 w 3565209"/>
                  <a:gd name="connsiteY1628" fmla="*/ 3167076 h 3993936"/>
                  <a:gd name="connsiteX1629" fmla="*/ 1492951 w 3565209"/>
                  <a:gd name="connsiteY1629" fmla="*/ 3147896 h 3993936"/>
                  <a:gd name="connsiteX1630" fmla="*/ 1491372 w 3565209"/>
                  <a:gd name="connsiteY1630" fmla="*/ 3129167 h 3993936"/>
                  <a:gd name="connsiteX1631" fmla="*/ 1495208 w 3565209"/>
                  <a:gd name="connsiteY1631" fmla="*/ 3102992 h 3993936"/>
                  <a:gd name="connsiteX1632" fmla="*/ 1498367 w 3565209"/>
                  <a:gd name="connsiteY1632" fmla="*/ 3086971 h 3993936"/>
                  <a:gd name="connsiteX1633" fmla="*/ 1492049 w 3565209"/>
                  <a:gd name="connsiteY1633" fmla="*/ 3067566 h 3993936"/>
                  <a:gd name="connsiteX1634" fmla="*/ 1483474 w 3565209"/>
                  <a:gd name="connsiteY1634" fmla="*/ 3043196 h 3993936"/>
                  <a:gd name="connsiteX1635" fmla="*/ 1481669 w 3565209"/>
                  <a:gd name="connsiteY1635" fmla="*/ 3000323 h 3993936"/>
                  <a:gd name="connsiteX1636" fmla="*/ 1482120 w 3565209"/>
                  <a:gd name="connsiteY1636" fmla="*/ 2991297 h 3993936"/>
                  <a:gd name="connsiteX1637" fmla="*/ 1491372 w 3565209"/>
                  <a:gd name="connsiteY1637" fmla="*/ 2976630 h 3993936"/>
                  <a:gd name="connsiteX1638" fmla="*/ 1502654 w 3565209"/>
                  <a:gd name="connsiteY1638" fmla="*/ 2966927 h 3993936"/>
                  <a:gd name="connsiteX1639" fmla="*/ 1512583 w 3565209"/>
                  <a:gd name="connsiteY1639" fmla="*/ 2947296 h 3993936"/>
                  <a:gd name="connsiteX1640" fmla="*/ 1516193 w 3565209"/>
                  <a:gd name="connsiteY1640" fmla="*/ 2934209 h 3993936"/>
                  <a:gd name="connsiteX1641" fmla="*/ 1568092 w 3565209"/>
                  <a:gd name="connsiteY1641" fmla="*/ 2904875 h 3993936"/>
                  <a:gd name="connsiteX1642" fmla="*/ 1583887 w 3565209"/>
                  <a:gd name="connsiteY1642" fmla="*/ 2915254 h 3993936"/>
                  <a:gd name="connsiteX1643" fmla="*/ 1585466 w 3565209"/>
                  <a:gd name="connsiteY1643" fmla="*/ 2917511 h 3993936"/>
                  <a:gd name="connsiteX1644" fmla="*/ 1586595 w 3565209"/>
                  <a:gd name="connsiteY1644" fmla="*/ 2917737 h 3993936"/>
                  <a:gd name="connsiteX1645" fmla="*/ 1606677 w 3565209"/>
                  <a:gd name="connsiteY1645" fmla="*/ 2916383 h 3993936"/>
                  <a:gd name="connsiteX1646" fmla="*/ 1613221 w 3565209"/>
                  <a:gd name="connsiteY1646" fmla="*/ 2898782 h 3993936"/>
                  <a:gd name="connsiteX1647" fmla="*/ 1620667 w 3565209"/>
                  <a:gd name="connsiteY1647" fmla="*/ 2885018 h 3993936"/>
                  <a:gd name="connsiteX1648" fmla="*/ 1633755 w 3565209"/>
                  <a:gd name="connsiteY1648" fmla="*/ 2871253 h 3993936"/>
                  <a:gd name="connsiteX1649" fmla="*/ 1644134 w 3565209"/>
                  <a:gd name="connsiteY1649" fmla="*/ 2855684 h 3993936"/>
                  <a:gd name="connsiteX1650" fmla="*/ 1646616 w 3565209"/>
                  <a:gd name="connsiteY1650" fmla="*/ 2848238 h 3993936"/>
                  <a:gd name="connsiteX1651" fmla="*/ 1666022 w 3565209"/>
                  <a:gd name="connsiteY1651" fmla="*/ 2837406 h 3993936"/>
                  <a:gd name="connsiteX1652" fmla="*/ 1671663 w 3565209"/>
                  <a:gd name="connsiteY1652" fmla="*/ 2836504 h 3993936"/>
                  <a:gd name="connsiteX1653" fmla="*/ 1685202 w 3565209"/>
                  <a:gd name="connsiteY1653" fmla="*/ 2835827 h 3993936"/>
                  <a:gd name="connsiteX1654" fmla="*/ 1717244 w 3565209"/>
                  <a:gd name="connsiteY1654" fmla="*/ 2829960 h 3993936"/>
                  <a:gd name="connsiteX1655" fmla="*/ 1739131 w 3565209"/>
                  <a:gd name="connsiteY1655" fmla="*/ 2821160 h 3993936"/>
                  <a:gd name="connsiteX1656" fmla="*/ 1762373 w 3565209"/>
                  <a:gd name="connsiteY1656" fmla="*/ 2811683 h 3993936"/>
                  <a:gd name="connsiteX1657" fmla="*/ 1778394 w 3565209"/>
                  <a:gd name="connsiteY1657" fmla="*/ 2793180 h 3993936"/>
                  <a:gd name="connsiteX1658" fmla="*/ 1770045 w 3565209"/>
                  <a:gd name="connsiteY1658" fmla="*/ 2796339 h 3993936"/>
                  <a:gd name="connsiteX1659" fmla="*/ 1761245 w 3565209"/>
                  <a:gd name="connsiteY1659" fmla="*/ 2794534 h 3993936"/>
                  <a:gd name="connsiteX1660" fmla="*/ 1759440 w 3565209"/>
                  <a:gd name="connsiteY1660" fmla="*/ 2785959 h 3993936"/>
                  <a:gd name="connsiteX1661" fmla="*/ 1773430 w 3565209"/>
                  <a:gd name="connsiteY1661" fmla="*/ 2783703 h 3993936"/>
                  <a:gd name="connsiteX1662" fmla="*/ 1775686 w 3565209"/>
                  <a:gd name="connsiteY1662" fmla="*/ 2784154 h 3993936"/>
                  <a:gd name="connsiteX1663" fmla="*/ 1785614 w 3565209"/>
                  <a:gd name="connsiteY1663" fmla="*/ 2776256 h 3993936"/>
                  <a:gd name="connsiteX1664" fmla="*/ 1788097 w 3565209"/>
                  <a:gd name="connsiteY1664" fmla="*/ 2761815 h 3993936"/>
                  <a:gd name="connsiteX1665" fmla="*/ 1779296 w 3565209"/>
                  <a:gd name="connsiteY1665" fmla="*/ 2768359 h 3993936"/>
                  <a:gd name="connsiteX1666" fmla="*/ 1773204 w 3565209"/>
                  <a:gd name="connsiteY1666" fmla="*/ 2760461 h 3993936"/>
                  <a:gd name="connsiteX1667" fmla="*/ 1782455 w 3565209"/>
                  <a:gd name="connsiteY1667" fmla="*/ 2733384 h 3993936"/>
                  <a:gd name="connsiteX1668" fmla="*/ 1807954 w 3565209"/>
                  <a:gd name="connsiteY1668" fmla="*/ 2714429 h 3993936"/>
                  <a:gd name="connsiteX1669" fmla="*/ 1818108 w 3565209"/>
                  <a:gd name="connsiteY1669" fmla="*/ 2707660 h 3993936"/>
                  <a:gd name="connsiteX1670" fmla="*/ 1829164 w 3565209"/>
                  <a:gd name="connsiteY1670" fmla="*/ 2702019 h 3993936"/>
                  <a:gd name="connsiteX1671" fmla="*/ 1850375 w 3565209"/>
                  <a:gd name="connsiteY1671" fmla="*/ 2689834 h 3993936"/>
                  <a:gd name="connsiteX1672" fmla="*/ 1888509 w 3565209"/>
                  <a:gd name="connsiteY1672" fmla="*/ 2663433 h 3993936"/>
                  <a:gd name="connsiteX1673" fmla="*/ 1894150 w 3565209"/>
                  <a:gd name="connsiteY1673" fmla="*/ 2660274 h 3993936"/>
                  <a:gd name="connsiteX1674" fmla="*/ 1907915 w 3565209"/>
                  <a:gd name="connsiteY1674" fmla="*/ 2642674 h 3993936"/>
                  <a:gd name="connsiteX1675" fmla="*/ 1912202 w 3565209"/>
                  <a:gd name="connsiteY1675" fmla="*/ 2634776 h 3993936"/>
                  <a:gd name="connsiteX1676" fmla="*/ 1928223 w 3565209"/>
                  <a:gd name="connsiteY1676" fmla="*/ 2617627 h 3993936"/>
                  <a:gd name="connsiteX1677" fmla="*/ 1941536 w 3565209"/>
                  <a:gd name="connsiteY1677" fmla="*/ 2605442 h 3993936"/>
                  <a:gd name="connsiteX1678" fmla="*/ 2002460 w 3565209"/>
                  <a:gd name="connsiteY1678" fmla="*/ 2571144 h 3993936"/>
                  <a:gd name="connsiteX1679" fmla="*/ 2017127 w 3565209"/>
                  <a:gd name="connsiteY1679" fmla="*/ 2555349 h 3993936"/>
                  <a:gd name="connsiteX1680" fmla="*/ 2020286 w 3565209"/>
                  <a:gd name="connsiteY1680" fmla="*/ 2545872 h 3993936"/>
                  <a:gd name="connsiteX1681" fmla="*/ 2040369 w 3565209"/>
                  <a:gd name="connsiteY1681" fmla="*/ 2519697 h 3993936"/>
                  <a:gd name="connsiteX1682" fmla="*/ 2055262 w 3565209"/>
                  <a:gd name="connsiteY1682" fmla="*/ 2502322 h 3993936"/>
                  <a:gd name="connsiteX1683" fmla="*/ 2070831 w 3565209"/>
                  <a:gd name="connsiteY1683" fmla="*/ 2483142 h 3993936"/>
                  <a:gd name="connsiteX1684" fmla="*/ 2090688 w 3565209"/>
                  <a:gd name="connsiteY1684" fmla="*/ 2455839 h 3993936"/>
                  <a:gd name="connsiteX1685" fmla="*/ 2096780 w 3565209"/>
                  <a:gd name="connsiteY1685" fmla="*/ 2443203 h 3993936"/>
                  <a:gd name="connsiteX1686" fmla="*/ 2102873 w 3565209"/>
                  <a:gd name="connsiteY1686" fmla="*/ 2437561 h 3993936"/>
                  <a:gd name="connsiteX1687" fmla="*/ 2110996 w 3565209"/>
                  <a:gd name="connsiteY1687" fmla="*/ 2429664 h 3993936"/>
                  <a:gd name="connsiteX1688" fmla="*/ 2128371 w 3565209"/>
                  <a:gd name="connsiteY1688" fmla="*/ 2410484 h 3993936"/>
                  <a:gd name="connsiteX1689" fmla="*/ 2138300 w 3565209"/>
                  <a:gd name="connsiteY1689" fmla="*/ 2401684 h 3993936"/>
                  <a:gd name="connsiteX1690" fmla="*/ 2147551 w 3565209"/>
                  <a:gd name="connsiteY1690" fmla="*/ 2392432 h 3993936"/>
                  <a:gd name="connsiteX1691" fmla="*/ 2173500 w 3565209"/>
                  <a:gd name="connsiteY1691" fmla="*/ 2376411 h 3993936"/>
                  <a:gd name="connsiteX1692" fmla="*/ 2196065 w 3565209"/>
                  <a:gd name="connsiteY1692" fmla="*/ 2365355 h 3993936"/>
                  <a:gd name="connsiteX1693" fmla="*/ 2224722 w 3565209"/>
                  <a:gd name="connsiteY1693" fmla="*/ 2352719 h 3993936"/>
                  <a:gd name="connsiteX1694" fmla="*/ 2244804 w 3565209"/>
                  <a:gd name="connsiteY1694" fmla="*/ 2346175 h 3993936"/>
                  <a:gd name="connsiteX1695" fmla="*/ 2284292 w 3565209"/>
                  <a:gd name="connsiteY1695" fmla="*/ 2330605 h 3993936"/>
                  <a:gd name="connsiteX1696" fmla="*/ 2292867 w 3565209"/>
                  <a:gd name="connsiteY1696" fmla="*/ 2327221 h 3993936"/>
                  <a:gd name="connsiteX1697" fmla="*/ 2299185 w 3565209"/>
                  <a:gd name="connsiteY1697" fmla="*/ 2318646 h 3993936"/>
                  <a:gd name="connsiteX1698" fmla="*/ 2301216 w 3565209"/>
                  <a:gd name="connsiteY1698" fmla="*/ 2315487 h 3993936"/>
                  <a:gd name="connsiteX1699" fmla="*/ 2303924 w 3565209"/>
                  <a:gd name="connsiteY1699" fmla="*/ 2310523 h 3993936"/>
                  <a:gd name="connsiteX1700" fmla="*/ 2316560 w 3565209"/>
                  <a:gd name="connsiteY1700" fmla="*/ 2292697 h 3993936"/>
                  <a:gd name="connsiteX1701" fmla="*/ 2325134 w 3565209"/>
                  <a:gd name="connsiteY1701" fmla="*/ 2287281 h 3993936"/>
                  <a:gd name="connsiteX1702" fmla="*/ 2343186 w 3565209"/>
                  <a:gd name="connsiteY1702" fmla="*/ 2275322 h 3993936"/>
                  <a:gd name="connsiteX1703" fmla="*/ 2341832 w 3565209"/>
                  <a:gd name="connsiteY1703" fmla="*/ 2264040 h 3993936"/>
                  <a:gd name="connsiteX1704" fmla="*/ 2341381 w 3565209"/>
                  <a:gd name="connsiteY1704" fmla="*/ 2252081 h 3993936"/>
                  <a:gd name="connsiteX1705" fmla="*/ 2341607 w 3565209"/>
                  <a:gd name="connsiteY1705" fmla="*/ 2251629 h 3993936"/>
                  <a:gd name="connsiteX1706" fmla="*/ 2353566 w 3565209"/>
                  <a:gd name="connsiteY1706" fmla="*/ 2236962 h 3993936"/>
                  <a:gd name="connsiteX1707" fmla="*/ 2363494 w 3565209"/>
                  <a:gd name="connsiteY1707" fmla="*/ 2229290 h 3993936"/>
                  <a:gd name="connsiteX1708" fmla="*/ 2370264 w 3565209"/>
                  <a:gd name="connsiteY1708" fmla="*/ 2223875 h 3993936"/>
                  <a:gd name="connsiteX1709" fmla="*/ 2369361 w 3565209"/>
                  <a:gd name="connsiteY1709" fmla="*/ 2216203 h 3993936"/>
                  <a:gd name="connsiteX1710" fmla="*/ 2365525 w 3565209"/>
                  <a:gd name="connsiteY1710" fmla="*/ 2215977 h 3993936"/>
                  <a:gd name="connsiteX1711" fmla="*/ 2358756 w 3565209"/>
                  <a:gd name="connsiteY1711" fmla="*/ 2216203 h 3993936"/>
                  <a:gd name="connsiteX1712" fmla="*/ 2354920 w 3565209"/>
                  <a:gd name="connsiteY1712" fmla="*/ 2213946 h 3993936"/>
                  <a:gd name="connsiteX1713" fmla="*/ 2359433 w 3565209"/>
                  <a:gd name="connsiteY1713" fmla="*/ 2210110 h 3993936"/>
                  <a:gd name="connsiteX1714" fmla="*/ 2363946 w 3565209"/>
                  <a:gd name="connsiteY1714" fmla="*/ 2208079 h 3993936"/>
                  <a:gd name="connsiteX1715" fmla="*/ 2367782 w 3565209"/>
                  <a:gd name="connsiteY1715" fmla="*/ 2202664 h 3993936"/>
                  <a:gd name="connsiteX1716" fmla="*/ 2365074 w 3565209"/>
                  <a:gd name="connsiteY1716" fmla="*/ 2197925 h 3993936"/>
                  <a:gd name="connsiteX1717" fmla="*/ 2355822 w 3565209"/>
                  <a:gd name="connsiteY1717" fmla="*/ 2185515 h 3993936"/>
                  <a:gd name="connsiteX1718" fmla="*/ 2355145 w 3565209"/>
                  <a:gd name="connsiteY1718" fmla="*/ 2184387 h 3993936"/>
                  <a:gd name="connsiteX1719" fmla="*/ 2349504 w 3565209"/>
                  <a:gd name="connsiteY1719" fmla="*/ 2143770 h 3993936"/>
                  <a:gd name="connsiteX1720" fmla="*/ 2389218 w 3565209"/>
                  <a:gd name="connsiteY1720" fmla="*/ 2104959 h 3993936"/>
                  <a:gd name="connsiteX1721" fmla="*/ 2397793 w 3565209"/>
                  <a:gd name="connsiteY1721" fmla="*/ 2104959 h 3993936"/>
                  <a:gd name="connsiteX1722" fmla="*/ 2410203 w 3565209"/>
                  <a:gd name="connsiteY1722" fmla="*/ 2103831 h 3993936"/>
                  <a:gd name="connsiteX1723" fmla="*/ 2423967 w 3565209"/>
                  <a:gd name="connsiteY1723" fmla="*/ 2095256 h 3993936"/>
                  <a:gd name="connsiteX1724" fmla="*/ 2424419 w 3565209"/>
                  <a:gd name="connsiteY1724" fmla="*/ 2094805 h 3993936"/>
                  <a:gd name="connsiteX1725" fmla="*/ 2425096 w 3565209"/>
                  <a:gd name="connsiteY1725" fmla="*/ 2094805 h 3993936"/>
                  <a:gd name="connsiteX1726" fmla="*/ 2449691 w 3565209"/>
                  <a:gd name="connsiteY1726" fmla="*/ 2089841 h 3993936"/>
                  <a:gd name="connsiteX1727" fmla="*/ 2455784 w 3565209"/>
                  <a:gd name="connsiteY1727" fmla="*/ 2087584 h 3993936"/>
                  <a:gd name="connsiteX1728" fmla="*/ 2466163 w 3565209"/>
                  <a:gd name="connsiteY1728" fmla="*/ 2081492 h 3993936"/>
                  <a:gd name="connsiteX1729" fmla="*/ 2469322 w 3565209"/>
                  <a:gd name="connsiteY1729" fmla="*/ 2077205 h 3993936"/>
                  <a:gd name="connsiteX1730" fmla="*/ 2473610 w 3565209"/>
                  <a:gd name="connsiteY1730" fmla="*/ 2072015 h 3993936"/>
                  <a:gd name="connsiteX1731" fmla="*/ 2492113 w 3565209"/>
                  <a:gd name="connsiteY1731" fmla="*/ 2044486 h 3993936"/>
                  <a:gd name="connsiteX1732" fmla="*/ 2500687 w 3565209"/>
                  <a:gd name="connsiteY1732" fmla="*/ 2034332 h 3993936"/>
                  <a:gd name="connsiteX1733" fmla="*/ 2507005 w 3565209"/>
                  <a:gd name="connsiteY1733" fmla="*/ 2028691 h 3993936"/>
                  <a:gd name="connsiteX1734" fmla="*/ 2506554 w 3565209"/>
                  <a:gd name="connsiteY1734" fmla="*/ 2022147 h 3993936"/>
                  <a:gd name="connsiteX1735" fmla="*/ 2502944 w 3565209"/>
                  <a:gd name="connsiteY1735" fmla="*/ 2016280 h 3993936"/>
                  <a:gd name="connsiteX1736" fmla="*/ 2503846 w 3565209"/>
                  <a:gd name="connsiteY1736" fmla="*/ 2010865 h 3993936"/>
                  <a:gd name="connsiteX1737" fmla="*/ 2514000 w 3565209"/>
                  <a:gd name="connsiteY1737" fmla="*/ 2014926 h 3993936"/>
                  <a:gd name="connsiteX1738" fmla="*/ 2516257 w 3565209"/>
                  <a:gd name="connsiteY1738" fmla="*/ 2016506 h 3993936"/>
                  <a:gd name="connsiteX1739" fmla="*/ 2521221 w 3565209"/>
                  <a:gd name="connsiteY1739" fmla="*/ 2020793 h 3993936"/>
                  <a:gd name="connsiteX1740" fmla="*/ 2520995 w 3565209"/>
                  <a:gd name="connsiteY1740" fmla="*/ 2027111 h 3993936"/>
                  <a:gd name="connsiteX1741" fmla="*/ 2519641 w 3565209"/>
                  <a:gd name="connsiteY1741" fmla="*/ 2030045 h 3993936"/>
                  <a:gd name="connsiteX1742" fmla="*/ 2519416 w 3565209"/>
                  <a:gd name="connsiteY1742" fmla="*/ 2030947 h 3993936"/>
                  <a:gd name="connsiteX1743" fmla="*/ 2513323 w 3565209"/>
                  <a:gd name="connsiteY1743" fmla="*/ 2043583 h 3993936"/>
                  <a:gd name="connsiteX1744" fmla="*/ 2514000 w 3565209"/>
                  <a:gd name="connsiteY1744" fmla="*/ 2050353 h 3993936"/>
                  <a:gd name="connsiteX1745" fmla="*/ 2514903 w 3565209"/>
                  <a:gd name="connsiteY1745" fmla="*/ 2056897 h 3993936"/>
                  <a:gd name="connsiteX1746" fmla="*/ 2514903 w 3565209"/>
                  <a:gd name="connsiteY1746" fmla="*/ 2058025 h 3993936"/>
                  <a:gd name="connsiteX1747" fmla="*/ 2518739 w 3565209"/>
                  <a:gd name="connsiteY1747" fmla="*/ 2062086 h 3993936"/>
                  <a:gd name="connsiteX1748" fmla="*/ 2529570 w 3565209"/>
                  <a:gd name="connsiteY1748" fmla="*/ 2065697 h 3993936"/>
                  <a:gd name="connsiteX1749" fmla="*/ 2536565 w 3565209"/>
                  <a:gd name="connsiteY1749" fmla="*/ 2065922 h 3993936"/>
                  <a:gd name="connsiteX1750" fmla="*/ 2539724 w 3565209"/>
                  <a:gd name="connsiteY1750" fmla="*/ 2063666 h 3993936"/>
                  <a:gd name="connsiteX1751" fmla="*/ 2544688 w 3565209"/>
                  <a:gd name="connsiteY1751" fmla="*/ 2059604 h 3993936"/>
                  <a:gd name="connsiteX1752" fmla="*/ 2546493 w 3565209"/>
                  <a:gd name="connsiteY1752" fmla="*/ 2057122 h 3993936"/>
                  <a:gd name="connsiteX1753" fmla="*/ 2551232 w 3565209"/>
                  <a:gd name="connsiteY1753" fmla="*/ 2053060 h 3993936"/>
                  <a:gd name="connsiteX1754" fmla="*/ 2552360 w 3565209"/>
                  <a:gd name="connsiteY1754" fmla="*/ 2051481 h 3993936"/>
                  <a:gd name="connsiteX1755" fmla="*/ 2555519 w 3565209"/>
                  <a:gd name="connsiteY1755" fmla="*/ 2045614 h 3993936"/>
                  <a:gd name="connsiteX1756" fmla="*/ 2558453 w 3565209"/>
                  <a:gd name="connsiteY1756" fmla="*/ 2042906 h 3993936"/>
                  <a:gd name="connsiteX1757" fmla="*/ 2561612 w 3565209"/>
                  <a:gd name="connsiteY1757" fmla="*/ 2032978 h 3993936"/>
                  <a:gd name="connsiteX1758" fmla="*/ 2561837 w 3565209"/>
                  <a:gd name="connsiteY1758" fmla="*/ 2030947 h 3993936"/>
                  <a:gd name="connsiteX1759" fmla="*/ 2563417 w 3565209"/>
                  <a:gd name="connsiteY1759" fmla="*/ 2025983 h 3993936"/>
                  <a:gd name="connsiteX1760" fmla="*/ 2566125 w 3565209"/>
                  <a:gd name="connsiteY1760" fmla="*/ 2025532 h 3993936"/>
                  <a:gd name="connsiteX1761" fmla="*/ 2572443 w 3565209"/>
                  <a:gd name="connsiteY1761" fmla="*/ 2023727 h 3993936"/>
                  <a:gd name="connsiteX1762" fmla="*/ 2576504 w 3565209"/>
                  <a:gd name="connsiteY1762" fmla="*/ 2024629 h 3993936"/>
                  <a:gd name="connsiteX1763" fmla="*/ 2583048 w 3565209"/>
                  <a:gd name="connsiteY1763" fmla="*/ 2030270 h 3993936"/>
                  <a:gd name="connsiteX1764" fmla="*/ 2585756 w 3565209"/>
                  <a:gd name="connsiteY1764" fmla="*/ 2039071 h 3993936"/>
                  <a:gd name="connsiteX1765" fmla="*/ 2595233 w 3565209"/>
                  <a:gd name="connsiteY1765" fmla="*/ 2040424 h 3993936"/>
                  <a:gd name="connsiteX1766" fmla="*/ 2599520 w 3565209"/>
                  <a:gd name="connsiteY1766" fmla="*/ 2040424 h 3993936"/>
                  <a:gd name="connsiteX1767" fmla="*/ 2607643 w 3565209"/>
                  <a:gd name="connsiteY1767" fmla="*/ 2042230 h 3993936"/>
                  <a:gd name="connsiteX1768" fmla="*/ 2613736 w 3565209"/>
                  <a:gd name="connsiteY1768" fmla="*/ 2042681 h 3993936"/>
                  <a:gd name="connsiteX1769" fmla="*/ 2617120 w 3565209"/>
                  <a:gd name="connsiteY1769" fmla="*/ 2038168 h 3993936"/>
                  <a:gd name="connsiteX1770" fmla="*/ 2618700 w 3565209"/>
                  <a:gd name="connsiteY1770" fmla="*/ 2032301 h 3993936"/>
                  <a:gd name="connsiteX1771" fmla="*/ 2619151 w 3565209"/>
                  <a:gd name="connsiteY1771" fmla="*/ 2027111 h 3993936"/>
                  <a:gd name="connsiteX1772" fmla="*/ 2618249 w 3565209"/>
                  <a:gd name="connsiteY1772" fmla="*/ 2025306 h 3993936"/>
                  <a:gd name="connsiteX1773" fmla="*/ 2617346 w 3565209"/>
                  <a:gd name="connsiteY1773" fmla="*/ 2016280 h 3993936"/>
                  <a:gd name="connsiteX1774" fmla="*/ 2617572 w 3565209"/>
                  <a:gd name="connsiteY1774" fmla="*/ 2011542 h 3993936"/>
                  <a:gd name="connsiteX1775" fmla="*/ 2609674 w 3565209"/>
                  <a:gd name="connsiteY1775" fmla="*/ 1999808 h 3993936"/>
                  <a:gd name="connsiteX1776" fmla="*/ 2605387 w 3565209"/>
                  <a:gd name="connsiteY1776" fmla="*/ 1991233 h 3993936"/>
                  <a:gd name="connsiteX1777" fmla="*/ 2605613 w 3565209"/>
                  <a:gd name="connsiteY1777" fmla="*/ 1990105 h 3993936"/>
                  <a:gd name="connsiteX1778" fmla="*/ 2604259 w 3565209"/>
                  <a:gd name="connsiteY1778" fmla="*/ 1973182 h 3993936"/>
                  <a:gd name="connsiteX1779" fmla="*/ 2603807 w 3565209"/>
                  <a:gd name="connsiteY1779" fmla="*/ 1959869 h 3993936"/>
                  <a:gd name="connsiteX1780" fmla="*/ 2599069 w 3565209"/>
                  <a:gd name="connsiteY1780" fmla="*/ 1940689 h 3993936"/>
                  <a:gd name="connsiteX1781" fmla="*/ 2595684 w 3565209"/>
                  <a:gd name="connsiteY1781" fmla="*/ 1881795 h 3993936"/>
                  <a:gd name="connsiteX1782" fmla="*/ 2596136 w 3565209"/>
                  <a:gd name="connsiteY1782" fmla="*/ 1880893 h 3993936"/>
                  <a:gd name="connsiteX1783" fmla="*/ 2597489 w 3565209"/>
                  <a:gd name="connsiteY1783" fmla="*/ 1872092 h 3993936"/>
                  <a:gd name="connsiteX1784" fmla="*/ 2585756 w 3565209"/>
                  <a:gd name="connsiteY1784" fmla="*/ 1869159 h 3993936"/>
                  <a:gd name="connsiteX1785" fmla="*/ 2569961 w 3565209"/>
                  <a:gd name="connsiteY1785" fmla="*/ 1865549 h 3993936"/>
                  <a:gd name="connsiteX1786" fmla="*/ 2569735 w 3565209"/>
                  <a:gd name="connsiteY1786" fmla="*/ 1850882 h 3993936"/>
                  <a:gd name="connsiteX1787" fmla="*/ 2558001 w 3565209"/>
                  <a:gd name="connsiteY1787" fmla="*/ 1824707 h 3993936"/>
                  <a:gd name="connsiteX1788" fmla="*/ 2542657 w 3565209"/>
                  <a:gd name="connsiteY1788" fmla="*/ 1792439 h 3993936"/>
                  <a:gd name="connsiteX1789" fmla="*/ 2553263 w 3565209"/>
                  <a:gd name="connsiteY1789" fmla="*/ 1779803 h 3993936"/>
                  <a:gd name="connsiteX1790" fmla="*/ 2563642 w 3565209"/>
                  <a:gd name="connsiteY1790" fmla="*/ 1768069 h 3993936"/>
                  <a:gd name="connsiteX1791" fmla="*/ 2559581 w 3565209"/>
                  <a:gd name="connsiteY1791" fmla="*/ 1754756 h 3993936"/>
                  <a:gd name="connsiteX1792" fmla="*/ 2557776 w 3565209"/>
                  <a:gd name="connsiteY1792" fmla="*/ 1750695 h 3993936"/>
                  <a:gd name="connsiteX1793" fmla="*/ 2559581 w 3565209"/>
                  <a:gd name="connsiteY1793" fmla="*/ 1730612 h 3993936"/>
                  <a:gd name="connsiteX1794" fmla="*/ 2559355 w 3565209"/>
                  <a:gd name="connsiteY1794" fmla="*/ 1727228 h 3993936"/>
                  <a:gd name="connsiteX1795" fmla="*/ 2553263 w 3565209"/>
                  <a:gd name="connsiteY1795" fmla="*/ 1721586 h 3993936"/>
                  <a:gd name="connsiteX1796" fmla="*/ 2534083 w 3565209"/>
                  <a:gd name="connsiteY1796" fmla="*/ 1721361 h 3993936"/>
                  <a:gd name="connsiteX1797" fmla="*/ 2504974 w 3565209"/>
                  <a:gd name="connsiteY1797" fmla="*/ 1714140 h 3993936"/>
                  <a:gd name="connsiteX1798" fmla="*/ 2503846 w 3565209"/>
                  <a:gd name="connsiteY1798" fmla="*/ 1713463 h 3993936"/>
                  <a:gd name="connsiteX1799" fmla="*/ 2490533 w 3565209"/>
                  <a:gd name="connsiteY1799" fmla="*/ 1701278 h 3993936"/>
                  <a:gd name="connsiteX1800" fmla="*/ 2485569 w 3565209"/>
                  <a:gd name="connsiteY1800" fmla="*/ 1695411 h 3993936"/>
                  <a:gd name="connsiteX1801" fmla="*/ 2477897 w 3565209"/>
                  <a:gd name="connsiteY1801" fmla="*/ 1685032 h 3993936"/>
                  <a:gd name="connsiteX1802" fmla="*/ 2475189 w 3565209"/>
                  <a:gd name="connsiteY1802" fmla="*/ 1680067 h 3993936"/>
                  <a:gd name="connsiteX1803" fmla="*/ 2473384 w 3565209"/>
                  <a:gd name="connsiteY1803" fmla="*/ 1671042 h 3993936"/>
                  <a:gd name="connsiteX1804" fmla="*/ 2480605 w 3565209"/>
                  <a:gd name="connsiteY1804" fmla="*/ 1658857 h 3993936"/>
                  <a:gd name="connsiteX1805" fmla="*/ 2483538 w 3565209"/>
                  <a:gd name="connsiteY1805" fmla="*/ 1655698 h 3993936"/>
                  <a:gd name="connsiteX1806" fmla="*/ 2487148 w 3565209"/>
                  <a:gd name="connsiteY1806" fmla="*/ 1649605 h 3993936"/>
                  <a:gd name="connsiteX1807" fmla="*/ 2486923 w 3565209"/>
                  <a:gd name="connsiteY1807" fmla="*/ 1647575 h 3993936"/>
                  <a:gd name="connsiteX1808" fmla="*/ 2494595 w 3565209"/>
                  <a:gd name="connsiteY1808" fmla="*/ 1639226 h 3993936"/>
                  <a:gd name="connsiteX1809" fmla="*/ 2500461 w 3565209"/>
                  <a:gd name="connsiteY1809" fmla="*/ 1639903 h 3993936"/>
                  <a:gd name="connsiteX1810" fmla="*/ 2502041 w 3565209"/>
                  <a:gd name="connsiteY1810" fmla="*/ 1643964 h 3993936"/>
                  <a:gd name="connsiteX1811" fmla="*/ 2503169 w 3565209"/>
                  <a:gd name="connsiteY1811" fmla="*/ 1646897 h 3993936"/>
                  <a:gd name="connsiteX1812" fmla="*/ 2503846 w 3565209"/>
                  <a:gd name="connsiteY1812" fmla="*/ 1647575 h 3993936"/>
                  <a:gd name="connsiteX1813" fmla="*/ 2504523 w 3565209"/>
                  <a:gd name="connsiteY1813" fmla="*/ 1645995 h 3993936"/>
                  <a:gd name="connsiteX1814" fmla="*/ 2507005 w 3565209"/>
                  <a:gd name="connsiteY1814" fmla="*/ 1641256 h 3993936"/>
                  <a:gd name="connsiteX1815" fmla="*/ 2513098 w 3565209"/>
                  <a:gd name="connsiteY1815" fmla="*/ 1634036 h 3993936"/>
                  <a:gd name="connsiteX1816" fmla="*/ 2515128 w 3565209"/>
                  <a:gd name="connsiteY1816" fmla="*/ 1631779 h 3993936"/>
                  <a:gd name="connsiteX1817" fmla="*/ 2517385 w 3565209"/>
                  <a:gd name="connsiteY1817" fmla="*/ 1628620 h 3993936"/>
                  <a:gd name="connsiteX1818" fmla="*/ 2520318 w 3565209"/>
                  <a:gd name="connsiteY1818" fmla="*/ 1624107 h 3993936"/>
                  <a:gd name="connsiteX1819" fmla="*/ 2519641 w 3565209"/>
                  <a:gd name="connsiteY1819" fmla="*/ 1618240 h 3993936"/>
                  <a:gd name="connsiteX1820" fmla="*/ 2518739 w 3565209"/>
                  <a:gd name="connsiteY1820" fmla="*/ 1611922 h 3993936"/>
                  <a:gd name="connsiteX1821" fmla="*/ 2523252 w 3565209"/>
                  <a:gd name="connsiteY1821" fmla="*/ 1604476 h 3993936"/>
                  <a:gd name="connsiteX1822" fmla="*/ 2524154 w 3565209"/>
                  <a:gd name="connsiteY1822" fmla="*/ 1603799 h 3993936"/>
                  <a:gd name="connsiteX1823" fmla="*/ 2530698 w 3565209"/>
                  <a:gd name="connsiteY1823" fmla="*/ 1603122 h 3993936"/>
                  <a:gd name="connsiteX1824" fmla="*/ 2537693 w 3565209"/>
                  <a:gd name="connsiteY1824" fmla="*/ 1603573 h 3993936"/>
                  <a:gd name="connsiteX1825" fmla="*/ 2542883 w 3565209"/>
                  <a:gd name="connsiteY1825" fmla="*/ 1601543 h 3993936"/>
                  <a:gd name="connsiteX1826" fmla="*/ 2546042 w 3565209"/>
                  <a:gd name="connsiteY1826" fmla="*/ 1599512 h 3993936"/>
                  <a:gd name="connsiteX1827" fmla="*/ 2553940 w 3565209"/>
                  <a:gd name="connsiteY1827" fmla="*/ 1601091 h 3993936"/>
                  <a:gd name="connsiteX1828" fmla="*/ 2556873 w 3565209"/>
                  <a:gd name="connsiteY1828" fmla="*/ 1603122 h 3993936"/>
                  <a:gd name="connsiteX1829" fmla="*/ 2563417 w 3565209"/>
                  <a:gd name="connsiteY1829" fmla="*/ 1603348 h 3993936"/>
                  <a:gd name="connsiteX1830" fmla="*/ 2568832 w 3565209"/>
                  <a:gd name="connsiteY1830" fmla="*/ 1601768 h 3993936"/>
                  <a:gd name="connsiteX1831" fmla="*/ 2577407 w 3565209"/>
                  <a:gd name="connsiteY1831" fmla="*/ 1598609 h 3993936"/>
                  <a:gd name="connsiteX1832" fmla="*/ 2578986 w 3565209"/>
                  <a:gd name="connsiteY1832" fmla="*/ 1593871 h 3993936"/>
                  <a:gd name="connsiteX1833" fmla="*/ 2580566 w 3565209"/>
                  <a:gd name="connsiteY1833" fmla="*/ 1590712 h 3993936"/>
                  <a:gd name="connsiteX1834" fmla="*/ 2576504 w 3565209"/>
                  <a:gd name="connsiteY1834" fmla="*/ 1584168 h 3993936"/>
                  <a:gd name="connsiteX1835" fmla="*/ 2561837 w 3565209"/>
                  <a:gd name="connsiteY1835" fmla="*/ 1576045 h 3993936"/>
                  <a:gd name="connsiteX1836" fmla="*/ 2560935 w 3565209"/>
                  <a:gd name="connsiteY1836" fmla="*/ 1567244 h 3993936"/>
                  <a:gd name="connsiteX1837" fmla="*/ 2561612 w 3565209"/>
                  <a:gd name="connsiteY1837" fmla="*/ 1560249 h 3993936"/>
                  <a:gd name="connsiteX1838" fmla="*/ 2560258 w 3565209"/>
                  <a:gd name="connsiteY1838" fmla="*/ 1557993 h 3993936"/>
                  <a:gd name="connsiteX1839" fmla="*/ 2558227 w 3565209"/>
                  <a:gd name="connsiteY1839" fmla="*/ 1559121 h 3993936"/>
                  <a:gd name="connsiteX1840" fmla="*/ 2554165 w 3565209"/>
                  <a:gd name="connsiteY1840" fmla="*/ 1561152 h 3993936"/>
                  <a:gd name="connsiteX1841" fmla="*/ 2542657 w 3565209"/>
                  <a:gd name="connsiteY1841" fmla="*/ 1562280 h 3993936"/>
                  <a:gd name="connsiteX1842" fmla="*/ 2534083 w 3565209"/>
                  <a:gd name="connsiteY1842" fmla="*/ 1562732 h 3993936"/>
                  <a:gd name="connsiteX1843" fmla="*/ 2520770 w 3565209"/>
                  <a:gd name="connsiteY1843" fmla="*/ 1553254 h 3993936"/>
                  <a:gd name="connsiteX1844" fmla="*/ 2517836 w 3565209"/>
                  <a:gd name="connsiteY1844" fmla="*/ 1546936 h 3993936"/>
                  <a:gd name="connsiteX1845" fmla="*/ 2516482 w 3565209"/>
                  <a:gd name="connsiteY1845" fmla="*/ 1543552 h 3993936"/>
                  <a:gd name="connsiteX1846" fmla="*/ 2507231 w 3565209"/>
                  <a:gd name="connsiteY1846" fmla="*/ 1536557 h 3993936"/>
                  <a:gd name="connsiteX1847" fmla="*/ 2498882 w 3565209"/>
                  <a:gd name="connsiteY1847" fmla="*/ 1530013 h 3993936"/>
                  <a:gd name="connsiteX1848" fmla="*/ 2496851 w 3565209"/>
                  <a:gd name="connsiteY1848" fmla="*/ 1525274 h 3993936"/>
                  <a:gd name="connsiteX1849" fmla="*/ 2485794 w 3565209"/>
                  <a:gd name="connsiteY1849" fmla="*/ 1524823 h 3993936"/>
                  <a:gd name="connsiteX1850" fmla="*/ 2482410 w 3565209"/>
                  <a:gd name="connsiteY1850" fmla="*/ 1526403 h 3993936"/>
                  <a:gd name="connsiteX1851" fmla="*/ 2473158 w 3565209"/>
                  <a:gd name="connsiteY1851" fmla="*/ 1527305 h 3993936"/>
                  <a:gd name="connsiteX1852" fmla="*/ 2471579 w 3565209"/>
                  <a:gd name="connsiteY1852" fmla="*/ 1520084 h 3993936"/>
                  <a:gd name="connsiteX1853" fmla="*/ 2471804 w 3565209"/>
                  <a:gd name="connsiteY1853" fmla="*/ 1517828 h 3993936"/>
                  <a:gd name="connsiteX1854" fmla="*/ 2473610 w 3565209"/>
                  <a:gd name="connsiteY1854" fmla="*/ 1502033 h 3993936"/>
                  <a:gd name="connsiteX1855" fmla="*/ 2473158 w 3565209"/>
                  <a:gd name="connsiteY1855" fmla="*/ 1494361 h 3993936"/>
                  <a:gd name="connsiteX1856" fmla="*/ 2472256 w 3565209"/>
                  <a:gd name="connsiteY1856" fmla="*/ 1488268 h 3993936"/>
                  <a:gd name="connsiteX1857" fmla="*/ 2478799 w 3565209"/>
                  <a:gd name="connsiteY1857" fmla="*/ 1478791 h 3993936"/>
                  <a:gd name="connsiteX1858" fmla="*/ 2485118 w 3565209"/>
                  <a:gd name="connsiteY1858" fmla="*/ 1471345 h 3993936"/>
                  <a:gd name="connsiteX1859" fmla="*/ 2491661 w 3565209"/>
                  <a:gd name="connsiteY1859" fmla="*/ 1465704 h 3993936"/>
                  <a:gd name="connsiteX1860" fmla="*/ 2496400 w 3565209"/>
                  <a:gd name="connsiteY1860" fmla="*/ 1461868 h 3993936"/>
                  <a:gd name="connsiteX1861" fmla="*/ 2498656 w 3565209"/>
                  <a:gd name="connsiteY1861" fmla="*/ 1454421 h 3993936"/>
                  <a:gd name="connsiteX1862" fmla="*/ 2499559 w 3565209"/>
                  <a:gd name="connsiteY1862" fmla="*/ 1449909 h 3993936"/>
                  <a:gd name="connsiteX1863" fmla="*/ 2510841 w 3565209"/>
                  <a:gd name="connsiteY1863" fmla="*/ 1446298 h 3993936"/>
                  <a:gd name="connsiteX1864" fmla="*/ 2516257 w 3565209"/>
                  <a:gd name="connsiteY1864" fmla="*/ 1445847 h 3993936"/>
                  <a:gd name="connsiteX1865" fmla="*/ 2514452 w 3565209"/>
                  <a:gd name="connsiteY1865" fmla="*/ 1443139 h 3993936"/>
                  <a:gd name="connsiteX1866" fmla="*/ 2511744 w 3565209"/>
                  <a:gd name="connsiteY1866" fmla="*/ 1438401 h 3993936"/>
                  <a:gd name="connsiteX1867" fmla="*/ 2504974 w 3565209"/>
                  <a:gd name="connsiteY1867" fmla="*/ 1433211 h 3993936"/>
                  <a:gd name="connsiteX1868" fmla="*/ 2499559 w 3565209"/>
                  <a:gd name="connsiteY1868" fmla="*/ 1426441 h 3993936"/>
                  <a:gd name="connsiteX1869" fmla="*/ 2499108 w 3565209"/>
                  <a:gd name="connsiteY1869" fmla="*/ 1425539 h 3993936"/>
                  <a:gd name="connsiteX1870" fmla="*/ 2499785 w 3565209"/>
                  <a:gd name="connsiteY1870" fmla="*/ 1424636 h 3993936"/>
                  <a:gd name="connsiteX1871" fmla="*/ 2507908 w 3565209"/>
                  <a:gd name="connsiteY1871" fmla="*/ 1418769 h 3993936"/>
                  <a:gd name="connsiteX1872" fmla="*/ 2513098 w 3565209"/>
                  <a:gd name="connsiteY1872" fmla="*/ 1421251 h 3993936"/>
                  <a:gd name="connsiteX1873" fmla="*/ 2516031 w 3565209"/>
                  <a:gd name="connsiteY1873" fmla="*/ 1423282 h 3993936"/>
                  <a:gd name="connsiteX1874" fmla="*/ 2523703 w 3565209"/>
                  <a:gd name="connsiteY1874" fmla="*/ 1428698 h 3993936"/>
                  <a:gd name="connsiteX1875" fmla="*/ 2527088 w 3565209"/>
                  <a:gd name="connsiteY1875" fmla="*/ 1431406 h 3993936"/>
                  <a:gd name="connsiteX1876" fmla="*/ 2532052 w 3565209"/>
                  <a:gd name="connsiteY1876" fmla="*/ 1434790 h 3993936"/>
                  <a:gd name="connsiteX1877" fmla="*/ 2537016 w 3565209"/>
                  <a:gd name="connsiteY1877" fmla="*/ 1438626 h 3993936"/>
                  <a:gd name="connsiteX1878" fmla="*/ 2538370 w 3565209"/>
                  <a:gd name="connsiteY1878" fmla="*/ 1455098 h 3993936"/>
                  <a:gd name="connsiteX1879" fmla="*/ 2538144 w 3565209"/>
                  <a:gd name="connsiteY1879" fmla="*/ 1456001 h 3993936"/>
                  <a:gd name="connsiteX1880" fmla="*/ 2542206 w 3565209"/>
                  <a:gd name="connsiteY1880" fmla="*/ 1456227 h 3993936"/>
                  <a:gd name="connsiteX1881" fmla="*/ 2544237 w 3565209"/>
                  <a:gd name="connsiteY1881" fmla="*/ 1455775 h 3993936"/>
                  <a:gd name="connsiteX1882" fmla="*/ 2544237 w 3565209"/>
                  <a:gd name="connsiteY1882" fmla="*/ 1457806 h 3993936"/>
                  <a:gd name="connsiteX1883" fmla="*/ 2546268 w 3565209"/>
                  <a:gd name="connsiteY1883" fmla="*/ 1467058 h 3993936"/>
                  <a:gd name="connsiteX1884" fmla="*/ 2546945 w 3565209"/>
                  <a:gd name="connsiteY1884" fmla="*/ 1467283 h 3993936"/>
                  <a:gd name="connsiteX1885" fmla="*/ 2547396 w 3565209"/>
                  <a:gd name="connsiteY1885" fmla="*/ 1467058 h 3993936"/>
                  <a:gd name="connsiteX1886" fmla="*/ 2550104 w 3565209"/>
                  <a:gd name="connsiteY1886" fmla="*/ 1466155 h 3993936"/>
                  <a:gd name="connsiteX1887" fmla="*/ 2551909 w 3565209"/>
                  <a:gd name="connsiteY1887" fmla="*/ 1461868 h 3993936"/>
                  <a:gd name="connsiteX1888" fmla="*/ 2553714 w 3565209"/>
                  <a:gd name="connsiteY1888" fmla="*/ 1456001 h 3993936"/>
                  <a:gd name="connsiteX1889" fmla="*/ 2561386 w 3565209"/>
                  <a:gd name="connsiteY1889" fmla="*/ 1448329 h 3993936"/>
                  <a:gd name="connsiteX1890" fmla="*/ 2565222 w 3565209"/>
                  <a:gd name="connsiteY1890" fmla="*/ 1445621 h 3993936"/>
                  <a:gd name="connsiteX1891" fmla="*/ 2567478 w 3565209"/>
                  <a:gd name="connsiteY1891" fmla="*/ 1435467 h 3993936"/>
                  <a:gd name="connsiteX1892" fmla="*/ 2567704 w 3565209"/>
                  <a:gd name="connsiteY1892" fmla="*/ 1431631 h 3993936"/>
                  <a:gd name="connsiteX1893" fmla="*/ 2570186 w 3565209"/>
                  <a:gd name="connsiteY1893" fmla="*/ 1427344 h 3993936"/>
                  <a:gd name="connsiteX1894" fmla="*/ 2583274 w 3565209"/>
                  <a:gd name="connsiteY1894" fmla="*/ 1427795 h 3993936"/>
                  <a:gd name="connsiteX1895" fmla="*/ 2588915 w 3565209"/>
                  <a:gd name="connsiteY1895" fmla="*/ 1440206 h 3993936"/>
                  <a:gd name="connsiteX1896" fmla="*/ 2589366 w 3565209"/>
                  <a:gd name="connsiteY1896" fmla="*/ 1444493 h 3993936"/>
                  <a:gd name="connsiteX1897" fmla="*/ 2592976 w 3565209"/>
                  <a:gd name="connsiteY1897" fmla="*/ 1451714 h 3993936"/>
                  <a:gd name="connsiteX1898" fmla="*/ 2595684 w 3565209"/>
                  <a:gd name="connsiteY1898" fmla="*/ 1457129 h 3993936"/>
                  <a:gd name="connsiteX1899" fmla="*/ 2597715 w 3565209"/>
                  <a:gd name="connsiteY1899" fmla="*/ 1459611 h 3993936"/>
                  <a:gd name="connsiteX1900" fmla="*/ 2603356 w 3565209"/>
                  <a:gd name="connsiteY1900" fmla="*/ 1464801 h 3993936"/>
                  <a:gd name="connsiteX1901" fmla="*/ 2606966 w 3565209"/>
                  <a:gd name="connsiteY1901" fmla="*/ 1470442 h 3993936"/>
                  <a:gd name="connsiteX1902" fmla="*/ 2613736 w 3565209"/>
                  <a:gd name="connsiteY1902" fmla="*/ 1478340 h 3993936"/>
                  <a:gd name="connsiteX1903" fmla="*/ 2632690 w 3565209"/>
                  <a:gd name="connsiteY1903" fmla="*/ 1481273 h 3993936"/>
                  <a:gd name="connsiteX1904" fmla="*/ 2634270 w 3565209"/>
                  <a:gd name="connsiteY1904" fmla="*/ 1481273 h 3993936"/>
                  <a:gd name="connsiteX1905" fmla="*/ 2650290 w 3565209"/>
                  <a:gd name="connsiteY1905" fmla="*/ 1473827 h 3993936"/>
                  <a:gd name="connsiteX1906" fmla="*/ 2651193 w 3565209"/>
                  <a:gd name="connsiteY1906" fmla="*/ 1465704 h 3993936"/>
                  <a:gd name="connsiteX1907" fmla="*/ 2651193 w 3565209"/>
                  <a:gd name="connsiteY1907" fmla="*/ 1458032 h 3993936"/>
                  <a:gd name="connsiteX1908" fmla="*/ 2663604 w 3565209"/>
                  <a:gd name="connsiteY1908" fmla="*/ 1454421 h 3993936"/>
                  <a:gd name="connsiteX1909" fmla="*/ 2666086 w 3565209"/>
                  <a:gd name="connsiteY1909" fmla="*/ 1454873 h 3993936"/>
                  <a:gd name="connsiteX1910" fmla="*/ 2676691 w 3565209"/>
                  <a:gd name="connsiteY1910" fmla="*/ 1468186 h 3993936"/>
                  <a:gd name="connsiteX1911" fmla="*/ 2680301 w 3565209"/>
                  <a:gd name="connsiteY1911" fmla="*/ 1473827 h 3993936"/>
                  <a:gd name="connsiteX1912" fmla="*/ 2686620 w 3565209"/>
                  <a:gd name="connsiteY1912" fmla="*/ 1485561 h 3993936"/>
                  <a:gd name="connsiteX1913" fmla="*/ 2684137 w 3565209"/>
                  <a:gd name="connsiteY1913" fmla="*/ 1497068 h 3993936"/>
                  <a:gd name="connsiteX1914" fmla="*/ 2682332 w 3565209"/>
                  <a:gd name="connsiteY1914" fmla="*/ 1504966 h 3993936"/>
                  <a:gd name="connsiteX1915" fmla="*/ 2687071 w 3565209"/>
                  <a:gd name="connsiteY1915" fmla="*/ 1520761 h 3993936"/>
                  <a:gd name="connsiteX1916" fmla="*/ 2691809 w 3565209"/>
                  <a:gd name="connsiteY1916" fmla="*/ 1535203 h 3993936"/>
                  <a:gd name="connsiteX1917" fmla="*/ 2692035 w 3565209"/>
                  <a:gd name="connsiteY1917" fmla="*/ 1538362 h 3993936"/>
                  <a:gd name="connsiteX1918" fmla="*/ 2691358 w 3565209"/>
                  <a:gd name="connsiteY1918" fmla="*/ 1553254 h 3993936"/>
                  <a:gd name="connsiteX1919" fmla="*/ 2690907 w 3565209"/>
                  <a:gd name="connsiteY1919" fmla="*/ 1554383 h 3993936"/>
                  <a:gd name="connsiteX1920" fmla="*/ 2688876 w 3565209"/>
                  <a:gd name="connsiteY1920" fmla="*/ 1567244 h 3993936"/>
                  <a:gd name="connsiteX1921" fmla="*/ 2694292 w 3565209"/>
                  <a:gd name="connsiteY1921" fmla="*/ 1575593 h 3993936"/>
                  <a:gd name="connsiteX1922" fmla="*/ 2698128 w 3565209"/>
                  <a:gd name="connsiteY1922" fmla="*/ 1576045 h 3993936"/>
                  <a:gd name="connsiteX1923" fmla="*/ 2714148 w 3565209"/>
                  <a:gd name="connsiteY1923" fmla="*/ 1577173 h 3993936"/>
                  <a:gd name="connsiteX1924" fmla="*/ 2722046 w 3565209"/>
                  <a:gd name="connsiteY1924" fmla="*/ 1580106 h 3993936"/>
                  <a:gd name="connsiteX1925" fmla="*/ 2728590 w 3565209"/>
                  <a:gd name="connsiteY1925" fmla="*/ 1582363 h 3993936"/>
                  <a:gd name="connsiteX1926" fmla="*/ 2745287 w 3565209"/>
                  <a:gd name="connsiteY1926" fmla="*/ 1585973 h 3993936"/>
                  <a:gd name="connsiteX1927" fmla="*/ 2750477 w 3565209"/>
                  <a:gd name="connsiteY1927" fmla="*/ 1588230 h 3993936"/>
                  <a:gd name="connsiteX1928" fmla="*/ 2771463 w 3565209"/>
                  <a:gd name="connsiteY1928" fmla="*/ 1586650 h 3993936"/>
                  <a:gd name="connsiteX1929" fmla="*/ 2774622 w 3565209"/>
                  <a:gd name="connsiteY1929" fmla="*/ 1585522 h 3993936"/>
                  <a:gd name="connsiteX1930" fmla="*/ 2785001 w 3565209"/>
                  <a:gd name="connsiteY1930" fmla="*/ 1581235 h 3993936"/>
                  <a:gd name="connsiteX1931" fmla="*/ 2789965 w 3565209"/>
                  <a:gd name="connsiteY1931" fmla="*/ 1578978 h 3993936"/>
                  <a:gd name="connsiteX1932" fmla="*/ 2820653 w 3565209"/>
                  <a:gd name="connsiteY1932" fmla="*/ 1580783 h 3993936"/>
                  <a:gd name="connsiteX1933" fmla="*/ 2833290 w 3565209"/>
                  <a:gd name="connsiteY1933" fmla="*/ 1579881 h 3993936"/>
                  <a:gd name="connsiteX1934" fmla="*/ 2837351 w 3565209"/>
                  <a:gd name="connsiteY1934" fmla="*/ 1578301 h 3993936"/>
                  <a:gd name="connsiteX1935" fmla="*/ 2842315 w 3565209"/>
                  <a:gd name="connsiteY1935" fmla="*/ 1576045 h 3993936"/>
                  <a:gd name="connsiteX1936" fmla="*/ 2845700 w 3565209"/>
                  <a:gd name="connsiteY1936" fmla="*/ 1574240 h 3993936"/>
                  <a:gd name="connsiteX1937" fmla="*/ 2863075 w 3565209"/>
                  <a:gd name="connsiteY1937" fmla="*/ 1573562 h 3993936"/>
                  <a:gd name="connsiteX1938" fmla="*/ 2868265 w 3565209"/>
                  <a:gd name="connsiteY1938" fmla="*/ 1573788 h 3993936"/>
                  <a:gd name="connsiteX1939" fmla="*/ 2886316 w 3565209"/>
                  <a:gd name="connsiteY1939" fmla="*/ 1578076 h 3993936"/>
                  <a:gd name="connsiteX1940" fmla="*/ 2887896 w 3565209"/>
                  <a:gd name="connsiteY1940" fmla="*/ 1578752 h 3993936"/>
                  <a:gd name="connsiteX1941" fmla="*/ 2901886 w 3565209"/>
                  <a:gd name="connsiteY1941" fmla="*/ 1579881 h 3993936"/>
                  <a:gd name="connsiteX1942" fmla="*/ 2902789 w 3565209"/>
                  <a:gd name="connsiteY1942" fmla="*/ 1579881 h 3993936"/>
                  <a:gd name="connsiteX1943" fmla="*/ 2914071 w 3565209"/>
                  <a:gd name="connsiteY1943" fmla="*/ 1580783 h 3993936"/>
                  <a:gd name="connsiteX1944" fmla="*/ 2919035 w 3565209"/>
                  <a:gd name="connsiteY1944" fmla="*/ 1581009 h 3993936"/>
                  <a:gd name="connsiteX1945" fmla="*/ 2930317 w 3565209"/>
                  <a:gd name="connsiteY1945" fmla="*/ 1579429 h 3993936"/>
                  <a:gd name="connsiteX1946" fmla="*/ 2947918 w 3565209"/>
                  <a:gd name="connsiteY1946" fmla="*/ 1570855 h 3993936"/>
                  <a:gd name="connsiteX1947" fmla="*/ 2960554 w 3565209"/>
                  <a:gd name="connsiteY1947" fmla="*/ 1569727 h 3993936"/>
                  <a:gd name="connsiteX1948" fmla="*/ 2966421 w 3565209"/>
                  <a:gd name="connsiteY1948" fmla="*/ 1571306 h 3993936"/>
                  <a:gd name="connsiteX1949" fmla="*/ 2978831 w 3565209"/>
                  <a:gd name="connsiteY1949" fmla="*/ 1576722 h 3993936"/>
                  <a:gd name="connsiteX1950" fmla="*/ 2981313 w 3565209"/>
                  <a:gd name="connsiteY1950" fmla="*/ 1578527 h 3993936"/>
                  <a:gd name="connsiteX1951" fmla="*/ 2995981 w 3565209"/>
                  <a:gd name="connsiteY1951" fmla="*/ 1582814 h 3993936"/>
                  <a:gd name="connsiteX1952" fmla="*/ 2999365 w 3565209"/>
                  <a:gd name="connsiteY1952" fmla="*/ 1582588 h 3993936"/>
                  <a:gd name="connsiteX1953" fmla="*/ 3009970 w 3565209"/>
                  <a:gd name="connsiteY1953" fmla="*/ 1585973 h 3993936"/>
                  <a:gd name="connsiteX1954" fmla="*/ 3011099 w 3565209"/>
                  <a:gd name="connsiteY1954" fmla="*/ 1589809 h 3993936"/>
                  <a:gd name="connsiteX1955" fmla="*/ 3011776 w 3565209"/>
                  <a:gd name="connsiteY1955" fmla="*/ 1592066 h 3993936"/>
                  <a:gd name="connsiteX1956" fmla="*/ 3013806 w 3565209"/>
                  <a:gd name="connsiteY1956" fmla="*/ 1595225 h 3993936"/>
                  <a:gd name="connsiteX1957" fmla="*/ 3019222 w 3565209"/>
                  <a:gd name="connsiteY1957" fmla="*/ 1605604 h 3993936"/>
                  <a:gd name="connsiteX1958" fmla="*/ 3011550 w 3565209"/>
                  <a:gd name="connsiteY1958" fmla="*/ 1612599 h 3993936"/>
                  <a:gd name="connsiteX1959" fmla="*/ 3007940 w 3565209"/>
                  <a:gd name="connsiteY1959" fmla="*/ 1614630 h 3993936"/>
                  <a:gd name="connsiteX1960" fmla="*/ 3005006 w 3565209"/>
                  <a:gd name="connsiteY1960" fmla="*/ 1615533 h 3993936"/>
                  <a:gd name="connsiteX1961" fmla="*/ 2999591 w 3565209"/>
                  <a:gd name="connsiteY1961" fmla="*/ 1610569 h 3993936"/>
                  <a:gd name="connsiteX1962" fmla="*/ 2998011 w 3565209"/>
                  <a:gd name="connsiteY1962" fmla="*/ 1608312 h 3993936"/>
                  <a:gd name="connsiteX1963" fmla="*/ 2996657 w 3565209"/>
                  <a:gd name="connsiteY1963" fmla="*/ 1608086 h 3993936"/>
                  <a:gd name="connsiteX1964" fmla="*/ 2992370 w 3565209"/>
                  <a:gd name="connsiteY1964" fmla="*/ 1614405 h 3993936"/>
                  <a:gd name="connsiteX1965" fmla="*/ 2992596 w 3565209"/>
                  <a:gd name="connsiteY1965" fmla="*/ 1622979 h 3993936"/>
                  <a:gd name="connsiteX1966" fmla="*/ 2993047 w 3565209"/>
                  <a:gd name="connsiteY1966" fmla="*/ 1625235 h 3993936"/>
                  <a:gd name="connsiteX1967" fmla="*/ 2993273 w 3565209"/>
                  <a:gd name="connsiteY1967" fmla="*/ 1626589 h 3993936"/>
                  <a:gd name="connsiteX1968" fmla="*/ 2991242 w 3565209"/>
                  <a:gd name="connsiteY1968" fmla="*/ 1638774 h 3993936"/>
                  <a:gd name="connsiteX1969" fmla="*/ 2993047 w 3565209"/>
                  <a:gd name="connsiteY1969" fmla="*/ 1650508 h 3993936"/>
                  <a:gd name="connsiteX1970" fmla="*/ 2993949 w 3565209"/>
                  <a:gd name="connsiteY1970" fmla="*/ 1652764 h 3993936"/>
                  <a:gd name="connsiteX1971" fmla="*/ 2990565 w 3565209"/>
                  <a:gd name="connsiteY1971" fmla="*/ 1663821 h 3993936"/>
                  <a:gd name="connsiteX1972" fmla="*/ 2985375 w 3565209"/>
                  <a:gd name="connsiteY1972" fmla="*/ 1671719 h 3993936"/>
                  <a:gd name="connsiteX1973" fmla="*/ 2980636 w 3565209"/>
                  <a:gd name="connsiteY1973" fmla="*/ 1680519 h 3993936"/>
                  <a:gd name="connsiteX1974" fmla="*/ 2971836 w 3565209"/>
                  <a:gd name="connsiteY1974" fmla="*/ 1683452 h 3993936"/>
                  <a:gd name="connsiteX1975" fmla="*/ 2967775 w 3565209"/>
                  <a:gd name="connsiteY1975" fmla="*/ 1683452 h 3993936"/>
                  <a:gd name="connsiteX1976" fmla="*/ 2956492 w 3565209"/>
                  <a:gd name="connsiteY1976" fmla="*/ 1690673 h 3993936"/>
                  <a:gd name="connsiteX1977" fmla="*/ 2956492 w 3565209"/>
                  <a:gd name="connsiteY1977" fmla="*/ 1697217 h 3993936"/>
                  <a:gd name="connsiteX1978" fmla="*/ 2956943 w 3565209"/>
                  <a:gd name="connsiteY1978" fmla="*/ 1702632 h 3993936"/>
                  <a:gd name="connsiteX1979" fmla="*/ 2951077 w 3565209"/>
                  <a:gd name="connsiteY1979" fmla="*/ 1708725 h 3993936"/>
                  <a:gd name="connsiteX1980" fmla="*/ 2947466 w 3565209"/>
                  <a:gd name="connsiteY1980" fmla="*/ 1711207 h 3993936"/>
                  <a:gd name="connsiteX1981" fmla="*/ 2939795 w 3565209"/>
                  <a:gd name="connsiteY1981" fmla="*/ 1711432 h 3993936"/>
                  <a:gd name="connsiteX1982" fmla="*/ 2933702 w 3565209"/>
                  <a:gd name="connsiteY1982" fmla="*/ 1710304 h 3993936"/>
                  <a:gd name="connsiteX1983" fmla="*/ 2928964 w 3565209"/>
                  <a:gd name="connsiteY1983" fmla="*/ 1716397 h 3993936"/>
                  <a:gd name="connsiteX1984" fmla="*/ 2926481 w 3565209"/>
                  <a:gd name="connsiteY1984" fmla="*/ 1722263 h 3993936"/>
                  <a:gd name="connsiteX1985" fmla="*/ 2910686 w 3565209"/>
                  <a:gd name="connsiteY1985" fmla="*/ 1728807 h 3993936"/>
                  <a:gd name="connsiteX1986" fmla="*/ 2900758 w 3565209"/>
                  <a:gd name="connsiteY1986" fmla="*/ 1730387 h 3993936"/>
                  <a:gd name="connsiteX1987" fmla="*/ 2899404 w 3565209"/>
                  <a:gd name="connsiteY1987" fmla="*/ 1730838 h 3993936"/>
                  <a:gd name="connsiteX1988" fmla="*/ 2898501 w 3565209"/>
                  <a:gd name="connsiteY1988" fmla="*/ 1732417 h 3993936"/>
                  <a:gd name="connsiteX1989" fmla="*/ 2894440 w 3565209"/>
                  <a:gd name="connsiteY1989" fmla="*/ 1738059 h 3993936"/>
                  <a:gd name="connsiteX1990" fmla="*/ 2890378 w 3565209"/>
                  <a:gd name="connsiteY1990" fmla="*/ 1741669 h 3993936"/>
                  <a:gd name="connsiteX1991" fmla="*/ 2887219 w 3565209"/>
                  <a:gd name="connsiteY1991" fmla="*/ 1744828 h 3993936"/>
                  <a:gd name="connsiteX1992" fmla="*/ 2884962 w 3565209"/>
                  <a:gd name="connsiteY1992" fmla="*/ 1751372 h 3993936"/>
                  <a:gd name="connsiteX1993" fmla="*/ 2884511 w 3565209"/>
                  <a:gd name="connsiteY1993" fmla="*/ 1755433 h 3993936"/>
                  <a:gd name="connsiteX1994" fmla="*/ 2879321 w 3565209"/>
                  <a:gd name="connsiteY1994" fmla="*/ 1760398 h 3993936"/>
                  <a:gd name="connsiteX1995" fmla="*/ 2876839 w 3565209"/>
                  <a:gd name="connsiteY1995" fmla="*/ 1761300 h 3993936"/>
                  <a:gd name="connsiteX1996" fmla="*/ 2875260 w 3565209"/>
                  <a:gd name="connsiteY1996" fmla="*/ 1765587 h 3993936"/>
                  <a:gd name="connsiteX1997" fmla="*/ 2873454 w 3565209"/>
                  <a:gd name="connsiteY1997" fmla="*/ 1771229 h 3993936"/>
                  <a:gd name="connsiteX1998" fmla="*/ 2873229 w 3565209"/>
                  <a:gd name="connsiteY1998" fmla="*/ 1778901 h 3993936"/>
                  <a:gd name="connsiteX1999" fmla="*/ 2872326 w 3565209"/>
                  <a:gd name="connsiteY1999" fmla="*/ 1790860 h 3993936"/>
                  <a:gd name="connsiteX2000" fmla="*/ 2872552 w 3565209"/>
                  <a:gd name="connsiteY2000" fmla="*/ 1798983 h 3993936"/>
                  <a:gd name="connsiteX2001" fmla="*/ 2873229 w 3565209"/>
                  <a:gd name="connsiteY2001" fmla="*/ 1802819 h 3993936"/>
                  <a:gd name="connsiteX2002" fmla="*/ 2875937 w 3565209"/>
                  <a:gd name="connsiteY2002" fmla="*/ 1807783 h 3993936"/>
                  <a:gd name="connsiteX2003" fmla="*/ 2878644 w 3565209"/>
                  <a:gd name="connsiteY2003" fmla="*/ 1812522 h 3993936"/>
                  <a:gd name="connsiteX2004" fmla="*/ 2880675 w 3565209"/>
                  <a:gd name="connsiteY2004" fmla="*/ 1815004 h 3993936"/>
                  <a:gd name="connsiteX2005" fmla="*/ 2884511 w 3565209"/>
                  <a:gd name="connsiteY2005" fmla="*/ 1823804 h 3993936"/>
                  <a:gd name="connsiteX2006" fmla="*/ 2885414 w 3565209"/>
                  <a:gd name="connsiteY2006" fmla="*/ 1829671 h 3993936"/>
                  <a:gd name="connsiteX2007" fmla="*/ 2886768 w 3565209"/>
                  <a:gd name="connsiteY2007" fmla="*/ 1832830 h 3993936"/>
                  <a:gd name="connsiteX2008" fmla="*/ 2891958 w 3565209"/>
                  <a:gd name="connsiteY2008" fmla="*/ 1839148 h 3993936"/>
                  <a:gd name="connsiteX2009" fmla="*/ 2894891 w 3565209"/>
                  <a:gd name="connsiteY2009" fmla="*/ 1843210 h 3993936"/>
                  <a:gd name="connsiteX2010" fmla="*/ 2895117 w 3565209"/>
                  <a:gd name="connsiteY2010" fmla="*/ 1856974 h 3993936"/>
                  <a:gd name="connsiteX2011" fmla="*/ 2898050 w 3565209"/>
                  <a:gd name="connsiteY2011" fmla="*/ 1865097 h 3993936"/>
                  <a:gd name="connsiteX2012" fmla="*/ 2899630 w 3565209"/>
                  <a:gd name="connsiteY2012" fmla="*/ 1857877 h 3993936"/>
                  <a:gd name="connsiteX2013" fmla="*/ 2899178 w 3565209"/>
                  <a:gd name="connsiteY2013" fmla="*/ 1854718 h 3993936"/>
                  <a:gd name="connsiteX2014" fmla="*/ 2899855 w 3565209"/>
                  <a:gd name="connsiteY2014" fmla="*/ 1848851 h 3993936"/>
                  <a:gd name="connsiteX2015" fmla="*/ 2902789 w 3565209"/>
                  <a:gd name="connsiteY2015" fmla="*/ 1846143 h 3993936"/>
                  <a:gd name="connsiteX2016" fmla="*/ 2910686 w 3565209"/>
                  <a:gd name="connsiteY2016" fmla="*/ 1847948 h 3993936"/>
                  <a:gd name="connsiteX2017" fmla="*/ 2916102 w 3565209"/>
                  <a:gd name="connsiteY2017" fmla="*/ 1855169 h 3993936"/>
                  <a:gd name="connsiteX2018" fmla="*/ 2918584 w 3565209"/>
                  <a:gd name="connsiteY2018" fmla="*/ 1857425 h 3993936"/>
                  <a:gd name="connsiteX2019" fmla="*/ 2922871 w 3565209"/>
                  <a:gd name="connsiteY2019" fmla="*/ 1863066 h 3993936"/>
                  <a:gd name="connsiteX2020" fmla="*/ 2922420 w 3565209"/>
                  <a:gd name="connsiteY2020" fmla="*/ 1866677 h 3993936"/>
                  <a:gd name="connsiteX2021" fmla="*/ 2923548 w 3565209"/>
                  <a:gd name="connsiteY2021" fmla="*/ 1876380 h 3993936"/>
                  <a:gd name="connsiteX2022" fmla="*/ 2933251 w 3565209"/>
                  <a:gd name="connsiteY2022" fmla="*/ 1881569 h 3993936"/>
                  <a:gd name="connsiteX2023" fmla="*/ 2934605 w 3565209"/>
                  <a:gd name="connsiteY2023" fmla="*/ 1881795 h 3993936"/>
                  <a:gd name="connsiteX2024" fmla="*/ 2939569 w 3565209"/>
                  <a:gd name="connsiteY2024" fmla="*/ 1880216 h 3993936"/>
                  <a:gd name="connsiteX2025" fmla="*/ 2942277 w 3565209"/>
                  <a:gd name="connsiteY2025" fmla="*/ 1877057 h 3993936"/>
                  <a:gd name="connsiteX2026" fmla="*/ 2949949 w 3565209"/>
                  <a:gd name="connsiteY2026" fmla="*/ 1866677 h 3993936"/>
                  <a:gd name="connsiteX2027" fmla="*/ 2955816 w 3565209"/>
                  <a:gd name="connsiteY2027" fmla="*/ 1845692 h 3993936"/>
                  <a:gd name="connsiteX2028" fmla="*/ 2954010 w 3565209"/>
                  <a:gd name="connsiteY2028" fmla="*/ 1835763 h 3993936"/>
                  <a:gd name="connsiteX2029" fmla="*/ 2951979 w 3565209"/>
                  <a:gd name="connsiteY2029" fmla="*/ 1826512 h 3993936"/>
                  <a:gd name="connsiteX2030" fmla="*/ 2959426 w 3565209"/>
                  <a:gd name="connsiteY2030" fmla="*/ 1813650 h 3993936"/>
                  <a:gd name="connsiteX2031" fmla="*/ 2963036 w 3565209"/>
                  <a:gd name="connsiteY2031" fmla="*/ 1810265 h 3993936"/>
                  <a:gd name="connsiteX2032" fmla="*/ 2966421 w 3565209"/>
                  <a:gd name="connsiteY2032" fmla="*/ 1797629 h 3993936"/>
                  <a:gd name="connsiteX2033" fmla="*/ 2965970 w 3565209"/>
                  <a:gd name="connsiteY2033" fmla="*/ 1795147 h 3993936"/>
                  <a:gd name="connsiteX2034" fmla="*/ 2965518 w 3565209"/>
                  <a:gd name="connsiteY2034" fmla="*/ 1792439 h 3993936"/>
                  <a:gd name="connsiteX2035" fmla="*/ 2967775 w 3565209"/>
                  <a:gd name="connsiteY2035" fmla="*/ 1780480 h 3993936"/>
                  <a:gd name="connsiteX2036" fmla="*/ 2977703 w 3565209"/>
                  <a:gd name="connsiteY2036" fmla="*/ 1777772 h 3993936"/>
                  <a:gd name="connsiteX2037" fmla="*/ 2979508 w 3565209"/>
                  <a:gd name="connsiteY2037" fmla="*/ 1778449 h 3993936"/>
                  <a:gd name="connsiteX2038" fmla="*/ 2988308 w 3565209"/>
                  <a:gd name="connsiteY2038" fmla="*/ 1773936 h 3993936"/>
                  <a:gd name="connsiteX2039" fmla="*/ 2992821 w 3565209"/>
                  <a:gd name="connsiteY2039" fmla="*/ 1770777 h 3993936"/>
                  <a:gd name="connsiteX2040" fmla="*/ 2995981 w 3565209"/>
                  <a:gd name="connsiteY2040" fmla="*/ 1773034 h 3993936"/>
                  <a:gd name="connsiteX2041" fmla="*/ 2997108 w 3565209"/>
                  <a:gd name="connsiteY2041" fmla="*/ 1774388 h 3993936"/>
                  <a:gd name="connsiteX2042" fmla="*/ 3001396 w 3565209"/>
                  <a:gd name="connsiteY2042" fmla="*/ 1774162 h 3993936"/>
                  <a:gd name="connsiteX2043" fmla="*/ 3007263 w 3565209"/>
                  <a:gd name="connsiteY2043" fmla="*/ 1772808 h 3993936"/>
                  <a:gd name="connsiteX2044" fmla="*/ 3012678 w 3565209"/>
                  <a:gd name="connsiteY2044" fmla="*/ 1773936 h 3993936"/>
                  <a:gd name="connsiteX2045" fmla="*/ 3012678 w 3565209"/>
                  <a:gd name="connsiteY2045" fmla="*/ 1781608 h 3993936"/>
                  <a:gd name="connsiteX2046" fmla="*/ 3011776 w 3565209"/>
                  <a:gd name="connsiteY2046" fmla="*/ 1785896 h 3993936"/>
                  <a:gd name="connsiteX2047" fmla="*/ 3028474 w 3565209"/>
                  <a:gd name="connsiteY2047" fmla="*/ 1826286 h 3993936"/>
                  <a:gd name="connsiteX2048" fmla="*/ 3028474 w 3565209"/>
                  <a:gd name="connsiteY2048" fmla="*/ 1826286 h 3993936"/>
                  <a:gd name="connsiteX2049" fmla="*/ 3026894 w 3565209"/>
                  <a:gd name="connsiteY2049" fmla="*/ 1829671 h 3993936"/>
                  <a:gd name="connsiteX2050" fmla="*/ 3025089 w 3565209"/>
                  <a:gd name="connsiteY2050" fmla="*/ 1829671 h 3993936"/>
                  <a:gd name="connsiteX2051" fmla="*/ 3022832 w 3565209"/>
                  <a:gd name="connsiteY2051" fmla="*/ 1831927 h 3993936"/>
                  <a:gd name="connsiteX2052" fmla="*/ 3022832 w 3565209"/>
                  <a:gd name="connsiteY2052" fmla="*/ 1838922 h 3993936"/>
                  <a:gd name="connsiteX2053" fmla="*/ 3042915 w 3565209"/>
                  <a:gd name="connsiteY2053" fmla="*/ 1898267 h 3993936"/>
                  <a:gd name="connsiteX2054" fmla="*/ 3047879 w 3565209"/>
                  <a:gd name="connsiteY2054" fmla="*/ 1907519 h 3993936"/>
                  <a:gd name="connsiteX2055" fmla="*/ 3057582 w 3565209"/>
                  <a:gd name="connsiteY2055" fmla="*/ 1933242 h 3993936"/>
                  <a:gd name="connsiteX2056" fmla="*/ 3059161 w 3565209"/>
                  <a:gd name="connsiteY2056" fmla="*/ 1945879 h 3993936"/>
                  <a:gd name="connsiteX2057" fmla="*/ 3060966 w 3565209"/>
                  <a:gd name="connsiteY2057" fmla="*/ 1959417 h 3993936"/>
                  <a:gd name="connsiteX2058" fmla="*/ 3064125 w 3565209"/>
                  <a:gd name="connsiteY2058" fmla="*/ 1971377 h 3993936"/>
                  <a:gd name="connsiteX2059" fmla="*/ 3066608 w 3565209"/>
                  <a:gd name="connsiteY2059" fmla="*/ 1980628 h 3993936"/>
                  <a:gd name="connsiteX2060" fmla="*/ 3070218 w 3565209"/>
                  <a:gd name="connsiteY2060" fmla="*/ 1993716 h 3993936"/>
                  <a:gd name="connsiteX2061" fmla="*/ 3073603 w 3565209"/>
                  <a:gd name="connsiteY2061" fmla="*/ 1993490 h 3993936"/>
                  <a:gd name="connsiteX2062" fmla="*/ 3079244 w 3565209"/>
                  <a:gd name="connsiteY2062" fmla="*/ 1987398 h 3993936"/>
                  <a:gd name="connsiteX2063" fmla="*/ 3082629 w 3565209"/>
                  <a:gd name="connsiteY2063" fmla="*/ 1983110 h 3993936"/>
                  <a:gd name="connsiteX2064" fmla="*/ 3088495 w 3565209"/>
                  <a:gd name="connsiteY2064" fmla="*/ 1983110 h 3993936"/>
                  <a:gd name="connsiteX2065" fmla="*/ 3092106 w 3565209"/>
                  <a:gd name="connsiteY2065" fmla="*/ 1984690 h 3993936"/>
                  <a:gd name="connsiteX2066" fmla="*/ 3096844 w 3565209"/>
                  <a:gd name="connsiteY2066" fmla="*/ 1988977 h 3993936"/>
                  <a:gd name="connsiteX2067" fmla="*/ 3110609 w 3565209"/>
                  <a:gd name="connsiteY2067" fmla="*/ 1995069 h 3993936"/>
                  <a:gd name="connsiteX2068" fmla="*/ 3114219 w 3565209"/>
                  <a:gd name="connsiteY2068" fmla="*/ 1995747 h 3993936"/>
                  <a:gd name="connsiteX2069" fmla="*/ 3117152 w 3565209"/>
                  <a:gd name="connsiteY2069" fmla="*/ 1990557 h 3993936"/>
                  <a:gd name="connsiteX2070" fmla="*/ 3117829 w 3565209"/>
                  <a:gd name="connsiteY2070" fmla="*/ 1988526 h 3993936"/>
                  <a:gd name="connsiteX2071" fmla="*/ 3118958 w 3565209"/>
                  <a:gd name="connsiteY2071" fmla="*/ 1985818 h 3993936"/>
                  <a:gd name="connsiteX2072" fmla="*/ 3123019 w 3565209"/>
                  <a:gd name="connsiteY2072" fmla="*/ 1974310 h 3993936"/>
                  <a:gd name="connsiteX2073" fmla="*/ 3130465 w 3565209"/>
                  <a:gd name="connsiteY2073" fmla="*/ 1965961 h 3993936"/>
                  <a:gd name="connsiteX2074" fmla="*/ 3132722 w 3565209"/>
                  <a:gd name="connsiteY2074" fmla="*/ 1964607 h 3993936"/>
                  <a:gd name="connsiteX2075" fmla="*/ 3131594 w 3565209"/>
                  <a:gd name="connsiteY2075" fmla="*/ 1960320 h 3993936"/>
                  <a:gd name="connsiteX2076" fmla="*/ 3130240 w 3565209"/>
                  <a:gd name="connsiteY2076" fmla="*/ 1950392 h 3993936"/>
                  <a:gd name="connsiteX2077" fmla="*/ 3131142 w 3565209"/>
                  <a:gd name="connsiteY2077" fmla="*/ 1940689 h 3993936"/>
                  <a:gd name="connsiteX2078" fmla="*/ 3130917 w 3565209"/>
                  <a:gd name="connsiteY2078" fmla="*/ 1939786 h 3993936"/>
                  <a:gd name="connsiteX2079" fmla="*/ 3122117 w 3565209"/>
                  <a:gd name="connsiteY2079" fmla="*/ 1926022 h 3993936"/>
                  <a:gd name="connsiteX2080" fmla="*/ 3118732 w 3565209"/>
                  <a:gd name="connsiteY2080" fmla="*/ 1907744 h 3993936"/>
                  <a:gd name="connsiteX2081" fmla="*/ 3119860 w 3565209"/>
                  <a:gd name="connsiteY2081" fmla="*/ 1899170 h 3993936"/>
                  <a:gd name="connsiteX2082" fmla="*/ 3117604 w 3565209"/>
                  <a:gd name="connsiteY2082" fmla="*/ 1888565 h 3993936"/>
                  <a:gd name="connsiteX2083" fmla="*/ 3117378 w 3565209"/>
                  <a:gd name="connsiteY2083" fmla="*/ 1867128 h 3993936"/>
                  <a:gd name="connsiteX2084" fmla="*/ 3127532 w 3565209"/>
                  <a:gd name="connsiteY2084" fmla="*/ 1848399 h 3993936"/>
                  <a:gd name="connsiteX2085" fmla="*/ 3134527 w 3565209"/>
                  <a:gd name="connsiteY2085" fmla="*/ 1836666 h 3993936"/>
                  <a:gd name="connsiteX2086" fmla="*/ 3134301 w 3565209"/>
                  <a:gd name="connsiteY2086" fmla="*/ 1726551 h 3993936"/>
                  <a:gd name="connsiteX2087" fmla="*/ 3134978 w 3565209"/>
                  <a:gd name="connsiteY2087" fmla="*/ 1707145 h 3993936"/>
                  <a:gd name="connsiteX2088" fmla="*/ 3148517 w 3565209"/>
                  <a:gd name="connsiteY2088" fmla="*/ 1711432 h 3993936"/>
                  <a:gd name="connsiteX2089" fmla="*/ 3149871 w 3565209"/>
                  <a:gd name="connsiteY2089" fmla="*/ 1713012 h 3993936"/>
                  <a:gd name="connsiteX2090" fmla="*/ 3157543 w 3565209"/>
                  <a:gd name="connsiteY2090" fmla="*/ 1718653 h 3993936"/>
                  <a:gd name="connsiteX2091" fmla="*/ 3165441 w 3565209"/>
                  <a:gd name="connsiteY2091" fmla="*/ 1716397 h 3993936"/>
                  <a:gd name="connsiteX2092" fmla="*/ 3171082 w 3565209"/>
                  <a:gd name="connsiteY2092" fmla="*/ 1714140 h 3993936"/>
                  <a:gd name="connsiteX2093" fmla="*/ 3186426 w 3565209"/>
                  <a:gd name="connsiteY2093" fmla="*/ 1715720 h 3993936"/>
                  <a:gd name="connsiteX2094" fmla="*/ 3192970 w 3565209"/>
                  <a:gd name="connsiteY2094" fmla="*/ 1717976 h 3993936"/>
                  <a:gd name="connsiteX2095" fmla="*/ 3219370 w 3565209"/>
                  <a:gd name="connsiteY2095" fmla="*/ 1724069 h 3993936"/>
                  <a:gd name="connsiteX2096" fmla="*/ 3219596 w 3565209"/>
                  <a:gd name="connsiteY2096" fmla="*/ 1724069 h 3993936"/>
                  <a:gd name="connsiteX2097" fmla="*/ 3244642 w 3565209"/>
                  <a:gd name="connsiteY2097" fmla="*/ 1708048 h 3993936"/>
                  <a:gd name="connsiteX2098" fmla="*/ 3244417 w 3565209"/>
                  <a:gd name="connsiteY2098" fmla="*/ 1694283 h 3993936"/>
                  <a:gd name="connsiteX2099" fmla="*/ 3243740 w 3565209"/>
                  <a:gd name="connsiteY2099" fmla="*/ 1688191 h 3993936"/>
                  <a:gd name="connsiteX2100" fmla="*/ 3253894 w 3565209"/>
                  <a:gd name="connsiteY2100" fmla="*/ 1656375 h 3993936"/>
                  <a:gd name="connsiteX2101" fmla="*/ 3259761 w 3565209"/>
                  <a:gd name="connsiteY2101" fmla="*/ 1643062 h 3993936"/>
                  <a:gd name="connsiteX2102" fmla="*/ 3262694 w 3565209"/>
                  <a:gd name="connsiteY2102" fmla="*/ 1634713 h 3993936"/>
                  <a:gd name="connsiteX2103" fmla="*/ 3270140 w 3565209"/>
                  <a:gd name="connsiteY2103" fmla="*/ 1615984 h 3993936"/>
                  <a:gd name="connsiteX2104" fmla="*/ 3273074 w 3565209"/>
                  <a:gd name="connsiteY2104" fmla="*/ 1610569 h 3993936"/>
                  <a:gd name="connsiteX2105" fmla="*/ 3282100 w 3565209"/>
                  <a:gd name="connsiteY2105" fmla="*/ 1582588 h 3993936"/>
                  <a:gd name="connsiteX2106" fmla="*/ 3287064 w 3565209"/>
                  <a:gd name="connsiteY2106" fmla="*/ 1560475 h 3993936"/>
                  <a:gd name="connsiteX2107" fmla="*/ 3289095 w 3565209"/>
                  <a:gd name="connsiteY2107" fmla="*/ 1550547 h 3993936"/>
                  <a:gd name="connsiteX2108" fmla="*/ 3287741 w 3565209"/>
                  <a:gd name="connsiteY2108" fmla="*/ 1549870 h 3993936"/>
                  <a:gd name="connsiteX2109" fmla="*/ 3272848 w 3565209"/>
                  <a:gd name="connsiteY2109" fmla="*/ 1535428 h 3993936"/>
                  <a:gd name="connsiteX2110" fmla="*/ 3272397 w 3565209"/>
                  <a:gd name="connsiteY2110" fmla="*/ 1521213 h 3993936"/>
                  <a:gd name="connsiteX2111" fmla="*/ 3273751 w 3565209"/>
                  <a:gd name="connsiteY2111" fmla="*/ 1517377 h 3993936"/>
                  <a:gd name="connsiteX2112" fmla="*/ 3274653 w 3565209"/>
                  <a:gd name="connsiteY2112" fmla="*/ 1509930 h 3993936"/>
                  <a:gd name="connsiteX2113" fmla="*/ 3277812 w 3565209"/>
                  <a:gd name="connsiteY2113" fmla="*/ 1504064 h 3993936"/>
                  <a:gd name="connsiteX2114" fmla="*/ 3294510 w 3565209"/>
                  <a:gd name="connsiteY2114" fmla="*/ 1495038 h 3993936"/>
                  <a:gd name="connsiteX2115" fmla="*/ 3308049 w 3565209"/>
                  <a:gd name="connsiteY2115" fmla="*/ 1481725 h 3993936"/>
                  <a:gd name="connsiteX2116" fmla="*/ 3313013 w 3565209"/>
                  <a:gd name="connsiteY2116" fmla="*/ 1474053 h 3993936"/>
                  <a:gd name="connsiteX2117" fmla="*/ 3317526 w 3565209"/>
                  <a:gd name="connsiteY2117" fmla="*/ 1466606 h 3993936"/>
                  <a:gd name="connsiteX2118" fmla="*/ 3319106 w 3565209"/>
                  <a:gd name="connsiteY2118" fmla="*/ 1456227 h 3993936"/>
                  <a:gd name="connsiteX2119" fmla="*/ 3317977 w 3565209"/>
                  <a:gd name="connsiteY2119" fmla="*/ 1444944 h 3993936"/>
                  <a:gd name="connsiteX2120" fmla="*/ 3324070 w 3565209"/>
                  <a:gd name="connsiteY2120" fmla="*/ 1427344 h 3993936"/>
                  <a:gd name="connsiteX2121" fmla="*/ 3327455 w 3565209"/>
                  <a:gd name="connsiteY2121" fmla="*/ 1422380 h 3993936"/>
                  <a:gd name="connsiteX2122" fmla="*/ 3330162 w 3565209"/>
                  <a:gd name="connsiteY2122" fmla="*/ 1409969 h 3993936"/>
                  <a:gd name="connsiteX2123" fmla="*/ 3327003 w 3565209"/>
                  <a:gd name="connsiteY2123" fmla="*/ 1404779 h 3993936"/>
                  <a:gd name="connsiteX2124" fmla="*/ 3323167 w 3565209"/>
                  <a:gd name="connsiteY2124" fmla="*/ 1396430 h 3993936"/>
                  <a:gd name="connsiteX2125" fmla="*/ 3323618 w 3565209"/>
                  <a:gd name="connsiteY2125" fmla="*/ 1392594 h 3993936"/>
                  <a:gd name="connsiteX2126" fmla="*/ 3323844 w 3565209"/>
                  <a:gd name="connsiteY2126" fmla="*/ 1380184 h 3993936"/>
                  <a:gd name="connsiteX2127" fmla="*/ 3321362 w 3565209"/>
                  <a:gd name="connsiteY2127" fmla="*/ 1376348 h 3993936"/>
                  <a:gd name="connsiteX2128" fmla="*/ 3315270 w 3565209"/>
                  <a:gd name="connsiteY2128" fmla="*/ 1364163 h 3993936"/>
                  <a:gd name="connsiteX2129" fmla="*/ 3323618 w 3565209"/>
                  <a:gd name="connsiteY2129" fmla="*/ 1333024 h 3993936"/>
                  <a:gd name="connsiteX2130" fmla="*/ 3333773 w 3565209"/>
                  <a:gd name="connsiteY2130" fmla="*/ 1329414 h 3993936"/>
                  <a:gd name="connsiteX2131" fmla="*/ 3339414 w 3565209"/>
                  <a:gd name="connsiteY2131" fmla="*/ 1329188 h 3993936"/>
                  <a:gd name="connsiteX2132" fmla="*/ 3358820 w 3565209"/>
                  <a:gd name="connsiteY2132" fmla="*/ 1311813 h 3993936"/>
                  <a:gd name="connsiteX2133" fmla="*/ 3366040 w 3565209"/>
                  <a:gd name="connsiteY2133" fmla="*/ 1303915 h 3993936"/>
                  <a:gd name="connsiteX2134" fmla="*/ 3377774 w 3565209"/>
                  <a:gd name="connsiteY2134" fmla="*/ 1292408 h 3993936"/>
                  <a:gd name="connsiteX2135" fmla="*/ 3425159 w 3565209"/>
                  <a:gd name="connsiteY2135" fmla="*/ 1245473 h 3993936"/>
                  <a:gd name="connsiteX2136" fmla="*/ 3452463 w 3565209"/>
                  <a:gd name="connsiteY2136" fmla="*/ 1229452 h 3993936"/>
                  <a:gd name="connsiteX2137" fmla="*/ 3472545 w 3565209"/>
                  <a:gd name="connsiteY2137" fmla="*/ 1224262 h 3993936"/>
                  <a:gd name="connsiteX2138" fmla="*/ 3499848 w 3565209"/>
                  <a:gd name="connsiteY2138" fmla="*/ 1217719 h 3993936"/>
                  <a:gd name="connsiteX2139" fmla="*/ 3518126 w 3565209"/>
                  <a:gd name="connsiteY2139" fmla="*/ 1229227 h 3993936"/>
                  <a:gd name="connsiteX2140" fmla="*/ 3519254 w 3565209"/>
                  <a:gd name="connsiteY2140" fmla="*/ 1230355 h 3993936"/>
                  <a:gd name="connsiteX2141" fmla="*/ 3523090 w 3565209"/>
                  <a:gd name="connsiteY2141" fmla="*/ 1234868 h 3993936"/>
                  <a:gd name="connsiteX2142" fmla="*/ 3535500 w 3565209"/>
                  <a:gd name="connsiteY2142" fmla="*/ 1241186 h 3993936"/>
                  <a:gd name="connsiteX2143" fmla="*/ 3542721 w 3565209"/>
                  <a:gd name="connsiteY2143" fmla="*/ 1239155 h 3993936"/>
                  <a:gd name="connsiteX2144" fmla="*/ 3542044 w 3565209"/>
                  <a:gd name="connsiteY2144" fmla="*/ 1229678 h 3993936"/>
                  <a:gd name="connsiteX2145" fmla="*/ 3541367 w 3565209"/>
                  <a:gd name="connsiteY2145" fmla="*/ 1228098 h 3993936"/>
                  <a:gd name="connsiteX2146" fmla="*/ 3527603 w 3565209"/>
                  <a:gd name="connsiteY2146" fmla="*/ 1214334 h 3993936"/>
                  <a:gd name="connsiteX2147" fmla="*/ 3518351 w 3565209"/>
                  <a:gd name="connsiteY2147" fmla="*/ 1196959 h 3993936"/>
                  <a:gd name="connsiteX2148" fmla="*/ 3518351 w 3565209"/>
                  <a:gd name="connsiteY2148" fmla="*/ 1192446 h 3993936"/>
                  <a:gd name="connsiteX2149" fmla="*/ 3518126 w 3565209"/>
                  <a:gd name="connsiteY2149" fmla="*/ 1190416 h 3993936"/>
                  <a:gd name="connsiteX2150" fmla="*/ 3519931 w 3565209"/>
                  <a:gd name="connsiteY2150" fmla="*/ 1178005 h 3993936"/>
                  <a:gd name="connsiteX2151" fmla="*/ 3521285 w 3565209"/>
                  <a:gd name="connsiteY2151" fmla="*/ 1174620 h 3993936"/>
                  <a:gd name="connsiteX2152" fmla="*/ 3529408 w 3565209"/>
                  <a:gd name="connsiteY2152" fmla="*/ 1163564 h 3993936"/>
                  <a:gd name="connsiteX2153" fmla="*/ 3536854 w 3565209"/>
                  <a:gd name="connsiteY2153" fmla="*/ 1154763 h 3993936"/>
                  <a:gd name="connsiteX2154" fmla="*/ 3542721 w 3565209"/>
                  <a:gd name="connsiteY2154" fmla="*/ 1145512 h 3993936"/>
                  <a:gd name="connsiteX2155" fmla="*/ 3548814 w 3565209"/>
                  <a:gd name="connsiteY2155" fmla="*/ 1138291 h 3993936"/>
                  <a:gd name="connsiteX2156" fmla="*/ 3553778 w 3565209"/>
                  <a:gd name="connsiteY2156" fmla="*/ 1130394 h 3993936"/>
                  <a:gd name="connsiteX2157" fmla="*/ 3558968 w 3565209"/>
                  <a:gd name="connsiteY2157" fmla="*/ 1122947 h 3993936"/>
                  <a:gd name="connsiteX2158" fmla="*/ 3561675 w 3565209"/>
                  <a:gd name="connsiteY2158" fmla="*/ 1111439 h 3993936"/>
                  <a:gd name="connsiteX2159" fmla="*/ 3560096 w 3565209"/>
                  <a:gd name="connsiteY2159" fmla="*/ 1108280 h 3993936"/>
                  <a:gd name="connsiteX2160" fmla="*/ 3559644 w 3565209"/>
                  <a:gd name="connsiteY2160" fmla="*/ 1099706 h 3993936"/>
                  <a:gd name="connsiteX2161" fmla="*/ 3562127 w 3565209"/>
                  <a:gd name="connsiteY2161" fmla="*/ 1094290 h 3993936"/>
                  <a:gd name="connsiteX2162" fmla="*/ 3562578 w 3565209"/>
                  <a:gd name="connsiteY2162" fmla="*/ 1087747 h 3993936"/>
                  <a:gd name="connsiteX2163" fmla="*/ 3550393 w 3565209"/>
                  <a:gd name="connsiteY2163" fmla="*/ 1082782 h 3993936"/>
                  <a:gd name="connsiteX2164" fmla="*/ 3534823 w 3565209"/>
                  <a:gd name="connsiteY2164" fmla="*/ 1079849 h 3993936"/>
                  <a:gd name="connsiteX2165" fmla="*/ 3529408 w 3565209"/>
                  <a:gd name="connsiteY2165" fmla="*/ 1077592 h 3993936"/>
                  <a:gd name="connsiteX2166" fmla="*/ 3517223 w 3565209"/>
                  <a:gd name="connsiteY2166" fmla="*/ 1078269 h 3993936"/>
                  <a:gd name="connsiteX2167" fmla="*/ 3501879 w 3565209"/>
                  <a:gd name="connsiteY2167" fmla="*/ 1081654 h 3993936"/>
                  <a:gd name="connsiteX2168" fmla="*/ 3497592 w 3565209"/>
                  <a:gd name="connsiteY2168" fmla="*/ 1081654 h 3993936"/>
                  <a:gd name="connsiteX2169" fmla="*/ 3482248 w 3565209"/>
                  <a:gd name="connsiteY2169" fmla="*/ 1075787 h 3993936"/>
                  <a:gd name="connsiteX2170" fmla="*/ 3469386 w 3565209"/>
                  <a:gd name="connsiteY2170" fmla="*/ 1069695 h 3993936"/>
                  <a:gd name="connsiteX2171" fmla="*/ 3460811 w 3565209"/>
                  <a:gd name="connsiteY2171" fmla="*/ 1072854 h 3993936"/>
                  <a:gd name="connsiteX2172" fmla="*/ 3455396 w 3565209"/>
                  <a:gd name="connsiteY2172" fmla="*/ 1077818 h 3993936"/>
                  <a:gd name="connsiteX2173" fmla="*/ 3440729 w 3565209"/>
                  <a:gd name="connsiteY2173" fmla="*/ 1083685 h 3993936"/>
                  <a:gd name="connsiteX2174" fmla="*/ 3434862 w 3565209"/>
                  <a:gd name="connsiteY2174" fmla="*/ 1081428 h 3993936"/>
                  <a:gd name="connsiteX2175" fmla="*/ 3432831 w 3565209"/>
                  <a:gd name="connsiteY2175" fmla="*/ 1072628 h 3993936"/>
                  <a:gd name="connsiteX2176" fmla="*/ 3432831 w 3565209"/>
                  <a:gd name="connsiteY2176" fmla="*/ 1069018 h 3993936"/>
                  <a:gd name="connsiteX2177" fmla="*/ 3438473 w 3565209"/>
                  <a:gd name="connsiteY2177" fmla="*/ 1055028 h 3993936"/>
                  <a:gd name="connsiteX2178" fmla="*/ 3445468 w 3565209"/>
                  <a:gd name="connsiteY2178" fmla="*/ 1046453 h 3993936"/>
                  <a:gd name="connsiteX2179" fmla="*/ 3450432 w 3565209"/>
                  <a:gd name="connsiteY2179" fmla="*/ 1039684 h 3993936"/>
                  <a:gd name="connsiteX2180" fmla="*/ 3456073 w 3565209"/>
                  <a:gd name="connsiteY2180" fmla="*/ 1025017 h 3993936"/>
                  <a:gd name="connsiteX2181" fmla="*/ 3444114 w 3565209"/>
                  <a:gd name="connsiteY2181" fmla="*/ 1007191 h 3993936"/>
                  <a:gd name="connsiteX2182" fmla="*/ 3438021 w 3565209"/>
                  <a:gd name="connsiteY2182" fmla="*/ 997714 h 3993936"/>
                  <a:gd name="connsiteX2183" fmla="*/ 3432155 w 3565209"/>
                  <a:gd name="connsiteY2183" fmla="*/ 990493 h 3993936"/>
                  <a:gd name="connsiteX2184" fmla="*/ 3425836 w 3565209"/>
                  <a:gd name="connsiteY2184" fmla="*/ 992975 h 3993936"/>
                  <a:gd name="connsiteX2185" fmla="*/ 3422677 w 3565209"/>
                  <a:gd name="connsiteY2185" fmla="*/ 997262 h 3993936"/>
                  <a:gd name="connsiteX2186" fmla="*/ 3421098 w 3565209"/>
                  <a:gd name="connsiteY2186" fmla="*/ 999068 h 3993936"/>
                  <a:gd name="connsiteX2187" fmla="*/ 3409139 w 3565209"/>
                  <a:gd name="connsiteY2187" fmla="*/ 1007868 h 3993936"/>
                  <a:gd name="connsiteX2188" fmla="*/ 3405528 w 3565209"/>
                  <a:gd name="connsiteY2188" fmla="*/ 1004934 h 3993936"/>
                  <a:gd name="connsiteX2189" fmla="*/ 3403272 w 3565209"/>
                  <a:gd name="connsiteY2189" fmla="*/ 997262 h 3993936"/>
                  <a:gd name="connsiteX2190" fmla="*/ 3402144 w 3565209"/>
                  <a:gd name="connsiteY2190" fmla="*/ 990944 h 3993936"/>
                  <a:gd name="connsiteX2191" fmla="*/ 3405303 w 3565209"/>
                  <a:gd name="connsiteY2191" fmla="*/ 981467 h 3993936"/>
                  <a:gd name="connsiteX2192" fmla="*/ 3409590 w 3565209"/>
                  <a:gd name="connsiteY2192" fmla="*/ 977631 h 3993936"/>
                  <a:gd name="connsiteX2193" fmla="*/ 3416359 w 3565209"/>
                  <a:gd name="connsiteY2193" fmla="*/ 964995 h 3993936"/>
                  <a:gd name="connsiteX2194" fmla="*/ 3411846 w 3565209"/>
                  <a:gd name="connsiteY2194" fmla="*/ 963415 h 3993936"/>
                  <a:gd name="connsiteX2195" fmla="*/ 3404174 w 3565209"/>
                  <a:gd name="connsiteY2195" fmla="*/ 961385 h 3993936"/>
                  <a:gd name="connsiteX2196" fmla="*/ 3403497 w 3565209"/>
                  <a:gd name="connsiteY2196" fmla="*/ 957097 h 3993936"/>
                  <a:gd name="connsiteX2197" fmla="*/ 3402369 w 3565209"/>
                  <a:gd name="connsiteY2197" fmla="*/ 950328 h 3993936"/>
                  <a:gd name="connsiteX2198" fmla="*/ 3391989 w 3565209"/>
                  <a:gd name="connsiteY2198" fmla="*/ 943333 h 3993936"/>
                  <a:gd name="connsiteX2199" fmla="*/ 3390861 w 3565209"/>
                  <a:gd name="connsiteY2199" fmla="*/ 943333 h 3993936"/>
                  <a:gd name="connsiteX2200" fmla="*/ 3372810 w 3565209"/>
                  <a:gd name="connsiteY2200" fmla="*/ 954164 h 3993936"/>
                  <a:gd name="connsiteX2201" fmla="*/ 3361753 w 3565209"/>
                  <a:gd name="connsiteY2201" fmla="*/ 961610 h 3993936"/>
                  <a:gd name="connsiteX2202" fmla="*/ 3331291 w 3565209"/>
                  <a:gd name="connsiteY2202" fmla="*/ 980790 h 3993936"/>
                  <a:gd name="connsiteX2203" fmla="*/ 3328357 w 3565209"/>
                  <a:gd name="connsiteY2203" fmla="*/ 987108 h 3993936"/>
                  <a:gd name="connsiteX2204" fmla="*/ 3318880 w 3565209"/>
                  <a:gd name="connsiteY2204" fmla="*/ 997037 h 3993936"/>
                  <a:gd name="connsiteX2205" fmla="*/ 3315270 w 3565209"/>
                  <a:gd name="connsiteY2205" fmla="*/ 1003581 h 3993936"/>
                  <a:gd name="connsiteX2206" fmla="*/ 3310531 w 3565209"/>
                  <a:gd name="connsiteY2206" fmla="*/ 1010576 h 3993936"/>
                  <a:gd name="connsiteX2207" fmla="*/ 3302408 w 3565209"/>
                  <a:gd name="connsiteY2207" fmla="*/ 1008770 h 3993936"/>
                  <a:gd name="connsiteX2208" fmla="*/ 3299249 w 3565209"/>
                  <a:gd name="connsiteY2208" fmla="*/ 1007191 h 3993936"/>
                  <a:gd name="connsiteX2209" fmla="*/ 3293382 w 3565209"/>
                  <a:gd name="connsiteY2209" fmla="*/ 1004257 h 3993936"/>
                  <a:gd name="connsiteX2210" fmla="*/ 3287741 w 3565209"/>
                  <a:gd name="connsiteY2210" fmla="*/ 1001098 h 3993936"/>
                  <a:gd name="connsiteX2211" fmla="*/ 3267207 w 3565209"/>
                  <a:gd name="connsiteY2211" fmla="*/ 996585 h 3993936"/>
                  <a:gd name="connsiteX2212" fmla="*/ 3239453 w 3565209"/>
                  <a:gd name="connsiteY2212" fmla="*/ 991170 h 3993936"/>
                  <a:gd name="connsiteX2213" fmla="*/ 3212150 w 3565209"/>
                  <a:gd name="connsiteY2213" fmla="*/ 987108 h 3993936"/>
                  <a:gd name="connsiteX2214" fmla="*/ 3187780 w 3565209"/>
                  <a:gd name="connsiteY2214" fmla="*/ 1005386 h 3993936"/>
                  <a:gd name="connsiteX2215" fmla="*/ 3171082 w 3565209"/>
                  <a:gd name="connsiteY2215" fmla="*/ 1029078 h 3993936"/>
                  <a:gd name="connsiteX2216" fmla="*/ 3119860 w 3565209"/>
                  <a:gd name="connsiteY2216" fmla="*/ 1077141 h 3993936"/>
                  <a:gd name="connsiteX2217" fmla="*/ 3105645 w 3565209"/>
                  <a:gd name="connsiteY2217" fmla="*/ 1079398 h 3993936"/>
                  <a:gd name="connsiteX2218" fmla="*/ 3083305 w 3565209"/>
                  <a:gd name="connsiteY2218" fmla="*/ 1085039 h 3993936"/>
                  <a:gd name="connsiteX2219" fmla="*/ 3065705 w 3565209"/>
                  <a:gd name="connsiteY2219" fmla="*/ 1130845 h 3993936"/>
                  <a:gd name="connsiteX2220" fmla="*/ 3065705 w 3565209"/>
                  <a:gd name="connsiteY2220" fmla="*/ 1132650 h 3993936"/>
                  <a:gd name="connsiteX2221" fmla="*/ 3063900 w 3565209"/>
                  <a:gd name="connsiteY2221" fmla="*/ 1132650 h 3993936"/>
                  <a:gd name="connsiteX2222" fmla="*/ 3005683 w 3565209"/>
                  <a:gd name="connsiteY2222" fmla="*/ 1188385 h 3993936"/>
                  <a:gd name="connsiteX2223" fmla="*/ 3005683 w 3565209"/>
                  <a:gd name="connsiteY2223" fmla="*/ 1189964 h 3993936"/>
                  <a:gd name="connsiteX2224" fmla="*/ 3004104 w 3565209"/>
                  <a:gd name="connsiteY2224" fmla="*/ 1190190 h 3993936"/>
                  <a:gd name="connsiteX2225" fmla="*/ 2993724 w 3565209"/>
                  <a:gd name="connsiteY2225" fmla="*/ 1201021 h 3993936"/>
                  <a:gd name="connsiteX2226" fmla="*/ 2993498 w 3565209"/>
                  <a:gd name="connsiteY2226" fmla="*/ 1202375 h 3993936"/>
                  <a:gd name="connsiteX2227" fmla="*/ 2992145 w 3565209"/>
                  <a:gd name="connsiteY2227" fmla="*/ 1202600 h 3993936"/>
                  <a:gd name="connsiteX2228" fmla="*/ 2981990 w 3565209"/>
                  <a:gd name="connsiteY2228" fmla="*/ 1205985 h 3993936"/>
                  <a:gd name="connsiteX2229" fmla="*/ 2960780 w 3565209"/>
                  <a:gd name="connsiteY2229" fmla="*/ 1211626 h 3993936"/>
                  <a:gd name="connsiteX2230" fmla="*/ 2955590 w 3565209"/>
                  <a:gd name="connsiteY2230" fmla="*/ 1207339 h 3993936"/>
                  <a:gd name="connsiteX2231" fmla="*/ 2949723 w 3565209"/>
                  <a:gd name="connsiteY2231" fmla="*/ 1203954 h 3993936"/>
                  <a:gd name="connsiteX2232" fmla="*/ 2947466 w 3565209"/>
                  <a:gd name="connsiteY2232" fmla="*/ 1204406 h 3993936"/>
                  <a:gd name="connsiteX2233" fmla="*/ 2943179 w 3565209"/>
                  <a:gd name="connsiteY2233" fmla="*/ 1207565 h 3993936"/>
                  <a:gd name="connsiteX2234" fmla="*/ 2937312 w 3565209"/>
                  <a:gd name="connsiteY2234" fmla="*/ 1213883 h 3993936"/>
                  <a:gd name="connsiteX2235" fmla="*/ 2930543 w 3565209"/>
                  <a:gd name="connsiteY2235" fmla="*/ 1219073 h 3993936"/>
                  <a:gd name="connsiteX2236" fmla="*/ 2924451 w 3565209"/>
                  <a:gd name="connsiteY2236" fmla="*/ 1222909 h 3993936"/>
                  <a:gd name="connsiteX2237" fmla="*/ 2911137 w 3565209"/>
                  <a:gd name="connsiteY2237" fmla="*/ 1229452 h 3993936"/>
                  <a:gd name="connsiteX2238" fmla="*/ 2903014 w 3565209"/>
                  <a:gd name="connsiteY2238" fmla="*/ 1225842 h 3993936"/>
                  <a:gd name="connsiteX2239" fmla="*/ 2898953 w 3565209"/>
                  <a:gd name="connsiteY2239" fmla="*/ 1220652 h 3993936"/>
                  <a:gd name="connsiteX2240" fmla="*/ 2881803 w 3565209"/>
                  <a:gd name="connsiteY2240" fmla="*/ 1213657 h 3993936"/>
                  <a:gd name="connsiteX2241" fmla="*/ 2880901 w 3565209"/>
                  <a:gd name="connsiteY2241" fmla="*/ 1213883 h 3993936"/>
                  <a:gd name="connsiteX2242" fmla="*/ 2882029 w 3565209"/>
                  <a:gd name="connsiteY2242" fmla="*/ 1217042 h 3993936"/>
                  <a:gd name="connsiteX2243" fmla="*/ 2882706 w 3565209"/>
                  <a:gd name="connsiteY2243" fmla="*/ 1224262 h 3993936"/>
                  <a:gd name="connsiteX2244" fmla="*/ 2881578 w 3565209"/>
                  <a:gd name="connsiteY2244" fmla="*/ 1227421 h 3993936"/>
                  <a:gd name="connsiteX2245" fmla="*/ 2877516 w 3565209"/>
                  <a:gd name="connsiteY2245" fmla="*/ 1234417 h 3993936"/>
                  <a:gd name="connsiteX2246" fmla="*/ 2875937 w 3565209"/>
                  <a:gd name="connsiteY2246" fmla="*/ 1240735 h 3993936"/>
                  <a:gd name="connsiteX2247" fmla="*/ 2876388 w 3565209"/>
                  <a:gd name="connsiteY2247" fmla="*/ 1244345 h 3993936"/>
                  <a:gd name="connsiteX2248" fmla="*/ 2883834 w 3565209"/>
                  <a:gd name="connsiteY2248" fmla="*/ 1253822 h 3993936"/>
                  <a:gd name="connsiteX2249" fmla="*/ 2895117 w 3565209"/>
                  <a:gd name="connsiteY2249" fmla="*/ 1258561 h 3993936"/>
                  <a:gd name="connsiteX2250" fmla="*/ 2900306 w 3565209"/>
                  <a:gd name="connsiteY2250" fmla="*/ 1256530 h 3993936"/>
                  <a:gd name="connsiteX2251" fmla="*/ 2919035 w 3565209"/>
                  <a:gd name="connsiteY2251" fmla="*/ 1254048 h 3993936"/>
                  <a:gd name="connsiteX2252" fmla="*/ 2920163 w 3565209"/>
                  <a:gd name="connsiteY2252" fmla="*/ 1253822 h 3993936"/>
                  <a:gd name="connsiteX2253" fmla="*/ 2933928 w 3565209"/>
                  <a:gd name="connsiteY2253" fmla="*/ 1262397 h 3993936"/>
                  <a:gd name="connsiteX2254" fmla="*/ 2935282 w 3565209"/>
                  <a:gd name="connsiteY2254" fmla="*/ 1264653 h 3993936"/>
                  <a:gd name="connsiteX2255" fmla="*/ 2943179 w 3565209"/>
                  <a:gd name="connsiteY2255" fmla="*/ 1281577 h 3993936"/>
                  <a:gd name="connsiteX2256" fmla="*/ 2938666 w 3565209"/>
                  <a:gd name="connsiteY2256" fmla="*/ 1298500 h 3993936"/>
                  <a:gd name="connsiteX2257" fmla="*/ 2942051 w 3565209"/>
                  <a:gd name="connsiteY2257" fmla="*/ 1310008 h 3993936"/>
                  <a:gd name="connsiteX2258" fmla="*/ 2949497 w 3565209"/>
                  <a:gd name="connsiteY2258" fmla="*/ 1327157 h 3993936"/>
                  <a:gd name="connsiteX2259" fmla="*/ 2947692 w 3565209"/>
                  <a:gd name="connsiteY2259" fmla="*/ 1342727 h 3993936"/>
                  <a:gd name="connsiteX2260" fmla="*/ 2947466 w 3565209"/>
                  <a:gd name="connsiteY2260" fmla="*/ 1343629 h 3993936"/>
                  <a:gd name="connsiteX2261" fmla="*/ 2946564 w 3565209"/>
                  <a:gd name="connsiteY2261" fmla="*/ 1343855 h 3993936"/>
                  <a:gd name="connsiteX2262" fmla="*/ 2931671 w 3565209"/>
                  <a:gd name="connsiteY2262" fmla="*/ 1342501 h 3993936"/>
                  <a:gd name="connsiteX2263" fmla="*/ 2922194 w 3565209"/>
                  <a:gd name="connsiteY2263" fmla="*/ 1336634 h 3993936"/>
                  <a:gd name="connsiteX2264" fmla="*/ 2909332 w 3565209"/>
                  <a:gd name="connsiteY2264" fmla="*/ 1342952 h 3993936"/>
                  <a:gd name="connsiteX2265" fmla="*/ 2898050 w 3565209"/>
                  <a:gd name="connsiteY2265" fmla="*/ 1352655 h 3993936"/>
                  <a:gd name="connsiteX2266" fmla="*/ 2886768 w 3565209"/>
                  <a:gd name="connsiteY2266" fmla="*/ 1353783 h 3993936"/>
                  <a:gd name="connsiteX2267" fmla="*/ 2873680 w 3565209"/>
                  <a:gd name="connsiteY2267" fmla="*/ 1353783 h 3993936"/>
                  <a:gd name="connsiteX2268" fmla="*/ 2860818 w 3565209"/>
                  <a:gd name="connsiteY2268" fmla="*/ 1359424 h 3993936"/>
                  <a:gd name="connsiteX2269" fmla="*/ 2849310 w 3565209"/>
                  <a:gd name="connsiteY2269" fmla="*/ 1358973 h 3993936"/>
                  <a:gd name="connsiteX2270" fmla="*/ 2838479 w 3565209"/>
                  <a:gd name="connsiteY2270" fmla="*/ 1353106 h 3993936"/>
                  <a:gd name="connsiteX2271" fmla="*/ 2827197 w 3565209"/>
                  <a:gd name="connsiteY2271" fmla="*/ 1356040 h 3993936"/>
                  <a:gd name="connsiteX2272" fmla="*/ 2810499 w 3565209"/>
                  <a:gd name="connsiteY2272" fmla="*/ 1363260 h 3993936"/>
                  <a:gd name="connsiteX2273" fmla="*/ 2796058 w 3565209"/>
                  <a:gd name="connsiteY2273" fmla="*/ 1364614 h 3993936"/>
                  <a:gd name="connsiteX2274" fmla="*/ 2785904 w 3565209"/>
                  <a:gd name="connsiteY2274" fmla="*/ 1367548 h 3993936"/>
                  <a:gd name="connsiteX2275" fmla="*/ 2753185 w 3565209"/>
                  <a:gd name="connsiteY2275" fmla="*/ 1365291 h 3993936"/>
                  <a:gd name="connsiteX2276" fmla="*/ 2747544 w 3565209"/>
                  <a:gd name="connsiteY2276" fmla="*/ 1360101 h 3993936"/>
                  <a:gd name="connsiteX2277" fmla="*/ 2740323 w 3565209"/>
                  <a:gd name="connsiteY2277" fmla="*/ 1354912 h 3993936"/>
                  <a:gd name="connsiteX2278" fmla="*/ 2730395 w 3565209"/>
                  <a:gd name="connsiteY2278" fmla="*/ 1357394 h 3993936"/>
                  <a:gd name="connsiteX2279" fmla="*/ 2727462 w 3565209"/>
                  <a:gd name="connsiteY2279" fmla="*/ 1358973 h 3993936"/>
                  <a:gd name="connsiteX2280" fmla="*/ 2722497 w 3565209"/>
                  <a:gd name="connsiteY2280" fmla="*/ 1364840 h 3993936"/>
                  <a:gd name="connsiteX2281" fmla="*/ 2717759 w 3565209"/>
                  <a:gd name="connsiteY2281" fmla="*/ 1372512 h 3993936"/>
                  <a:gd name="connsiteX2282" fmla="*/ 2698804 w 3565209"/>
                  <a:gd name="connsiteY2282" fmla="*/ 1380184 h 3993936"/>
                  <a:gd name="connsiteX2283" fmla="*/ 2683912 w 3565209"/>
                  <a:gd name="connsiteY2283" fmla="*/ 1382215 h 3993936"/>
                  <a:gd name="connsiteX2284" fmla="*/ 2672630 w 3565209"/>
                  <a:gd name="connsiteY2284" fmla="*/ 1383343 h 3993936"/>
                  <a:gd name="connsiteX2285" fmla="*/ 2667665 w 3565209"/>
                  <a:gd name="connsiteY2285" fmla="*/ 1382666 h 3993936"/>
                  <a:gd name="connsiteX2286" fmla="*/ 2659091 w 3565209"/>
                  <a:gd name="connsiteY2286" fmla="*/ 1380861 h 3993936"/>
                  <a:gd name="connsiteX2287" fmla="*/ 2652773 w 3565209"/>
                  <a:gd name="connsiteY2287" fmla="*/ 1379958 h 3993936"/>
                  <a:gd name="connsiteX2288" fmla="*/ 2646906 w 3565209"/>
                  <a:gd name="connsiteY2288" fmla="*/ 1380184 h 3993936"/>
                  <a:gd name="connsiteX2289" fmla="*/ 2634947 w 3565209"/>
                  <a:gd name="connsiteY2289" fmla="*/ 1374543 h 3993936"/>
                  <a:gd name="connsiteX2290" fmla="*/ 2630208 w 3565209"/>
                  <a:gd name="connsiteY2290" fmla="*/ 1370255 h 3993936"/>
                  <a:gd name="connsiteX2291" fmla="*/ 2617120 w 3565209"/>
                  <a:gd name="connsiteY2291" fmla="*/ 1365968 h 3993936"/>
                  <a:gd name="connsiteX2292" fmla="*/ 2614864 w 3565209"/>
                  <a:gd name="connsiteY2292" fmla="*/ 1365968 h 3993936"/>
                  <a:gd name="connsiteX2293" fmla="*/ 2607869 w 3565209"/>
                  <a:gd name="connsiteY2293" fmla="*/ 1370030 h 3993936"/>
                  <a:gd name="connsiteX2294" fmla="*/ 2601325 w 3565209"/>
                  <a:gd name="connsiteY2294" fmla="*/ 1375220 h 3993936"/>
                  <a:gd name="connsiteX2295" fmla="*/ 2593202 w 3565209"/>
                  <a:gd name="connsiteY2295" fmla="*/ 1375445 h 3993936"/>
                  <a:gd name="connsiteX2296" fmla="*/ 2583274 w 3565209"/>
                  <a:gd name="connsiteY2296" fmla="*/ 1369353 h 3993936"/>
                  <a:gd name="connsiteX2297" fmla="*/ 2575602 w 3565209"/>
                  <a:gd name="connsiteY2297" fmla="*/ 1363937 h 3993936"/>
                  <a:gd name="connsiteX2298" fmla="*/ 2572894 w 3565209"/>
                  <a:gd name="connsiteY2298" fmla="*/ 1362132 h 3993936"/>
                  <a:gd name="connsiteX2299" fmla="*/ 2559806 w 3565209"/>
                  <a:gd name="connsiteY2299" fmla="*/ 1358747 h 3993936"/>
                  <a:gd name="connsiteX2300" fmla="*/ 2552811 w 3565209"/>
                  <a:gd name="connsiteY2300" fmla="*/ 1356491 h 3993936"/>
                  <a:gd name="connsiteX2301" fmla="*/ 2553488 w 3565209"/>
                  <a:gd name="connsiteY2301" fmla="*/ 1349947 h 3993936"/>
                  <a:gd name="connsiteX2302" fmla="*/ 2554617 w 3565209"/>
                  <a:gd name="connsiteY2302" fmla="*/ 1346563 h 3993936"/>
                  <a:gd name="connsiteX2303" fmla="*/ 2545139 w 3565209"/>
                  <a:gd name="connsiteY2303" fmla="*/ 1334378 h 3993936"/>
                  <a:gd name="connsiteX2304" fmla="*/ 2544011 w 3565209"/>
                  <a:gd name="connsiteY2304" fmla="*/ 1334152 h 3993936"/>
                  <a:gd name="connsiteX2305" fmla="*/ 2535888 w 3565209"/>
                  <a:gd name="connsiteY2305" fmla="*/ 1330316 h 3993936"/>
                  <a:gd name="connsiteX2306" fmla="*/ 2535662 w 3565209"/>
                  <a:gd name="connsiteY2306" fmla="*/ 1327383 h 3993936"/>
                  <a:gd name="connsiteX2307" fmla="*/ 2544237 w 3565209"/>
                  <a:gd name="connsiteY2307" fmla="*/ 1315649 h 3993936"/>
                  <a:gd name="connsiteX2308" fmla="*/ 2548073 w 3565209"/>
                  <a:gd name="connsiteY2308" fmla="*/ 1310911 h 3993936"/>
                  <a:gd name="connsiteX2309" fmla="*/ 2550781 w 3565209"/>
                  <a:gd name="connsiteY2309" fmla="*/ 1305495 h 3993936"/>
                  <a:gd name="connsiteX2310" fmla="*/ 2547847 w 3565209"/>
                  <a:gd name="connsiteY2310" fmla="*/ 1302787 h 3993936"/>
                  <a:gd name="connsiteX2311" fmla="*/ 2541078 w 3565209"/>
                  <a:gd name="connsiteY2311" fmla="*/ 1296469 h 3993936"/>
                  <a:gd name="connsiteX2312" fmla="*/ 2539498 w 3565209"/>
                  <a:gd name="connsiteY2312" fmla="*/ 1293761 h 3993936"/>
                  <a:gd name="connsiteX2313" fmla="*/ 2538370 w 3565209"/>
                  <a:gd name="connsiteY2313" fmla="*/ 1277515 h 3993936"/>
                  <a:gd name="connsiteX2314" fmla="*/ 2542206 w 3565209"/>
                  <a:gd name="connsiteY2314" fmla="*/ 1271422 h 3993936"/>
                  <a:gd name="connsiteX2315" fmla="*/ 2545365 w 3565209"/>
                  <a:gd name="connsiteY2315" fmla="*/ 1265330 h 3993936"/>
                  <a:gd name="connsiteX2316" fmla="*/ 2545591 w 3565209"/>
                  <a:gd name="connsiteY2316" fmla="*/ 1263074 h 3993936"/>
                  <a:gd name="connsiteX2317" fmla="*/ 2549878 w 3565209"/>
                  <a:gd name="connsiteY2317" fmla="*/ 1240960 h 3993936"/>
                  <a:gd name="connsiteX2318" fmla="*/ 2545365 w 3565209"/>
                  <a:gd name="connsiteY2318" fmla="*/ 1222232 h 3993936"/>
                  <a:gd name="connsiteX2319" fmla="*/ 2544914 w 3565209"/>
                  <a:gd name="connsiteY2319" fmla="*/ 1221780 h 3993936"/>
                  <a:gd name="connsiteX2320" fmla="*/ 2522575 w 3565209"/>
                  <a:gd name="connsiteY2320" fmla="*/ 1208693 h 3993936"/>
                  <a:gd name="connsiteX2321" fmla="*/ 2514677 w 3565209"/>
                  <a:gd name="connsiteY2321" fmla="*/ 1206436 h 3993936"/>
                  <a:gd name="connsiteX2322" fmla="*/ 2509262 w 3565209"/>
                  <a:gd name="connsiteY2322" fmla="*/ 1209370 h 3993936"/>
                  <a:gd name="connsiteX2323" fmla="*/ 2502718 w 3565209"/>
                  <a:gd name="connsiteY2323" fmla="*/ 1213883 h 3993936"/>
                  <a:gd name="connsiteX2324" fmla="*/ 2499559 w 3565209"/>
                  <a:gd name="connsiteY2324" fmla="*/ 1218170 h 3993936"/>
                  <a:gd name="connsiteX2325" fmla="*/ 2487148 w 3565209"/>
                  <a:gd name="connsiteY2325" fmla="*/ 1229227 h 3993936"/>
                  <a:gd name="connsiteX2326" fmla="*/ 2476092 w 3565209"/>
                  <a:gd name="connsiteY2326" fmla="*/ 1230580 h 3993936"/>
                  <a:gd name="connsiteX2327" fmla="*/ 2469999 w 3565209"/>
                  <a:gd name="connsiteY2327" fmla="*/ 1229678 h 3993936"/>
                  <a:gd name="connsiteX2328" fmla="*/ 2457589 w 3565209"/>
                  <a:gd name="connsiteY2328" fmla="*/ 1232386 h 3993936"/>
                  <a:gd name="connsiteX2329" fmla="*/ 2459845 w 3565209"/>
                  <a:gd name="connsiteY2329" fmla="*/ 1237124 h 3993936"/>
                  <a:gd name="connsiteX2330" fmla="*/ 2463230 w 3565209"/>
                  <a:gd name="connsiteY2330" fmla="*/ 1242540 h 3993936"/>
                  <a:gd name="connsiteX2331" fmla="*/ 2465938 w 3565209"/>
                  <a:gd name="connsiteY2331" fmla="*/ 1246601 h 3993936"/>
                  <a:gd name="connsiteX2332" fmla="*/ 2467743 w 3565209"/>
                  <a:gd name="connsiteY2332" fmla="*/ 1256981 h 3993936"/>
                  <a:gd name="connsiteX2333" fmla="*/ 2465486 w 3565209"/>
                  <a:gd name="connsiteY2333" fmla="*/ 1261494 h 3993936"/>
                  <a:gd name="connsiteX2334" fmla="*/ 2460296 w 3565209"/>
                  <a:gd name="connsiteY2334" fmla="*/ 1269166 h 3993936"/>
                  <a:gd name="connsiteX2335" fmla="*/ 2458717 w 3565209"/>
                  <a:gd name="connsiteY2335" fmla="*/ 1276612 h 3993936"/>
                  <a:gd name="connsiteX2336" fmla="*/ 2457589 w 3565209"/>
                  <a:gd name="connsiteY2336" fmla="*/ 1286315 h 3993936"/>
                  <a:gd name="connsiteX2337" fmla="*/ 2456009 w 3565209"/>
                  <a:gd name="connsiteY2337" fmla="*/ 1289023 h 3993936"/>
                  <a:gd name="connsiteX2338" fmla="*/ 2451947 w 3565209"/>
                  <a:gd name="connsiteY2338" fmla="*/ 1307526 h 3993936"/>
                  <a:gd name="connsiteX2339" fmla="*/ 2454430 w 3565209"/>
                  <a:gd name="connsiteY2339" fmla="*/ 1323998 h 3993936"/>
                  <a:gd name="connsiteX2340" fmla="*/ 2455107 w 3565209"/>
                  <a:gd name="connsiteY2340" fmla="*/ 1328737 h 3993936"/>
                  <a:gd name="connsiteX2341" fmla="*/ 2451947 w 3565209"/>
                  <a:gd name="connsiteY2341" fmla="*/ 1332798 h 3993936"/>
                  <a:gd name="connsiteX2342" fmla="*/ 2447209 w 3565209"/>
                  <a:gd name="connsiteY2342" fmla="*/ 1340245 h 3993936"/>
                  <a:gd name="connsiteX2343" fmla="*/ 2460522 w 3565209"/>
                  <a:gd name="connsiteY2343" fmla="*/ 1358973 h 3993936"/>
                  <a:gd name="connsiteX2344" fmla="*/ 2474738 w 3565209"/>
                  <a:gd name="connsiteY2344" fmla="*/ 1379733 h 3993936"/>
                  <a:gd name="connsiteX2345" fmla="*/ 2475189 w 3565209"/>
                  <a:gd name="connsiteY2345" fmla="*/ 1381538 h 3993936"/>
                  <a:gd name="connsiteX2346" fmla="*/ 2472481 w 3565209"/>
                  <a:gd name="connsiteY2346" fmla="*/ 1405908 h 3993936"/>
                  <a:gd name="connsiteX2347" fmla="*/ 2469774 w 3565209"/>
                  <a:gd name="connsiteY2347" fmla="*/ 1412451 h 3993936"/>
                  <a:gd name="connsiteX2348" fmla="*/ 2465712 w 3565209"/>
                  <a:gd name="connsiteY2348" fmla="*/ 1421703 h 3993936"/>
                  <a:gd name="connsiteX2349" fmla="*/ 2460973 w 3565209"/>
                  <a:gd name="connsiteY2349" fmla="*/ 1434565 h 3993936"/>
                  <a:gd name="connsiteX2350" fmla="*/ 2456009 w 3565209"/>
                  <a:gd name="connsiteY2350" fmla="*/ 1445170 h 3993936"/>
                  <a:gd name="connsiteX2351" fmla="*/ 2450142 w 3565209"/>
                  <a:gd name="connsiteY2351" fmla="*/ 1443365 h 3993936"/>
                  <a:gd name="connsiteX2352" fmla="*/ 2448112 w 3565209"/>
                  <a:gd name="connsiteY2352" fmla="*/ 1442236 h 3993936"/>
                  <a:gd name="connsiteX2353" fmla="*/ 2439988 w 3565209"/>
                  <a:gd name="connsiteY2353" fmla="*/ 1433436 h 3993936"/>
                  <a:gd name="connsiteX2354" fmla="*/ 2431188 w 3565209"/>
                  <a:gd name="connsiteY2354" fmla="*/ 1431406 h 3993936"/>
                  <a:gd name="connsiteX2355" fmla="*/ 2426675 w 3565209"/>
                  <a:gd name="connsiteY2355" fmla="*/ 1432082 h 3993936"/>
                  <a:gd name="connsiteX2356" fmla="*/ 2423516 w 3565209"/>
                  <a:gd name="connsiteY2356" fmla="*/ 1432759 h 3993936"/>
                  <a:gd name="connsiteX2357" fmla="*/ 2423516 w 3565209"/>
                  <a:gd name="connsiteY2357" fmla="*/ 1432985 h 3993936"/>
                  <a:gd name="connsiteX2358" fmla="*/ 2423516 w 3565209"/>
                  <a:gd name="connsiteY2358" fmla="*/ 1437498 h 3993936"/>
                  <a:gd name="connsiteX2359" fmla="*/ 2414265 w 3565209"/>
                  <a:gd name="connsiteY2359" fmla="*/ 1444719 h 3993936"/>
                  <a:gd name="connsiteX2360" fmla="*/ 2411783 w 3565209"/>
                  <a:gd name="connsiteY2360" fmla="*/ 1445621 h 3993936"/>
                  <a:gd name="connsiteX2361" fmla="*/ 2403885 w 3565209"/>
                  <a:gd name="connsiteY2361" fmla="*/ 1446975 h 3993936"/>
                  <a:gd name="connsiteX2362" fmla="*/ 2397341 w 3565209"/>
                  <a:gd name="connsiteY2362" fmla="*/ 1443365 h 3993936"/>
                  <a:gd name="connsiteX2363" fmla="*/ 2391700 w 3565209"/>
                  <a:gd name="connsiteY2363" fmla="*/ 1440431 h 3993936"/>
                  <a:gd name="connsiteX2364" fmla="*/ 2376356 w 3565209"/>
                  <a:gd name="connsiteY2364" fmla="*/ 1445621 h 3993936"/>
                  <a:gd name="connsiteX2365" fmla="*/ 2352889 w 3565209"/>
                  <a:gd name="connsiteY2365" fmla="*/ 1443590 h 3993936"/>
                  <a:gd name="connsiteX2366" fmla="*/ 2348602 w 3565209"/>
                  <a:gd name="connsiteY2366" fmla="*/ 1440657 h 3993936"/>
                  <a:gd name="connsiteX2367" fmla="*/ 2318139 w 3565209"/>
                  <a:gd name="connsiteY2367" fmla="*/ 1439303 h 3993936"/>
                  <a:gd name="connsiteX2368" fmla="*/ 2266918 w 3565209"/>
                  <a:gd name="connsiteY2368" fmla="*/ 1434790 h 3993936"/>
                  <a:gd name="connsiteX2369" fmla="*/ 2263082 w 3565209"/>
                  <a:gd name="connsiteY2369" fmla="*/ 1433211 h 3993936"/>
                  <a:gd name="connsiteX2370" fmla="*/ 2218404 w 3565209"/>
                  <a:gd name="connsiteY2370" fmla="*/ 1423508 h 3993936"/>
                  <a:gd name="connsiteX2371" fmla="*/ 2207798 w 3565209"/>
                  <a:gd name="connsiteY2371" fmla="*/ 1426441 h 3993936"/>
                  <a:gd name="connsiteX2372" fmla="*/ 2195614 w 3565209"/>
                  <a:gd name="connsiteY2372" fmla="*/ 1429600 h 3993936"/>
                  <a:gd name="connsiteX2373" fmla="*/ 2173049 w 3565209"/>
                  <a:gd name="connsiteY2373" fmla="*/ 1420575 h 3993936"/>
                  <a:gd name="connsiteX2374" fmla="*/ 2170567 w 3565209"/>
                  <a:gd name="connsiteY2374" fmla="*/ 1408164 h 3993936"/>
                  <a:gd name="connsiteX2375" fmla="*/ 2166731 w 3565209"/>
                  <a:gd name="connsiteY2375" fmla="*/ 1395528 h 3993936"/>
                  <a:gd name="connsiteX2376" fmla="*/ 2146423 w 3565209"/>
                  <a:gd name="connsiteY2376" fmla="*/ 1400718 h 3993936"/>
                  <a:gd name="connsiteX2377" fmla="*/ 2141684 w 3565209"/>
                  <a:gd name="connsiteY2377" fmla="*/ 1403651 h 3993936"/>
                  <a:gd name="connsiteX2378" fmla="*/ 2095201 w 3565209"/>
                  <a:gd name="connsiteY2378" fmla="*/ 1394174 h 3993936"/>
                  <a:gd name="connsiteX2379" fmla="*/ 2088883 w 3565209"/>
                  <a:gd name="connsiteY2379" fmla="*/ 1389435 h 3993936"/>
                  <a:gd name="connsiteX2380" fmla="*/ 2043077 w 3565209"/>
                  <a:gd name="connsiteY2380" fmla="*/ 1375671 h 3993936"/>
                  <a:gd name="connsiteX2381" fmla="*/ 2039241 w 3565209"/>
                  <a:gd name="connsiteY2381" fmla="*/ 1373640 h 3993936"/>
                  <a:gd name="connsiteX2382" fmla="*/ 2041046 w 3565209"/>
                  <a:gd name="connsiteY2382" fmla="*/ 1360327 h 3993936"/>
                  <a:gd name="connsiteX2383" fmla="*/ 2042400 w 3565209"/>
                  <a:gd name="connsiteY2383" fmla="*/ 1356491 h 3993936"/>
                  <a:gd name="connsiteX2384" fmla="*/ 2037887 w 3565209"/>
                  <a:gd name="connsiteY2384" fmla="*/ 1338214 h 3993936"/>
                  <a:gd name="connsiteX2385" fmla="*/ 2021189 w 3565209"/>
                  <a:gd name="connsiteY2385" fmla="*/ 1328737 h 3993936"/>
                  <a:gd name="connsiteX2386" fmla="*/ 2011261 w 3565209"/>
                  <a:gd name="connsiteY2386" fmla="*/ 1330542 h 3993936"/>
                  <a:gd name="connsiteX2387" fmla="*/ 2002912 w 3565209"/>
                  <a:gd name="connsiteY2387" fmla="*/ 1332121 h 3993936"/>
                  <a:gd name="connsiteX2388" fmla="*/ 1994337 w 3565209"/>
                  <a:gd name="connsiteY2388" fmla="*/ 1323321 h 3993936"/>
                  <a:gd name="connsiteX2389" fmla="*/ 1990501 w 3565209"/>
                  <a:gd name="connsiteY2389" fmla="*/ 1316100 h 3993936"/>
                  <a:gd name="connsiteX2390" fmla="*/ 1974255 w 3565209"/>
                  <a:gd name="connsiteY2390" fmla="*/ 1317454 h 3993936"/>
                  <a:gd name="connsiteX2391" fmla="*/ 1973578 w 3565209"/>
                  <a:gd name="connsiteY2391" fmla="*/ 1318131 h 3993936"/>
                  <a:gd name="connsiteX2392" fmla="*/ 1959362 w 3565209"/>
                  <a:gd name="connsiteY2392" fmla="*/ 1322193 h 3993936"/>
                  <a:gd name="connsiteX2393" fmla="*/ 1956880 w 3565209"/>
                  <a:gd name="connsiteY2393" fmla="*/ 1321742 h 3993936"/>
                  <a:gd name="connsiteX2394" fmla="*/ 1946951 w 3565209"/>
                  <a:gd name="connsiteY2394" fmla="*/ 1333249 h 3993936"/>
                  <a:gd name="connsiteX2395" fmla="*/ 1943341 w 3565209"/>
                  <a:gd name="connsiteY2395" fmla="*/ 1338214 h 3993936"/>
                  <a:gd name="connsiteX2396" fmla="*/ 1943341 w 3565209"/>
                  <a:gd name="connsiteY2396" fmla="*/ 1338214 h 3993936"/>
                  <a:gd name="connsiteX2397" fmla="*/ 1940859 w 3565209"/>
                  <a:gd name="connsiteY2397" fmla="*/ 1335957 h 3993936"/>
                  <a:gd name="connsiteX2398" fmla="*/ 1931382 w 3565209"/>
                  <a:gd name="connsiteY2398" fmla="*/ 1327383 h 3993936"/>
                  <a:gd name="connsiteX2399" fmla="*/ 1923710 w 3565209"/>
                  <a:gd name="connsiteY2399" fmla="*/ 1321742 h 3993936"/>
                  <a:gd name="connsiteX2400" fmla="*/ 1891443 w 3565209"/>
                  <a:gd name="connsiteY2400" fmla="*/ 1319711 h 3993936"/>
                  <a:gd name="connsiteX2401" fmla="*/ 1889863 w 3565209"/>
                  <a:gd name="connsiteY2401" fmla="*/ 1319936 h 3993936"/>
                  <a:gd name="connsiteX2402" fmla="*/ 1887607 w 3565209"/>
                  <a:gd name="connsiteY2402" fmla="*/ 1321065 h 3993936"/>
                  <a:gd name="connsiteX2403" fmla="*/ 1887381 w 3565209"/>
                  <a:gd name="connsiteY2403" fmla="*/ 1331670 h 3993936"/>
                  <a:gd name="connsiteX2404" fmla="*/ 1887381 w 3565209"/>
                  <a:gd name="connsiteY2404" fmla="*/ 1339342 h 3993936"/>
                  <a:gd name="connsiteX2405" fmla="*/ 1884673 w 3565209"/>
                  <a:gd name="connsiteY2405" fmla="*/ 1340696 h 3993936"/>
                  <a:gd name="connsiteX2406" fmla="*/ 1884673 w 3565209"/>
                  <a:gd name="connsiteY2406" fmla="*/ 1340696 h 3993936"/>
                  <a:gd name="connsiteX2407" fmla="*/ 1868652 w 3565209"/>
                  <a:gd name="connsiteY2407" fmla="*/ 1326029 h 3993936"/>
                  <a:gd name="connsiteX2408" fmla="*/ 1854437 w 3565209"/>
                  <a:gd name="connsiteY2408" fmla="*/ 1322644 h 3993936"/>
                  <a:gd name="connsiteX2409" fmla="*/ 1853534 w 3565209"/>
                  <a:gd name="connsiteY2409" fmla="*/ 1322870 h 3993936"/>
                  <a:gd name="connsiteX2410" fmla="*/ 1830969 w 3565209"/>
                  <a:gd name="connsiteY2410" fmla="*/ 1322193 h 3993936"/>
                  <a:gd name="connsiteX2411" fmla="*/ 1780425 w 3565209"/>
                  <a:gd name="connsiteY2411" fmla="*/ 1298274 h 3993936"/>
                  <a:gd name="connsiteX2412" fmla="*/ 1758537 w 3565209"/>
                  <a:gd name="connsiteY2412" fmla="*/ 1287443 h 3993936"/>
                  <a:gd name="connsiteX2413" fmla="*/ 1745449 w 3565209"/>
                  <a:gd name="connsiteY2413" fmla="*/ 1280674 h 3993936"/>
                  <a:gd name="connsiteX2414" fmla="*/ 1744096 w 3565209"/>
                  <a:gd name="connsiteY2414" fmla="*/ 1279997 h 3993936"/>
                  <a:gd name="connsiteX2415" fmla="*/ 1714310 w 3565209"/>
                  <a:gd name="connsiteY2415" fmla="*/ 1270520 h 3993936"/>
                  <a:gd name="connsiteX2416" fmla="*/ 1674822 w 3565209"/>
                  <a:gd name="connsiteY2416" fmla="*/ 1253822 h 3993936"/>
                  <a:gd name="connsiteX2417" fmla="*/ 1662863 w 3565209"/>
                  <a:gd name="connsiteY2417" fmla="*/ 1244796 h 3993936"/>
                  <a:gd name="connsiteX2418" fmla="*/ 1641201 w 3565209"/>
                  <a:gd name="connsiteY2418" fmla="*/ 1225391 h 3993936"/>
                  <a:gd name="connsiteX2419" fmla="*/ 1610513 w 3565209"/>
                  <a:gd name="connsiteY2419" fmla="*/ 1201923 h 3993936"/>
                  <a:gd name="connsiteX2420" fmla="*/ 1591108 w 3565209"/>
                  <a:gd name="connsiteY2420" fmla="*/ 1190416 h 3993936"/>
                  <a:gd name="connsiteX2421" fmla="*/ 1545301 w 3565209"/>
                  <a:gd name="connsiteY2421" fmla="*/ 1170559 h 3993936"/>
                  <a:gd name="connsiteX2422" fmla="*/ 1524768 w 3565209"/>
                  <a:gd name="connsiteY2422" fmla="*/ 1163338 h 3993936"/>
                  <a:gd name="connsiteX2423" fmla="*/ 1485054 w 3565209"/>
                  <a:gd name="connsiteY2423" fmla="*/ 1126558 h 3993936"/>
                  <a:gd name="connsiteX2424" fmla="*/ 1490921 w 3565209"/>
                  <a:gd name="connsiteY2424" fmla="*/ 1111439 h 3993936"/>
                  <a:gd name="connsiteX2425" fmla="*/ 1501075 w 3565209"/>
                  <a:gd name="connsiteY2425" fmla="*/ 1077141 h 3993936"/>
                  <a:gd name="connsiteX2426" fmla="*/ 1516644 w 3565209"/>
                  <a:gd name="connsiteY2426" fmla="*/ 1041715 h 3993936"/>
                  <a:gd name="connsiteX2427" fmla="*/ 1526573 w 3565209"/>
                  <a:gd name="connsiteY2427" fmla="*/ 1019376 h 3993936"/>
                  <a:gd name="connsiteX2428" fmla="*/ 1530409 w 3565209"/>
                  <a:gd name="connsiteY2428" fmla="*/ 1004709 h 3993936"/>
                  <a:gd name="connsiteX2429" fmla="*/ 1544850 w 3565209"/>
                  <a:gd name="connsiteY2429" fmla="*/ 989365 h 3993936"/>
                  <a:gd name="connsiteX2430" fmla="*/ 1555230 w 3565209"/>
                  <a:gd name="connsiteY2430" fmla="*/ 980790 h 3993936"/>
                  <a:gd name="connsiteX2431" fmla="*/ 1560420 w 3565209"/>
                  <a:gd name="connsiteY2431" fmla="*/ 974021 h 3993936"/>
                  <a:gd name="connsiteX2432" fmla="*/ 1575764 w 3565209"/>
                  <a:gd name="connsiteY2432" fmla="*/ 940400 h 3993936"/>
                  <a:gd name="connsiteX2433" fmla="*/ 1573507 w 3565209"/>
                  <a:gd name="connsiteY2433" fmla="*/ 936338 h 3993936"/>
                  <a:gd name="connsiteX2434" fmla="*/ 1555681 w 3565209"/>
                  <a:gd name="connsiteY2434" fmla="*/ 916481 h 3993936"/>
                  <a:gd name="connsiteX2435" fmla="*/ 1527927 w 3565209"/>
                  <a:gd name="connsiteY2435" fmla="*/ 904973 h 3993936"/>
                  <a:gd name="connsiteX2436" fmla="*/ 1511454 w 3565209"/>
                  <a:gd name="connsiteY2436" fmla="*/ 891434 h 3993936"/>
                  <a:gd name="connsiteX2437" fmla="*/ 1505362 w 3565209"/>
                  <a:gd name="connsiteY2437" fmla="*/ 885342 h 3993936"/>
                  <a:gd name="connsiteX2438" fmla="*/ 1498141 w 3565209"/>
                  <a:gd name="connsiteY2438" fmla="*/ 877219 h 3993936"/>
                  <a:gd name="connsiteX2439" fmla="*/ 1487310 w 3565209"/>
                  <a:gd name="connsiteY2439" fmla="*/ 867065 h 3993936"/>
                  <a:gd name="connsiteX2440" fmla="*/ 1478284 w 3565209"/>
                  <a:gd name="connsiteY2440" fmla="*/ 861198 h 3993936"/>
                  <a:gd name="connsiteX2441" fmla="*/ 1455945 w 3565209"/>
                  <a:gd name="connsiteY2441" fmla="*/ 846982 h 3993936"/>
                  <a:gd name="connsiteX2442" fmla="*/ 1443760 w 3565209"/>
                  <a:gd name="connsiteY2442" fmla="*/ 844951 h 3993936"/>
                  <a:gd name="connsiteX2443" fmla="*/ 1429319 w 3565209"/>
                  <a:gd name="connsiteY2443" fmla="*/ 844274 h 3993936"/>
                  <a:gd name="connsiteX2444" fmla="*/ 1393216 w 3565209"/>
                  <a:gd name="connsiteY2444" fmla="*/ 815617 h 3993936"/>
                  <a:gd name="connsiteX2445" fmla="*/ 1392313 w 3565209"/>
                  <a:gd name="connsiteY2445" fmla="*/ 814038 h 3993936"/>
                  <a:gd name="connsiteX2446" fmla="*/ 1376292 w 3565209"/>
                  <a:gd name="connsiteY2446" fmla="*/ 792601 h 3993936"/>
                  <a:gd name="connsiteX2447" fmla="*/ 1360271 w 3565209"/>
                  <a:gd name="connsiteY2447" fmla="*/ 797340 h 3993936"/>
                  <a:gd name="connsiteX2448" fmla="*/ 1357112 w 3565209"/>
                  <a:gd name="connsiteY2448" fmla="*/ 799145 h 3993936"/>
                  <a:gd name="connsiteX2449" fmla="*/ 1338384 w 3565209"/>
                  <a:gd name="connsiteY2449" fmla="*/ 794181 h 3993936"/>
                  <a:gd name="connsiteX2450" fmla="*/ 1331614 w 3565209"/>
                  <a:gd name="connsiteY2450" fmla="*/ 766652 h 3993936"/>
                  <a:gd name="connsiteX2451" fmla="*/ 1326425 w 3565209"/>
                  <a:gd name="connsiteY2451" fmla="*/ 746344 h 3993936"/>
                  <a:gd name="connsiteX2452" fmla="*/ 1324168 w 3565209"/>
                  <a:gd name="connsiteY2452" fmla="*/ 731677 h 3993936"/>
                  <a:gd name="connsiteX2453" fmla="*/ 1325973 w 3565209"/>
                  <a:gd name="connsiteY2453" fmla="*/ 722425 h 3993936"/>
                  <a:gd name="connsiteX2454" fmla="*/ 1316045 w 3565209"/>
                  <a:gd name="connsiteY2454" fmla="*/ 689255 h 3993936"/>
                  <a:gd name="connsiteX2455" fmla="*/ 1313563 w 3565209"/>
                  <a:gd name="connsiteY2455" fmla="*/ 686096 h 3993936"/>
                  <a:gd name="connsiteX2456" fmla="*/ 1296639 w 3565209"/>
                  <a:gd name="connsiteY2456" fmla="*/ 660147 h 3993936"/>
                  <a:gd name="connsiteX2457" fmla="*/ 1295060 w 3565209"/>
                  <a:gd name="connsiteY2457" fmla="*/ 648414 h 3993936"/>
                  <a:gd name="connsiteX2458" fmla="*/ 1292578 w 3565209"/>
                  <a:gd name="connsiteY2458" fmla="*/ 636454 h 3993936"/>
                  <a:gd name="connsiteX2459" fmla="*/ 1292578 w 3565209"/>
                  <a:gd name="connsiteY2459" fmla="*/ 624269 h 3993936"/>
                  <a:gd name="connsiteX2460" fmla="*/ 1300475 w 3565209"/>
                  <a:gd name="connsiteY2460" fmla="*/ 618628 h 3993936"/>
                  <a:gd name="connsiteX2461" fmla="*/ 1306116 w 3565209"/>
                  <a:gd name="connsiteY2461" fmla="*/ 616823 h 3993936"/>
                  <a:gd name="connsiteX2462" fmla="*/ 1326425 w 3565209"/>
                  <a:gd name="connsiteY2462" fmla="*/ 613438 h 3993936"/>
                  <a:gd name="connsiteX2463" fmla="*/ 1338384 w 3565209"/>
                  <a:gd name="connsiteY2463" fmla="*/ 628105 h 3993936"/>
                  <a:gd name="connsiteX2464" fmla="*/ 1342220 w 3565209"/>
                  <a:gd name="connsiteY2464" fmla="*/ 634198 h 3993936"/>
                  <a:gd name="connsiteX2465" fmla="*/ 1345830 w 3565209"/>
                  <a:gd name="connsiteY2465" fmla="*/ 637131 h 3993936"/>
                  <a:gd name="connsiteX2466" fmla="*/ 1361400 w 3565209"/>
                  <a:gd name="connsiteY2466" fmla="*/ 645931 h 3993936"/>
                  <a:gd name="connsiteX2467" fmla="*/ 1381257 w 3565209"/>
                  <a:gd name="connsiteY2467" fmla="*/ 631941 h 3993936"/>
                  <a:gd name="connsiteX2468" fmla="*/ 1384416 w 3565209"/>
                  <a:gd name="connsiteY2468" fmla="*/ 628331 h 3993936"/>
                  <a:gd name="connsiteX2469" fmla="*/ 1405175 w 3565209"/>
                  <a:gd name="connsiteY2469" fmla="*/ 619756 h 3993936"/>
                  <a:gd name="connsiteX2470" fmla="*/ 1408560 w 3565209"/>
                  <a:gd name="connsiteY2470" fmla="*/ 620208 h 3993936"/>
                  <a:gd name="connsiteX2471" fmla="*/ 1421647 w 3565209"/>
                  <a:gd name="connsiteY2471" fmla="*/ 603510 h 3993936"/>
                  <a:gd name="connsiteX2472" fmla="*/ 1410591 w 3565209"/>
                  <a:gd name="connsiteY2472" fmla="*/ 575079 h 3993936"/>
                  <a:gd name="connsiteX2473" fmla="*/ 1407657 w 3565209"/>
                  <a:gd name="connsiteY2473" fmla="*/ 571920 h 3993936"/>
                  <a:gd name="connsiteX2474" fmla="*/ 1404272 w 3565209"/>
                  <a:gd name="connsiteY2474" fmla="*/ 545970 h 3993936"/>
                  <a:gd name="connsiteX2475" fmla="*/ 1404724 w 3565209"/>
                  <a:gd name="connsiteY2475" fmla="*/ 533334 h 3993936"/>
                  <a:gd name="connsiteX2476" fmla="*/ 1368395 w 3565209"/>
                  <a:gd name="connsiteY2476" fmla="*/ 520698 h 3993936"/>
                  <a:gd name="connsiteX2477" fmla="*/ 1364108 w 3565209"/>
                  <a:gd name="connsiteY2477" fmla="*/ 519795 h 3993936"/>
                  <a:gd name="connsiteX2478" fmla="*/ 1351471 w 3565209"/>
                  <a:gd name="connsiteY2478" fmla="*/ 500841 h 3993936"/>
                  <a:gd name="connsiteX2479" fmla="*/ 1351471 w 3565209"/>
                  <a:gd name="connsiteY2479" fmla="*/ 498810 h 3993936"/>
                  <a:gd name="connsiteX2480" fmla="*/ 1360723 w 3565209"/>
                  <a:gd name="connsiteY2480" fmla="*/ 481435 h 3993936"/>
                  <a:gd name="connsiteX2481" fmla="*/ 1365236 w 3565209"/>
                  <a:gd name="connsiteY2481" fmla="*/ 476922 h 3993936"/>
                  <a:gd name="connsiteX2482" fmla="*/ 1358241 w 3565209"/>
                  <a:gd name="connsiteY2482" fmla="*/ 457291 h 3993936"/>
                  <a:gd name="connsiteX2483" fmla="*/ 1351246 w 3565209"/>
                  <a:gd name="connsiteY2483" fmla="*/ 439465 h 3993936"/>
                  <a:gd name="connsiteX2484" fmla="*/ 1375164 w 3565209"/>
                  <a:gd name="connsiteY2484" fmla="*/ 420737 h 3993936"/>
                  <a:gd name="connsiteX2485" fmla="*/ 1396149 w 3565209"/>
                  <a:gd name="connsiteY2485" fmla="*/ 417803 h 3993936"/>
                  <a:gd name="connsiteX2486" fmla="*/ 1411042 w 3565209"/>
                  <a:gd name="connsiteY2486" fmla="*/ 414644 h 3993936"/>
                  <a:gd name="connsiteX2487" fmla="*/ 1417586 w 3565209"/>
                  <a:gd name="connsiteY2487" fmla="*/ 390951 h 3993936"/>
                  <a:gd name="connsiteX2488" fmla="*/ 1427965 w 3565209"/>
                  <a:gd name="connsiteY2488" fmla="*/ 365228 h 3993936"/>
                  <a:gd name="connsiteX2489" fmla="*/ 1436540 w 3565209"/>
                  <a:gd name="connsiteY2489" fmla="*/ 361617 h 3993936"/>
                  <a:gd name="connsiteX2490" fmla="*/ 1446694 w 3565209"/>
                  <a:gd name="connsiteY2490" fmla="*/ 353043 h 3993936"/>
                  <a:gd name="connsiteX2491" fmla="*/ 1458653 w 3565209"/>
                  <a:gd name="connsiteY2491" fmla="*/ 339504 h 3993936"/>
                  <a:gd name="connsiteX2492" fmla="*/ 1463843 w 3565209"/>
                  <a:gd name="connsiteY2492" fmla="*/ 336796 h 3993936"/>
                  <a:gd name="connsiteX2493" fmla="*/ 1481895 w 3565209"/>
                  <a:gd name="connsiteY2493" fmla="*/ 311524 h 3993936"/>
                  <a:gd name="connsiteX2494" fmla="*/ 1482346 w 3565209"/>
                  <a:gd name="connsiteY2494" fmla="*/ 309944 h 3993936"/>
                  <a:gd name="connsiteX2495" fmla="*/ 1501300 w 3565209"/>
                  <a:gd name="connsiteY2495" fmla="*/ 258271 h 3993936"/>
                  <a:gd name="connsiteX2496" fmla="*/ 1504234 w 3565209"/>
                  <a:gd name="connsiteY2496" fmla="*/ 214722 h 3993936"/>
                  <a:gd name="connsiteX2497" fmla="*/ 1499946 w 3565209"/>
                  <a:gd name="connsiteY2497" fmla="*/ 210886 h 3993936"/>
                  <a:gd name="connsiteX2498" fmla="*/ 1465423 w 3565209"/>
                  <a:gd name="connsiteY2498" fmla="*/ 193285 h 3993936"/>
                  <a:gd name="connsiteX2499" fmla="*/ 1432704 w 3565209"/>
                  <a:gd name="connsiteY2499" fmla="*/ 177490 h 3993936"/>
                  <a:gd name="connsiteX2500" fmla="*/ 1406980 w 3565209"/>
                  <a:gd name="connsiteY2500" fmla="*/ 166433 h 3993936"/>
                  <a:gd name="connsiteX2501" fmla="*/ 1393216 w 3565209"/>
                  <a:gd name="connsiteY2501" fmla="*/ 170495 h 3993936"/>
                  <a:gd name="connsiteX2502" fmla="*/ 1386221 w 3565209"/>
                  <a:gd name="connsiteY2502" fmla="*/ 175008 h 3993936"/>
                  <a:gd name="connsiteX2503" fmla="*/ 1358918 w 3565209"/>
                  <a:gd name="connsiteY2503" fmla="*/ 176136 h 3993936"/>
                  <a:gd name="connsiteX2504" fmla="*/ 1318527 w 3565209"/>
                  <a:gd name="connsiteY2504" fmla="*/ 178167 h 3993936"/>
                  <a:gd name="connsiteX2505" fmla="*/ 1274977 w 3565209"/>
                  <a:gd name="connsiteY2505" fmla="*/ 206598 h 3993936"/>
                  <a:gd name="connsiteX2506" fmla="*/ 1263244 w 3565209"/>
                  <a:gd name="connsiteY2506" fmla="*/ 215399 h 3993936"/>
                  <a:gd name="connsiteX2507" fmla="*/ 1219468 w 3565209"/>
                  <a:gd name="connsiteY2507" fmla="*/ 225101 h 3993936"/>
                  <a:gd name="connsiteX2508" fmla="*/ 1195324 w 3565209"/>
                  <a:gd name="connsiteY2508" fmla="*/ 214045 h 3993936"/>
                  <a:gd name="connsiteX2509" fmla="*/ 1179529 w 3565209"/>
                  <a:gd name="connsiteY2509" fmla="*/ 200957 h 3993936"/>
                  <a:gd name="connsiteX2510" fmla="*/ 1130112 w 3565209"/>
                  <a:gd name="connsiteY2510" fmla="*/ 181100 h 3993936"/>
                  <a:gd name="connsiteX2511" fmla="*/ 1120861 w 3565209"/>
                  <a:gd name="connsiteY2511" fmla="*/ 158085 h 3993936"/>
                  <a:gd name="connsiteX2512" fmla="*/ 1118604 w 3565209"/>
                  <a:gd name="connsiteY2512" fmla="*/ 149736 h 3993936"/>
                  <a:gd name="connsiteX2513" fmla="*/ 1095814 w 3565209"/>
                  <a:gd name="connsiteY2513" fmla="*/ 125817 h 3993936"/>
                  <a:gd name="connsiteX2514" fmla="*/ 1091076 w 3565209"/>
                  <a:gd name="connsiteY2514" fmla="*/ 122432 h 3993936"/>
                  <a:gd name="connsiteX2515" fmla="*/ 1077537 w 3565209"/>
                  <a:gd name="connsiteY2515" fmla="*/ 109345 h 3993936"/>
                  <a:gd name="connsiteX2516" fmla="*/ 1055424 w 3565209"/>
                  <a:gd name="connsiteY2516" fmla="*/ 89939 h 3993936"/>
                  <a:gd name="connsiteX2517" fmla="*/ 1031956 w 3565209"/>
                  <a:gd name="connsiteY2517" fmla="*/ 76626 h 3993936"/>
                  <a:gd name="connsiteX2518" fmla="*/ 1008940 w 3565209"/>
                  <a:gd name="connsiteY2518" fmla="*/ 63539 h 3993936"/>
                  <a:gd name="connsiteX2519" fmla="*/ 972611 w 3565209"/>
                  <a:gd name="connsiteY2519" fmla="*/ 26307 h 3993936"/>
                  <a:gd name="connsiteX2520" fmla="*/ 961103 w 3565209"/>
                  <a:gd name="connsiteY2520" fmla="*/ 12091 h 3993936"/>
                  <a:gd name="connsiteX2521" fmla="*/ 943052 w 3565209"/>
                  <a:gd name="connsiteY2521" fmla="*/ 10963 h 3993936"/>
                  <a:gd name="connsiteX2522" fmla="*/ 921390 w 3565209"/>
                  <a:gd name="connsiteY2522" fmla="*/ 13220 h 3993936"/>
                  <a:gd name="connsiteX2523" fmla="*/ 903112 w 3565209"/>
                  <a:gd name="connsiteY2523" fmla="*/ 7579 h 3993936"/>
                  <a:gd name="connsiteX2524" fmla="*/ 889122 w 3565209"/>
                  <a:gd name="connsiteY2524" fmla="*/ 4420 h 3993936"/>
                  <a:gd name="connsiteX2525" fmla="*/ 874907 w 3565209"/>
                  <a:gd name="connsiteY2525" fmla="*/ 6450 h 3993936"/>
                  <a:gd name="connsiteX2526" fmla="*/ 856178 w 3565209"/>
                  <a:gd name="connsiteY2526" fmla="*/ 8256 h 3993936"/>
                  <a:gd name="connsiteX2527" fmla="*/ 817818 w 3565209"/>
                  <a:gd name="connsiteY2527" fmla="*/ 21569 h 3993936"/>
                  <a:gd name="connsiteX2528" fmla="*/ 816239 w 3565209"/>
                  <a:gd name="connsiteY2528" fmla="*/ 22246 h 3993936"/>
                  <a:gd name="connsiteX2529" fmla="*/ 807664 w 3565209"/>
                  <a:gd name="connsiteY2529" fmla="*/ 26984 h 3993936"/>
                  <a:gd name="connsiteX2530" fmla="*/ 783971 w 3565209"/>
                  <a:gd name="connsiteY2530" fmla="*/ 36913 h 3993936"/>
                  <a:gd name="connsiteX2531" fmla="*/ 751704 w 3565209"/>
                  <a:gd name="connsiteY2531" fmla="*/ 36010 h 3993936"/>
                  <a:gd name="connsiteX2532" fmla="*/ 725980 w 3565209"/>
                  <a:gd name="connsiteY2532" fmla="*/ 34430 h 3993936"/>
                  <a:gd name="connsiteX2533" fmla="*/ 700031 w 3565209"/>
                  <a:gd name="connsiteY2533" fmla="*/ 44810 h 3993936"/>
                  <a:gd name="connsiteX2534" fmla="*/ 693938 w 3565209"/>
                  <a:gd name="connsiteY2534" fmla="*/ 56769 h 3993936"/>
                  <a:gd name="connsiteX2535" fmla="*/ 681754 w 3565209"/>
                  <a:gd name="connsiteY2535" fmla="*/ 76626 h 3993936"/>
                  <a:gd name="connsiteX2536" fmla="*/ 662122 w 3565209"/>
                  <a:gd name="connsiteY2536" fmla="*/ 88134 h 3993936"/>
                  <a:gd name="connsiteX2537" fmla="*/ 642717 w 3565209"/>
                  <a:gd name="connsiteY2537" fmla="*/ 99191 h 3993936"/>
                  <a:gd name="connsiteX2538" fmla="*/ 636624 w 3565209"/>
                  <a:gd name="connsiteY2538" fmla="*/ 112730 h 3993936"/>
                  <a:gd name="connsiteX2539" fmla="*/ 646101 w 3565209"/>
                  <a:gd name="connsiteY2539" fmla="*/ 144997 h 3993936"/>
                  <a:gd name="connsiteX2540" fmla="*/ 675435 w 3565209"/>
                  <a:gd name="connsiteY2540" fmla="*/ 149961 h 3993936"/>
                  <a:gd name="connsiteX2541" fmla="*/ 682656 w 3565209"/>
                  <a:gd name="connsiteY2541" fmla="*/ 150187 h 3993936"/>
                  <a:gd name="connsiteX2542" fmla="*/ 713118 w 3565209"/>
                  <a:gd name="connsiteY2542" fmla="*/ 179070 h 3993936"/>
                  <a:gd name="connsiteX2543" fmla="*/ 727560 w 3565209"/>
                  <a:gd name="connsiteY2543" fmla="*/ 196219 h 3993936"/>
                  <a:gd name="connsiteX2544" fmla="*/ 743581 w 3565209"/>
                  <a:gd name="connsiteY2544" fmla="*/ 203439 h 3993936"/>
                  <a:gd name="connsiteX2545" fmla="*/ 762309 w 3565209"/>
                  <a:gd name="connsiteY2545" fmla="*/ 212691 h 3993936"/>
                  <a:gd name="connsiteX2546" fmla="*/ 772238 w 3565209"/>
                  <a:gd name="connsiteY2546" fmla="*/ 226004 h 3993936"/>
                  <a:gd name="connsiteX2547" fmla="*/ 784874 w 3565209"/>
                  <a:gd name="connsiteY2547" fmla="*/ 242025 h 3993936"/>
                  <a:gd name="connsiteX2548" fmla="*/ 802474 w 3565209"/>
                  <a:gd name="connsiteY2548" fmla="*/ 276323 h 3993936"/>
                  <a:gd name="connsiteX2549" fmla="*/ 798638 w 3565209"/>
                  <a:gd name="connsiteY2549" fmla="*/ 286477 h 3993936"/>
                  <a:gd name="connsiteX2550" fmla="*/ 791192 w 3565209"/>
                  <a:gd name="connsiteY2550" fmla="*/ 295052 h 3993936"/>
                  <a:gd name="connsiteX2551" fmla="*/ 766371 w 3565209"/>
                  <a:gd name="connsiteY2551" fmla="*/ 312652 h 3993936"/>
                  <a:gd name="connsiteX2552" fmla="*/ 760504 w 3565209"/>
                  <a:gd name="connsiteY2552" fmla="*/ 315134 h 3993936"/>
                  <a:gd name="connsiteX2553" fmla="*/ 761181 w 3565209"/>
                  <a:gd name="connsiteY2553" fmla="*/ 324837 h 3993936"/>
                  <a:gd name="connsiteX2554" fmla="*/ 760278 w 3565209"/>
                  <a:gd name="connsiteY2554" fmla="*/ 336119 h 3993936"/>
                  <a:gd name="connsiteX2555" fmla="*/ 755540 w 3565209"/>
                  <a:gd name="connsiteY2555" fmla="*/ 338601 h 3993936"/>
                  <a:gd name="connsiteX2556" fmla="*/ 737037 w 3565209"/>
                  <a:gd name="connsiteY2556" fmla="*/ 353043 h 3993936"/>
                  <a:gd name="connsiteX2557" fmla="*/ 739068 w 3565209"/>
                  <a:gd name="connsiteY2557" fmla="*/ 375833 h 3993936"/>
                  <a:gd name="connsiteX2558" fmla="*/ 742452 w 3565209"/>
                  <a:gd name="connsiteY2558" fmla="*/ 385987 h 3993936"/>
                  <a:gd name="connsiteX2559" fmla="*/ 745611 w 3565209"/>
                  <a:gd name="connsiteY2559" fmla="*/ 410808 h 3993936"/>
                  <a:gd name="connsiteX2560" fmla="*/ 746288 w 3565209"/>
                  <a:gd name="connsiteY2560" fmla="*/ 417578 h 3993936"/>
                  <a:gd name="connsiteX2561" fmla="*/ 744483 w 3565209"/>
                  <a:gd name="connsiteY2561" fmla="*/ 472635 h 3993936"/>
                  <a:gd name="connsiteX2562" fmla="*/ 746514 w 3565209"/>
                  <a:gd name="connsiteY2562" fmla="*/ 514605 h 3993936"/>
                  <a:gd name="connsiteX2563" fmla="*/ 748319 w 3565209"/>
                  <a:gd name="connsiteY2563" fmla="*/ 522052 h 3993936"/>
                  <a:gd name="connsiteX2564" fmla="*/ 762986 w 3565209"/>
                  <a:gd name="connsiteY2564" fmla="*/ 547098 h 3993936"/>
                  <a:gd name="connsiteX2565" fmla="*/ 781940 w 3565209"/>
                  <a:gd name="connsiteY2565" fmla="*/ 554996 h 3993936"/>
                  <a:gd name="connsiteX2566" fmla="*/ 801346 w 3565209"/>
                  <a:gd name="connsiteY2566" fmla="*/ 565827 h 3993936"/>
                  <a:gd name="connsiteX2567" fmla="*/ 802925 w 3565209"/>
                  <a:gd name="connsiteY2567" fmla="*/ 566955 h 3993936"/>
                  <a:gd name="connsiteX2568" fmla="*/ 806761 w 3565209"/>
                  <a:gd name="connsiteY2568" fmla="*/ 570114 h 3993936"/>
                  <a:gd name="connsiteX2569" fmla="*/ 834516 w 3565209"/>
                  <a:gd name="connsiteY2569" fmla="*/ 583653 h 3993936"/>
                  <a:gd name="connsiteX2570" fmla="*/ 856855 w 3565209"/>
                  <a:gd name="connsiteY2570" fmla="*/ 587038 h 3993936"/>
                  <a:gd name="connsiteX2571" fmla="*/ 865204 w 3565209"/>
                  <a:gd name="connsiteY2571" fmla="*/ 589294 h 3993936"/>
                  <a:gd name="connsiteX2572" fmla="*/ 865429 w 3565209"/>
                  <a:gd name="connsiteY2572" fmla="*/ 591551 h 3993936"/>
                  <a:gd name="connsiteX2573" fmla="*/ 864978 w 3565209"/>
                  <a:gd name="connsiteY2573" fmla="*/ 612084 h 3993936"/>
                  <a:gd name="connsiteX2574" fmla="*/ 867235 w 3565209"/>
                  <a:gd name="connsiteY2574" fmla="*/ 621110 h 3993936"/>
                  <a:gd name="connsiteX2575" fmla="*/ 868588 w 3565209"/>
                  <a:gd name="connsiteY2575" fmla="*/ 622915 h 3993936"/>
                  <a:gd name="connsiteX2576" fmla="*/ 875132 w 3565209"/>
                  <a:gd name="connsiteY2576" fmla="*/ 626526 h 3993936"/>
                  <a:gd name="connsiteX2577" fmla="*/ 878968 w 3565209"/>
                  <a:gd name="connsiteY2577" fmla="*/ 627654 h 3993936"/>
                  <a:gd name="connsiteX2578" fmla="*/ 899051 w 3565209"/>
                  <a:gd name="connsiteY2578" fmla="*/ 628557 h 3993936"/>
                  <a:gd name="connsiteX2579" fmla="*/ 909205 w 3565209"/>
                  <a:gd name="connsiteY2579" fmla="*/ 628557 h 3993936"/>
                  <a:gd name="connsiteX2580" fmla="*/ 927933 w 3565209"/>
                  <a:gd name="connsiteY2580" fmla="*/ 640290 h 3993936"/>
                  <a:gd name="connsiteX2581" fmla="*/ 934703 w 3565209"/>
                  <a:gd name="connsiteY2581" fmla="*/ 645254 h 3993936"/>
                  <a:gd name="connsiteX2582" fmla="*/ 941923 w 3565209"/>
                  <a:gd name="connsiteY2582" fmla="*/ 666240 h 3993936"/>
                  <a:gd name="connsiteX2583" fmla="*/ 939667 w 3565209"/>
                  <a:gd name="connsiteY2583" fmla="*/ 670527 h 3993936"/>
                  <a:gd name="connsiteX2584" fmla="*/ 936282 w 3565209"/>
                  <a:gd name="connsiteY2584" fmla="*/ 677296 h 3993936"/>
                  <a:gd name="connsiteX2585" fmla="*/ 918908 w 3565209"/>
                  <a:gd name="connsiteY2585" fmla="*/ 689932 h 3993936"/>
                  <a:gd name="connsiteX2586" fmla="*/ 908754 w 3565209"/>
                  <a:gd name="connsiteY2586" fmla="*/ 690835 h 3993936"/>
                  <a:gd name="connsiteX2587" fmla="*/ 894989 w 3565209"/>
                  <a:gd name="connsiteY2587" fmla="*/ 691061 h 3993936"/>
                  <a:gd name="connsiteX2588" fmla="*/ 879871 w 3565209"/>
                  <a:gd name="connsiteY2588" fmla="*/ 695348 h 3993936"/>
                  <a:gd name="connsiteX2589" fmla="*/ 876035 w 3565209"/>
                  <a:gd name="connsiteY2589" fmla="*/ 697604 h 3993936"/>
                  <a:gd name="connsiteX2590" fmla="*/ 853019 w 3565209"/>
                  <a:gd name="connsiteY2590" fmla="*/ 712497 h 3993936"/>
                  <a:gd name="connsiteX2591" fmla="*/ 845573 w 3565209"/>
                  <a:gd name="connsiteY2591" fmla="*/ 723328 h 3993936"/>
                  <a:gd name="connsiteX2592" fmla="*/ 839932 w 3565209"/>
                  <a:gd name="connsiteY2592" fmla="*/ 732354 h 3993936"/>
                  <a:gd name="connsiteX2593" fmla="*/ 845798 w 3565209"/>
                  <a:gd name="connsiteY2593" fmla="*/ 747923 h 3993936"/>
                  <a:gd name="connsiteX2594" fmla="*/ 848957 w 3565209"/>
                  <a:gd name="connsiteY2594" fmla="*/ 751308 h 3993936"/>
                  <a:gd name="connsiteX2595" fmla="*/ 854373 w 3565209"/>
                  <a:gd name="connsiteY2595" fmla="*/ 773196 h 3993936"/>
                  <a:gd name="connsiteX2596" fmla="*/ 845798 w 3565209"/>
                  <a:gd name="connsiteY2596" fmla="*/ 780642 h 3993936"/>
                  <a:gd name="connsiteX2597" fmla="*/ 841962 w 3565209"/>
                  <a:gd name="connsiteY2597" fmla="*/ 787186 h 3993936"/>
                  <a:gd name="connsiteX2598" fmla="*/ 840157 w 3565209"/>
                  <a:gd name="connsiteY2598" fmla="*/ 791247 h 3993936"/>
                  <a:gd name="connsiteX2599" fmla="*/ 840834 w 3565209"/>
                  <a:gd name="connsiteY2599" fmla="*/ 805238 h 3993936"/>
                  <a:gd name="connsiteX2600" fmla="*/ 841060 w 3565209"/>
                  <a:gd name="connsiteY2600" fmla="*/ 806140 h 3993936"/>
                  <a:gd name="connsiteX2601" fmla="*/ 845798 w 3565209"/>
                  <a:gd name="connsiteY2601" fmla="*/ 816520 h 3993936"/>
                  <a:gd name="connsiteX2602" fmla="*/ 847603 w 3565209"/>
                  <a:gd name="connsiteY2602" fmla="*/ 819905 h 3993936"/>
                  <a:gd name="connsiteX2603" fmla="*/ 848280 w 3565209"/>
                  <a:gd name="connsiteY2603" fmla="*/ 824643 h 3993936"/>
                  <a:gd name="connsiteX2604" fmla="*/ 844444 w 3565209"/>
                  <a:gd name="connsiteY2604" fmla="*/ 827125 h 3993936"/>
                  <a:gd name="connsiteX2605" fmla="*/ 841737 w 3565209"/>
                  <a:gd name="connsiteY2605" fmla="*/ 828028 h 3993936"/>
                  <a:gd name="connsiteX2606" fmla="*/ 837675 w 3565209"/>
                  <a:gd name="connsiteY2606" fmla="*/ 830510 h 3993936"/>
                  <a:gd name="connsiteX2607" fmla="*/ 827070 w 3565209"/>
                  <a:gd name="connsiteY2607" fmla="*/ 835700 h 3993936"/>
                  <a:gd name="connsiteX2608" fmla="*/ 818495 w 3565209"/>
                  <a:gd name="connsiteY2608" fmla="*/ 840664 h 3993936"/>
                  <a:gd name="connsiteX2609" fmla="*/ 816690 w 3565209"/>
                  <a:gd name="connsiteY2609" fmla="*/ 842695 h 3993936"/>
                  <a:gd name="connsiteX2610" fmla="*/ 814433 w 3565209"/>
                  <a:gd name="connsiteY2610" fmla="*/ 847208 h 3993936"/>
                  <a:gd name="connsiteX2611" fmla="*/ 808341 w 3565209"/>
                  <a:gd name="connsiteY2611" fmla="*/ 855557 h 3993936"/>
                  <a:gd name="connsiteX2612" fmla="*/ 803602 w 3565209"/>
                  <a:gd name="connsiteY2612" fmla="*/ 863003 h 3993936"/>
                  <a:gd name="connsiteX2613" fmla="*/ 800218 w 3565209"/>
                  <a:gd name="connsiteY2613" fmla="*/ 869772 h 3993936"/>
                  <a:gd name="connsiteX2614" fmla="*/ 796833 w 3565209"/>
                  <a:gd name="connsiteY2614" fmla="*/ 872706 h 3993936"/>
                  <a:gd name="connsiteX2615" fmla="*/ 791418 w 3565209"/>
                  <a:gd name="connsiteY2615" fmla="*/ 878573 h 3993936"/>
                  <a:gd name="connsiteX2616" fmla="*/ 788710 w 3565209"/>
                  <a:gd name="connsiteY2616" fmla="*/ 883762 h 3993936"/>
                  <a:gd name="connsiteX2617" fmla="*/ 781715 w 3565209"/>
                  <a:gd name="connsiteY2617" fmla="*/ 890080 h 3993936"/>
                  <a:gd name="connsiteX2618" fmla="*/ 774720 w 3565209"/>
                  <a:gd name="connsiteY2618" fmla="*/ 894593 h 3993936"/>
                  <a:gd name="connsiteX2619" fmla="*/ 766822 w 3565209"/>
                  <a:gd name="connsiteY2619" fmla="*/ 900009 h 3993936"/>
                  <a:gd name="connsiteX2620" fmla="*/ 765468 w 3565209"/>
                  <a:gd name="connsiteY2620" fmla="*/ 904522 h 3993936"/>
                  <a:gd name="connsiteX2621" fmla="*/ 763212 w 3565209"/>
                  <a:gd name="connsiteY2621" fmla="*/ 915579 h 3993936"/>
                  <a:gd name="connsiteX2622" fmla="*/ 767273 w 3565209"/>
                  <a:gd name="connsiteY2622" fmla="*/ 927989 h 3993936"/>
                  <a:gd name="connsiteX2623" fmla="*/ 769530 w 3565209"/>
                  <a:gd name="connsiteY2623" fmla="*/ 930471 h 3993936"/>
                  <a:gd name="connsiteX2624" fmla="*/ 770432 w 3565209"/>
                  <a:gd name="connsiteY2624" fmla="*/ 937466 h 3993936"/>
                  <a:gd name="connsiteX2625" fmla="*/ 764340 w 3565209"/>
                  <a:gd name="connsiteY2625" fmla="*/ 943784 h 3993936"/>
                  <a:gd name="connsiteX2626" fmla="*/ 760955 w 3565209"/>
                  <a:gd name="connsiteY2626" fmla="*/ 945589 h 3993936"/>
                  <a:gd name="connsiteX2627" fmla="*/ 759376 w 3565209"/>
                  <a:gd name="connsiteY2627" fmla="*/ 947169 h 3993936"/>
                  <a:gd name="connsiteX2628" fmla="*/ 744483 w 3565209"/>
                  <a:gd name="connsiteY2628" fmla="*/ 959805 h 3993936"/>
                  <a:gd name="connsiteX2629" fmla="*/ 729816 w 3565209"/>
                  <a:gd name="connsiteY2629" fmla="*/ 964092 h 3993936"/>
                  <a:gd name="connsiteX2630" fmla="*/ 723498 w 3565209"/>
                  <a:gd name="connsiteY2630" fmla="*/ 963190 h 3993936"/>
                  <a:gd name="connsiteX2631" fmla="*/ 698451 w 3565209"/>
                  <a:gd name="connsiteY2631" fmla="*/ 971539 h 3993936"/>
                  <a:gd name="connsiteX2632" fmla="*/ 695969 w 3565209"/>
                  <a:gd name="connsiteY2632" fmla="*/ 979662 h 3993936"/>
                  <a:gd name="connsiteX2633" fmla="*/ 695292 w 3565209"/>
                  <a:gd name="connsiteY2633" fmla="*/ 985754 h 3993936"/>
                  <a:gd name="connsiteX2634" fmla="*/ 693938 w 3565209"/>
                  <a:gd name="connsiteY2634" fmla="*/ 993878 h 3993936"/>
                  <a:gd name="connsiteX2635" fmla="*/ 691456 w 3565209"/>
                  <a:gd name="connsiteY2635" fmla="*/ 1007868 h 3993936"/>
                  <a:gd name="connsiteX2636" fmla="*/ 677015 w 3565209"/>
                  <a:gd name="connsiteY2636" fmla="*/ 1034494 h 3993936"/>
                  <a:gd name="connsiteX2637" fmla="*/ 673405 w 3565209"/>
                  <a:gd name="connsiteY2637" fmla="*/ 1041263 h 3993936"/>
                  <a:gd name="connsiteX2638" fmla="*/ 660317 w 3565209"/>
                  <a:gd name="connsiteY2638" fmla="*/ 1060218 h 3993936"/>
                  <a:gd name="connsiteX2639" fmla="*/ 648584 w 3565209"/>
                  <a:gd name="connsiteY2639" fmla="*/ 1073756 h 3993936"/>
                  <a:gd name="connsiteX2640" fmla="*/ 644071 w 3565209"/>
                  <a:gd name="connsiteY2640" fmla="*/ 1079849 h 3993936"/>
                  <a:gd name="connsiteX2641" fmla="*/ 641137 w 3565209"/>
                  <a:gd name="connsiteY2641" fmla="*/ 1088198 h 3993936"/>
                  <a:gd name="connsiteX2642" fmla="*/ 633240 w 3565209"/>
                  <a:gd name="connsiteY2642" fmla="*/ 1101060 h 3993936"/>
                  <a:gd name="connsiteX2643" fmla="*/ 627598 w 3565209"/>
                  <a:gd name="connsiteY2643" fmla="*/ 1101285 h 3993936"/>
                  <a:gd name="connsiteX2644" fmla="*/ 621055 w 3565209"/>
                  <a:gd name="connsiteY2644" fmla="*/ 1101962 h 3993936"/>
                  <a:gd name="connsiteX2645" fmla="*/ 611352 w 3565209"/>
                  <a:gd name="connsiteY2645" fmla="*/ 1106926 h 3993936"/>
                  <a:gd name="connsiteX2646" fmla="*/ 598039 w 3565209"/>
                  <a:gd name="connsiteY2646" fmla="*/ 1113244 h 3993936"/>
                  <a:gd name="connsiteX2647" fmla="*/ 569156 w 3565209"/>
                  <a:gd name="connsiteY2647" fmla="*/ 1130168 h 3993936"/>
                  <a:gd name="connsiteX2648" fmla="*/ 562838 w 3565209"/>
                  <a:gd name="connsiteY2648" fmla="*/ 1142804 h 3993936"/>
                  <a:gd name="connsiteX2649" fmla="*/ 560130 w 3565209"/>
                  <a:gd name="connsiteY2649" fmla="*/ 1150927 h 3993936"/>
                  <a:gd name="connsiteX2650" fmla="*/ 555843 w 3565209"/>
                  <a:gd name="connsiteY2650" fmla="*/ 1161307 h 3993936"/>
                  <a:gd name="connsiteX2651" fmla="*/ 550202 w 3565209"/>
                  <a:gd name="connsiteY2651" fmla="*/ 1174169 h 3993936"/>
                  <a:gd name="connsiteX2652" fmla="*/ 548622 w 3565209"/>
                  <a:gd name="connsiteY2652" fmla="*/ 1176425 h 3993936"/>
                  <a:gd name="connsiteX2653" fmla="*/ 535535 w 3565209"/>
                  <a:gd name="connsiteY2653" fmla="*/ 1188610 h 3993936"/>
                  <a:gd name="connsiteX2654" fmla="*/ 521996 w 3565209"/>
                  <a:gd name="connsiteY2654" fmla="*/ 1198539 h 3993936"/>
                  <a:gd name="connsiteX2655" fmla="*/ 519740 w 3565209"/>
                  <a:gd name="connsiteY2655" fmla="*/ 1200570 h 3993936"/>
                  <a:gd name="connsiteX2656" fmla="*/ 511391 w 3565209"/>
                  <a:gd name="connsiteY2656" fmla="*/ 1212303 h 3993936"/>
                  <a:gd name="connsiteX2657" fmla="*/ 505750 w 3565209"/>
                  <a:gd name="connsiteY2657" fmla="*/ 1227647 h 3993936"/>
                  <a:gd name="connsiteX2658" fmla="*/ 505073 w 3565209"/>
                  <a:gd name="connsiteY2658" fmla="*/ 1229227 h 3993936"/>
                  <a:gd name="connsiteX2659" fmla="*/ 493113 w 3565209"/>
                  <a:gd name="connsiteY2659" fmla="*/ 1237801 h 3993936"/>
                  <a:gd name="connsiteX2660" fmla="*/ 487247 w 3565209"/>
                  <a:gd name="connsiteY2660" fmla="*/ 1240509 h 3993936"/>
                  <a:gd name="connsiteX2661" fmla="*/ 469646 w 3565209"/>
                  <a:gd name="connsiteY2661" fmla="*/ 1246827 h 3993936"/>
                  <a:gd name="connsiteX2662" fmla="*/ 456333 w 3565209"/>
                  <a:gd name="connsiteY2662" fmla="*/ 1246601 h 3993936"/>
                  <a:gd name="connsiteX2663" fmla="*/ 449789 w 3565209"/>
                  <a:gd name="connsiteY2663" fmla="*/ 1245924 h 3993936"/>
                  <a:gd name="connsiteX2664" fmla="*/ 443246 w 3565209"/>
                  <a:gd name="connsiteY2664" fmla="*/ 1245699 h 3993936"/>
                  <a:gd name="connsiteX2665" fmla="*/ 424743 w 3565209"/>
                  <a:gd name="connsiteY2665" fmla="*/ 1246601 h 3993936"/>
                  <a:gd name="connsiteX2666" fmla="*/ 415040 w 3565209"/>
                  <a:gd name="connsiteY2666" fmla="*/ 1250212 h 3993936"/>
                  <a:gd name="connsiteX2667" fmla="*/ 392926 w 3565209"/>
                  <a:gd name="connsiteY2667" fmla="*/ 1258335 h 3993936"/>
                  <a:gd name="connsiteX2668" fmla="*/ 366526 w 3565209"/>
                  <a:gd name="connsiteY2668" fmla="*/ 1260366 h 3993936"/>
                  <a:gd name="connsiteX2669" fmla="*/ 362690 w 3565209"/>
                  <a:gd name="connsiteY2669" fmla="*/ 1254048 h 3993936"/>
                  <a:gd name="connsiteX2670" fmla="*/ 359756 w 3565209"/>
                  <a:gd name="connsiteY2670" fmla="*/ 1249760 h 3993936"/>
                  <a:gd name="connsiteX2671" fmla="*/ 354567 w 3565209"/>
                  <a:gd name="connsiteY2671" fmla="*/ 1232611 h 3993936"/>
                  <a:gd name="connsiteX2672" fmla="*/ 349602 w 3565209"/>
                  <a:gd name="connsiteY2672" fmla="*/ 1216816 h 3993936"/>
                  <a:gd name="connsiteX2673" fmla="*/ 330197 w 3565209"/>
                  <a:gd name="connsiteY2673" fmla="*/ 1212529 h 3993936"/>
                  <a:gd name="connsiteX2674" fmla="*/ 321171 w 3565209"/>
                  <a:gd name="connsiteY2674" fmla="*/ 1217719 h 3993936"/>
                  <a:gd name="connsiteX2675" fmla="*/ 312822 w 3565209"/>
                  <a:gd name="connsiteY2675" fmla="*/ 1223586 h 3993936"/>
                  <a:gd name="connsiteX2676" fmla="*/ 305376 w 3565209"/>
                  <a:gd name="connsiteY2676" fmla="*/ 1228324 h 3993936"/>
                  <a:gd name="connsiteX2677" fmla="*/ 295899 w 3565209"/>
                  <a:gd name="connsiteY2677" fmla="*/ 1233965 h 3993936"/>
                  <a:gd name="connsiteX2678" fmla="*/ 287550 w 3565209"/>
                  <a:gd name="connsiteY2678" fmla="*/ 1252017 h 3993936"/>
                  <a:gd name="connsiteX2679" fmla="*/ 287324 w 3565209"/>
                  <a:gd name="connsiteY2679" fmla="*/ 1252694 h 3993936"/>
                  <a:gd name="connsiteX2680" fmla="*/ 278750 w 3565209"/>
                  <a:gd name="connsiteY2680" fmla="*/ 1272776 h 3993936"/>
                  <a:gd name="connsiteX2681" fmla="*/ 273560 w 3565209"/>
                  <a:gd name="connsiteY2681" fmla="*/ 1277064 h 3993936"/>
                  <a:gd name="connsiteX2682" fmla="*/ 267016 w 3565209"/>
                  <a:gd name="connsiteY2682" fmla="*/ 1282479 h 3993936"/>
                  <a:gd name="connsiteX2683" fmla="*/ 261149 w 3565209"/>
                  <a:gd name="connsiteY2683" fmla="*/ 1286992 h 3993936"/>
                  <a:gd name="connsiteX2684" fmla="*/ 249415 w 3565209"/>
                  <a:gd name="connsiteY2684" fmla="*/ 1296018 h 3993936"/>
                  <a:gd name="connsiteX2685" fmla="*/ 239261 w 3565209"/>
                  <a:gd name="connsiteY2685" fmla="*/ 1303915 h 3993936"/>
                  <a:gd name="connsiteX2686" fmla="*/ 228205 w 3565209"/>
                  <a:gd name="connsiteY2686" fmla="*/ 1311362 h 3993936"/>
                  <a:gd name="connsiteX2687" fmla="*/ 223015 w 3565209"/>
                  <a:gd name="connsiteY2687" fmla="*/ 1319936 h 3993936"/>
                  <a:gd name="connsiteX2688" fmla="*/ 216020 w 3565209"/>
                  <a:gd name="connsiteY2688" fmla="*/ 1331444 h 3993936"/>
                  <a:gd name="connsiteX2689" fmla="*/ 207445 w 3565209"/>
                  <a:gd name="connsiteY2689" fmla="*/ 1355814 h 3993936"/>
                  <a:gd name="connsiteX2690" fmla="*/ 210153 w 3565209"/>
                  <a:gd name="connsiteY2690" fmla="*/ 1379507 h 3993936"/>
                  <a:gd name="connsiteX2691" fmla="*/ 216471 w 3565209"/>
                  <a:gd name="connsiteY2691" fmla="*/ 1384020 h 3993936"/>
                  <a:gd name="connsiteX2692" fmla="*/ 225046 w 3565209"/>
                  <a:gd name="connsiteY2692" fmla="*/ 1388081 h 3993936"/>
                  <a:gd name="connsiteX2693" fmla="*/ 232041 w 3565209"/>
                  <a:gd name="connsiteY2693" fmla="*/ 1393948 h 3993936"/>
                  <a:gd name="connsiteX2694" fmla="*/ 242646 w 3565209"/>
                  <a:gd name="connsiteY2694" fmla="*/ 1400492 h 3993936"/>
                  <a:gd name="connsiteX2695" fmla="*/ 261375 w 3565209"/>
                  <a:gd name="connsiteY2695" fmla="*/ 1400266 h 3993936"/>
                  <a:gd name="connsiteX2696" fmla="*/ 263180 w 3565209"/>
                  <a:gd name="connsiteY2696" fmla="*/ 1400041 h 3993936"/>
                  <a:gd name="connsiteX2697" fmla="*/ 278298 w 3565209"/>
                  <a:gd name="connsiteY2697" fmla="*/ 1404554 h 3993936"/>
                  <a:gd name="connsiteX2698" fmla="*/ 279426 w 3565209"/>
                  <a:gd name="connsiteY2698" fmla="*/ 1405456 h 3993936"/>
                  <a:gd name="connsiteX2699" fmla="*/ 279878 w 3565209"/>
                  <a:gd name="connsiteY2699" fmla="*/ 1405682 h 3993936"/>
                  <a:gd name="connsiteX2700" fmla="*/ 284391 w 3565209"/>
                  <a:gd name="connsiteY2700" fmla="*/ 1417415 h 3993936"/>
                  <a:gd name="connsiteX2701" fmla="*/ 284391 w 3565209"/>
                  <a:gd name="connsiteY2701" fmla="*/ 1424862 h 3993936"/>
                  <a:gd name="connsiteX2702" fmla="*/ 284842 w 3565209"/>
                  <a:gd name="connsiteY2702" fmla="*/ 1440431 h 3993936"/>
                  <a:gd name="connsiteX2703" fmla="*/ 284391 w 3565209"/>
                  <a:gd name="connsiteY2703" fmla="*/ 1442914 h 3993936"/>
                  <a:gd name="connsiteX2704" fmla="*/ 270852 w 3565209"/>
                  <a:gd name="connsiteY2704" fmla="*/ 1468863 h 3993936"/>
                  <a:gd name="connsiteX2705" fmla="*/ 267693 w 3565209"/>
                  <a:gd name="connsiteY2705" fmla="*/ 1472247 h 3993936"/>
                  <a:gd name="connsiteX2706" fmla="*/ 269949 w 3565209"/>
                  <a:gd name="connsiteY2706" fmla="*/ 1475632 h 3993936"/>
                  <a:gd name="connsiteX2707" fmla="*/ 272431 w 3565209"/>
                  <a:gd name="connsiteY2707" fmla="*/ 1480596 h 3993936"/>
                  <a:gd name="connsiteX2708" fmla="*/ 274237 w 3565209"/>
                  <a:gd name="connsiteY2708" fmla="*/ 1499325 h 3993936"/>
                  <a:gd name="connsiteX2709" fmla="*/ 280329 w 3565209"/>
                  <a:gd name="connsiteY2709" fmla="*/ 1506546 h 3993936"/>
                  <a:gd name="connsiteX2710" fmla="*/ 286421 w 3565209"/>
                  <a:gd name="connsiteY2710" fmla="*/ 1513315 h 3993936"/>
                  <a:gd name="connsiteX2711" fmla="*/ 288452 w 3565209"/>
                  <a:gd name="connsiteY2711" fmla="*/ 1516474 h 3993936"/>
                  <a:gd name="connsiteX2712" fmla="*/ 298832 w 3565209"/>
                  <a:gd name="connsiteY2712" fmla="*/ 1528208 h 3993936"/>
                  <a:gd name="connsiteX2713" fmla="*/ 313499 w 3565209"/>
                  <a:gd name="connsiteY2713" fmla="*/ 1527305 h 3993936"/>
                  <a:gd name="connsiteX2714" fmla="*/ 322976 w 3565209"/>
                  <a:gd name="connsiteY2714" fmla="*/ 1525049 h 3993936"/>
                  <a:gd name="connsiteX2715" fmla="*/ 337192 w 3565209"/>
                  <a:gd name="connsiteY2715" fmla="*/ 1526628 h 3993936"/>
                  <a:gd name="connsiteX2716" fmla="*/ 336289 w 3565209"/>
                  <a:gd name="connsiteY2716" fmla="*/ 1534752 h 3993936"/>
                  <a:gd name="connsiteX2717" fmla="*/ 335838 w 3565209"/>
                  <a:gd name="connsiteY2717" fmla="*/ 1546711 h 3993936"/>
                  <a:gd name="connsiteX2718" fmla="*/ 336515 w 3565209"/>
                  <a:gd name="connsiteY2718" fmla="*/ 1551224 h 3993936"/>
                  <a:gd name="connsiteX2719" fmla="*/ 342833 w 3565209"/>
                  <a:gd name="connsiteY2719" fmla="*/ 1587778 h 3993936"/>
                  <a:gd name="connsiteX2720" fmla="*/ 352761 w 3565209"/>
                  <a:gd name="connsiteY2720" fmla="*/ 1595902 h 3993936"/>
                  <a:gd name="connsiteX2721" fmla="*/ 362464 w 3565209"/>
                  <a:gd name="connsiteY2721" fmla="*/ 1604702 h 3993936"/>
                  <a:gd name="connsiteX2722" fmla="*/ 362690 w 3565209"/>
                  <a:gd name="connsiteY2722" fmla="*/ 1613728 h 3993936"/>
                  <a:gd name="connsiteX2723" fmla="*/ 365172 w 3565209"/>
                  <a:gd name="connsiteY2723" fmla="*/ 1631554 h 3993936"/>
                  <a:gd name="connsiteX2724" fmla="*/ 371716 w 3565209"/>
                  <a:gd name="connsiteY2724" fmla="*/ 1646897 h 3993936"/>
                  <a:gd name="connsiteX2725" fmla="*/ 375552 w 3565209"/>
                  <a:gd name="connsiteY2725" fmla="*/ 1656826 h 3993936"/>
                  <a:gd name="connsiteX2726" fmla="*/ 379162 w 3565209"/>
                  <a:gd name="connsiteY2726" fmla="*/ 1661339 h 3993936"/>
                  <a:gd name="connsiteX2727" fmla="*/ 385931 w 3565209"/>
                  <a:gd name="connsiteY2727" fmla="*/ 1674426 h 3993936"/>
                  <a:gd name="connsiteX2728" fmla="*/ 382772 w 3565209"/>
                  <a:gd name="connsiteY2728" fmla="*/ 1677811 h 3993936"/>
                  <a:gd name="connsiteX2729" fmla="*/ 378936 w 3565209"/>
                  <a:gd name="connsiteY2729" fmla="*/ 1679165 h 3993936"/>
                  <a:gd name="connsiteX2730" fmla="*/ 376906 w 3565209"/>
                  <a:gd name="connsiteY2730" fmla="*/ 1680744 h 3993936"/>
                  <a:gd name="connsiteX2731" fmla="*/ 375100 w 3565209"/>
                  <a:gd name="connsiteY2731" fmla="*/ 1683001 h 3993936"/>
                  <a:gd name="connsiteX2732" fmla="*/ 370813 w 3565209"/>
                  <a:gd name="connsiteY2732" fmla="*/ 1692929 h 3993936"/>
                  <a:gd name="connsiteX2733" fmla="*/ 370813 w 3565209"/>
                  <a:gd name="connsiteY2733" fmla="*/ 1693381 h 3993936"/>
                  <a:gd name="connsiteX2734" fmla="*/ 378259 w 3565209"/>
                  <a:gd name="connsiteY2734" fmla="*/ 1700601 h 3993936"/>
                  <a:gd name="connsiteX2735" fmla="*/ 383901 w 3565209"/>
                  <a:gd name="connsiteY2735" fmla="*/ 1707596 h 3993936"/>
                  <a:gd name="connsiteX2736" fmla="*/ 381418 w 3565209"/>
                  <a:gd name="connsiteY2736" fmla="*/ 1713689 h 3993936"/>
                  <a:gd name="connsiteX2737" fmla="*/ 379839 w 3565209"/>
                  <a:gd name="connsiteY2737" fmla="*/ 1715720 h 3993936"/>
                  <a:gd name="connsiteX2738" fmla="*/ 370813 w 3565209"/>
                  <a:gd name="connsiteY2738" fmla="*/ 1720007 h 3993936"/>
                  <a:gd name="connsiteX2739" fmla="*/ 364269 w 3565209"/>
                  <a:gd name="connsiteY2739" fmla="*/ 1720458 h 3993936"/>
                  <a:gd name="connsiteX2740" fmla="*/ 361110 w 3565209"/>
                  <a:gd name="connsiteY2740" fmla="*/ 1721361 h 3993936"/>
                  <a:gd name="connsiteX2741" fmla="*/ 356597 w 3565209"/>
                  <a:gd name="connsiteY2741" fmla="*/ 1725874 h 3993936"/>
                  <a:gd name="connsiteX2742" fmla="*/ 352084 w 3565209"/>
                  <a:gd name="connsiteY2742" fmla="*/ 1731515 h 3993936"/>
                  <a:gd name="connsiteX2743" fmla="*/ 331776 w 3565209"/>
                  <a:gd name="connsiteY2743" fmla="*/ 1736253 h 3993936"/>
                  <a:gd name="connsiteX2744" fmla="*/ 308084 w 3565209"/>
                  <a:gd name="connsiteY2744" fmla="*/ 1723617 h 3993936"/>
                  <a:gd name="connsiteX2745" fmla="*/ 310114 w 3565209"/>
                  <a:gd name="connsiteY2745" fmla="*/ 1711207 h 3993936"/>
                  <a:gd name="connsiteX2746" fmla="*/ 312145 w 3565209"/>
                  <a:gd name="connsiteY2746" fmla="*/ 1707145 h 3993936"/>
                  <a:gd name="connsiteX2747" fmla="*/ 311694 w 3565209"/>
                  <a:gd name="connsiteY2747" fmla="*/ 1706468 h 3993936"/>
                  <a:gd name="connsiteX2748" fmla="*/ 303571 w 3565209"/>
                  <a:gd name="connsiteY2748" fmla="*/ 1707822 h 3993936"/>
                  <a:gd name="connsiteX2749" fmla="*/ 297252 w 3565209"/>
                  <a:gd name="connsiteY2749" fmla="*/ 1711207 h 3993936"/>
                  <a:gd name="connsiteX2750" fmla="*/ 292063 w 3565209"/>
                  <a:gd name="connsiteY2750" fmla="*/ 1714140 h 3993936"/>
                  <a:gd name="connsiteX2751" fmla="*/ 280329 w 3565209"/>
                  <a:gd name="connsiteY2751" fmla="*/ 1716848 h 3993936"/>
                  <a:gd name="connsiteX2752" fmla="*/ 260021 w 3565209"/>
                  <a:gd name="connsiteY2752" fmla="*/ 1721361 h 3993936"/>
                  <a:gd name="connsiteX2753" fmla="*/ 253026 w 3565209"/>
                  <a:gd name="connsiteY2753" fmla="*/ 1727453 h 3993936"/>
                  <a:gd name="connsiteX2754" fmla="*/ 244903 w 3565209"/>
                  <a:gd name="connsiteY2754" fmla="*/ 1733546 h 3993936"/>
                  <a:gd name="connsiteX2755" fmla="*/ 228656 w 3565209"/>
                  <a:gd name="connsiteY2755" fmla="*/ 1734674 h 3993936"/>
                  <a:gd name="connsiteX2756" fmla="*/ 220758 w 3565209"/>
                  <a:gd name="connsiteY2756" fmla="*/ 1734899 h 3993936"/>
                  <a:gd name="connsiteX2757" fmla="*/ 196614 w 3565209"/>
                  <a:gd name="connsiteY2757" fmla="*/ 1724520 h 3993936"/>
                  <a:gd name="connsiteX2758" fmla="*/ 189168 w 3565209"/>
                  <a:gd name="connsiteY2758" fmla="*/ 1718427 h 3993936"/>
                  <a:gd name="connsiteX2759" fmla="*/ 187814 w 3565209"/>
                  <a:gd name="connsiteY2759" fmla="*/ 1718202 h 3993936"/>
                  <a:gd name="connsiteX2760" fmla="*/ 164121 w 3565209"/>
                  <a:gd name="connsiteY2760" fmla="*/ 1717073 h 3993936"/>
                  <a:gd name="connsiteX2761" fmla="*/ 155547 w 3565209"/>
                  <a:gd name="connsiteY2761" fmla="*/ 1719104 h 3993936"/>
                  <a:gd name="connsiteX2762" fmla="*/ 144264 w 3565209"/>
                  <a:gd name="connsiteY2762" fmla="*/ 1720007 h 3993936"/>
                  <a:gd name="connsiteX2763" fmla="*/ 136818 w 3565209"/>
                  <a:gd name="connsiteY2763" fmla="*/ 1719104 h 3993936"/>
                  <a:gd name="connsiteX2764" fmla="*/ 125761 w 3565209"/>
                  <a:gd name="connsiteY2764" fmla="*/ 1719781 h 3993936"/>
                  <a:gd name="connsiteX2765" fmla="*/ 109289 w 3565209"/>
                  <a:gd name="connsiteY2765" fmla="*/ 1713463 h 3993936"/>
                  <a:gd name="connsiteX2766" fmla="*/ 107258 w 3565209"/>
                  <a:gd name="connsiteY2766" fmla="*/ 1712109 h 3993936"/>
                  <a:gd name="connsiteX2767" fmla="*/ 107033 w 3565209"/>
                  <a:gd name="connsiteY2767" fmla="*/ 1712335 h 3993936"/>
                  <a:gd name="connsiteX2768" fmla="*/ 98233 w 3565209"/>
                  <a:gd name="connsiteY2768" fmla="*/ 1713914 h 3993936"/>
                  <a:gd name="connsiteX2769" fmla="*/ 93268 w 3565209"/>
                  <a:gd name="connsiteY2769" fmla="*/ 1708048 h 3993936"/>
                  <a:gd name="connsiteX2770" fmla="*/ 88304 w 3565209"/>
                  <a:gd name="connsiteY2770" fmla="*/ 1707596 h 3993936"/>
                  <a:gd name="connsiteX2771" fmla="*/ 85145 w 3565209"/>
                  <a:gd name="connsiteY2771" fmla="*/ 1720458 h 3993936"/>
                  <a:gd name="connsiteX2772" fmla="*/ 86048 w 3565209"/>
                  <a:gd name="connsiteY2772" fmla="*/ 1724520 h 3993936"/>
                  <a:gd name="connsiteX2773" fmla="*/ 84243 w 3565209"/>
                  <a:gd name="connsiteY2773" fmla="*/ 1731966 h 3993936"/>
                  <a:gd name="connsiteX2774" fmla="*/ 82889 w 3565209"/>
                  <a:gd name="connsiteY2774" fmla="*/ 1734448 h 3993936"/>
                  <a:gd name="connsiteX2775" fmla="*/ 82663 w 3565209"/>
                  <a:gd name="connsiteY2775" fmla="*/ 1737833 h 3993936"/>
                  <a:gd name="connsiteX2776" fmla="*/ 78150 w 3565209"/>
                  <a:gd name="connsiteY2776" fmla="*/ 1749115 h 3993936"/>
                  <a:gd name="connsiteX2777" fmla="*/ 55811 w 3565209"/>
                  <a:gd name="connsiteY2777" fmla="*/ 1752951 h 3993936"/>
                  <a:gd name="connsiteX2778" fmla="*/ 40467 w 3565209"/>
                  <a:gd name="connsiteY2778" fmla="*/ 1750695 h 3993936"/>
                  <a:gd name="connsiteX2779" fmla="*/ 34600 w 3565209"/>
                  <a:gd name="connsiteY2779" fmla="*/ 1748664 h 3993936"/>
                  <a:gd name="connsiteX2780" fmla="*/ 16549 w 3565209"/>
                  <a:gd name="connsiteY2780" fmla="*/ 1752500 h 3993936"/>
                  <a:gd name="connsiteX2781" fmla="*/ 12713 w 3565209"/>
                  <a:gd name="connsiteY2781" fmla="*/ 1757690 h 3993936"/>
                  <a:gd name="connsiteX2782" fmla="*/ 14518 w 3565209"/>
                  <a:gd name="connsiteY2782" fmla="*/ 1769875 h 3993936"/>
                  <a:gd name="connsiteX2783" fmla="*/ 15420 w 3565209"/>
                  <a:gd name="connsiteY2783" fmla="*/ 1773936 h 3993936"/>
                  <a:gd name="connsiteX2784" fmla="*/ 16774 w 3565209"/>
                  <a:gd name="connsiteY2784" fmla="*/ 1776193 h 3993936"/>
                  <a:gd name="connsiteX2785" fmla="*/ 18805 w 3565209"/>
                  <a:gd name="connsiteY2785" fmla="*/ 1779803 h 3993936"/>
                  <a:gd name="connsiteX2786" fmla="*/ 5266 w 3565209"/>
                  <a:gd name="connsiteY2786" fmla="*/ 1791537 h 3993936"/>
                  <a:gd name="connsiteX2787" fmla="*/ 3912 w 3565209"/>
                  <a:gd name="connsiteY2787" fmla="*/ 1794019 h 3993936"/>
                  <a:gd name="connsiteX2788" fmla="*/ 6395 w 3565209"/>
                  <a:gd name="connsiteY2788" fmla="*/ 1795373 h 3993936"/>
                  <a:gd name="connsiteX2789" fmla="*/ 8425 w 3565209"/>
                  <a:gd name="connsiteY2789" fmla="*/ 1795373 h 3993936"/>
                  <a:gd name="connsiteX2790" fmla="*/ 20385 w 3565209"/>
                  <a:gd name="connsiteY2790" fmla="*/ 1794019 h 3993936"/>
                  <a:gd name="connsiteX2791" fmla="*/ 30313 w 3565209"/>
                  <a:gd name="connsiteY2791" fmla="*/ 1781157 h 3993936"/>
                  <a:gd name="connsiteX2792" fmla="*/ 44303 w 3565209"/>
                  <a:gd name="connsiteY2792" fmla="*/ 1775516 h 3993936"/>
                  <a:gd name="connsiteX2793" fmla="*/ 44754 w 3565209"/>
                  <a:gd name="connsiteY2793" fmla="*/ 1775516 h 3993936"/>
                  <a:gd name="connsiteX2794" fmla="*/ 50170 w 3565209"/>
                  <a:gd name="connsiteY2794" fmla="*/ 1770100 h 3993936"/>
                  <a:gd name="connsiteX2795" fmla="*/ 53103 w 3565209"/>
                  <a:gd name="connsiteY2795" fmla="*/ 1765813 h 3993936"/>
                  <a:gd name="connsiteX2796" fmla="*/ 65740 w 3565209"/>
                  <a:gd name="connsiteY2796" fmla="*/ 1761526 h 3993936"/>
                  <a:gd name="connsiteX2797" fmla="*/ 73863 w 3565209"/>
                  <a:gd name="connsiteY2797" fmla="*/ 1759721 h 3993936"/>
                  <a:gd name="connsiteX2798" fmla="*/ 87853 w 3565209"/>
                  <a:gd name="connsiteY2798" fmla="*/ 1760849 h 3993936"/>
                  <a:gd name="connsiteX2799" fmla="*/ 87176 w 3565209"/>
                  <a:gd name="connsiteY2799" fmla="*/ 1764459 h 3993936"/>
                  <a:gd name="connsiteX2800" fmla="*/ 85822 w 3565209"/>
                  <a:gd name="connsiteY2800" fmla="*/ 1765587 h 3993936"/>
                  <a:gd name="connsiteX2801" fmla="*/ 69801 w 3565209"/>
                  <a:gd name="connsiteY2801" fmla="*/ 1774613 h 3993936"/>
                  <a:gd name="connsiteX2802" fmla="*/ 64386 w 3565209"/>
                  <a:gd name="connsiteY2802" fmla="*/ 1777998 h 3993936"/>
                  <a:gd name="connsiteX2803" fmla="*/ 60550 w 3565209"/>
                  <a:gd name="connsiteY2803" fmla="*/ 1783413 h 3993936"/>
                  <a:gd name="connsiteX2804" fmla="*/ 47011 w 3565209"/>
                  <a:gd name="connsiteY2804" fmla="*/ 1789280 h 3993936"/>
                  <a:gd name="connsiteX2805" fmla="*/ 43852 w 3565209"/>
                  <a:gd name="connsiteY2805" fmla="*/ 1789957 h 3993936"/>
                  <a:gd name="connsiteX2806" fmla="*/ 39339 w 3565209"/>
                  <a:gd name="connsiteY2806" fmla="*/ 1792891 h 3993936"/>
                  <a:gd name="connsiteX2807" fmla="*/ 38211 w 3565209"/>
                  <a:gd name="connsiteY2807" fmla="*/ 1794245 h 3993936"/>
                  <a:gd name="connsiteX2808" fmla="*/ 37985 w 3565209"/>
                  <a:gd name="connsiteY2808" fmla="*/ 1806204 h 3993936"/>
                  <a:gd name="connsiteX2809" fmla="*/ 37534 w 3565209"/>
                  <a:gd name="connsiteY2809" fmla="*/ 1813424 h 3993936"/>
                  <a:gd name="connsiteX2810" fmla="*/ 38211 w 3565209"/>
                  <a:gd name="connsiteY2810" fmla="*/ 1817937 h 3993936"/>
                  <a:gd name="connsiteX2811" fmla="*/ 45883 w 3565209"/>
                  <a:gd name="connsiteY2811" fmla="*/ 1825384 h 3993936"/>
                  <a:gd name="connsiteX2812" fmla="*/ 50621 w 3565209"/>
                  <a:gd name="connsiteY2812" fmla="*/ 1831025 h 3993936"/>
                  <a:gd name="connsiteX2813" fmla="*/ 50396 w 3565209"/>
                  <a:gd name="connsiteY2813" fmla="*/ 1834410 h 3993936"/>
                  <a:gd name="connsiteX2814" fmla="*/ 50170 w 3565209"/>
                  <a:gd name="connsiteY2814" fmla="*/ 1837569 h 3993936"/>
                  <a:gd name="connsiteX2815" fmla="*/ 51524 w 3565209"/>
                  <a:gd name="connsiteY2815" fmla="*/ 1841179 h 3993936"/>
                  <a:gd name="connsiteX2816" fmla="*/ 54457 w 3565209"/>
                  <a:gd name="connsiteY2816" fmla="*/ 1849302 h 3993936"/>
                  <a:gd name="connsiteX2817" fmla="*/ 64837 w 3565209"/>
                  <a:gd name="connsiteY2817" fmla="*/ 1863292 h 3993936"/>
                  <a:gd name="connsiteX2818" fmla="*/ 71832 w 3565209"/>
                  <a:gd name="connsiteY2818" fmla="*/ 1868708 h 3993936"/>
                  <a:gd name="connsiteX2819" fmla="*/ 85822 w 3565209"/>
                  <a:gd name="connsiteY2819" fmla="*/ 1879313 h 3993936"/>
                  <a:gd name="connsiteX2820" fmla="*/ 92817 w 3565209"/>
                  <a:gd name="connsiteY2820" fmla="*/ 1883826 h 3993936"/>
                  <a:gd name="connsiteX2821" fmla="*/ 121925 w 3565209"/>
                  <a:gd name="connsiteY2821" fmla="*/ 1903909 h 3993936"/>
                  <a:gd name="connsiteX2822" fmla="*/ 138172 w 3565209"/>
                  <a:gd name="connsiteY2822" fmla="*/ 1909324 h 3993936"/>
                  <a:gd name="connsiteX2823" fmla="*/ 157803 w 3565209"/>
                  <a:gd name="connsiteY2823" fmla="*/ 1910227 h 3993936"/>
                  <a:gd name="connsiteX2824" fmla="*/ 170439 w 3565209"/>
                  <a:gd name="connsiteY2824" fmla="*/ 1911580 h 3993936"/>
                  <a:gd name="connsiteX2825" fmla="*/ 179916 w 3565209"/>
                  <a:gd name="connsiteY2825" fmla="*/ 1912934 h 3993936"/>
                  <a:gd name="connsiteX2826" fmla="*/ 186009 w 3565209"/>
                  <a:gd name="connsiteY2826" fmla="*/ 1912709 h 3993936"/>
                  <a:gd name="connsiteX2827" fmla="*/ 193907 w 3565209"/>
                  <a:gd name="connsiteY2827" fmla="*/ 1909098 h 3993936"/>
                  <a:gd name="connsiteX2828" fmla="*/ 199999 w 3565209"/>
                  <a:gd name="connsiteY2828" fmla="*/ 1907744 h 3993936"/>
                  <a:gd name="connsiteX2829" fmla="*/ 222564 w 3565209"/>
                  <a:gd name="connsiteY2829" fmla="*/ 1903231 h 3993936"/>
                  <a:gd name="connsiteX2830" fmla="*/ 232041 w 3565209"/>
                  <a:gd name="connsiteY2830" fmla="*/ 1898719 h 3993936"/>
                  <a:gd name="connsiteX2831" fmla="*/ 233169 w 3565209"/>
                  <a:gd name="connsiteY2831" fmla="*/ 1896462 h 3993936"/>
                  <a:gd name="connsiteX2832" fmla="*/ 241744 w 3565209"/>
                  <a:gd name="connsiteY2832" fmla="*/ 1893303 h 3993936"/>
                  <a:gd name="connsiteX2833" fmla="*/ 247159 w 3565209"/>
                  <a:gd name="connsiteY2833" fmla="*/ 1893077 h 3993936"/>
                  <a:gd name="connsiteX2834" fmla="*/ 248062 w 3565209"/>
                  <a:gd name="connsiteY2834" fmla="*/ 1893077 h 3993936"/>
                  <a:gd name="connsiteX2835" fmla="*/ 247610 w 3565209"/>
                  <a:gd name="connsiteY2835" fmla="*/ 1887211 h 3993936"/>
                  <a:gd name="connsiteX2836" fmla="*/ 246708 w 3565209"/>
                  <a:gd name="connsiteY2836" fmla="*/ 1880667 h 3993936"/>
                  <a:gd name="connsiteX2837" fmla="*/ 263180 w 3565209"/>
                  <a:gd name="connsiteY2837" fmla="*/ 1864195 h 3993936"/>
                  <a:gd name="connsiteX2838" fmla="*/ 277621 w 3565209"/>
                  <a:gd name="connsiteY2838" fmla="*/ 1864646 h 3993936"/>
                  <a:gd name="connsiteX2839" fmla="*/ 281232 w 3565209"/>
                  <a:gd name="connsiteY2839" fmla="*/ 1866902 h 3993936"/>
                  <a:gd name="connsiteX2840" fmla="*/ 296350 w 3565209"/>
                  <a:gd name="connsiteY2840" fmla="*/ 1871867 h 3993936"/>
                  <a:gd name="connsiteX2841" fmla="*/ 309437 w 3565209"/>
                  <a:gd name="connsiteY2841" fmla="*/ 1866902 h 3993936"/>
                  <a:gd name="connsiteX2842" fmla="*/ 317335 w 3565209"/>
                  <a:gd name="connsiteY2842" fmla="*/ 1866226 h 3993936"/>
                  <a:gd name="connsiteX2843" fmla="*/ 320720 w 3565209"/>
                  <a:gd name="connsiteY2843" fmla="*/ 1876380 h 3993936"/>
                  <a:gd name="connsiteX2844" fmla="*/ 304699 w 3565209"/>
                  <a:gd name="connsiteY2844" fmla="*/ 1891047 h 3993936"/>
                  <a:gd name="connsiteX2845" fmla="*/ 302442 w 3565209"/>
                  <a:gd name="connsiteY2845" fmla="*/ 1892626 h 3993936"/>
                  <a:gd name="connsiteX2846" fmla="*/ 296124 w 3565209"/>
                  <a:gd name="connsiteY2846" fmla="*/ 1895560 h 3993936"/>
                  <a:gd name="connsiteX2847" fmla="*/ 293642 w 3565209"/>
                  <a:gd name="connsiteY2847" fmla="*/ 1897139 h 3993936"/>
                  <a:gd name="connsiteX2848" fmla="*/ 292514 w 3565209"/>
                  <a:gd name="connsiteY2848" fmla="*/ 1900975 h 3993936"/>
                  <a:gd name="connsiteX2849" fmla="*/ 285519 w 3565209"/>
                  <a:gd name="connsiteY2849" fmla="*/ 1912032 h 3993936"/>
                  <a:gd name="connsiteX2850" fmla="*/ 279426 w 3565209"/>
                  <a:gd name="connsiteY2850" fmla="*/ 1917222 h 3993936"/>
                  <a:gd name="connsiteX2851" fmla="*/ 270175 w 3565209"/>
                  <a:gd name="connsiteY2851" fmla="*/ 1921283 h 3993936"/>
                  <a:gd name="connsiteX2852" fmla="*/ 267242 w 3565209"/>
                  <a:gd name="connsiteY2852" fmla="*/ 1916093 h 3993936"/>
                  <a:gd name="connsiteX2853" fmla="*/ 260247 w 3565209"/>
                  <a:gd name="connsiteY2853" fmla="*/ 1929181 h 3993936"/>
                  <a:gd name="connsiteX2854" fmla="*/ 247159 w 3565209"/>
                  <a:gd name="connsiteY2854" fmla="*/ 1953099 h 3993936"/>
                  <a:gd name="connsiteX2855" fmla="*/ 236102 w 3565209"/>
                  <a:gd name="connsiteY2855" fmla="*/ 1962576 h 3993936"/>
                  <a:gd name="connsiteX2856" fmla="*/ 224820 w 3565209"/>
                  <a:gd name="connsiteY2856" fmla="*/ 1955581 h 3993936"/>
                  <a:gd name="connsiteX2857" fmla="*/ 220758 w 3565209"/>
                  <a:gd name="connsiteY2857" fmla="*/ 1951520 h 3993936"/>
                  <a:gd name="connsiteX2858" fmla="*/ 219856 w 3565209"/>
                  <a:gd name="connsiteY2858" fmla="*/ 1952197 h 3993936"/>
                  <a:gd name="connsiteX2859" fmla="*/ 216697 w 3565209"/>
                  <a:gd name="connsiteY2859" fmla="*/ 1954453 h 3993936"/>
                  <a:gd name="connsiteX2860" fmla="*/ 213989 w 3565209"/>
                  <a:gd name="connsiteY2860" fmla="*/ 1958966 h 3993936"/>
                  <a:gd name="connsiteX2861" fmla="*/ 204061 w 3565209"/>
                  <a:gd name="connsiteY2861" fmla="*/ 1967315 h 3993936"/>
                  <a:gd name="connsiteX2862" fmla="*/ 200225 w 3565209"/>
                  <a:gd name="connsiteY2862" fmla="*/ 1969571 h 3993936"/>
                  <a:gd name="connsiteX2863" fmla="*/ 195486 w 3565209"/>
                  <a:gd name="connsiteY2863" fmla="*/ 1972956 h 3993936"/>
                  <a:gd name="connsiteX2864" fmla="*/ 188491 w 3565209"/>
                  <a:gd name="connsiteY2864" fmla="*/ 1970248 h 3993936"/>
                  <a:gd name="connsiteX2865" fmla="*/ 180819 w 3565209"/>
                  <a:gd name="connsiteY2865" fmla="*/ 1967315 h 3993936"/>
                  <a:gd name="connsiteX2866" fmla="*/ 179014 w 3565209"/>
                  <a:gd name="connsiteY2866" fmla="*/ 1967766 h 3993936"/>
                  <a:gd name="connsiteX2867" fmla="*/ 179916 w 3565209"/>
                  <a:gd name="connsiteY2867" fmla="*/ 1971151 h 3993936"/>
                  <a:gd name="connsiteX2868" fmla="*/ 180593 w 3565209"/>
                  <a:gd name="connsiteY2868" fmla="*/ 1976566 h 3993936"/>
                  <a:gd name="connsiteX2869" fmla="*/ 178337 w 3565209"/>
                  <a:gd name="connsiteY2869" fmla="*/ 1978146 h 3993936"/>
                  <a:gd name="connsiteX2870" fmla="*/ 172245 w 3565209"/>
                  <a:gd name="connsiteY2870" fmla="*/ 1977920 h 3993936"/>
                  <a:gd name="connsiteX2871" fmla="*/ 161188 w 3565209"/>
                  <a:gd name="connsiteY2871" fmla="*/ 1977244 h 3993936"/>
                  <a:gd name="connsiteX2872" fmla="*/ 156675 w 3565209"/>
                  <a:gd name="connsiteY2872" fmla="*/ 1977920 h 3993936"/>
                  <a:gd name="connsiteX2873" fmla="*/ 156675 w 3565209"/>
                  <a:gd name="connsiteY2873" fmla="*/ 1978372 h 3993936"/>
                  <a:gd name="connsiteX2874" fmla="*/ 153290 w 3565209"/>
                  <a:gd name="connsiteY2874" fmla="*/ 1983787 h 3993936"/>
                  <a:gd name="connsiteX2875" fmla="*/ 146747 w 3565209"/>
                  <a:gd name="connsiteY2875" fmla="*/ 1984464 h 3993936"/>
                  <a:gd name="connsiteX2876" fmla="*/ 145393 w 3565209"/>
                  <a:gd name="connsiteY2876" fmla="*/ 1983110 h 3993936"/>
                  <a:gd name="connsiteX2877" fmla="*/ 132080 w 3565209"/>
                  <a:gd name="connsiteY2877" fmla="*/ 1984239 h 3993936"/>
                  <a:gd name="connsiteX2878" fmla="*/ 122828 w 3565209"/>
                  <a:gd name="connsiteY2878" fmla="*/ 1987849 h 3993936"/>
                  <a:gd name="connsiteX2879" fmla="*/ 119895 w 3565209"/>
                  <a:gd name="connsiteY2879" fmla="*/ 1989654 h 3993936"/>
                  <a:gd name="connsiteX2880" fmla="*/ 111546 w 3565209"/>
                  <a:gd name="connsiteY2880" fmla="*/ 1989880 h 3993936"/>
                  <a:gd name="connsiteX2881" fmla="*/ 108161 w 3565209"/>
                  <a:gd name="connsiteY2881" fmla="*/ 1983787 h 3993936"/>
                  <a:gd name="connsiteX2882" fmla="*/ 110643 w 3565209"/>
                  <a:gd name="connsiteY2882" fmla="*/ 1975664 h 3993936"/>
                  <a:gd name="connsiteX2883" fmla="*/ 112900 w 3565209"/>
                  <a:gd name="connsiteY2883" fmla="*/ 1967315 h 3993936"/>
                  <a:gd name="connsiteX2884" fmla="*/ 112448 w 3565209"/>
                  <a:gd name="connsiteY2884" fmla="*/ 1966412 h 3993936"/>
                  <a:gd name="connsiteX2885" fmla="*/ 111094 w 3565209"/>
                  <a:gd name="connsiteY2885" fmla="*/ 1967089 h 3993936"/>
                  <a:gd name="connsiteX2886" fmla="*/ 106581 w 3565209"/>
                  <a:gd name="connsiteY2886" fmla="*/ 1968218 h 3993936"/>
                  <a:gd name="connsiteX2887" fmla="*/ 104551 w 3565209"/>
                  <a:gd name="connsiteY2887" fmla="*/ 1967315 h 3993936"/>
                  <a:gd name="connsiteX2888" fmla="*/ 102971 w 3565209"/>
                  <a:gd name="connsiteY2888" fmla="*/ 1959192 h 3993936"/>
                  <a:gd name="connsiteX2889" fmla="*/ 102745 w 3565209"/>
                  <a:gd name="connsiteY2889" fmla="*/ 1955130 h 3993936"/>
                  <a:gd name="connsiteX2890" fmla="*/ 90109 w 3565209"/>
                  <a:gd name="connsiteY2890" fmla="*/ 1972279 h 3993936"/>
                  <a:gd name="connsiteX2891" fmla="*/ 94171 w 3565209"/>
                  <a:gd name="connsiteY2891" fmla="*/ 1992362 h 3993936"/>
                  <a:gd name="connsiteX2892" fmla="*/ 146521 w 3565209"/>
                  <a:gd name="connsiteY2892" fmla="*/ 2054866 h 3993936"/>
                  <a:gd name="connsiteX2893" fmla="*/ 181947 w 3565209"/>
                  <a:gd name="connsiteY2893" fmla="*/ 2095933 h 3993936"/>
                  <a:gd name="connsiteX2894" fmla="*/ 191650 w 3565209"/>
                  <a:gd name="connsiteY2894" fmla="*/ 2108795 h 3993936"/>
                  <a:gd name="connsiteX2895" fmla="*/ 205189 w 3565209"/>
                  <a:gd name="connsiteY2895" fmla="*/ 2126621 h 3993936"/>
                  <a:gd name="connsiteX2896" fmla="*/ 220758 w 3565209"/>
                  <a:gd name="connsiteY2896" fmla="*/ 2146252 h 3993936"/>
                  <a:gd name="connsiteX2897" fmla="*/ 264534 w 3565209"/>
                  <a:gd name="connsiteY2897" fmla="*/ 2185741 h 3993936"/>
                  <a:gd name="connsiteX2898" fmla="*/ 275590 w 3565209"/>
                  <a:gd name="connsiteY2898" fmla="*/ 2193864 h 3993936"/>
                  <a:gd name="connsiteX2899" fmla="*/ 294545 w 3565209"/>
                  <a:gd name="connsiteY2899" fmla="*/ 2202664 h 3993936"/>
                  <a:gd name="connsiteX2900" fmla="*/ 303571 w 3565209"/>
                  <a:gd name="connsiteY2900" fmla="*/ 2205146 h 3993936"/>
                  <a:gd name="connsiteX2901" fmla="*/ 314402 w 3565209"/>
                  <a:gd name="connsiteY2901" fmla="*/ 2207628 h 3993936"/>
                  <a:gd name="connsiteX2902" fmla="*/ 314402 w 3565209"/>
                  <a:gd name="connsiteY2902" fmla="*/ 2205597 h 3993936"/>
                  <a:gd name="connsiteX2903" fmla="*/ 315530 w 3565209"/>
                  <a:gd name="connsiteY2903" fmla="*/ 2202438 h 3993936"/>
                  <a:gd name="connsiteX2904" fmla="*/ 325910 w 3565209"/>
                  <a:gd name="connsiteY2904" fmla="*/ 2201084 h 3993936"/>
                  <a:gd name="connsiteX2905" fmla="*/ 341028 w 3565209"/>
                  <a:gd name="connsiteY2905" fmla="*/ 2199730 h 3993936"/>
                  <a:gd name="connsiteX2906" fmla="*/ 354341 w 3565209"/>
                  <a:gd name="connsiteY2906" fmla="*/ 2196120 h 3993936"/>
                  <a:gd name="connsiteX2907" fmla="*/ 364721 w 3565209"/>
                  <a:gd name="connsiteY2907" fmla="*/ 2193187 h 3993936"/>
                  <a:gd name="connsiteX2908" fmla="*/ 376003 w 3565209"/>
                  <a:gd name="connsiteY2908" fmla="*/ 2188674 h 3993936"/>
                  <a:gd name="connsiteX2909" fmla="*/ 397891 w 3565209"/>
                  <a:gd name="connsiteY2909" fmla="*/ 2178294 h 3993936"/>
                  <a:gd name="connsiteX2910" fmla="*/ 410978 w 3565209"/>
                  <a:gd name="connsiteY2910" fmla="*/ 2174909 h 3993936"/>
                  <a:gd name="connsiteX2911" fmla="*/ 417071 w 3565209"/>
                  <a:gd name="connsiteY2911" fmla="*/ 2174684 h 3993936"/>
                  <a:gd name="connsiteX2912" fmla="*/ 431512 w 3565209"/>
                  <a:gd name="connsiteY2912" fmla="*/ 2168140 h 3993936"/>
                  <a:gd name="connsiteX2913" fmla="*/ 464908 w 3565209"/>
                  <a:gd name="connsiteY2913" fmla="*/ 2153699 h 3993936"/>
                  <a:gd name="connsiteX2914" fmla="*/ 472580 w 3565209"/>
                  <a:gd name="connsiteY2914" fmla="*/ 2149186 h 3993936"/>
                  <a:gd name="connsiteX2915" fmla="*/ 471677 w 3565209"/>
                  <a:gd name="connsiteY2915" fmla="*/ 2144447 h 3993936"/>
                  <a:gd name="connsiteX2916" fmla="*/ 476867 w 3565209"/>
                  <a:gd name="connsiteY2916" fmla="*/ 2132714 h 3993936"/>
                  <a:gd name="connsiteX2917" fmla="*/ 480477 w 3565209"/>
                  <a:gd name="connsiteY2917" fmla="*/ 2129780 h 3993936"/>
                  <a:gd name="connsiteX2918" fmla="*/ 483185 w 3565209"/>
                  <a:gd name="connsiteY2918" fmla="*/ 2127298 h 3993936"/>
                  <a:gd name="connsiteX2919" fmla="*/ 497852 w 3565209"/>
                  <a:gd name="connsiteY2919" fmla="*/ 2107667 h 3993936"/>
                  <a:gd name="connsiteX2920" fmla="*/ 494693 w 3565209"/>
                  <a:gd name="connsiteY2920" fmla="*/ 2090067 h 3993936"/>
                  <a:gd name="connsiteX2921" fmla="*/ 489052 w 3565209"/>
                  <a:gd name="connsiteY2921" fmla="*/ 2082620 h 3993936"/>
                  <a:gd name="connsiteX2922" fmla="*/ 487472 w 3565209"/>
                  <a:gd name="connsiteY2922" fmla="*/ 2076979 h 3993936"/>
                  <a:gd name="connsiteX2923" fmla="*/ 481154 w 3565209"/>
                  <a:gd name="connsiteY2923" fmla="*/ 2074271 h 3993936"/>
                  <a:gd name="connsiteX2924" fmla="*/ 475739 w 3565209"/>
                  <a:gd name="connsiteY2924" fmla="*/ 2074723 h 3993936"/>
                  <a:gd name="connsiteX2925" fmla="*/ 466938 w 3565209"/>
                  <a:gd name="connsiteY2925" fmla="*/ 2067953 h 3993936"/>
                  <a:gd name="connsiteX2926" fmla="*/ 466487 w 3565209"/>
                  <a:gd name="connsiteY2926" fmla="*/ 2061861 h 3993936"/>
                  <a:gd name="connsiteX2927" fmla="*/ 469646 w 3565209"/>
                  <a:gd name="connsiteY2927" fmla="*/ 2060507 h 3993936"/>
                  <a:gd name="connsiteX2928" fmla="*/ 483185 w 3565209"/>
                  <a:gd name="connsiteY2928" fmla="*/ 2058250 h 3993936"/>
                  <a:gd name="connsiteX2929" fmla="*/ 482057 w 3565209"/>
                  <a:gd name="connsiteY2929" fmla="*/ 2055994 h 3993936"/>
                  <a:gd name="connsiteX2930" fmla="*/ 479123 w 3565209"/>
                  <a:gd name="connsiteY2930" fmla="*/ 2047645 h 3993936"/>
                  <a:gd name="connsiteX2931" fmla="*/ 484990 w 3565209"/>
                  <a:gd name="connsiteY2931" fmla="*/ 2041101 h 3993936"/>
                  <a:gd name="connsiteX2932" fmla="*/ 488149 w 3565209"/>
                  <a:gd name="connsiteY2932" fmla="*/ 2039522 h 3993936"/>
                  <a:gd name="connsiteX2933" fmla="*/ 496498 w 3565209"/>
                  <a:gd name="connsiteY2933" fmla="*/ 2030045 h 3993936"/>
                  <a:gd name="connsiteX2934" fmla="*/ 501688 w 3565209"/>
                  <a:gd name="connsiteY2934" fmla="*/ 2017409 h 3993936"/>
                  <a:gd name="connsiteX2935" fmla="*/ 516806 w 3565209"/>
                  <a:gd name="connsiteY2935" fmla="*/ 1999131 h 3993936"/>
                  <a:gd name="connsiteX2936" fmla="*/ 522447 w 3565209"/>
                  <a:gd name="connsiteY2936" fmla="*/ 2002516 h 3993936"/>
                  <a:gd name="connsiteX2937" fmla="*/ 522222 w 3565209"/>
                  <a:gd name="connsiteY2937" fmla="*/ 2008157 h 3993936"/>
                  <a:gd name="connsiteX2938" fmla="*/ 521770 w 3565209"/>
                  <a:gd name="connsiteY2938" fmla="*/ 2012219 h 3993936"/>
                  <a:gd name="connsiteX2939" fmla="*/ 524027 w 3565209"/>
                  <a:gd name="connsiteY2939" fmla="*/ 2014249 h 3993936"/>
                  <a:gd name="connsiteX2940" fmla="*/ 526509 w 3565209"/>
                  <a:gd name="connsiteY2940" fmla="*/ 2014926 h 3993936"/>
                  <a:gd name="connsiteX2941" fmla="*/ 526960 w 3565209"/>
                  <a:gd name="connsiteY2941" fmla="*/ 2014024 h 3993936"/>
                  <a:gd name="connsiteX2942" fmla="*/ 527186 w 3565209"/>
                  <a:gd name="connsiteY2942" fmla="*/ 2013572 h 3993936"/>
                  <a:gd name="connsiteX2943" fmla="*/ 536663 w 3565209"/>
                  <a:gd name="connsiteY2943" fmla="*/ 2008608 h 3993936"/>
                  <a:gd name="connsiteX2944" fmla="*/ 550202 w 3565209"/>
                  <a:gd name="connsiteY2944" fmla="*/ 2008834 h 3993936"/>
                  <a:gd name="connsiteX2945" fmla="*/ 564418 w 3565209"/>
                  <a:gd name="connsiteY2945" fmla="*/ 2009285 h 3993936"/>
                  <a:gd name="connsiteX2946" fmla="*/ 584274 w 3565209"/>
                  <a:gd name="connsiteY2946" fmla="*/ 2012670 h 3993936"/>
                  <a:gd name="connsiteX2947" fmla="*/ 583372 w 3565209"/>
                  <a:gd name="connsiteY2947" fmla="*/ 2015378 h 3993936"/>
                  <a:gd name="connsiteX2948" fmla="*/ 581115 w 3565209"/>
                  <a:gd name="connsiteY2948" fmla="*/ 2018988 h 3993936"/>
                  <a:gd name="connsiteX2949" fmla="*/ 572089 w 3565209"/>
                  <a:gd name="connsiteY2949" fmla="*/ 2028465 h 3993936"/>
                  <a:gd name="connsiteX2950" fmla="*/ 560130 w 3565209"/>
                  <a:gd name="connsiteY2950" fmla="*/ 2025306 h 3993936"/>
                  <a:gd name="connsiteX2951" fmla="*/ 549976 w 3565209"/>
                  <a:gd name="connsiteY2951" fmla="*/ 2022373 h 3993936"/>
                  <a:gd name="connsiteX2952" fmla="*/ 547494 w 3565209"/>
                  <a:gd name="connsiteY2952" fmla="*/ 2023501 h 3993936"/>
                  <a:gd name="connsiteX2953" fmla="*/ 542530 w 3565209"/>
                  <a:gd name="connsiteY2953" fmla="*/ 2038394 h 3993936"/>
                  <a:gd name="connsiteX2954" fmla="*/ 544335 w 3565209"/>
                  <a:gd name="connsiteY2954" fmla="*/ 2048999 h 3993936"/>
                  <a:gd name="connsiteX2955" fmla="*/ 562161 w 3565209"/>
                  <a:gd name="connsiteY2955" fmla="*/ 2046291 h 3993936"/>
                  <a:gd name="connsiteX2956" fmla="*/ 568479 w 3565209"/>
                  <a:gd name="connsiteY2956" fmla="*/ 2050127 h 3993936"/>
                  <a:gd name="connsiteX2957" fmla="*/ 563064 w 3565209"/>
                  <a:gd name="connsiteY2957" fmla="*/ 2059153 h 3993936"/>
                  <a:gd name="connsiteX2958" fmla="*/ 553135 w 3565209"/>
                  <a:gd name="connsiteY2958" fmla="*/ 2062538 h 3993936"/>
                  <a:gd name="connsiteX2959" fmla="*/ 551104 w 3565209"/>
                  <a:gd name="connsiteY2959" fmla="*/ 2062538 h 3993936"/>
                  <a:gd name="connsiteX2960" fmla="*/ 545915 w 3565209"/>
                  <a:gd name="connsiteY2960" fmla="*/ 2075851 h 3993936"/>
                  <a:gd name="connsiteX2961" fmla="*/ 542981 w 3565209"/>
                  <a:gd name="connsiteY2961" fmla="*/ 2085102 h 3993936"/>
                  <a:gd name="connsiteX2962" fmla="*/ 542304 w 3565209"/>
                  <a:gd name="connsiteY2962" fmla="*/ 2088036 h 3993936"/>
                  <a:gd name="connsiteX2963" fmla="*/ 556746 w 3565209"/>
                  <a:gd name="connsiteY2963" fmla="*/ 2090067 h 3993936"/>
                  <a:gd name="connsiteX2964" fmla="*/ 569156 w 3565209"/>
                  <a:gd name="connsiteY2964" fmla="*/ 2093451 h 3993936"/>
                  <a:gd name="connsiteX2965" fmla="*/ 568930 w 3565209"/>
                  <a:gd name="connsiteY2965" fmla="*/ 2099318 h 3993936"/>
                  <a:gd name="connsiteX2966" fmla="*/ 568254 w 3565209"/>
                  <a:gd name="connsiteY2966" fmla="*/ 2101123 h 3993936"/>
                  <a:gd name="connsiteX2967" fmla="*/ 555843 w 3565209"/>
                  <a:gd name="connsiteY2967" fmla="*/ 2111954 h 3993936"/>
                  <a:gd name="connsiteX2968" fmla="*/ 553361 w 3565209"/>
                  <a:gd name="connsiteY2968" fmla="*/ 2113308 h 3993936"/>
                  <a:gd name="connsiteX2969" fmla="*/ 554489 w 3565209"/>
                  <a:gd name="connsiteY2969" fmla="*/ 2117595 h 3993936"/>
                  <a:gd name="connsiteX2970" fmla="*/ 556069 w 3565209"/>
                  <a:gd name="connsiteY2970" fmla="*/ 2125719 h 3993936"/>
                  <a:gd name="connsiteX2971" fmla="*/ 552684 w 3565209"/>
                  <a:gd name="connsiteY2971" fmla="*/ 2128878 h 3993936"/>
                  <a:gd name="connsiteX2972" fmla="*/ 546817 w 3565209"/>
                  <a:gd name="connsiteY2972" fmla="*/ 2139709 h 3993936"/>
                  <a:gd name="connsiteX2973" fmla="*/ 543432 w 3565209"/>
                  <a:gd name="connsiteY2973" fmla="*/ 2150991 h 3993936"/>
                  <a:gd name="connsiteX2974" fmla="*/ 542755 w 3565209"/>
                  <a:gd name="connsiteY2974" fmla="*/ 2155504 h 3993936"/>
                  <a:gd name="connsiteX2975" fmla="*/ 551781 w 3565209"/>
                  <a:gd name="connsiteY2975" fmla="*/ 2160468 h 3993936"/>
                  <a:gd name="connsiteX2976" fmla="*/ 561258 w 3565209"/>
                  <a:gd name="connsiteY2976" fmla="*/ 2164304 h 3993936"/>
                  <a:gd name="connsiteX2977" fmla="*/ 568479 w 3565209"/>
                  <a:gd name="connsiteY2977" fmla="*/ 2187094 h 3993936"/>
                  <a:gd name="connsiteX2978" fmla="*/ 568254 w 3565209"/>
                  <a:gd name="connsiteY2978" fmla="*/ 2187546 h 3993936"/>
                  <a:gd name="connsiteX2979" fmla="*/ 574120 w 3565209"/>
                  <a:gd name="connsiteY2979" fmla="*/ 2201987 h 3993936"/>
                  <a:gd name="connsiteX2980" fmla="*/ 572992 w 3565209"/>
                  <a:gd name="connsiteY2980" fmla="*/ 2222972 h 3993936"/>
                  <a:gd name="connsiteX2981" fmla="*/ 571864 w 3565209"/>
                  <a:gd name="connsiteY2981" fmla="*/ 2236962 h 3993936"/>
                  <a:gd name="connsiteX2982" fmla="*/ 572315 w 3565209"/>
                  <a:gd name="connsiteY2982" fmla="*/ 2244860 h 3993936"/>
                  <a:gd name="connsiteX2983" fmla="*/ 564643 w 3565209"/>
                  <a:gd name="connsiteY2983" fmla="*/ 2263137 h 3993936"/>
                  <a:gd name="connsiteX2984" fmla="*/ 560356 w 3565209"/>
                  <a:gd name="connsiteY2984" fmla="*/ 2270584 h 3993936"/>
                  <a:gd name="connsiteX2985" fmla="*/ 559679 w 3565209"/>
                  <a:gd name="connsiteY2985" fmla="*/ 2285025 h 3993936"/>
                  <a:gd name="connsiteX2986" fmla="*/ 557422 w 3565209"/>
                  <a:gd name="connsiteY2986" fmla="*/ 2300820 h 3993936"/>
                  <a:gd name="connsiteX2987" fmla="*/ 556294 w 3565209"/>
                  <a:gd name="connsiteY2987" fmla="*/ 2306010 h 3993936"/>
                  <a:gd name="connsiteX2988" fmla="*/ 551330 w 3565209"/>
                  <a:gd name="connsiteY2988" fmla="*/ 2320000 h 3993936"/>
                  <a:gd name="connsiteX2989" fmla="*/ 541853 w 3565209"/>
                  <a:gd name="connsiteY2989" fmla="*/ 2344821 h 3993936"/>
                  <a:gd name="connsiteX2990" fmla="*/ 546817 w 3565209"/>
                  <a:gd name="connsiteY2990" fmla="*/ 2361970 h 3993936"/>
                  <a:gd name="connsiteX2991" fmla="*/ 551104 w 3565209"/>
                  <a:gd name="connsiteY2991" fmla="*/ 2374381 h 3993936"/>
                  <a:gd name="connsiteX2992" fmla="*/ 552684 w 3565209"/>
                  <a:gd name="connsiteY2992" fmla="*/ 2404166 h 3993936"/>
                  <a:gd name="connsiteX2993" fmla="*/ 554263 w 3565209"/>
                  <a:gd name="connsiteY2993" fmla="*/ 2434177 h 3993936"/>
                  <a:gd name="connsiteX2994" fmla="*/ 558099 w 3565209"/>
                  <a:gd name="connsiteY2994" fmla="*/ 2457870 h 3993936"/>
                  <a:gd name="connsiteX2995" fmla="*/ 559453 w 3565209"/>
                  <a:gd name="connsiteY2995" fmla="*/ 2474567 h 3993936"/>
                  <a:gd name="connsiteX2996" fmla="*/ 559228 w 3565209"/>
                  <a:gd name="connsiteY2996" fmla="*/ 2475470 h 3993936"/>
                  <a:gd name="connsiteX2997" fmla="*/ 558551 w 3565209"/>
                  <a:gd name="connsiteY2997" fmla="*/ 2488783 h 3993936"/>
                  <a:gd name="connsiteX2998" fmla="*/ 561935 w 3565209"/>
                  <a:gd name="connsiteY2998" fmla="*/ 2514958 h 3993936"/>
                  <a:gd name="connsiteX2999" fmla="*/ 563289 w 3565209"/>
                  <a:gd name="connsiteY2999" fmla="*/ 2525789 h 3993936"/>
                  <a:gd name="connsiteX3000" fmla="*/ 563741 w 3565209"/>
                  <a:gd name="connsiteY3000" fmla="*/ 2540005 h 3993936"/>
                  <a:gd name="connsiteX3001" fmla="*/ 565771 w 3565209"/>
                  <a:gd name="connsiteY3001" fmla="*/ 2552641 h 3993936"/>
                  <a:gd name="connsiteX3002" fmla="*/ 567577 w 3565209"/>
                  <a:gd name="connsiteY3002" fmla="*/ 2563472 h 3993936"/>
                  <a:gd name="connsiteX3003" fmla="*/ 572541 w 3565209"/>
                  <a:gd name="connsiteY3003" fmla="*/ 2589196 h 3993936"/>
                  <a:gd name="connsiteX3004" fmla="*/ 576377 w 3565209"/>
                  <a:gd name="connsiteY3004" fmla="*/ 2596416 h 3993936"/>
                  <a:gd name="connsiteX3005" fmla="*/ 582921 w 3565209"/>
                  <a:gd name="connsiteY3005" fmla="*/ 2615371 h 3993936"/>
                  <a:gd name="connsiteX3006" fmla="*/ 587885 w 3565209"/>
                  <a:gd name="connsiteY3006" fmla="*/ 2632069 h 3993936"/>
                  <a:gd name="connsiteX3007" fmla="*/ 591269 w 3565209"/>
                  <a:gd name="connsiteY3007" fmla="*/ 2642674 h 3993936"/>
                  <a:gd name="connsiteX3008" fmla="*/ 592849 w 3565209"/>
                  <a:gd name="connsiteY3008" fmla="*/ 2654633 h 3993936"/>
                  <a:gd name="connsiteX3009" fmla="*/ 595105 w 3565209"/>
                  <a:gd name="connsiteY3009" fmla="*/ 2675844 h 3993936"/>
                  <a:gd name="connsiteX3010" fmla="*/ 598716 w 3565209"/>
                  <a:gd name="connsiteY3010" fmla="*/ 2691188 h 3993936"/>
                  <a:gd name="connsiteX3011" fmla="*/ 602552 w 3565209"/>
                  <a:gd name="connsiteY3011" fmla="*/ 2706757 h 3993936"/>
                  <a:gd name="connsiteX3012" fmla="*/ 600747 w 3565209"/>
                  <a:gd name="connsiteY3012" fmla="*/ 2713301 h 3993936"/>
                  <a:gd name="connsiteX3013" fmla="*/ 599167 w 3565209"/>
                  <a:gd name="connsiteY3013" fmla="*/ 2720747 h 3993936"/>
                  <a:gd name="connsiteX3014" fmla="*/ 601649 w 3565209"/>
                  <a:gd name="connsiteY3014" fmla="*/ 2743989 h 3993936"/>
                  <a:gd name="connsiteX3015" fmla="*/ 604357 w 3565209"/>
                  <a:gd name="connsiteY3015" fmla="*/ 2764297 h 3993936"/>
                  <a:gd name="connsiteX3016" fmla="*/ 605485 w 3565209"/>
                  <a:gd name="connsiteY3016" fmla="*/ 2774451 h 3993936"/>
                  <a:gd name="connsiteX3017" fmla="*/ 607290 w 3565209"/>
                  <a:gd name="connsiteY3017" fmla="*/ 2814842 h 3993936"/>
                  <a:gd name="connsiteX3018" fmla="*/ 610675 w 3565209"/>
                  <a:gd name="connsiteY3018" fmla="*/ 2835376 h 3993936"/>
                  <a:gd name="connsiteX3019" fmla="*/ 614285 w 3565209"/>
                  <a:gd name="connsiteY3019" fmla="*/ 2843048 h 3993936"/>
                  <a:gd name="connsiteX3020" fmla="*/ 616090 w 3565209"/>
                  <a:gd name="connsiteY3020" fmla="*/ 2850043 h 3993936"/>
                  <a:gd name="connsiteX3021" fmla="*/ 623537 w 3565209"/>
                  <a:gd name="connsiteY3021" fmla="*/ 2874864 h 3993936"/>
                  <a:gd name="connsiteX3022" fmla="*/ 633691 w 3565209"/>
                  <a:gd name="connsiteY3022" fmla="*/ 2888177 h 3993936"/>
                  <a:gd name="connsiteX3023" fmla="*/ 637076 w 3565209"/>
                  <a:gd name="connsiteY3023" fmla="*/ 2891562 h 3993936"/>
                  <a:gd name="connsiteX3024" fmla="*/ 644973 w 3565209"/>
                  <a:gd name="connsiteY3024" fmla="*/ 2903746 h 3993936"/>
                  <a:gd name="connsiteX3025" fmla="*/ 645876 w 3565209"/>
                  <a:gd name="connsiteY3025" fmla="*/ 2905551 h 3993936"/>
                  <a:gd name="connsiteX3026" fmla="*/ 646778 w 3565209"/>
                  <a:gd name="connsiteY3026" fmla="*/ 2915254 h 3993936"/>
                  <a:gd name="connsiteX3027" fmla="*/ 646553 w 3565209"/>
                  <a:gd name="connsiteY3027" fmla="*/ 2919993 h 3993936"/>
                  <a:gd name="connsiteX3028" fmla="*/ 656030 w 3565209"/>
                  <a:gd name="connsiteY3028" fmla="*/ 2942332 h 3993936"/>
                  <a:gd name="connsiteX3029" fmla="*/ 663251 w 3565209"/>
                  <a:gd name="connsiteY3029" fmla="*/ 2956999 h 3993936"/>
                  <a:gd name="connsiteX3030" fmla="*/ 665733 w 3565209"/>
                  <a:gd name="connsiteY3030" fmla="*/ 2963317 h 3993936"/>
                  <a:gd name="connsiteX3031" fmla="*/ 669117 w 3565209"/>
                  <a:gd name="connsiteY3031" fmla="*/ 2995133 h 3993936"/>
                  <a:gd name="connsiteX3032" fmla="*/ 669117 w 3565209"/>
                  <a:gd name="connsiteY3032" fmla="*/ 2996487 h 3993936"/>
                  <a:gd name="connsiteX3033" fmla="*/ 674082 w 3565209"/>
                  <a:gd name="connsiteY3033" fmla="*/ 3002805 h 3993936"/>
                  <a:gd name="connsiteX3034" fmla="*/ 680174 w 3565209"/>
                  <a:gd name="connsiteY3034" fmla="*/ 3009800 h 3993936"/>
                  <a:gd name="connsiteX3035" fmla="*/ 693713 w 3565209"/>
                  <a:gd name="connsiteY3035" fmla="*/ 3019051 h 3993936"/>
                  <a:gd name="connsiteX3036" fmla="*/ 698226 w 3565209"/>
                  <a:gd name="connsiteY3036" fmla="*/ 3021759 h 3993936"/>
                  <a:gd name="connsiteX3037" fmla="*/ 705221 w 3565209"/>
                  <a:gd name="connsiteY3037" fmla="*/ 3036201 h 3993936"/>
                  <a:gd name="connsiteX3038" fmla="*/ 702287 w 3565209"/>
                  <a:gd name="connsiteY3038" fmla="*/ 3039360 h 3993936"/>
                  <a:gd name="connsiteX3039" fmla="*/ 701836 w 3565209"/>
                  <a:gd name="connsiteY3039" fmla="*/ 3039360 h 3993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</a:cxnLst>
                <a:rect l="l" t="t" r="r" b="b"/>
                <a:pathLst>
                  <a:path w="3565209" h="3993936">
                    <a:moveTo>
                      <a:pt x="1138687" y="3991586"/>
                    </a:moveTo>
                    <a:cubicBezTo>
                      <a:pt x="1135979" y="3991586"/>
                      <a:pt x="1131918" y="3990684"/>
                      <a:pt x="1125600" y="3988879"/>
                    </a:cubicBezTo>
                    <a:cubicBezTo>
                      <a:pt x="1121989" y="3987976"/>
                      <a:pt x="1118604" y="3987073"/>
                      <a:pt x="1116348" y="3986848"/>
                    </a:cubicBezTo>
                    <a:cubicBezTo>
                      <a:pt x="1110707" y="3986171"/>
                      <a:pt x="1109579" y="3985494"/>
                      <a:pt x="1105743" y="3983689"/>
                    </a:cubicBezTo>
                    <a:cubicBezTo>
                      <a:pt x="1104840" y="3983237"/>
                      <a:pt x="1103937" y="3982786"/>
                      <a:pt x="1102584" y="3982109"/>
                    </a:cubicBezTo>
                    <a:cubicBezTo>
                      <a:pt x="1099650" y="3980529"/>
                      <a:pt x="1097168" y="3978047"/>
                      <a:pt x="1094009" y="3974888"/>
                    </a:cubicBezTo>
                    <a:cubicBezTo>
                      <a:pt x="1089496" y="3970150"/>
                      <a:pt x="1083404" y="3963606"/>
                      <a:pt x="1071670" y="3956160"/>
                    </a:cubicBezTo>
                    <a:cubicBezTo>
                      <a:pt x="1059485" y="3948262"/>
                      <a:pt x="1055875" y="3944200"/>
                      <a:pt x="1051813" y="3939236"/>
                    </a:cubicBezTo>
                    <a:cubicBezTo>
                      <a:pt x="1049331" y="3936303"/>
                      <a:pt x="1046623" y="3933144"/>
                      <a:pt x="1041433" y="3928631"/>
                    </a:cubicBezTo>
                    <a:cubicBezTo>
                      <a:pt x="1027669" y="3916897"/>
                      <a:pt x="1010520" y="3888466"/>
                      <a:pt x="1008940" y="3882148"/>
                    </a:cubicBezTo>
                    <a:cubicBezTo>
                      <a:pt x="1008264" y="3879666"/>
                      <a:pt x="1005781" y="3877184"/>
                      <a:pt x="1003299" y="3874250"/>
                    </a:cubicBezTo>
                    <a:cubicBezTo>
                      <a:pt x="1000366" y="3871091"/>
                      <a:pt x="997432" y="3867932"/>
                      <a:pt x="995853" y="3864096"/>
                    </a:cubicBezTo>
                    <a:cubicBezTo>
                      <a:pt x="994950" y="3862065"/>
                      <a:pt x="994048" y="3858906"/>
                      <a:pt x="992920" y="3855070"/>
                    </a:cubicBezTo>
                    <a:cubicBezTo>
                      <a:pt x="989761" y="3845142"/>
                      <a:pt x="985248" y="3830475"/>
                      <a:pt x="979155" y="3820772"/>
                    </a:cubicBezTo>
                    <a:cubicBezTo>
                      <a:pt x="971709" y="3808813"/>
                      <a:pt x="966519" y="3791889"/>
                      <a:pt x="962457" y="3767068"/>
                    </a:cubicBezTo>
                    <a:cubicBezTo>
                      <a:pt x="960878" y="3757365"/>
                      <a:pt x="960652" y="3747888"/>
                      <a:pt x="960201" y="3738637"/>
                    </a:cubicBezTo>
                    <a:cubicBezTo>
                      <a:pt x="959975" y="3728709"/>
                      <a:pt x="959524" y="3719231"/>
                      <a:pt x="957719" y="3710882"/>
                    </a:cubicBezTo>
                    <a:cubicBezTo>
                      <a:pt x="954334" y="3696216"/>
                      <a:pt x="950272" y="3686964"/>
                      <a:pt x="939441" y="3661917"/>
                    </a:cubicBezTo>
                    <a:lnTo>
                      <a:pt x="935380" y="3652440"/>
                    </a:lnTo>
                    <a:cubicBezTo>
                      <a:pt x="921164" y="3619496"/>
                      <a:pt x="918908" y="3613629"/>
                      <a:pt x="915523" y="3599865"/>
                    </a:cubicBezTo>
                    <a:cubicBezTo>
                      <a:pt x="914169" y="3593998"/>
                      <a:pt x="913718" y="3591064"/>
                      <a:pt x="913266" y="3588131"/>
                    </a:cubicBezTo>
                    <a:cubicBezTo>
                      <a:pt x="912590" y="3584069"/>
                      <a:pt x="911913" y="3580459"/>
                      <a:pt x="908979" y="3569402"/>
                    </a:cubicBezTo>
                    <a:cubicBezTo>
                      <a:pt x="904015" y="3550674"/>
                      <a:pt x="896569" y="3531945"/>
                      <a:pt x="893184" y="3525627"/>
                    </a:cubicBezTo>
                    <a:cubicBezTo>
                      <a:pt x="892056" y="3523596"/>
                      <a:pt x="891153" y="3521114"/>
                      <a:pt x="890251" y="3518858"/>
                    </a:cubicBezTo>
                    <a:cubicBezTo>
                      <a:pt x="888445" y="3514345"/>
                      <a:pt x="886640" y="3509381"/>
                      <a:pt x="883481" y="3507575"/>
                    </a:cubicBezTo>
                    <a:cubicBezTo>
                      <a:pt x="877840" y="3503965"/>
                      <a:pt x="871973" y="3493811"/>
                      <a:pt x="870394" y="3485236"/>
                    </a:cubicBezTo>
                    <a:cubicBezTo>
                      <a:pt x="869265" y="3478693"/>
                      <a:pt x="867686" y="3477113"/>
                      <a:pt x="864753" y="3474405"/>
                    </a:cubicBezTo>
                    <a:lnTo>
                      <a:pt x="863173" y="3472600"/>
                    </a:lnTo>
                    <a:cubicBezTo>
                      <a:pt x="859111" y="3468539"/>
                      <a:pt x="849860" y="3456354"/>
                      <a:pt x="845121" y="3449810"/>
                    </a:cubicBezTo>
                    <a:cubicBezTo>
                      <a:pt x="840383" y="3443492"/>
                      <a:pt x="814433" y="3404681"/>
                      <a:pt x="809695" y="3392947"/>
                    </a:cubicBezTo>
                    <a:cubicBezTo>
                      <a:pt x="807890" y="3388660"/>
                      <a:pt x="805408" y="3384373"/>
                      <a:pt x="802474" y="3379634"/>
                    </a:cubicBezTo>
                    <a:cubicBezTo>
                      <a:pt x="798187" y="3372188"/>
                      <a:pt x="793674" y="3364516"/>
                      <a:pt x="792094" y="3356844"/>
                    </a:cubicBezTo>
                    <a:cubicBezTo>
                      <a:pt x="790515" y="3348720"/>
                      <a:pt x="787582" y="3339018"/>
                      <a:pt x="784648" y="3329766"/>
                    </a:cubicBezTo>
                    <a:cubicBezTo>
                      <a:pt x="783294" y="3325253"/>
                      <a:pt x="781940" y="3320966"/>
                      <a:pt x="780812" y="3317130"/>
                    </a:cubicBezTo>
                    <a:cubicBezTo>
                      <a:pt x="779684" y="3313520"/>
                      <a:pt x="778330" y="3308781"/>
                      <a:pt x="776751" y="3304043"/>
                    </a:cubicBezTo>
                    <a:cubicBezTo>
                      <a:pt x="773366" y="3293437"/>
                      <a:pt x="769304" y="3281703"/>
                      <a:pt x="769079" y="3274934"/>
                    </a:cubicBezTo>
                    <a:cubicBezTo>
                      <a:pt x="768853" y="3270647"/>
                      <a:pt x="767048" y="3264780"/>
                      <a:pt x="765468" y="3259139"/>
                    </a:cubicBezTo>
                    <a:cubicBezTo>
                      <a:pt x="763663" y="3252821"/>
                      <a:pt x="761632" y="3246277"/>
                      <a:pt x="761632" y="3241538"/>
                    </a:cubicBezTo>
                    <a:cubicBezTo>
                      <a:pt x="761632" y="3237703"/>
                      <a:pt x="761858" y="3234769"/>
                      <a:pt x="762309" y="3231836"/>
                    </a:cubicBezTo>
                    <a:cubicBezTo>
                      <a:pt x="762760" y="3227549"/>
                      <a:pt x="763212" y="3223487"/>
                      <a:pt x="762535" y="3217846"/>
                    </a:cubicBezTo>
                    <a:cubicBezTo>
                      <a:pt x="762309" y="3214912"/>
                      <a:pt x="762309" y="3212656"/>
                      <a:pt x="762084" y="3210625"/>
                    </a:cubicBezTo>
                    <a:cubicBezTo>
                      <a:pt x="762084" y="3205661"/>
                      <a:pt x="761858" y="3202276"/>
                      <a:pt x="758473" y="3194830"/>
                    </a:cubicBezTo>
                    <a:cubicBezTo>
                      <a:pt x="753283" y="3183999"/>
                      <a:pt x="752606" y="3176327"/>
                      <a:pt x="752606" y="3170912"/>
                    </a:cubicBezTo>
                    <a:cubicBezTo>
                      <a:pt x="752606" y="3169106"/>
                      <a:pt x="750801" y="3166398"/>
                      <a:pt x="748996" y="3163465"/>
                    </a:cubicBezTo>
                    <a:cubicBezTo>
                      <a:pt x="746965" y="3160532"/>
                      <a:pt x="744483" y="3156696"/>
                      <a:pt x="742904" y="3152183"/>
                    </a:cubicBezTo>
                    <a:cubicBezTo>
                      <a:pt x="741550" y="3148347"/>
                      <a:pt x="739970" y="3144736"/>
                      <a:pt x="738391" y="3141126"/>
                    </a:cubicBezTo>
                    <a:cubicBezTo>
                      <a:pt x="736360" y="3136613"/>
                      <a:pt x="734555" y="3132326"/>
                      <a:pt x="733426" y="3128490"/>
                    </a:cubicBezTo>
                    <a:lnTo>
                      <a:pt x="732975" y="3126910"/>
                    </a:lnTo>
                    <a:cubicBezTo>
                      <a:pt x="731396" y="3121720"/>
                      <a:pt x="730944" y="3120141"/>
                      <a:pt x="731621" y="3115177"/>
                    </a:cubicBezTo>
                    <a:cubicBezTo>
                      <a:pt x="732073" y="3110213"/>
                      <a:pt x="730267" y="3104797"/>
                      <a:pt x="728462" y="3100510"/>
                    </a:cubicBezTo>
                    <a:cubicBezTo>
                      <a:pt x="726657" y="3095997"/>
                      <a:pt x="728688" y="3090130"/>
                      <a:pt x="729816" y="3087197"/>
                    </a:cubicBezTo>
                    <a:cubicBezTo>
                      <a:pt x="730042" y="3086520"/>
                      <a:pt x="730267" y="3086068"/>
                      <a:pt x="730267" y="3085843"/>
                    </a:cubicBezTo>
                    <a:cubicBezTo>
                      <a:pt x="730493" y="3084940"/>
                      <a:pt x="729590" y="3081330"/>
                      <a:pt x="726657" y="3078848"/>
                    </a:cubicBezTo>
                    <a:cubicBezTo>
                      <a:pt x="725529" y="3077945"/>
                      <a:pt x="724175" y="3077268"/>
                      <a:pt x="722821" y="3076366"/>
                    </a:cubicBezTo>
                    <a:cubicBezTo>
                      <a:pt x="720113" y="3075012"/>
                      <a:pt x="717406" y="3073432"/>
                      <a:pt x="716277" y="3070499"/>
                    </a:cubicBezTo>
                    <a:cubicBezTo>
                      <a:pt x="715375" y="3068017"/>
                      <a:pt x="714924" y="3064407"/>
                      <a:pt x="714472" y="3061022"/>
                    </a:cubicBezTo>
                    <a:cubicBezTo>
                      <a:pt x="714247" y="3058765"/>
                      <a:pt x="713795" y="3056735"/>
                      <a:pt x="713570" y="3055380"/>
                    </a:cubicBezTo>
                    <a:cubicBezTo>
                      <a:pt x="712893" y="3053124"/>
                      <a:pt x="706123" y="3047709"/>
                      <a:pt x="702964" y="3045001"/>
                    </a:cubicBezTo>
                    <a:cubicBezTo>
                      <a:pt x="701836" y="3044098"/>
                      <a:pt x="700933" y="3043421"/>
                      <a:pt x="700256" y="3042744"/>
                    </a:cubicBezTo>
                    <a:cubicBezTo>
                      <a:pt x="699128" y="3041616"/>
                      <a:pt x="698451" y="3040714"/>
                      <a:pt x="698451" y="3039585"/>
                    </a:cubicBezTo>
                    <a:cubicBezTo>
                      <a:pt x="698451" y="3037780"/>
                      <a:pt x="699805" y="3036878"/>
                      <a:pt x="701159" y="3035749"/>
                    </a:cubicBezTo>
                    <a:cubicBezTo>
                      <a:pt x="701836" y="3035072"/>
                      <a:pt x="702739" y="3034621"/>
                      <a:pt x="702964" y="3033944"/>
                    </a:cubicBezTo>
                    <a:cubicBezTo>
                      <a:pt x="703416" y="3032590"/>
                      <a:pt x="699128" y="3026272"/>
                      <a:pt x="696646" y="3023790"/>
                    </a:cubicBezTo>
                    <a:cubicBezTo>
                      <a:pt x="696421" y="3023565"/>
                      <a:pt x="694615" y="3022662"/>
                      <a:pt x="693036" y="3021759"/>
                    </a:cubicBezTo>
                    <a:cubicBezTo>
                      <a:pt x="686266" y="3018375"/>
                      <a:pt x="679948" y="3014764"/>
                      <a:pt x="677918" y="3011154"/>
                    </a:cubicBezTo>
                    <a:cubicBezTo>
                      <a:pt x="676789" y="3009123"/>
                      <a:pt x="674758" y="3007092"/>
                      <a:pt x="672502" y="3005061"/>
                    </a:cubicBezTo>
                    <a:cubicBezTo>
                      <a:pt x="669343" y="3002128"/>
                      <a:pt x="666410" y="2999195"/>
                      <a:pt x="666410" y="2996036"/>
                    </a:cubicBezTo>
                    <a:lnTo>
                      <a:pt x="666410" y="2994682"/>
                    </a:lnTo>
                    <a:cubicBezTo>
                      <a:pt x="666410" y="2989266"/>
                      <a:pt x="666635" y="2972568"/>
                      <a:pt x="663251" y="2964220"/>
                    </a:cubicBezTo>
                    <a:cubicBezTo>
                      <a:pt x="662348" y="2961963"/>
                      <a:pt x="661445" y="2959707"/>
                      <a:pt x="660768" y="2957676"/>
                    </a:cubicBezTo>
                    <a:cubicBezTo>
                      <a:pt x="658738" y="2952035"/>
                      <a:pt x="657158" y="2947973"/>
                      <a:pt x="653999" y="2943912"/>
                    </a:cubicBezTo>
                    <a:cubicBezTo>
                      <a:pt x="649937" y="2938496"/>
                      <a:pt x="643845" y="2925634"/>
                      <a:pt x="643845" y="2919316"/>
                    </a:cubicBezTo>
                    <a:cubicBezTo>
                      <a:pt x="643845" y="2917511"/>
                      <a:pt x="643845" y="2915931"/>
                      <a:pt x="644071" y="2914352"/>
                    </a:cubicBezTo>
                    <a:cubicBezTo>
                      <a:pt x="644296" y="2911193"/>
                      <a:pt x="644296" y="2908034"/>
                      <a:pt x="643619" y="2906680"/>
                    </a:cubicBezTo>
                    <a:cubicBezTo>
                      <a:pt x="643394" y="2906003"/>
                      <a:pt x="642942" y="2905326"/>
                      <a:pt x="642717" y="2904424"/>
                    </a:cubicBezTo>
                    <a:cubicBezTo>
                      <a:pt x="641589" y="2901716"/>
                      <a:pt x="640009" y="2898105"/>
                      <a:pt x="635496" y="2893367"/>
                    </a:cubicBezTo>
                    <a:cubicBezTo>
                      <a:pt x="634368" y="2892238"/>
                      <a:pt x="633240" y="2891110"/>
                      <a:pt x="632111" y="2889982"/>
                    </a:cubicBezTo>
                    <a:cubicBezTo>
                      <a:pt x="627598" y="2885695"/>
                      <a:pt x="623762" y="2882084"/>
                      <a:pt x="621055" y="2875315"/>
                    </a:cubicBezTo>
                    <a:cubicBezTo>
                      <a:pt x="618347" y="2868997"/>
                      <a:pt x="615865" y="2858843"/>
                      <a:pt x="613383" y="2850043"/>
                    </a:cubicBezTo>
                    <a:cubicBezTo>
                      <a:pt x="612706" y="2847561"/>
                      <a:pt x="612029" y="2845304"/>
                      <a:pt x="611578" y="2843048"/>
                    </a:cubicBezTo>
                    <a:cubicBezTo>
                      <a:pt x="610675" y="2839889"/>
                      <a:pt x="609547" y="2838083"/>
                      <a:pt x="608419" y="2836504"/>
                    </a:cubicBezTo>
                    <a:cubicBezTo>
                      <a:pt x="605936" y="2832668"/>
                      <a:pt x="603680" y="2829283"/>
                      <a:pt x="604357" y="2813939"/>
                    </a:cubicBezTo>
                    <a:cubicBezTo>
                      <a:pt x="605034" y="2797016"/>
                      <a:pt x="603906" y="2785282"/>
                      <a:pt x="602552" y="2774000"/>
                    </a:cubicBezTo>
                    <a:cubicBezTo>
                      <a:pt x="602100" y="2770615"/>
                      <a:pt x="601875" y="2767230"/>
                      <a:pt x="601423" y="2763846"/>
                    </a:cubicBezTo>
                    <a:cubicBezTo>
                      <a:pt x="600747" y="2757302"/>
                      <a:pt x="599844" y="2750307"/>
                      <a:pt x="598716" y="2743763"/>
                    </a:cubicBezTo>
                    <a:cubicBezTo>
                      <a:pt x="597362" y="2734738"/>
                      <a:pt x="596234" y="2726389"/>
                      <a:pt x="596234" y="2720071"/>
                    </a:cubicBezTo>
                    <a:cubicBezTo>
                      <a:pt x="596234" y="2713978"/>
                      <a:pt x="597136" y="2712173"/>
                      <a:pt x="598490" y="2710368"/>
                    </a:cubicBezTo>
                    <a:cubicBezTo>
                      <a:pt x="599167" y="2709465"/>
                      <a:pt x="599618" y="2708788"/>
                      <a:pt x="599618" y="2705855"/>
                    </a:cubicBezTo>
                    <a:cubicBezTo>
                      <a:pt x="599618" y="2702696"/>
                      <a:pt x="597813" y="2697055"/>
                      <a:pt x="596008" y="2691639"/>
                    </a:cubicBezTo>
                    <a:cubicBezTo>
                      <a:pt x="593752" y="2684870"/>
                      <a:pt x="591721" y="2678552"/>
                      <a:pt x="592172" y="2674716"/>
                    </a:cubicBezTo>
                    <a:cubicBezTo>
                      <a:pt x="592623" y="2671105"/>
                      <a:pt x="591269" y="2661854"/>
                      <a:pt x="590141" y="2654633"/>
                    </a:cubicBezTo>
                    <a:cubicBezTo>
                      <a:pt x="589239" y="2649218"/>
                      <a:pt x="588562" y="2644479"/>
                      <a:pt x="588562" y="2641997"/>
                    </a:cubicBezTo>
                    <a:cubicBezTo>
                      <a:pt x="588562" y="2639966"/>
                      <a:pt x="586982" y="2636581"/>
                      <a:pt x="585403" y="2632971"/>
                    </a:cubicBezTo>
                    <a:cubicBezTo>
                      <a:pt x="582921" y="2627556"/>
                      <a:pt x="579987" y="2621012"/>
                      <a:pt x="579987" y="2614694"/>
                    </a:cubicBezTo>
                    <a:cubicBezTo>
                      <a:pt x="579987" y="2608150"/>
                      <a:pt x="577054" y="2602960"/>
                      <a:pt x="573895" y="2597770"/>
                    </a:cubicBezTo>
                    <a:cubicBezTo>
                      <a:pt x="572541" y="2595288"/>
                      <a:pt x="570961" y="2592806"/>
                      <a:pt x="569833" y="2590098"/>
                    </a:cubicBezTo>
                    <a:cubicBezTo>
                      <a:pt x="565771" y="2581072"/>
                      <a:pt x="563289" y="2567308"/>
                      <a:pt x="564643" y="2561893"/>
                    </a:cubicBezTo>
                    <a:cubicBezTo>
                      <a:pt x="565094" y="2560087"/>
                      <a:pt x="563966" y="2556477"/>
                      <a:pt x="562838" y="2553092"/>
                    </a:cubicBezTo>
                    <a:cubicBezTo>
                      <a:pt x="561033" y="2547677"/>
                      <a:pt x="559453" y="2542036"/>
                      <a:pt x="561033" y="2537974"/>
                    </a:cubicBezTo>
                    <a:cubicBezTo>
                      <a:pt x="562161" y="2535041"/>
                      <a:pt x="561258" y="2530528"/>
                      <a:pt x="560356" y="2526015"/>
                    </a:cubicBezTo>
                    <a:cubicBezTo>
                      <a:pt x="559453" y="2522179"/>
                      <a:pt x="558776" y="2518117"/>
                      <a:pt x="559002" y="2514281"/>
                    </a:cubicBezTo>
                    <a:cubicBezTo>
                      <a:pt x="559905" y="2502999"/>
                      <a:pt x="558776" y="2494424"/>
                      <a:pt x="556069" y="2490363"/>
                    </a:cubicBezTo>
                    <a:cubicBezTo>
                      <a:pt x="552233" y="2484496"/>
                      <a:pt x="555617" y="2475921"/>
                      <a:pt x="556294" y="2473891"/>
                    </a:cubicBezTo>
                    <a:cubicBezTo>
                      <a:pt x="556294" y="2472085"/>
                      <a:pt x="556069" y="2464639"/>
                      <a:pt x="555166" y="2458321"/>
                    </a:cubicBezTo>
                    <a:cubicBezTo>
                      <a:pt x="553812" y="2450649"/>
                      <a:pt x="553361" y="2446813"/>
                      <a:pt x="551330" y="2434402"/>
                    </a:cubicBezTo>
                    <a:cubicBezTo>
                      <a:pt x="548397" y="2414546"/>
                      <a:pt x="548171" y="2405069"/>
                      <a:pt x="550427" y="2401684"/>
                    </a:cubicBezTo>
                    <a:cubicBezTo>
                      <a:pt x="552233" y="2398976"/>
                      <a:pt x="551781" y="2386566"/>
                      <a:pt x="548397" y="2375058"/>
                    </a:cubicBezTo>
                    <a:cubicBezTo>
                      <a:pt x="547268" y="2371222"/>
                      <a:pt x="545689" y="2366934"/>
                      <a:pt x="544109" y="2363098"/>
                    </a:cubicBezTo>
                    <a:cubicBezTo>
                      <a:pt x="541402" y="2355878"/>
                      <a:pt x="538920" y="2349334"/>
                      <a:pt x="538920" y="2344595"/>
                    </a:cubicBezTo>
                    <a:cubicBezTo>
                      <a:pt x="538920" y="2337149"/>
                      <a:pt x="542304" y="2323610"/>
                      <a:pt x="549525" y="2316841"/>
                    </a:cubicBezTo>
                    <a:cubicBezTo>
                      <a:pt x="552910" y="2313682"/>
                      <a:pt x="553135" y="2309395"/>
                      <a:pt x="553361" y="2305333"/>
                    </a:cubicBezTo>
                    <a:cubicBezTo>
                      <a:pt x="553586" y="2301948"/>
                      <a:pt x="553586" y="2298789"/>
                      <a:pt x="556069" y="2297210"/>
                    </a:cubicBezTo>
                    <a:cubicBezTo>
                      <a:pt x="557197" y="2296081"/>
                      <a:pt x="556746" y="2289086"/>
                      <a:pt x="556746" y="2284799"/>
                    </a:cubicBezTo>
                    <a:cubicBezTo>
                      <a:pt x="556520" y="2278707"/>
                      <a:pt x="556294" y="2272389"/>
                      <a:pt x="557648" y="2268778"/>
                    </a:cubicBezTo>
                    <a:cubicBezTo>
                      <a:pt x="558551" y="2266522"/>
                      <a:pt x="560356" y="2263814"/>
                      <a:pt x="562161" y="2260881"/>
                    </a:cubicBezTo>
                    <a:cubicBezTo>
                      <a:pt x="565546" y="2255465"/>
                      <a:pt x="569382" y="2249373"/>
                      <a:pt x="569382" y="2244634"/>
                    </a:cubicBezTo>
                    <a:cubicBezTo>
                      <a:pt x="569382" y="2242378"/>
                      <a:pt x="569156" y="2239670"/>
                      <a:pt x="568930" y="2237188"/>
                    </a:cubicBezTo>
                    <a:cubicBezTo>
                      <a:pt x="568254" y="2230870"/>
                      <a:pt x="567577" y="2224326"/>
                      <a:pt x="570736" y="2220490"/>
                    </a:cubicBezTo>
                    <a:cubicBezTo>
                      <a:pt x="574572" y="2215752"/>
                      <a:pt x="576828" y="2211690"/>
                      <a:pt x="571638" y="2204018"/>
                    </a:cubicBezTo>
                    <a:cubicBezTo>
                      <a:pt x="565771" y="2195443"/>
                      <a:pt x="563515" y="2192284"/>
                      <a:pt x="565320" y="2186417"/>
                    </a:cubicBezTo>
                    <a:lnTo>
                      <a:pt x="565546" y="2185966"/>
                    </a:lnTo>
                    <a:cubicBezTo>
                      <a:pt x="567577" y="2179422"/>
                      <a:pt x="568930" y="2171976"/>
                      <a:pt x="560130" y="2167463"/>
                    </a:cubicBezTo>
                    <a:cubicBezTo>
                      <a:pt x="557197" y="2165884"/>
                      <a:pt x="553812" y="2164755"/>
                      <a:pt x="551104" y="2163853"/>
                    </a:cubicBezTo>
                    <a:cubicBezTo>
                      <a:pt x="545915" y="2162048"/>
                      <a:pt x="541402" y="2160468"/>
                      <a:pt x="539822" y="2156858"/>
                    </a:cubicBezTo>
                    <a:cubicBezTo>
                      <a:pt x="538920" y="2154827"/>
                      <a:pt x="539145" y="2152345"/>
                      <a:pt x="540499" y="2149412"/>
                    </a:cubicBezTo>
                    <a:cubicBezTo>
                      <a:pt x="542079" y="2145801"/>
                      <a:pt x="542981" y="2142191"/>
                      <a:pt x="543658" y="2138806"/>
                    </a:cubicBezTo>
                    <a:cubicBezTo>
                      <a:pt x="545012" y="2133165"/>
                      <a:pt x="546140" y="2127749"/>
                      <a:pt x="551781" y="2125267"/>
                    </a:cubicBezTo>
                    <a:cubicBezTo>
                      <a:pt x="552910" y="2124816"/>
                      <a:pt x="553135" y="2124365"/>
                      <a:pt x="553135" y="2124139"/>
                    </a:cubicBezTo>
                    <a:cubicBezTo>
                      <a:pt x="553586" y="2123011"/>
                      <a:pt x="552458" y="2120754"/>
                      <a:pt x="551781" y="2118949"/>
                    </a:cubicBezTo>
                    <a:cubicBezTo>
                      <a:pt x="550427" y="2116016"/>
                      <a:pt x="548622" y="2111954"/>
                      <a:pt x="552233" y="2109923"/>
                    </a:cubicBezTo>
                    <a:cubicBezTo>
                      <a:pt x="552910" y="2109472"/>
                      <a:pt x="553812" y="2109021"/>
                      <a:pt x="554940" y="2108344"/>
                    </a:cubicBezTo>
                    <a:cubicBezTo>
                      <a:pt x="559002" y="2106087"/>
                      <a:pt x="564643" y="2102928"/>
                      <a:pt x="565546" y="2099544"/>
                    </a:cubicBezTo>
                    <a:cubicBezTo>
                      <a:pt x="565771" y="2098867"/>
                      <a:pt x="565997" y="2098190"/>
                      <a:pt x="566223" y="2097513"/>
                    </a:cubicBezTo>
                    <a:cubicBezTo>
                      <a:pt x="566448" y="2096610"/>
                      <a:pt x="567125" y="2095482"/>
                      <a:pt x="566900" y="2095031"/>
                    </a:cubicBezTo>
                    <a:cubicBezTo>
                      <a:pt x="566674" y="2094805"/>
                      <a:pt x="565320" y="2093677"/>
                      <a:pt x="557422" y="2093451"/>
                    </a:cubicBezTo>
                    <a:cubicBezTo>
                      <a:pt x="545915" y="2093000"/>
                      <a:pt x="541627" y="2092549"/>
                      <a:pt x="539822" y="2089615"/>
                    </a:cubicBezTo>
                    <a:cubicBezTo>
                      <a:pt x="538468" y="2087584"/>
                      <a:pt x="539371" y="2085102"/>
                      <a:pt x="540273" y="2083297"/>
                    </a:cubicBezTo>
                    <a:cubicBezTo>
                      <a:pt x="541176" y="2081266"/>
                      <a:pt x="542079" y="2078107"/>
                      <a:pt x="542981" y="2074723"/>
                    </a:cubicBezTo>
                    <a:cubicBezTo>
                      <a:pt x="545915" y="2064794"/>
                      <a:pt x="547720" y="2058702"/>
                      <a:pt x="551781" y="2058702"/>
                    </a:cubicBezTo>
                    <a:cubicBezTo>
                      <a:pt x="552458" y="2058702"/>
                      <a:pt x="553361" y="2058702"/>
                      <a:pt x="554038" y="2058702"/>
                    </a:cubicBezTo>
                    <a:cubicBezTo>
                      <a:pt x="556746" y="2058927"/>
                      <a:pt x="558325" y="2058927"/>
                      <a:pt x="561484" y="2056220"/>
                    </a:cubicBezTo>
                    <a:cubicBezTo>
                      <a:pt x="565320" y="2053286"/>
                      <a:pt x="565771" y="2051481"/>
                      <a:pt x="565546" y="2051255"/>
                    </a:cubicBezTo>
                    <a:cubicBezTo>
                      <a:pt x="565546" y="2051030"/>
                      <a:pt x="564869" y="2050579"/>
                      <a:pt x="562387" y="2050127"/>
                    </a:cubicBezTo>
                    <a:cubicBezTo>
                      <a:pt x="554489" y="2049225"/>
                      <a:pt x="548397" y="2050804"/>
                      <a:pt x="547043" y="2052158"/>
                    </a:cubicBezTo>
                    <a:cubicBezTo>
                      <a:pt x="546140" y="2053286"/>
                      <a:pt x="545012" y="2053512"/>
                      <a:pt x="543884" y="2053060"/>
                    </a:cubicBezTo>
                    <a:cubicBezTo>
                      <a:pt x="540273" y="2051707"/>
                      <a:pt x="539371" y="2042681"/>
                      <a:pt x="539371" y="2038168"/>
                    </a:cubicBezTo>
                    <a:cubicBezTo>
                      <a:pt x="539371" y="2032076"/>
                      <a:pt x="541402" y="2024178"/>
                      <a:pt x="545463" y="2020568"/>
                    </a:cubicBezTo>
                    <a:cubicBezTo>
                      <a:pt x="547043" y="2018988"/>
                      <a:pt x="548848" y="2018311"/>
                      <a:pt x="550879" y="2018537"/>
                    </a:cubicBezTo>
                    <a:cubicBezTo>
                      <a:pt x="553812" y="2018762"/>
                      <a:pt x="557874" y="2020116"/>
                      <a:pt x="561935" y="2021696"/>
                    </a:cubicBezTo>
                    <a:cubicBezTo>
                      <a:pt x="565997" y="2023050"/>
                      <a:pt x="570284" y="2024629"/>
                      <a:pt x="572766" y="2024629"/>
                    </a:cubicBezTo>
                    <a:cubicBezTo>
                      <a:pt x="575023" y="2024629"/>
                      <a:pt x="577279" y="2020116"/>
                      <a:pt x="578859" y="2017183"/>
                    </a:cubicBezTo>
                    <a:cubicBezTo>
                      <a:pt x="579536" y="2015829"/>
                      <a:pt x="580213" y="2014701"/>
                      <a:pt x="580664" y="2013798"/>
                    </a:cubicBezTo>
                    <a:cubicBezTo>
                      <a:pt x="578182" y="2013347"/>
                      <a:pt x="572992" y="2012895"/>
                      <a:pt x="565320" y="2012895"/>
                    </a:cubicBezTo>
                    <a:cubicBezTo>
                      <a:pt x="560582" y="2012895"/>
                      <a:pt x="555392" y="2012670"/>
                      <a:pt x="551104" y="2012444"/>
                    </a:cubicBezTo>
                    <a:cubicBezTo>
                      <a:pt x="545915" y="2012219"/>
                      <a:pt x="541176" y="2011993"/>
                      <a:pt x="538017" y="2012219"/>
                    </a:cubicBezTo>
                    <a:cubicBezTo>
                      <a:pt x="533053" y="2012444"/>
                      <a:pt x="533053" y="2012444"/>
                      <a:pt x="531699" y="2015152"/>
                    </a:cubicBezTo>
                    <a:lnTo>
                      <a:pt x="531473" y="2015603"/>
                    </a:lnTo>
                    <a:cubicBezTo>
                      <a:pt x="531248" y="2016280"/>
                      <a:pt x="531022" y="2016732"/>
                      <a:pt x="530796" y="2016957"/>
                    </a:cubicBezTo>
                    <a:cubicBezTo>
                      <a:pt x="530571" y="2017634"/>
                      <a:pt x="530119" y="2018311"/>
                      <a:pt x="529442" y="2018537"/>
                    </a:cubicBezTo>
                    <a:cubicBezTo>
                      <a:pt x="528540" y="2018988"/>
                      <a:pt x="527637" y="2018537"/>
                      <a:pt x="527186" y="2018311"/>
                    </a:cubicBezTo>
                    <a:cubicBezTo>
                      <a:pt x="526735" y="2018085"/>
                      <a:pt x="525832" y="2017634"/>
                      <a:pt x="524478" y="2017409"/>
                    </a:cubicBezTo>
                    <a:cubicBezTo>
                      <a:pt x="522222" y="2016732"/>
                      <a:pt x="520417" y="2015378"/>
                      <a:pt x="519740" y="2013121"/>
                    </a:cubicBezTo>
                    <a:cubicBezTo>
                      <a:pt x="518837" y="2010188"/>
                      <a:pt x="519514" y="2007029"/>
                      <a:pt x="520642" y="2005449"/>
                    </a:cubicBezTo>
                    <a:cubicBezTo>
                      <a:pt x="520642" y="2005224"/>
                      <a:pt x="520868" y="2004547"/>
                      <a:pt x="520417" y="2003644"/>
                    </a:cubicBezTo>
                    <a:cubicBezTo>
                      <a:pt x="519965" y="2002967"/>
                      <a:pt x="519288" y="2002516"/>
                      <a:pt x="518386" y="2002516"/>
                    </a:cubicBezTo>
                    <a:cubicBezTo>
                      <a:pt x="515227" y="2002516"/>
                      <a:pt x="507103" y="2008834"/>
                      <a:pt x="507103" y="2016957"/>
                    </a:cubicBezTo>
                    <a:cubicBezTo>
                      <a:pt x="507103" y="2026660"/>
                      <a:pt x="503719" y="2029819"/>
                      <a:pt x="500334" y="2032527"/>
                    </a:cubicBezTo>
                    <a:cubicBezTo>
                      <a:pt x="498078" y="2034332"/>
                      <a:pt x="495595" y="2037040"/>
                      <a:pt x="492888" y="2041101"/>
                    </a:cubicBezTo>
                    <a:cubicBezTo>
                      <a:pt x="491534" y="2043358"/>
                      <a:pt x="489277" y="2043809"/>
                      <a:pt x="487472" y="2044260"/>
                    </a:cubicBezTo>
                    <a:cubicBezTo>
                      <a:pt x="485216" y="2044937"/>
                      <a:pt x="484539" y="2044937"/>
                      <a:pt x="484539" y="2047194"/>
                    </a:cubicBezTo>
                    <a:cubicBezTo>
                      <a:pt x="484539" y="2049901"/>
                      <a:pt x="485667" y="2051932"/>
                      <a:pt x="486795" y="2053512"/>
                    </a:cubicBezTo>
                    <a:cubicBezTo>
                      <a:pt x="487923" y="2055543"/>
                      <a:pt x="489503" y="2058025"/>
                      <a:pt x="487472" y="2060281"/>
                    </a:cubicBezTo>
                    <a:cubicBezTo>
                      <a:pt x="484313" y="2063666"/>
                      <a:pt x="474610" y="2063892"/>
                      <a:pt x="471000" y="2063666"/>
                    </a:cubicBezTo>
                    <a:cubicBezTo>
                      <a:pt x="471000" y="2064343"/>
                      <a:pt x="471451" y="2065471"/>
                      <a:pt x="472354" y="2067051"/>
                    </a:cubicBezTo>
                    <a:cubicBezTo>
                      <a:pt x="473708" y="2069081"/>
                      <a:pt x="475739" y="2070435"/>
                      <a:pt x="477318" y="2070661"/>
                    </a:cubicBezTo>
                    <a:cubicBezTo>
                      <a:pt x="478898" y="2070661"/>
                      <a:pt x="480251" y="2070435"/>
                      <a:pt x="481831" y="2070210"/>
                    </a:cubicBezTo>
                    <a:cubicBezTo>
                      <a:pt x="485216" y="2069533"/>
                      <a:pt x="489052" y="2068856"/>
                      <a:pt x="492211" y="2074948"/>
                    </a:cubicBezTo>
                    <a:cubicBezTo>
                      <a:pt x="493790" y="2077882"/>
                      <a:pt x="494016" y="2080364"/>
                      <a:pt x="494016" y="2081943"/>
                    </a:cubicBezTo>
                    <a:cubicBezTo>
                      <a:pt x="494242" y="2084200"/>
                      <a:pt x="494242" y="2084877"/>
                      <a:pt x="497401" y="2086230"/>
                    </a:cubicBezTo>
                    <a:cubicBezTo>
                      <a:pt x="506201" y="2090292"/>
                      <a:pt x="507555" y="2096385"/>
                      <a:pt x="502365" y="2108795"/>
                    </a:cubicBezTo>
                    <a:cubicBezTo>
                      <a:pt x="497626" y="2120077"/>
                      <a:pt x="491534" y="2125267"/>
                      <a:pt x="486570" y="2129780"/>
                    </a:cubicBezTo>
                    <a:cubicBezTo>
                      <a:pt x="485667" y="2130683"/>
                      <a:pt x="484764" y="2131360"/>
                      <a:pt x="484087" y="2132037"/>
                    </a:cubicBezTo>
                    <a:cubicBezTo>
                      <a:pt x="482734" y="2133165"/>
                      <a:pt x="481605" y="2134293"/>
                      <a:pt x="480251" y="2135196"/>
                    </a:cubicBezTo>
                    <a:cubicBezTo>
                      <a:pt x="475964" y="2138580"/>
                      <a:pt x="474610" y="2139934"/>
                      <a:pt x="475964" y="2142191"/>
                    </a:cubicBezTo>
                    <a:cubicBezTo>
                      <a:pt x="477092" y="2144222"/>
                      <a:pt x="478221" y="2147155"/>
                      <a:pt x="477092" y="2150088"/>
                    </a:cubicBezTo>
                    <a:cubicBezTo>
                      <a:pt x="475964" y="2152796"/>
                      <a:pt x="472805" y="2155053"/>
                      <a:pt x="466938" y="2156858"/>
                    </a:cubicBezTo>
                    <a:cubicBezTo>
                      <a:pt x="460620" y="2158889"/>
                      <a:pt x="445953" y="2165658"/>
                      <a:pt x="433994" y="2171074"/>
                    </a:cubicBezTo>
                    <a:cubicBezTo>
                      <a:pt x="427676" y="2174007"/>
                      <a:pt x="422260" y="2176489"/>
                      <a:pt x="419327" y="2177617"/>
                    </a:cubicBezTo>
                    <a:cubicBezTo>
                      <a:pt x="415491" y="2179197"/>
                      <a:pt x="412783" y="2178520"/>
                      <a:pt x="410752" y="2177843"/>
                    </a:cubicBezTo>
                    <a:cubicBezTo>
                      <a:pt x="408270" y="2177166"/>
                      <a:pt x="406240" y="2176489"/>
                      <a:pt x="401050" y="2180551"/>
                    </a:cubicBezTo>
                    <a:cubicBezTo>
                      <a:pt x="394280" y="2185741"/>
                      <a:pt x="385706" y="2188900"/>
                      <a:pt x="378034" y="2191607"/>
                    </a:cubicBezTo>
                    <a:cubicBezTo>
                      <a:pt x="373972" y="2192961"/>
                      <a:pt x="370136" y="2194315"/>
                      <a:pt x="367428" y="2195895"/>
                    </a:cubicBezTo>
                    <a:cubicBezTo>
                      <a:pt x="363141" y="2198151"/>
                      <a:pt x="359305" y="2198602"/>
                      <a:pt x="355695" y="2199279"/>
                    </a:cubicBezTo>
                    <a:cubicBezTo>
                      <a:pt x="352084" y="2199730"/>
                      <a:pt x="348023" y="2200408"/>
                      <a:pt x="343284" y="2202664"/>
                    </a:cubicBezTo>
                    <a:cubicBezTo>
                      <a:pt x="338094" y="2205146"/>
                      <a:pt x="331551" y="2204695"/>
                      <a:pt x="326361" y="2204469"/>
                    </a:cubicBezTo>
                    <a:cubicBezTo>
                      <a:pt x="323879" y="2204244"/>
                      <a:pt x="319591" y="2204018"/>
                      <a:pt x="318915" y="2204695"/>
                    </a:cubicBezTo>
                    <a:cubicBezTo>
                      <a:pt x="319140" y="2206726"/>
                      <a:pt x="319140" y="2208982"/>
                      <a:pt x="317786" y="2210110"/>
                    </a:cubicBezTo>
                    <a:cubicBezTo>
                      <a:pt x="315755" y="2211690"/>
                      <a:pt x="313048" y="2211013"/>
                      <a:pt x="303571" y="2208305"/>
                    </a:cubicBezTo>
                    <a:cubicBezTo>
                      <a:pt x="301088" y="2207628"/>
                      <a:pt x="298155" y="2206726"/>
                      <a:pt x="294545" y="2205823"/>
                    </a:cubicBezTo>
                    <a:cubicBezTo>
                      <a:pt x="280555" y="2202213"/>
                      <a:pt x="277847" y="2199730"/>
                      <a:pt x="274011" y="2196346"/>
                    </a:cubicBezTo>
                    <a:cubicBezTo>
                      <a:pt x="271754" y="2194315"/>
                      <a:pt x="269272" y="2192059"/>
                      <a:pt x="263631" y="2188674"/>
                    </a:cubicBezTo>
                    <a:cubicBezTo>
                      <a:pt x="247610" y="2179422"/>
                      <a:pt x="230461" y="2161145"/>
                      <a:pt x="218953" y="2148283"/>
                    </a:cubicBezTo>
                    <a:cubicBezTo>
                      <a:pt x="212410" y="2140837"/>
                      <a:pt x="207897" y="2134744"/>
                      <a:pt x="203158" y="2128426"/>
                    </a:cubicBezTo>
                    <a:cubicBezTo>
                      <a:pt x="199322" y="2123011"/>
                      <a:pt x="195260" y="2117595"/>
                      <a:pt x="189619" y="2110600"/>
                    </a:cubicBezTo>
                    <a:cubicBezTo>
                      <a:pt x="186009" y="2106087"/>
                      <a:pt x="182850" y="2102026"/>
                      <a:pt x="179691" y="2097739"/>
                    </a:cubicBezTo>
                    <a:cubicBezTo>
                      <a:pt x="172019" y="2087359"/>
                      <a:pt x="163896" y="2076528"/>
                      <a:pt x="144716" y="2057122"/>
                    </a:cubicBezTo>
                    <a:cubicBezTo>
                      <a:pt x="117638" y="2030045"/>
                      <a:pt x="96653" y="2002967"/>
                      <a:pt x="91689" y="1993716"/>
                    </a:cubicBezTo>
                    <a:cubicBezTo>
                      <a:pt x="86725" y="1984239"/>
                      <a:pt x="86273" y="1978597"/>
                      <a:pt x="87176" y="1971377"/>
                    </a:cubicBezTo>
                    <a:cubicBezTo>
                      <a:pt x="88304" y="1963253"/>
                      <a:pt x="97781" y="1954453"/>
                      <a:pt x="102069" y="1951294"/>
                    </a:cubicBezTo>
                    <a:cubicBezTo>
                      <a:pt x="103648" y="1950166"/>
                      <a:pt x="104776" y="1950392"/>
                      <a:pt x="105453" y="1950843"/>
                    </a:cubicBezTo>
                    <a:cubicBezTo>
                      <a:pt x="107484" y="1951971"/>
                      <a:pt x="107484" y="1954904"/>
                      <a:pt x="107484" y="1958741"/>
                    </a:cubicBezTo>
                    <a:cubicBezTo>
                      <a:pt x="107484" y="1960320"/>
                      <a:pt x="107484" y="1963028"/>
                      <a:pt x="107710" y="1963930"/>
                    </a:cubicBezTo>
                    <a:cubicBezTo>
                      <a:pt x="108612" y="1963930"/>
                      <a:pt x="109289" y="1963479"/>
                      <a:pt x="110192" y="1963028"/>
                    </a:cubicBezTo>
                    <a:cubicBezTo>
                      <a:pt x="111546" y="1962351"/>
                      <a:pt x="113125" y="1961674"/>
                      <a:pt x="114705" y="1962351"/>
                    </a:cubicBezTo>
                    <a:cubicBezTo>
                      <a:pt x="115833" y="1962802"/>
                      <a:pt x="116510" y="1963930"/>
                      <a:pt x="117187" y="1965510"/>
                    </a:cubicBezTo>
                    <a:cubicBezTo>
                      <a:pt x="118089" y="1968895"/>
                      <a:pt x="116510" y="1972731"/>
                      <a:pt x="114705" y="1976341"/>
                    </a:cubicBezTo>
                    <a:cubicBezTo>
                      <a:pt x="113577" y="1978823"/>
                      <a:pt x="112448" y="1981305"/>
                      <a:pt x="112448" y="1982885"/>
                    </a:cubicBezTo>
                    <a:cubicBezTo>
                      <a:pt x="112448" y="1984239"/>
                      <a:pt x="112900" y="1985141"/>
                      <a:pt x="113802" y="1985818"/>
                    </a:cubicBezTo>
                    <a:cubicBezTo>
                      <a:pt x="114930" y="1986495"/>
                      <a:pt x="116736" y="1986495"/>
                      <a:pt x="118541" y="1985592"/>
                    </a:cubicBezTo>
                    <a:cubicBezTo>
                      <a:pt x="119443" y="1985141"/>
                      <a:pt x="120346" y="1984464"/>
                      <a:pt x="121248" y="1984013"/>
                    </a:cubicBezTo>
                    <a:cubicBezTo>
                      <a:pt x="124633" y="1981982"/>
                      <a:pt x="128018" y="1979725"/>
                      <a:pt x="132531" y="1979725"/>
                    </a:cubicBezTo>
                    <a:cubicBezTo>
                      <a:pt x="137495" y="1979725"/>
                      <a:pt x="146295" y="1978372"/>
                      <a:pt x="146295" y="1978372"/>
                    </a:cubicBezTo>
                    <a:lnTo>
                      <a:pt x="148326" y="1978146"/>
                    </a:lnTo>
                    <a:lnTo>
                      <a:pt x="148552" y="1980177"/>
                    </a:lnTo>
                    <a:lnTo>
                      <a:pt x="148552" y="1980177"/>
                    </a:lnTo>
                    <a:cubicBezTo>
                      <a:pt x="148552" y="1980177"/>
                      <a:pt x="148552" y="1980403"/>
                      <a:pt x="148777" y="1980403"/>
                    </a:cubicBezTo>
                    <a:cubicBezTo>
                      <a:pt x="149229" y="1980628"/>
                      <a:pt x="150131" y="1980403"/>
                      <a:pt x="151936" y="1979725"/>
                    </a:cubicBezTo>
                    <a:cubicBezTo>
                      <a:pt x="153290" y="1979049"/>
                      <a:pt x="153290" y="1978823"/>
                      <a:pt x="153290" y="1977920"/>
                    </a:cubicBezTo>
                    <a:cubicBezTo>
                      <a:pt x="152613" y="1974536"/>
                      <a:pt x="155547" y="1973633"/>
                      <a:pt x="160737" y="1973407"/>
                    </a:cubicBezTo>
                    <a:cubicBezTo>
                      <a:pt x="166829" y="1973182"/>
                      <a:pt x="170214" y="1973633"/>
                      <a:pt x="172696" y="1974084"/>
                    </a:cubicBezTo>
                    <a:cubicBezTo>
                      <a:pt x="174501" y="1974310"/>
                      <a:pt x="175629" y="1974536"/>
                      <a:pt x="176983" y="1974310"/>
                    </a:cubicBezTo>
                    <a:cubicBezTo>
                      <a:pt x="176757" y="1973859"/>
                      <a:pt x="176532" y="1972956"/>
                      <a:pt x="176306" y="1972279"/>
                    </a:cubicBezTo>
                    <a:cubicBezTo>
                      <a:pt x="175404" y="1970248"/>
                      <a:pt x="174501" y="1967541"/>
                      <a:pt x="175855" y="1965510"/>
                    </a:cubicBezTo>
                    <a:cubicBezTo>
                      <a:pt x="176757" y="1964156"/>
                      <a:pt x="178337" y="1963479"/>
                      <a:pt x="180593" y="1963253"/>
                    </a:cubicBezTo>
                    <a:cubicBezTo>
                      <a:pt x="186009" y="1963028"/>
                      <a:pt x="188717" y="1965284"/>
                      <a:pt x="190973" y="1967089"/>
                    </a:cubicBezTo>
                    <a:cubicBezTo>
                      <a:pt x="192778" y="1968443"/>
                      <a:pt x="193455" y="1969120"/>
                      <a:pt x="195035" y="1968895"/>
                    </a:cubicBezTo>
                    <a:cubicBezTo>
                      <a:pt x="196389" y="1968669"/>
                      <a:pt x="196614" y="1968218"/>
                      <a:pt x="197066" y="1967315"/>
                    </a:cubicBezTo>
                    <a:cubicBezTo>
                      <a:pt x="198194" y="1965284"/>
                      <a:pt x="199773" y="1963253"/>
                      <a:pt x="205414" y="1963705"/>
                    </a:cubicBezTo>
                    <a:cubicBezTo>
                      <a:pt x="209025" y="1963930"/>
                      <a:pt x="210153" y="1961674"/>
                      <a:pt x="211507" y="1957838"/>
                    </a:cubicBezTo>
                    <a:cubicBezTo>
                      <a:pt x="212635" y="1955130"/>
                      <a:pt x="213538" y="1952422"/>
                      <a:pt x="216020" y="1951294"/>
                    </a:cubicBezTo>
                    <a:cubicBezTo>
                      <a:pt x="217148" y="1950843"/>
                      <a:pt x="217825" y="1950166"/>
                      <a:pt x="218502" y="1949489"/>
                    </a:cubicBezTo>
                    <a:cubicBezTo>
                      <a:pt x="219405" y="1948586"/>
                      <a:pt x="220533" y="1947684"/>
                      <a:pt x="222112" y="1947909"/>
                    </a:cubicBezTo>
                    <a:cubicBezTo>
                      <a:pt x="223917" y="1948135"/>
                      <a:pt x="225497" y="1949489"/>
                      <a:pt x="228656" y="1953325"/>
                    </a:cubicBezTo>
                    <a:cubicBezTo>
                      <a:pt x="231815" y="1957161"/>
                      <a:pt x="234523" y="1958966"/>
                      <a:pt x="236779" y="1958966"/>
                    </a:cubicBezTo>
                    <a:cubicBezTo>
                      <a:pt x="239261" y="1958741"/>
                      <a:pt x="241969" y="1956258"/>
                      <a:pt x="244903" y="1951294"/>
                    </a:cubicBezTo>
                    <a:cubicBezTo>
                      <a:pt x="248964" y="1944750"/>
                      <a:pt x="253703" y="1935499"/>
                      <a:pt x="257764" y="1927601"/>
                    </a:cubicBezTo>
                    <a:cubicBezTo>
                      <a:pt x="261149" y="1921283"/>
                      <a:pt x="263857" y="1915868"/>
                      <a:pt x="265888" y="1912483"/>
                    </a:cubicBezTo>
                    <a:cubicBezTo>
                      <a:pt x="267242" y="1910227"/>
                      <a:pt x="268144" y="1908421"/>
                      <a:pt x="270175" y="1908873"/>
                    </a:cubicBezTo>
                    <a:cubicBezTo>
                      <a:pt x="271754" y="1909324"/>
                      <a:pt x="271754" y="1911129"/>
                      <a:pt x="271754" y="1912934"/>
                    </a:cubicBezTo>
                    <a:cubicBezTo>
                      <a:pt x="271754" y="1914514"/>
                      <a:pt x="271529" y="1917673"/>
                      <a:pt x="272657" y="1918350"/>
                    </a:cubicBezTo>
                    <a:cubicBezTo>
                      <a:pt x="273560" y="1918801"/>
                      <a:pt x="274914" y="1917447"/>
                      <a:pt x="277170" y="1914965"/>
                    </a:cubicBezTo>
                    <a:cubicBezTo>
                      <a:pt x="279201" y="1912709"/>
                      <a:pt x="281457" y="1910001"/>
                      <a:pt x="284616" y="1908873"/>
                    </a:cubicBezTo>
                    <a:cubicBezTo>
                      <a:pt x="287775" y="1907744"/>
                      <a:pt x="288452" y="1903909"/>
                      <a:pt x="289129" y="1900524"/>
                    </a:cubicBezTo>
                    <a:cubicBezTo>
                      <a:pt x="289581" y="1898719"/>
                      <a:pt x="289806" y="1896913"/>
                      <a:pt x="290483" y="1895560"/>
                    </a:cubicBezTo>
                    <a:cubicBezTo>
                      <a:pt x="291837" y="1893077"/>
                      <a:pt x="293642" y="1892626"/>
                      <a:pt x="295222" y="1892175"/>
                    </a:cubicBezTo>
                    <a:cubicBezTo>
                      <a:pt x="296576" y="1891724"/>
                      <a:pt x="298155" y="1891272"/>
                      <a:pt x="300412" y="1889693"/>
                    </a:cubicBezTo>
                    <a:lnTo>
                      <a:pt x="302668" y="1888113"/>
                    </a:lnTo>
                    <a:cubicBezTo>
                      <a:pt x="306504" y="1885406"/>
                      <a:pt x="316658" y="1878185"/>
                      <a:pt x="317109" y="1875928"/>
                    </a:cubicBezTo>
                    <a:cubicBezTo>
                      <a:pt x="317335" y="1874123"/>
                      <a:pt x="316884" y="1870513"/>
                      <a:pt x="315304" y="1869610"/>
                    </a:cubicBezTo>
                    <a:cubicBezTo>
                      <a:pt x="314176" y="1868933"/>
                      <a:pt x="312596" y="1869610"/>
                      <a:pt x="311468" y="1870287"/>
                    </a:cubicBezTo>
                    <a:cubicBezTo>
                      <a:pt x="303796" y="1875026"/>
                      <a:pt x="300412" y="1876831"/>
                      <a:pt x="295447" y="1875703"/>
                    </a:cubicBezTo>
                    <a:cubicBezTo>
                      <a:pt x="291160" y="1874800"/>
                      <a:pt x="285293" y="1872769"/>
                      <a:pt x="279652" y="1870513"/>
                    </a:cubicBezTo>
                    <a:cubicBezTo>
                      <a:pt x="277847" y="1869836"/>
                      <a:pt x="276493" y="1868708"/>
                      <a:pt x="275365" y="1867805"/>
                    </a:cubicBezTo>
                    <a:cubicBezTo>
                      <a:pt x="272431" y="1865549"/>
                      <a:pt x="270626" y="1864420"/>
                      <a:pt x="264985" y="1867580"/>
                    </a:cubicBezTo>
                    <a:cubicBezTo>
                      <a:pt x="255508" y="1872769"/>
                      <a:pt x="250769" y="1877057"/>
                      <a:pt x="250544" y="1881118"/>
                    </a:cubicBezTo>
                    <a:cubicBezTo>
                      <a:pt x="250318" y="1882472"/>
                      <a:pt x="250769" y="1884503"/>
                      <a:pt x="251221" y="1886534"/>
                    </a:cubicBezTo>
                    <a:cubicBezTo>
                      <a:pt x="251898" y="1889693"/>
                      <a:pt x="252800" y="1893077"/>
                      <a:pt x="251221" y="1895334"/>
                    </a:cubicBezTo>
                    <a:cubicBezTo>
                      <a:pt x="250544" y="1896462"/>
                      <a:pt x="249190" y="1897139"/>
                      <a:pt x="247610" y="1897365"/>
                    </a:cubicBezTo>
                    <a:cubicBezTo>
                      <a:pt x="245128" y="1897816"/>
                      <a:pt x="243097" y="1897590"/>
                      <a:pt x="241292" y="1897590"/>
                    </a:cubicBezTo>
                    <a:cubicBezTo>
                      <a:pt x="238133" y="1897365"/>
                      <a:pt x="237005" y="1897590"/>
                      <a:pt x="236102" y="1898944"/>
                    </a:cubicBezTo>
                    <a:cubicBezTo>
                      <a:pt x="235651" y="1899621"/>
                      <a:pt x="235425" y="1900298"/>
                      <a:pt x="235200" y="1900749"/>
                    </a:cubicBezTo>
                    <a:cubicBezTo>
                      <a:pt x="233395" y="1904585"/>
                      <a:pt x="231364" y="1907293"/>
                      <a:pt x="222338" y="1907293"/>
                    </a:cubicBezTo>
                    <a:cubicBezTo>
                      <a:pt x="212184" y="1907293"/>
                      <a:pt x="206994" y="1909098"/>
                      <a:pt x="201127" y="1911580"/>
                    </a:cubicBezTo>
                    <a:cubicBezTo>
                      <a:pt x="198419" y="1912709"/>
                      <a:pt x="195937" y="1913160"/>
                      <a:pt x="193907" y="1913386"/>
                    </a:cubicBezTo>
                    <a:cubicBezTo>
                      <a:pt x="191424" y="1913611"/>
                      <a:pt x="189845" y="1913837"/>
                      <a:pt x="188491" y="1915642"/>
                    </a:cubicBezTo>
                    <a:cubicBezTo>
                      <a:pt x="185783" y="1919027"/>
                      <a:pt x="182399" y="1918124"/>
                      <a:pt x="178563" y="1917222"/>
                    </a:cubicBezTo>
                    <a:cubicBezTo>
                      <a:pt x="176306" y="1916319"/>
                      <a:pt x="173598" y="1915642"/>
                      <a:pt x="170214" y="1915642"/>
                    </a:cubicBezTo>
                    <a:cubicBezTo>
                      <a:pt x="166378" y="1915642"/>
                      <a:pt x="161865" y="1914965"/>
                      <a:pt x="157126" y="1914288"/>
                    </a:cubicBezTo>
                    <a:cubicBezTo>
                      <a:pt x="150357" y="1913386"/>
                      <a:pt x="143362" y="1912257"/>
                      <a:pt x="138849" y="1913160"/>
                    </a:cubicBezTo>
                    <a:cubicBezTo>
                      <a:pt x="130049" y="1914965"/>
                      <a:pt x="128695" y="1914514"/>
                      <a:pt x="119443" y="1906842"/>
                    </a:cubicBezTo>
                    <a:cubicBezTo>
                      <a:pt x="112223" y="1900975"/>
                      <a:pt x="100715" y="1893529"/>
                      <a:pt x="90561" y="1886985"/>
                    </a:cubicBezTo>
                    <a:cubicBezTo>
                      <a:pt x="88079" y="1885406"/>
                      <a:pt x="85822" y="1883826"/>
                      <a:pt x="83566" y="1882472"/>
                    </a:cubicBezTo>
                    <a:cubicBezTo>
                      <a:pt x="77247" y="1878410"/>
                      <a:pt x="72735" y="1874574"/>
                      <a:pt x="69124" y="1871641"/>
                    </a:cubicBezTo>
                    <a:cubicBezTo>
                      <a:pt x="66642" y="1869385"/>
                      <a:pt x="64386" y="1867805"/>
                      <a:pt x="62580" y="1866677"/>
                    </a:cubicBezTo>
                    <a:cubicBezTo>
                      <a:pt x="57165" y="1863518"/>
                      <a:pt x="51975" y="1855620"/>
                      <a:pt x="50396" y="1850430"/>
                    </a:cubicBezTo>
                    <a:cubicBezTo>
                      <a:pt x="49944" y="1847948"/>
                      <a:pt x="48816" y="1845240"/>
                      <a:pt x="47688" y="1842758"/>
                    </a:cubicBezTo>
                    <a:cubicBezTo>
                      <a:pt x="46560" y="1839825"/>
                      <a:pt x="46108" y="1838697"/>
                      <a:pt x="46108" y="1837794"/>
                    </a:cubicBezTo>
                    <a:cubicBezTo>
                      <a:pt x="46108" y="1837117"/>
                      <a:pt x="46334" y="1835538"/>
                      <a:pt x="46334" y="1834184"/>
                    </a:cubicBezTo>
                    <a:cubicBezTo>
                      <a:pt x="46560" y="1833281"/>
                      <a:pt x="46560" y="1832153"/>
                      <a:pt x="46560" y="1831476"/>
                    </a:cubicBezTo>
                    <a:cubicBezTo>
                      <a:pt x="46108" y="1830799"/>
                      <a:pt x="44303" y="1829220"/>
                      <a:pt x="43175" y="1828091"/>
                    </a:cubicBezTo>
                    <a:cubicBezTo>
                      <a:pt x="40693" y="1825835"/>
                      <a:pt x="37759" y="1823127"/>
                      <a:pt x="35729" y="1820419"/>
                    </a:cubicBezTo>
                    <a:cubicBezTo>
                      <a:pt x="32795" y="1816809"/>
                      <a:pt x="33698" y="1814327"/>
                      <a:pt x="34375" y="1812296"/>
                    </a:cubicBezTo>
                    <a:cubicBezTo>
                      <a:pt x="34826" y="1810942"/>
                      <a:pt x="35277" y="1809588"/>
                      <a:pt x="34600" y="1807558"/>
                    </a:cubicBezTo>
                    <a:cubicBezTo>
                      <a:pt x="32795" y="1802142"/>
                      <a:pt x="31893" y="1796501"/>
                      <a:pt x="35503" y="1791988"/>
                    </a:cubicBezTo>
                    <a:lnTo>
                      <a:pt x="36631" y="1790634"/>
                    </a:lnTo>
                    <a:cubicBezTo>
                      <a:pt x="38662" y="1788152"/>
                      <a:pt x="39113" y="1787475"/>
                      <a:pt x="42949" y="1786347"/>
                    </a:cubicBezTo>
                    <a:cubicBezTo>
                      <a:pt x="44077" y="1786121"/>
                      <a:pt x="45206" y="1785670"/>
                      <a:pt x="46560" y="1785444"/>
                    </a:cubicBezTo>
                    <a:cubicBezTo>
                      <a:pt x="50170" y="1784542"/>
                      <a:pt x="54909" y="1783639"/>
                      <a:pt x="58293" y="1780480"/>
                    </a:cubicBezTo>
                    <a:cubicBezTo>
                      <a:pt x="59873" y="1778901"/>
                      <a:pt x="60550" y="1777547"/>
                      <a:pt x="61227" y="1776193"/>
                    </a:cubicBezTo>
                    <a:cubicBezTo>
                      <a:pt x="62355" y="1773711"/>
                      <a:pt x="63709" y="1771003"/>
                      <a:pt x="69801" y="1770552"/>
                    </a:cubicBezTo>
                    <a:cubicBezTo>
                      <a:pt x="75894" y="1770100"/>
                      <a:pt x="80632" y="1765362"/>
                      <a:pt x="83566" y="1762654"/>
                    </a:cubicBezTo>
                    <a:cubicBezTo>
                      <a:pt x="83791" y="1762428"/>
                      <a:pt x="83791" y="1762428"/>
                      <a:pt x="84017" y="1762203"/>
                    </a:cubicBezTo>
                    <a:cubicBezTo>
                      <a:pt x="82212" y="1761751"/>
                      <a:pt x="78827" y="1761526"/>
                      <a:pt x="75668" y="1762880"/>
                    </a:cubicBezTo>
                    <a:cubicBezTo>
                      <a:pt x="73186" y="1764008"/>
                      <a:pt x="69801" y="1764459"/>
                      <a:pt x="66416" y="1764910"/>
                    </a:cubicBezTo>
                    <a:cubicBezTo>
                      <a:pt x="62355" y="1765587"/>
                      <a:pt x="57842" y="1766039"/>
                      <a:pt x="56262" y="1768069"/>
                    </a:cubicBezTo>
                    <a:cubicBezTo>
                      <a:pt x="55360" y="1769198"/>
                      <a:pt x="54457" y="1770552"/>
                      <a:pt x="53555" y="1771905"/>
                    </a:cubicBezTo>
                    <a:cubicBezTo>
                      <a:pt x="51524" y="1775290"/>
                      <a:pt x="49267" y="1778675"/>
                      <a:pt x="45206" y="1778901"/>
                    </a:cubicBezTo>
                    <a:lnTo>
                      <a:pt x="44754" y="1778901"/>
                    </a:lnTo>
                    <a:cubicBezTo>
                      <a:pt x="40918" y="1779126"/>
                      <a:pt x="35277" y="1779577"/>
                      <a:pt x="33923" y="1782511"/>
                    </a:cubicBezTo>
                    <a:cubicBezTo>
                      <a:pt x="31893" y="1786798"/>
                      <a:pt x="25575" y="1794245"/>
                      <a:pt x="23092" y="1796501"/>
                    </a:cubicBezTo>
                    <a:cubicBezTo>
                      <a:pt x="20610" y="1798983"/>
                      <a:pt x="14744" y="1798983"/>
                      <a:pt x="8425" y="1798983"/>
                    </a:cubicBezTo>
                    <a:lnTo>
                      <a:pt x="6395" y="1798983"/>
                    </a:lnTo>
                    <a:cubicBezTo>
                      <a:pt x="2333" y="1798983"/>
                      <a:pt x="528" y="1796727"/>
                      <a:pt x="77" y="1794470"/>
                    </a:cubicBezTo>
                    <a:cubicBezTo>
                      <a:pt x="-375" y="1791762"/>
                      <a:pt x="1205" y="1788829"/>
                      <a:pt x="3912" y="1787926"/>
                    </a:cubicBezTo>
                    <a:cubicBezTo>
                      <a:pt x="7297" y="1786798"/>
                      <a:pt x="14518" y="1781157"/>
                      <a:pt x="14969" y="1779577"/>
                    </a:cubicBezTo>
                    <a:cubicBezTo>
                      <a:pt x="14969" y="1779352"/>
                      <a:pt x="14969" y="1779352"/>
                      <a:pt x="14292" y="1778901"/>
                    </a:cubicBezTo>
                    <a:cubicBezTo>
                      <a:pt x="13390" y="1778224"/>
                      <a:pt x="12036" y="1777095"/>
                      <a:pt x="11584" y="1774388"/>
                    </a:cubicBezTo>
                    <a:cubicBezTo>
                      <a:pt x="11359" y="1773259"/>
                      <a:pt x="11133" y="1771905"/>
                      <a:pt x="10682" y="1770552"/>
                    </a:cubicBezTo>
                    <a:cubicBezTo>
                      <a:pt x="10005" y="1766716"/>
                      <a:pt x="8877" y="1762203"/>
                      <a:pt x="8877" y="1757464"/>
                    </a:cubicBezTo>
                    <a:cubicBezTo>
                      <a:pt x="8877" y="1754756"/>
                      <a:pt x="10682" y="1751823"/>
                      <a:pt x="14067" y="1749341"/>
                    </a:cubicBezTo>
                    <a:cubicBezTo>
                      <a:pt x="19031" y="1745731"/>
                      <a:pt x="28057" y="1742572"/>
                      <a:pt x="35277" y="1745054"/>
                    </a:cubicBezTo>
                    <a:cubicBezTo>
                      <a:pt x="37985" y="1745956"/>
                      <a:pt x="39790" y="1746633"/>
                      <a:pt x="41144" y="1747084"/>
                    </a:cubicBezTo>
                    <a:cubicBezTo>
                      <a:pt x="45206" y="1748664"/>
                      <a:pt x="46334" y="1749115"/>
                      <a:pt x="55360" y="1749115"/>
                    </a:cubicBezTo>
                    <a:cubicBezTo>
                      <a:pt x="67319" y="1749115"/>
                      <a:pt x="72283" y="1747310"/>
                      <a:pt x="76119" y="1745505"/>
                    </a:cubicBezTo>
                    <a:cubicBezTo>
                      <a:pt x="78150" y="1744602"/>
                      <a:pt x="78376" y="1740766"/>
                      <a:pt x="78601" y="1737382"/>
                    </a:cubicBezTo>
                    <a:cubicBezTo>
                      <a:pt x="78601" y="1736028"/>
                      <a:pt x="78827" y="1734899"/>
                      <a:pt x="78827" y="1733771"/>
                    </a:cubicBezTo>
                    <a:cubicBezTo>
                      <a:pt x="79278" y="1731289"/>
                      <a:pt x="80181" y="1730161"/>
                      <a:pt x="81083" y="1729258"/>
                    </a:cubicBezTo>
                    <a:cubicBezTo>
                      <a:pt x="81986" y="1728356"/>
                      <a:pt x="82437" y="1727679"/>
                      <a:pt x="81986" y="1724971"/>
                    </a:cubicBezTo>
                    <a:cubicBezTo>
                      <a:pt x="81760" y="1723843"/>
                      <a:pt x="81535" y="1722489"/>
                      <a:pt x="81309" y="1721361"/>
                    </a:cubicBezTo>
                    <a:cubicBezTo>
                      <a:pt x="79955" y="1715720"/>
                      <a:pt x="78150" y="1707822"/>
                      <a:pt x="86725" y="1704212"/>
                    </a:cubicBezTo>
                    <a:cubicBezTo>
                      <a:pt x="92817" y="1701729"/>
                      <a:pt x="94622" y="1702632"/>
                      <a:pt x="96427" y="1706243"/>
                    </a:cubicBezTo>
                    <a:cubicBezTo>
                      <a:pt x="97330" y="1707596"/>
                      <a:pt x="98233" y="1709402"/>
                      <a:pt x="100489" y="1710981"/>
                    </a:cubicBezTo>
                    <a:cubicBezTo>
                      <a:pt x="102520" y="1712335"/>
                      <a:pt x="102745" y="1711884"/>
                      <a:pt x="104099" y="1710078"/>
                    </a:cubicBezTo>
                    <a:cubicBezTo>
                      <a:pt x="104776" y="1709176"/>
                      <a:pt x="105905" y="1707822"/>
                      <a:pt x="107484" y="1707822"/>
                    </a:cubicBezTo>
                    <a:cubicBezTo>
                      <a:pt x="109515" y="1708048"/>
                      <a:pt x="110417" y="1709853"/>
                      <a:pt x="111546" y="1712335"/>
                    </a:cubicBezTo>
                    <a:cubicBezTo>
                      <a:pt x="114930" y="1720007"/>
                      <a:pt x="117864" y="1719104"/>
                      <a:pt x="123279" y="1716622"/>
                    </a:cubicBezTo>
                    <a:cubicBezTo>
                      <a:pt x="127792" y="1714591"/>
                      <a:pt x="130951" y="1715043"/>
                      <a:pt x="136367" y="1715720"/>
                    </a:cubicBezTo>
                    <a:cubicBezTo>
                      <a:pt x="138398" y="1715945"/>
                      <a:pt x="140654" y="1716171"/>
                      <a:pt x="143587" y="1716622"/>
                    </a:cubicBezTo>
                    <a:cubicBezTo>
                      <a:pt x="149680" y="1717073"/>
                      <a:pt x="151034" y="1716622"/>
                      <a:pt x="153290" y="1715945"/>
                    </a:cubicBezTo>
                    <a:cubicBezTo>
                      <a:pt x="155095" y="1715268"/>
                      <a:pt x="157578" y="1714591"/>
                      <a:pt x="162542" y="1713914"/>
                    </a:cubicBezTo>
                    <a:cubicBezTo>
                      <a:pt x="174952" y="1712335"/>
                      <a:pt x="184204" y="1714366"/>
                      <a:pt x="187588" y="1715268"/>
                    </a:cubicBezTo>
                    <a:lnTo>
                      <a:pt x="188942" y="1715494"/>
                    </a:lnTo>
                    <a:cubicBezTo>
                      <a:pt x="192553" y="1716171"/>
                      <a:pt x="194132" y="1716848"/>
                      <a:pt x="198645" y="1723166"/>
                    </a:cubicBezTo>
                    <a:cubicBezTo>
                      <a:pt x="203384" y="1729710"/>
                      <a:pt x="209927" y="1732417"/>
                      <a:pt x="219630" y="1732192"/>
                    </a:cubicBezTo>
                    <a:cubicBezTo>
                      <a:pt x="222564" y="1732192"/>
                      <a:pt x="225046" y="1731966"/>
                      <a:pt x="227528" y="1731966"/>
                    </a:cubicBezTo>
                    <a:cubicBezTo>
                      <a:pt x="234072" y="1731966"/>
                      <a:pt x="239261" y="1731740"/>
                      <a:pt x="243097" y="1730838"/>
                    </a:cubicBezTo>
                    <a:cubicBezTo>
                      <a:pt x="245354" y="1730387"/>
                      <a:pt x="247159" y="1728356"/>
                      <a:pt x="249415" y="1725874"/>
                    </a:cubicBezTo>
                    <a:cubicBezTo>
                      <a:pt x="251672" y="1723617"/>
                      <a:pt x="253928" y="1720910"/>
                      <a:pt x="257539" y="1719104"/>
                    </a:cubicBezTo>
                    <a:cubicBezTo>
                      <a:pt x="264308" y="1715720"/>
                      <a:pt x="269047" y="1713463"/>
                      <a:pt x="279878" y="1714140"/>
                    </a:cubicBezTo>
                    <a:cubicBezTo>
                      <a:pt x="285970" y="1714591"/>
                      <a:pt x="287098" y="1713689"/>
                      <a:pt x="289129" y="1712109"/>
                    </a:cubicBezTo>
                    <a:cubicBezTo>
                      <a:pt x="290483" y="1711207"/>
                      <a:pt x="292063" y="1709853"/>
                      <a:pt x="294996" y="1708725"/>
                    </a:cubicBezTo>
                    <a:cubicBezTo>
                      <a:pt x="297252" y="1707822"/>
                      <a:pt x="299058" y="1706468"/>
                      <a:pt x="300863" y="1705566"/>
                    </a:cubicBezTo>
                    <a:cubicBezTo>
                      <a:pt x="304699" y="1703083"/>
                      <a:pt x="308309" y="1701053"/>
                      <a:pt x="313048" y="1704212"/>
                    </a:cubicBezTo>
                    <a:cubicBezTo>
                      <a:pt x="314176" y="1705114"/>
                      <a:pt x="315079" y="1706017"/>
                      <a:pt x="315304" y="1707145"/>
                    </a:cubicBezTo>
                    <a:cubicBezTo>
                      <a:pt x="315755" y="1709402"/>
                      <a:pt x="314176" y="1711658"/>
                      <a:pt x="312596" y="1714140"/>
                    </a:cubicBezTo>
                    <a:cubicBezTo>
                      <a:pt x="310340" y="1717525"/>
                      <a:pt x="308986" y="1720007"/>
                      <a:pt x="310566" y="1722263"/>
                    </a:cubicBezTo>
                    <a:cubicBezTo>
                      <a:pt x="315079" y="1728807"/>
                      <a:pt x="326586" y="1733320"/>
                      <a:pt x="331325" y="1733320"/>
                    </a:cubicBezTo>
                    <a:cubicBezTo>
                      <a:pt x="336515" y="1733320"/>
                      <a:pt x="345541" y="1731966"/>
                      <a:pt x="349377" y="1729258"/>
                    </a:cubicBezTo>
                    <a:cubicBezTo>
                      <a:pt x="350956" y="1728130"/>
                      <a:pt x="351859" y="1726551"/>
                      <a:pt x="352761" y="1724745"/>
                    </a:cubicBezTo>
                    <a:cubicBezTo>
                      <a:pt x="354115" y="1722263"/>
                      <a:pt x="355920" y="1719104"/>
                      <a:pt x="359756" y="1718202"/>
                    </a:cubicBezTo>
                    <a:cubicBezTo>
                      <a:pt x="361110" y="1717751"/>
                      <a:pt x="362013" y="1717525"/>
                      <a:pt x="362690" y="1717525"/>
                    </a:cubicBezTo>
                    <a:cubicBezTo>
                      <a:pt x="364495" y="1717073"/>
                      <a:pt x="364721" y="1717073"/>
                      <a:pt x="370362" y="1717073"/>
                    </a:cubicBezTo>
                    <a:cubicBezTo>
                      <a:pt x="374649" y="1717073"/>
                      <a:pt x="375326" y="1716171"/>
                      <a:pt x="376229" y="1714591"/>
                    </a:cubicBezTo>
                    <a:cubicBezTo>
                      <a:pt x="376680" y="1713689"/>
                      <a:pt x="377357" y="1712561"/>
                      <a:pt x="378485" y="1711658"/>
                    </a:cubicBezTo>
                    <a:cubicBezTo>
                      <a:pt x="379162" y="1710981"/>
                      <a:pt x="379839" y="1710078"/>
                      <a:pt x="379839" y="1708725"/>
                    </a:cubicBezTo>
                    <a:cubicBezTo>
                      <a:pt x="379613" y="1707145"/>
                      <a:pt x="378259" y="1705791"/>
                      <a:pt x="376229" y="1704663"/>
                    </a:cubicBezTo>
                    <a:cubicBezTo>
                      <a:pt x="372167" y="1702407"/>
                      <a:pt x="366752" y="1699022"/>
                      <a:pt x="366752" y="1694283"/>
                    </a:cubicBezTo>
                    <a:lnTo>
                      <a:pt x="366752" y="1693832"/>
                    </a:lnTo>
                    <a:cubicBezTo>
                      <a:pt x="366752" y="1690673"/>
                      <a:pt x="366752" y="1687740"/>
                      <a:pt x="371941" y="1681647"/>
                    </a:cubicBezTo>
                    <a:cubicBezTo>
                      <a:pt x="372844" y="1680744"/>
                      <a:pt x="373295" y="1679842"/>
                      <a:pt x="373747" y="1679391"/>
                    </a:cubicBezTo>
                    <a:cubicBezTo>
                      <a:pt x="375326" y="1677360"/>
                      <a:pt x="375552" y="1677134"/>
                      <a:pt x="377583" y="1676457"/>
                    </a:cubicBezTo>
                    <a:cubicBezTo>
                      <a:pt x="378259" y="1676232"/>
                      <a:pt x="379388" y="1676006"/>
                      <a:pt x="381193" y="1675103"/>
                    </a:cubicBezTo>
                    <a:cubicBezTo>
                      <a:pt x="382095" y="1674652"/>
                      <a:pt x="382095" y="1674426"/>
                      <a:pt x="382321" y="1674201"/>
                    </a:cubicBezTo>
                    <a:cubicBezTo>
                      <a:pt x="382772" y="1672170"/>
                      <a:pt x="378936" y="1667657"/>
                      <a:pt x="376229" y="1664272"/>
                    </a:cubicBezTo>
                    <a:cubicBezTo>
                      <a:pt x="374875" y="1662693"/>
                      <a:pt x="373521" y="1661113"/>
                      <a:pt x="372618" y="1659534"/>
                    </a:cubicBezTo>
                    <a:cubicBezTo>
                      <a:pt x="370362" y="1656149"/>
                      <a:pt x="369234" y="1652313"/>
                      <a:pt x="368105" y="1648251"/>
                    </a:cubicBezTo>
                    <a:cubicBezTo>
                      <a:pt x="366977" y="1643513"/>
                      <a:pt x="365623" y="1638774"/>
                      <a:pt x="362239" y="1634261"/>
                    </a:cubicBezTo>
                    <a:cubicBezTo>
                      <a:pt x="357500" y="1627943"/>
                      <a:pt x="358403" y="1620046"/>
                      <a:pt x="359080" y="1613953"/>
                    </a:cubicBezTo>
                    <a:cubicBezTo>
                      <a:pt x="359305" y="1611020"/>
                      <a:pt x="359756" y="1608086"/>
                      <a:pt x="359080" y="1606507"/>
                    </a:cubicBezTo>
                    <a:cubicBezTo>
                      <a:pt x="358403" y="1604476"/>
                      <a:pt x="354567" y="1601994"/>
                      <a:pt x="350956" y="1599738"/>
                    </a:cubicBezTo>
                    <a:cubicBezTo>
                      <a:pt x="346669" y="1597030"/>
                      <a:pt x="342382" y="1594096"/>
                      <a:pt x="339900" y="1590486"/>
                    </a:cubicBezTo>
                    <a:cubicBezTo>
                      <a:pt x="335161" y="1583265"/>
                      <a:pt x="332905" y="1555060"/>
                      <a:pt x="332905" y="1551900"/>
                    </a:cubicBezTo>
                    <a:cubicBezTo>
                      <a:pt x="332905" y="1550998"/>
                      <a:pt x="332679" y="1549644"/>
                      <a:pt x="332228" y="1548290"/>
                    </a:cubicBezTo>
                    <a:cubicBezTo>
                      <a:pt x="331325" y="1544229"/>
                      <a:pt x="329971" y="1538813"/>
                      <a:pt x="333130" y="1533623"/>
                    </a:cubicBezTo>
                    <a:cubicBezTo>
                      <a:pt x="334484" y="1531141"/>
                      <a:pt x="334710" y="1530013"/>
                      <a:pt x="334258" y="1529336"/>
                    </a:cubicBezTo>
                    <a:cubicBezTo>
                      <a:pt x="334033" y="1529110"/>
                      <a:pt x="332453" y="1527531"/>
                      <a:pt x="323879" y="1529336"/>
                    </a:cubicBezTo>
                    <a:cubicBezTo>
                      <a:pt x="320494" y="1530013"/>
                      <a:pt x="317335" y="1530690"/>
                      <a:pt x="314627" y="1531592"/>
                    </a:cubicBezTo>
                    <a:cubicBezTo>
                      <a:pt x="307407" y="1533398"/>
                      <a:pt x="302217" y="1534752"/>
                      <a:pt x="297252" y="1532044"/>
                    </a:cubicBezTo>
                    <a:cubicBezTo>
                      <a:pt x="291837" y="1529110"/>
                      <a:pt x="288452" y="1523920"/>
                      <a:pt x="285293" y="1518956"/>
                    </a:cubicBezTo>
                    <a:cubicBezTo>
                      <a:pt x="284616" y="1517828"/>
                      <a:pt x="283939" y="1516925"/>
                      <a:pt x="283262" y="1515797"/>
                    </a:cubicBezTo>
                    <a:cubicBezTo>
                      <a:pt x="281683" y="1513315"/>
                      <a:pt x="279652" y="1511510"/>
                      <a:pt x="277847" y="1509479"/>
                    </a:cubicBezTo>
                    <a:cubicBezTo>
                      <a:pt x="275590" y="1507223"/>
                      <a:pt x="273108" y="1504966"/>
                      <a:pt x="271078" y="1501582"/>
                    </a:cubicBezTo>
                    <a:cubicBezTo>
                      <a:pt x="267016" y="1495038"/>
                      <a:pt x="267918" y="1483530"/>
                      <a:pt x="268821" y="1480145"/>
                    </a:cubicBezTo>
                    <a:cubicBezTo>
                      <a:pt x="268595" y="1479694"/>
                      <a:pt x="267918" y="1479243"/>
                      <a:pt x="267467" y="1478791"/>
                    </a:cubicBezTo>
                    <a:cubicBezTo>
                      <a:pt x="265888" y="1477212"/>
                      <a:pt x="263631" y="1475181"/>
                      <a:pt x="263857" y="1472473"/>
                    </a:cubicBezTo>
                    <a:cubicBezTo>
                      <a:pt x="264083" y="1470217"/>
                      <a:pt x="265662" y="1468186"/>
                      <a:pt x="268595" y="1466155"/>
                    </a:cubicBezTo>
                    <a:cubicBezTo>
                      <a:pt x="277170" y="1460514"/>
                      <a:pt x="278524" y="1453293"/>
                      <a:pt x="280555" y="1442688"/>
                    </a:cubicBezTo>
                    <a:lnTo>
                      <a:pt x="281006" y="1440206"/>
                    </a:lnTo>
                    <a:cubicBezTo>
                      <a:pt x="282134" y="1434113"/>
                      <a:pt x="281232" y="1429826"/>
                      <a:pt x="280555" y="1426216"/>
                    </a:cubicBezTo>
                    <a:cubicBezTo>
                      <a:pt x="279878" y="1422605"/>
                      <a:pt x="279201" y="1419446"/>
                      <a:pt x="280780" y="1416287"/>
                    </a:cubicBezTo>
                    <a:cubicBezTo>
                      <a:pt x="282585" y="1412677"/>
                      <a:pt x="280780" y="1411323"/>
                      <a:pt x="277621" y="1409518"/>
                    </a:cubicBezTo>
                    <a:lnTo>
                      <a:pt x="277170" y="1409292"/>
                    </a:lnTo>
                    <a:cubicBezTo>
                      <a:pt x="276719" y="1409067"/>
                      <a:pt x="276267" y="1408841"/>
                      <a:pt x="275816" y="1408390"/>
                    </a:cubicBezTo>
                    <a:cubicBezTo>
                      <a:pt x="273334" y="1406584"/>
                      <a:pt x="269047" y="1403651"/>
                      <a:pt x="263406" y="1404328"/>
                    </a:cubicBezTo>
                    <a:lnTo>
                      <a:pt x="261600" y="1404554"/>
                    </a:lnTo>
                    <a:cubicBezTo>
                      <a:pt x="255057" y="1405456"/>
                      <a:pt x="249415" y="1406133"/>
                      <a:pt x="241744" y="1404779"/>
                    </a:cubicBezTo>
                    <a:cubicBezTo>
                      <a:pt x="236102" y="1403877"/>
                      <a:pt x="232718" y="1400718"/>
                      <a:pt x="229107" y="1397333"/>
                    </a:cubicBezTo>
                    <a:cubicBezTo>
                      <a:pt x="227077" y="1395528"/>
                      <a:pt x="225271" y="1393497"/>
                      <a:pt x="222564" y="1391917"/>
                    </a:cubicBezTo>
                    <a:cubicBezTo>
                      <a:pt x="219630" y="1389887"/>
                      <a:pt x="217148" y="1388984"/>
                      <a:pt x="214892" y="1388307"/>
                    </a:cubicBezTo>
                    <a:cubicBezTo>
                      <a:pt x="211507" y="1387179"/>
                      <a:pt x="208348" y="1386051"/>
                      <a:pt x="206543" y="1381763"/>
                    </a:cubicBezTo>
                    <a:cubicBezTo>
                      <a:pt x="203609" y="1375220"/>
                      <a:pt x="203609" y="1370255"/>
                      <a:pt x="203609" y="1356491"/>
                    </a:cubicBezTo>
                    <a:cubicBezTo>
                      <a:pt x="203609" y="1344080"/>
                      <a:pt x="205414" y="1334829"/>
                      <a:pt x="213763" y="1328962"/>
                    </a:cubicBezTo>
                    <a:cubicBezTo>
                      <a:pt x="216697" y="1327157"/>
                      <a:pt x="218051" y="1323095"/>
                      <a:pt x="219179" y="1319259"/>
                    </a:cubicBezTo>
                    <a:cubicBezTo>
                      <a:pt x="220758" y="1314746"/>
                      <a:pt x="222338" y="1310008"/>
                      <a:pt x="226851" y="1308428"/>
                    </a:cubicBezTo>
                    <a:cubicBezTo>
                      <a:pt x="230236" y="1307300"/>
                      <a:pt x="233169" y="1304818"/>
                      <a:pt x="236554" y="1301659"/>
                    </a:cubicBezTo>
                    <a:cubicBezTo>
                      <a:pt x="239487" y="1298951"/>
                      <a:pt x="242872" y="1296018"/>
                      <a:pt x="247159" y="1293536"/>
                    </a:cubicBezTo>
                    <a:cubicBezTo>
                      <a:pt x="252123" y="1290602"/>
                      <a:pt x="255508" y="1287443"/>
                      <a:pt x="258441" y="1284961"/>
                    </a:cubicBezTo>
                    <a:cubicBezTo>
                      <a:pt x="260923" y="1282930"/>
                      <a:pt x="262954" y="1280900"/>
                      <a:pt x="265211" y="1279771"/>
                    </a:cubicBezTo>
                    <a:cubicBezTo>
                      <a:pt x="267242" y="1278643"/>
                      <a:pt x="269047" y="1276838"/>
                      <a:pt x="270852" y="1275033"/>
                    </a:cubicBezTo>
                    <a:cubicBezTo>
                      <a:pt x="272657" y="1273002"/>
                      <a:pt x="274688" y="1270971"/>
                      <a:pt x="277170" y="1269843"/>
                    </a:cubicBezTo>
                    <a:cubicBezTo>
                      <a:pt x="279201" y="1268940"/>
                      <a:pt x="281457" y="1263074"/>
                      <a:pt x="283488" y="1252468"/>
                    </a:cubicBezTo>
                    <a:lnTo>
                      <a:pt x="283714" y="1251791"/>
                    </a:lnTo>
                    <a:cubicBezTo>
                      <a:pt x="284616" y="1247278"/>
                      <a:pt x="287098" y="1235093"/>
                      <a:pt x="294093" y="1231257"/>
                    </a:cubicBezTo>
                    <a:cubicBezTo>
                      <a:pt x="297704" y="1229227"/>
                      <a:pt x="300186" y="1227873"/>
                      <a:pt x="303345" y="1225842"/>
                    </a:cubicBezTo>
                    <a:cubicBezTo>
                      <a:pt x="305376" y="1224488"/>
                      <a:pt x="307632" y="1223134"/>
                      <a:pt x="311017" y="1221103"/>
                    </a:cubicBezTo>
                    <a:cubicBezTo>
                      <a:pt x="314176" y="1219298"/>
                      <a:pt x="316884" y="1217267"/>
                      <a:pt x="319140" y="1215462"/>
                    </a:cubicBezTo>
                    <a:cubicBezTo>
                      <a:pt x="323427" y="1212303"/>
                      <a:pt x="326586" y="1209821"/>
                      <a:pt x="330197" y="1209595"/>
                    </a:cubicBezTo>
                    <a:cubicBezTo>
                      <a:pt x="335161" y="1209144"/>
                      <a:pt x="348249" y="1211852"/>
                      <a:pt x="352084" y="1214560"/>
                    </a:cubicBezTo>
                    <a:cubicBezTo>
                      <a:pt x="356372" y="1217493"/>
                      <a:pt x="358403" y="1229227"/>
                      <a:pt x="358403" y="1233514"/>
                    </a:cubicBezTo>
                    <a:cubicBezTo>
                      <a:pt x="358403" y="1240735"/>
                      <a:pt x="359756" y="1246150"/>
                      <a:pt x="361787" y="1247504"/>
                    </a:cubicBezTo>
                    <a:cubicBezTo>
                      <a:pt x="364269" y="1249083"/>
                      <a:pt x="365172" y="1251566"/>
                      <a:pt x="366075" y="1253596"/>
                    </a:cubicBezTo>
                    <a:cubicBezTo>
                      <a:pt x="366752" y="1255402"/>
                      <a:pt x="367428" y="1257207"/>
                      <a:pt x="369008" y="1258335"/>
                    </a:cubicBezTo>
                    <a:cubicBezTo>
                      <a:pt x="371490" y="1260591"/>
                      <a:pt x="380065" y="1260366"/>
                      <a:pt x="391573" y="1255627"/>
                    </a:cubicBezTo>
                    <a:cubicBezTo>
                      <a:pt x="398116" y="1252919"/>
                      <a:pt x="406916" y="1249760"/>
                      <a:pt x="413912" y="1247278"/>
                    </a:cubicBezTo>
                    <a:cubicBezTo>
                      <a:pt x="417973" y="1245924"/>
                      <a:pt x="421358" y="1244571"/>
                      <a:pt x="423614" y="1243894"/>
                    </a:cubicBezTo>
                    <a:cubicBezTo>
                      <a:pt x="428579" y="1242088"/>
                      <a:pt x="436476" y="1242314"/>
                      <a:pt x="443697" y="1242540"/>
                    </a:cubicBezTo>
                    <a:cubicBezTo>
                      <a:pt x="445953" y="1242540"/>
                      <a:pt x="448210" y="1242765"/>
                      <a:pt x="450241" y="1242765"/>
                    </a:cubicBezTo>
                    <a:cubicBezTo>
                      <a:pt x="453400" y="1242765"/>
                      <a:pt x="455430" y="1243217"/>
                      <a:pt x="457461" y="1243442"/>
                    </a:cubicBezTo>
                    <a:cubicBezTo>
                      <a:pt x="460620" y="1243894"/>
                      <a:pt x="463328" y="1244571"/>
                      <a:pt x="469646" y="1243668"/>
                    </a:cubicBezTo>
                    <a:cubicBezTo>
                      <a:pt x="476416" y="1242765"/>
                      <a:pt x="481605" y="1240058"/>
                      <a:pt x="485893" y="1237801"/>
                    </a:cubicBezTo>
                    <a:cubicBezTo>
                      <a:pt x="488149" y="1236673"/>
                      <a:pt x="490180" y="1235545"/>
                      <a:pt x="492211" y="1234868"/>
                    </a:cubicBezTo>
                    <a:cubicBezTo>
                      <a:pt x="497626" y="1233063"/>
                      <a:pt x="500785" y="1231032"/>
                      <a:pt x="501914" y="1228324"/>
                    </a:cubicBezTo>
                    <a:lnTo>
                      <a:pt x="502590" y="1226745"/>
                    </a:lnTo>
                    <a:cubicBezTo>
                      <a:pt x="504170" y="1223134"/>
                      <a:pt x="506652" y="1217267"/>
                      <a:pt x="508006" y="1212078"/>
                    </a:cubicBezTo>
                    <a:cubicBezTo>
                      <a:pt x="509586" y="1205534"/>
                      <a:pt x="513196" y="1202375"/>
                      <a:pt x="517257" y="1198539"/>
                    </a:cubicBezTo>
                    <a:cubicBezTo>
                      <a:pt x="518160" y="1197636"/>
                      <a:pt x="518837" y="1197185"/>
                      <a:pt x="519740" y="1196282"/>
                    </a:cubicBezTo>
                    <a:cubicBezTo>
                      <a:pt x="524027" y="1192221"/>
                      <a:pt x="530119" y="1186805"/>
                      <a:pt x="534858" y="1185451"/>
                    </a:cubicBezTo>
                    <a:cubicBezTo>
                      <a:pt x="538694" y="1184323"/>
                      <a:pt x="542304" y="1179359"/>
                      <a:pt x="545915" y="1174620"/>
                    </a:cubicBezTo>
                    <a:lnTo>
                      <a:pt x="547494" y="1172364"/>
                    </a:lnTo>
                    <a:cubicBezTo>
                      <a:pt x="549525" y="1169656"/>
                      <a:pt x="551104" y="1165143"/>
                      <a:pt x="552684" y="1160630"/>
                    </a:cubicBezTo>
                    <a:cubicBezTo>
                      <a:pt x="554038" y="1156343"/>
                      <a:pt x="555392" y="1152281"/>
                      <a:pt x="557422" y="1149348"/>
                    </a:cubicBezTo>
                    <a:cubicBezTo>
                      <a:pt x="558551" y="1147543"/>
                      <a:pt x="559002" y="1145286"/>
                      <a:pt x="559453" y="1142579"/>
                    </a:cubicBezTo>
                    <a:cubicBezTo>
                      <a:pt x="560356" y="1138066"/>
                      <a:pt x="561258" y="1132650"/>
                      <a:pt x="567125" y="1127686"/>
                    </a:cubicBezTo>
                    <a:cubicBezTo>
                      <a:pt x="575249" y="1120916"/>
                      <a:pt x="586982" y="1112342"/>
                      <a:pt x="597588" y="1109860"/>
                    </a:cubicBezTo>
                    <a:cubicBezTo>
                      <a:pt x="602552" y="1108732"/>
                      <a:pt x="606162" y="1106250"/>
                      <a:pt x="609772" y="1103993"/>
                    </a:cubicBezTo>
                    <a:cubicBezTo>
                      <a:pt x="613157" y="1101737"/>
                      <a:pt x="616542" y="1099480"/>
                      <a:pt x="620603" y="1098578"/>
                    </a:cubicBezTo>
                    <a:cubicBezTo>
                      <a:pt x="625342" y="1097449"/>
                      <a:pt x="626921" y="1097675"/>
                      <a:pt x="628275" y="1097675"/>
                    </a:cubicBezTo>
                    <a:cubicBezTo>
                      <a:pt x="629178" y="1097675"/>
                      <a:pt x="630306" y="1097901"/>
                      <a:pt x="633014" y="1097449"/>
                    </a:cubicBezTo>
                    <a:cubicBezTo>
                      <a:pt x="635496" y="1096998"/>
                      <a:pt x="636850" y="1092034"/>
                      <a:pt x="637753" y="1087521"/>
                    </a:cubicBezTo>
                    <a:cubicBezTo>
                      <a:pt x="638655" y="1083459"/>
                      <a:pt x="639558" y="1079398"/>
                      <a:pt x="641814" y="1077367"/>
                    </a:cubicBezTo>
                    <a:cubicBezTo>
                      <a:pt x="643168" y="1076013"/>
                      <a:pt x="644522" y="1074208"/>
                      <a:pt x="645876" y="1071951"/>
                    </a:cubicBezTo>
                    <a:cubicBezTo>
                      <a:pt x="648584" y="1067890"/>
                      <a:pt x="651968" y="1062700"/>
                      <a:pt x="658512" y="1057510"/>
                    </a:cubicBezTo>
                    <a:cubicBezTo>
                      <a:pt x="664604" y="1052546"/>
                      <a:pt x="667763" y="1045551"/>
                      <a:pt x="670471" y="1039909"/>
                    </a:cubicBezTo>
                    <a:cubicBezTo>
                      <a:pt x="672051" y="1036750"/>
                      <a:pt x="673179" y="1034043"/>
                      <a:pt x="674758" y="1032238"/>
                    </a:cubicBezTo>
                    <a:cubicBezTo>
                      <a:pt x="678143" y="1028402"/>
                      <a:pt x="686041" y="1015314"/>
                      <a:pt x="688523" y="1007191"/>
                    </a:cubicBezTo>
                    <a:cubicBezTo>
                      <a:pt x="689877" y="1002452"/>
                      <a:pt x="690328" y="997714"/>
                      <a:pt x="691005" y="993652"/>
                    </a:cubicBezTo>
                    <a:cubicBezTo>
                      <a:pt x="691456" y="990493"/>
                      <a:pt x="691682" y="987560"/>
                      <a:pt x="692359" y="985077"/>
                    </a:cubicBezTo>
                    <a:cubicBezTo>
                      <a:pt x="692810" y="983272"/>
                      <a:pt x="692810" y="981467"/>
                      <a:pt x="693036" y="979662"/>
                    </a:cubicBezTo>
                    <a:cubicBezTo>
                      <a:pt x="693261" y="976052"/>
                      <a:pt x="693487" y="972441"/>
                      <a:pt x="696646" y="969057"/>
                    </a:cubicBezTo>
                    <a:cubicBezTo>
                      <a:pt x="701385" y="964318"/>
                      <a:pt x="715149" y="959580"/>
                      <a:pt x="724401" y="959580"/>
                    </a:cubicBezTo>
                    <a:cubicBezTo>
                      <a:pt x="727560" y="959580"/>
                      <a:pt x="729816" y="960256"/>
                      <a:pt x="731621" y="960708"/>
                    </a:cubicBezTo>
                    <a:cubicBezTo>
                      <a:pt x="735457" y="961610"/>
                      <a:pt x="737488" y="962062"/>
                      <a:pt x="742904" y="957323"/>
                    </a:cubicBezTo>
                    <a:cubicBezTo>
                      <a:pt x="749447" y="951456"/>
                      <a:pt x="754412" y="947169"/>
                      <a:pt x="758022" y="944461"/>
                    </a:cubicBezTo>
                    <a:cubicBezTo>
                      <a:pt x="758473" y="944236"/>
                      <a:pt x="758699" y="943784"/>
                      <a:pt x="758925" y="943559"/>
                    </a:cubicBezTo>
                    <a:cubicBezTo>
                      <a:pt x="759827" y="942430"/>
                      <a:pt x="760730" y="941528"/>
                      <a:pt x="763889" y="940400"/>
                    </a:cubicBezTo>
                    <a:cubicBezTo>
                      <a:pt x="765694" y="939723"/>
                      <a:pt x="767048" y="938369"/>
                      <a:pt x="767725" y="936564"/>
                    </a:cubicBezTo>
                    <a:cubicBezTo>
                      <a:pt x="767950" y="935887"/>
                      <a:pt x="768176" y="934307"/>
                      <a:pt x="767273" y="932953"/>
                    </a:cubicBezTo>
                    <a:cubicBezTo>
                      <a:pt x="766822" y="932276"/>
                      <a:pt x="766145" y="931599"/>
                      <a:pt x="765468" y="930697"/>
                    </a:cubicBezTo>
                    <a:cubicBezTo>
                      <a:pt x="761858" y="926861"/>
                      <a:pt x="755314" y="919640"/>
                      <a:pt x="761632" y="913096"/>
                    </a:cubicBezTo>
                    <a:cubicBezTo>
                      <a:pt x="764114" y="910614"/>
                      <a:pt x="763437" y="908132"/>
                      <a:pt x="762986" y="905424"/>
                    </a:cubicBezTo>
                    <a:cubicBezTo>
                      <a:pt x="762309" y="902491"/>
                      <a:pt x="761632" y="898655"/>
                      <a:pt x="766597" y="896624"/>
                    </a:cubicBezTo>
                    <a:cubicBezTo>
                      <a:pt x="769756" y="895270"/>
                      <a:pt x="771561" y="893691"/>
                      <a:pt x="773366" y="892111"/>
                    </a:cubicBezTo>
                    <a:cubicBezTo>
                      <a:pt x="775622" y="890080"/>
                      <a:pt x="777653" y="888050"/>
                      <a:pt x="781715" y="886696"/>
                    </a:cubicBezTo>
                    <a:cubicBezTo>
                      <a:pt x="785325" y="885568"/>
                      <a:pt x="785551" y="884665"/>
                      <a:pt x="786453" y="882409"/>
                    </a:cubicBezTo>
                    <a:cubicBezTo>
                      <a:pt x="787130" y="881055"/>
                      <a:pt x="787807" y="879024"/>
                      <a:pt x="789838" y="876316"/>
                    </a:cubicBezTo>
                    <a:cubicBezTo>
                      <a:pt x="792997" y="872254"/>
                      <a:pt x="794351" y="871126"/>
                      <a:pt x="795930" y="869772"/>
                    </a:cubicBezTo>
                    <a:cubicBezTo>
                      <a:pt x="796833" y="869095"/>
                      <a:pt x="797736" y="868418"/>
                      <a:pt x="798864" y="867065"/>
                    </a:cubicBezTo>
                    <a:cubicBezTo>
                      <a:pt x="800218" y="865711"/>
                      <a:pt x="800669" y="863906"/>
                      <a:pt x="801346" y="861875"/>
                    </a:cubicBezTo>
                    <a:cubicBezTo>
                      <a:pt x="802474" y="858490"/>
                      <a:pt x="803602" y="854880"/>
                      <a:pt x="807664" y="852172"/>
                    </a:cubicBezTo>
                    <a:cubicBezTo>
                      <a:pt x="810597" y="850367"/>
                      <a:pt x="811274" y="848336"/>
                      <a:pt x="812177" y="845854"/>
                    </a:cubicBezTo>
                    <a:cubicBezTo>
                      <a:pt x="812854" y="843823"/>
                      <a:pt x="813531" y="841792"/>
                      <a:pt x="815336" y="839761"/>
                    </a:cubicBezTo>
                    <a:cubicBezTo>
                      <a:pt x="816013" y="839085"/>
                      <a:pt x="816690" y="838408"/>
                      <a:pt x="817141" y="837956"/>
                    </a:cubicBezTo>
                    <a:cubicBezTo>
                      <a:pt x="819623" y="835248"/>
                      <a:pt x="821203" y="833895"/>
                      <a:pt x="827295" y="831864"/>
                    </a:cubicBezTo>
                    <a:cubicBezTo>
                      <a:pt x="831808" y="830510"/>
                      <a:pt x="834516" y="828705"/>
                      <a:pt x="836998" y="827125"/>
                    </a:cubicBezTo>
                    <a:cubicBezTo>
                      <a:pt x="838578" y="826223"/>
                      <a:pt x="839932" y="825094"/>
                      <a:pt x="841737" y="824417"/>
                    </a:cubicBezTo>
                    <a:cubicBezTo>
                      <a:pt x="842865" y="823966"/>
                      <a:pt x="843993" y="823515"/>
                      <a:pt x="844896" y="823289"/>
                    </a:cubicBezTo>
                    <a:cubicBezTo>
                      <a:pt x="845347" y="823064"/>
                      <a:pt x="846024" y="823064"/>
                      <a:pt x="846250" y="822838"/>
                    </a:cubicBezTo>
                    <a:cubicBezTo>
                      <a:pt x="846250" y="822612"/>
                      <a:pt x="846024" y="822161"/>
                      <a:pt x="845573" y="821258"/>
                    </a:cubicBezTo>
                    <a:cubicBezTo>
                      <a:pt x="844896" y="820130"/>
                      <a:pt x="844444" y="819002"/>
                      <a:pt x="843767" y="817874"/>
                    </a:cubicBezTo>
                    <a:cubicBezTo>
                      <a:pt x="841962" y="814489"/>
                      <a:pt x="840383" y="811330"/>
                      <a:pt x="838803" y="806817"/>
                    </a:cubicBezTo>
                    <a:lnTo>
                      <a:pt x="838578" y="805914"/>
                    </a:lnTo>
                    <a:cubicBezTo>
                      <a:pt x="836772" y="800499"/>
                      <a:pt x="834967" y="795535"/>
                      <a:pt x="838126" y="788991"/>
                    </a:cubicBezTo>
                    <a:cubicBezTo>
                      <a:pt x="838803" y="787637"/>
                      <a:pt x="839255" y="786283"/>
                      <a:pt x="839932" y="784929"/>
                    </a:cubicBezTo>
                    <a:cubicBezTo>
                      <a:pt x="841962" y="780191"/>
                      <a:pt x="843542" y="776581"/>
                      <a:pt x="846701" y="776129"/>
                    </a:cubicBezTo>
                    <a:cubicBezTo>
                      <a:pt x="849183" y="775678"/>
                      <a:pt x="852116" y="773196"/>
                      <a:pt x="852116" y="772293"/>
                    </a:cubicBezTo>
                    <a:cubicBezTo>
                      <a:pt x="852116" y="770262"/>
                      <a:pt x="848280" y="754467"/>
                      <a:pt x="847152" y="751985"/>
                    </a:cubicBezTo>
                    <a:cubicBezTo>
                      <a:pt x="846926" y="751534"/>
                      <a:pt x="845798" y="750631"/>
                      <a:pt x="844896" y="749729"/>
                    </a:cubicBezTo>
                    <a:cubicBezTo>
                      <a:pt x="840608" y="745893"/>
                      <a:pt x="832485" y="738672"/>
                      <a:pt x="838352" y="729420"/>
                    </a:cubicBezTo>
                    <a:cubicBezTo>
                      <a:pt x="840608" y="725810"/>
                      <a:pt x="842414" y="722877"/>
                      <a:pt x="843767" y="720395"/>
                    </a:cubicBezTo>
                    <a:cubicBezTo>
                      <a:pt x="846475" y="715882"/>
                      <a:pt x="848506" y="712497"/>
                      <a:pt x="851665" y="708887"/>
                    </a:cubicBezTo>
                    <a:cubicBezTo>
                      <a:pt x="856629" y="703471"/>
                      <a:pt x="871973" y="693768"/>
                      <a:pt x="876712" y="692866"/>
                    </a:cubicBezTo>
                    <a:cubicBezTo>
                      <a:pt x="877389" y="692640"/>
                      <a:pt x="877840" y="692415"/>
                      <a:pt x="878743" y="691512"/>
                    </a:cubicBezTo>
                    <a:cubicBezTo>
                      <a:pt x="880999" y="689481"/>
                      <a:pt x="883932" y="686548"/>
                      <a:pt x="896343" y="686322"/>
                    </a:cubicBezTo>
                    <a:cubicBezTo>
                      <a:pt x="902887" y="686096"/>
                      <a:pt x="907174" y="686096"/>
                      <a:pt x="910333" y="686096"/>
                    </a:cubicBezTo>
                    <a:cubicBezTo>
                      <a:pt x="915072" y="686096"/>
                      <a:pt x="916651" y="686096"/>
                      <a:pt x="919359" y="685419"/>
                    </a:cubicBezTo>
                    <a:cubicBezTo>
                      <a:pt x="923872" y="684066"/>
                      <a:pt x="932898" y="677973"/>
                      <a:pt x="934026" y="676168"/>
                    </a:cubicBezTo>
                    <a:cubicBezTo>
                      <a:pt x="934252" y="674588"/>
                      <a:pt x="935380" y="672332"/>
                      <a:pt x="937636" y="668045"/>
                    </a:cubicBezTo>
                    <a:cubicBezTo>
                      <a:pt x="938539" y="666465"/>
                      <a:pt x="939441" y="664886"/>
                      <a:pt x="939667" y="664209"/>
                    </a:cubicBezTo>
                    <a:cubicBezTo>
                      <a:pt x="940118" y="662404"/>
                      <a:pt x="938088" y="650444"/>
                      <a:pt x="933800" y="647737"/>
                    </a:cubicBezTo>
                    <a:cubicBezTo>
                      <a:pt x="931995" y="646608"/>
                      <a:pt x="929739" y="644803"/>
                      <a:pt x="926805" y="642547"/>
                    </a:cubicBezTo>
                    <a:cubicBezTo>
                      <a:pt x="921615" y="638259"/>
                      <a:pt x="913492" y="631941"/>
                      <a:pt x="910107" y="631716"/>
                    </a:cubicBezTo>
                    <a:cubicBezTo>
                      <a:pt x="908302" y="631490"/>
                      <a:pt x="904466" y="631716"/>
                      <a:pt x="900405" y="631716"/>
                    </a:cubicBezTo>
                    <a:cubicBezTo>
                      <a:pt x="892056" y="631941"/>
                      <a:pt x="882804" y="631941"/>
                      <a:pt x="878968" y="630587"/>
                    </a:cubicBezTo>
                    <a:cubicBezTo>
                      <a:pt x="877614" y="630136"/>
                      <a:pt x="876486" y="629685"/>
                      <a:pt x="875358" y="629459"/>
                    </a:cubicBezTo>
                    <a:cubicBezTo>
                      <a:pt x="871973" y="628557"/>
                      <a:pt x="868814" y="627654"/>
                      <a:pt x="866783" y="624269"/>
                    </a:cubicBezTo>
                    <a:cubicBezTo>
                      <a:pt x="866332" y="623592"/>
                      <a:pt x="865881" y="623141"/>
                      <a:pt x="865655" y="622690"/>
                    </a:cubicBezTo>
                    <a:cubicBezTo>
                      <a:pt x="863850" y="620208"/>
                      <a:pt x="863173" y="618854"/>
                      <a:pt x="862722" y="611633"/>
                    </a:cubicBezTo>
                    <a:cubicBezTo>
                      <a:pt x="862496" y="605766"/>
                      <a:pt x="862045" y="595161"/>
                      <a:pt x="862947" y="590648"/>
                    </a:cubicBezTo>
                    <a:cubicBezTo>
                      <a:pt x="861819" y="590422"/>
                      <a:pt x="859788" y="590197"/>
                      <a:pt x="857757" y="589971"/>
                    </a:cubicBezTo>
                    <a:cubicBezTo>
                      <a:pt x="852793" y="589520"/>
                      <a:pt x="845121" y="588843"/>
                      <a:pt x="834967" y="586361"/>
                    </a:cubicBezTo>
                    <a:cubicBezTo>
                      <a:pt x="818495" y="582525"/>
                      <a:pt x="811049" y="576432"/>
                      <a:pt x="805633" y="572145"/>
                    </a:cubicBezTo>
                    <a:cubicBezTo>
                      <a:pt x="804279" y="571017"/>
                      <a:pt x="803151" y="570114"/>
                      <a:pt x="802023" y="569212"/>
                    </a:cubicBezTo>
                    <a:lnTo>
                      <a:pt x="800443" y="568084"/>
                    </a:lnTo>
                    <a:cubicBezTo>
                      <a:pt x="795028" y="564248"/>
                      <a:pt x="789838" y="560637"/>
                      <a:pt x="781940" y="557704"/>
                    </a:cubicBezTo>
                    <a:cubicBezTo>
                      <a:pt x="781489" y="557478"/>
                      <a:pt x="770207" y="553416"/>
                      <a:pt x="762535" y="549581"/>
                    </a:cubicBezTo>
                    <a:cubicBezTo>
                      <a:pt x="754637" y="545745"/>
                      <a:pt x="748545" y="535590"/>
                      <a:pt x="745837" y="522052"/>
                    </a:cubicBezTo>
                    <a:cubicBezTo>
                      <a:pt x="745386" y="519570"/>
                      <a:pt x="744709" y="517313"/>
                      <a:pt x="744258" y="514831"/>
                    </a:cubicBezTo>
                    <a:cubicBezTo>
                      <a:pt x="741550" y="504000"/>
                      <a:pt x="738616" y="491815"/>
                      <a:pt x="742227" y="471281"/>
                    </a:cubicBezTo>
                    <a:cubicBezTo>
                      <a:pt x="746514" y="446912"/>
                      <a:pt x="745386" y="430665"/>
                      <a:pt x="744032" y="417352"/>
                    </a:cubicBezTo>
                    <a:lnTo>
                      <a:pt x="743355" y="410583"/>
                    </a:lnTo>
                    <a:cubicBezTo>
                      <a:pt x="742452" y="401557"/>
                      <a:pt x="741775" y="394336"/>
                      <a:pt x="740196" y="386213"/>
                    </a:cubicBezTo>
                    <a:cubicBezTo>
                      <a:pt x="739745" y="383279"/>
                      <a:pt x="738391" y="380120"/>
                      <a:pt x="737037" y="376736"/>
                    </a:cubicBezTo>
                    <a:cubicBezTo>
                      <a:pt x="733652" y="368161"/>
                      <a:pt x="730042" y="358233"/>
                      <a:pt x="735457" y="350335"/>
                    </a:cubicBezTo>
                    <a:cubicBezTo>
                      <a:pt x="741098" y="342212"/>
                      <a:pt x="748996" y="337924"/>
                      <a:pt x="755314" y="334765"/>
                    </a:cubicBezTo>
                    <a:cubicBezTo>
                      <a:pt x="756894" y="333863"/>
                      <a:pt x="758473" y="333186"/>
                      <a:pt x="759827" y="332283"/>
                    </a:cubicBezTo>
                    <a:cubicBezTo>
                      <a:pt x="760955" y="331606"/>
                      <a:pt x="760053" y="328222"/>
                      <a:pt x="759150" y="325288"/>
                    </a:cubicBezTo>
                    <a:cubicBezTo>
                      <a:pt x="757796" y="321001"/>
                      <a:pt x="756442" y="316037"/>
                      <a:pt x="758925" y="312426"/>
                    </a:cubicBezTo>
                    <a:cubicBezTo>
                      <a:pt x="760504" y="310170"/>
                      <a:pt x="763212" y="308816"/>
                      <a:pt x="767499" y="308365"/>
                    </a:cubicBezTo>
                    <a:cubicBezTo>
                      <a:pt x="778556" y="307237"/>
                      <a:pt x="784197" y="299565"/>
                      <a:pt x="789612" y="292344"/>
                    </a:cubicBezTo>
                    <a:cubicBezTo>
                      <a:pt x="792320" y="288734"/>
                      <a:pt x="794802" y="285349"/>
                      <a:pt x="797736" y="283092"/>
                    </a:cubicBezTo>
                    <a:cubicBezTo>
                      <a:pt x="799766" y="281513"/>
                      <a:pt x="800218" y="278354"/>
                      <a:pt x="800218" y="275872"/>
                    </a:cubicBezTo>
                    <a:cubicBezTo>
                      <a:pt x="799992" y="265943"/>
                      <a:pt x="792094" y="250374"/>
                      <a:pt x="783971" y="244733"/>
                    </a:cubicBezTo>
                    <a:cubicBezTo>
                      <a:pt x="777428" y="239994"/>
                      <a:pt x="773817" y="233676"/>
                      <a:pt x="770207" y="227584"/>
                    </a:cubicBezTo>
                    <a:cubicBezTo>
                      <a:pt x="767499" y="222845"/>
                      <a:pt x="764791" y="218332"/>
                      <a:pt x="761181" y="215173"/>
                    </a:cubicBezTo>
                    <a:cubicBezTo>
                      <a:pt x="756668" y="211337"/>
                      <a:pt x="750350" y="209081"/>
                      <a:pt x="743581" y="206598"/>
                    </a:cubicBezTo>
                    <a:cubicBezTo>
                      <a:pt x="737714" y="204568"/>
                      <a:pt x="731621" y="202311"/>
                      <a:pt x="726883" y="198926"/>
                    </a:cubicBezTo>
                    <a:cubicBezTo>
                      <a:pt x="722821" y="196219"/>
                      <a:pt x="717631" y="188998"/>
                      <a:pt x="711539" y="180875"/>
                    </a:cubicBezTo>
                    <a:cubicBezTo>
                      <a:pt x="702739" y="168916"/>
                      <a:pt x="691682" y="153797"/>
                      <a:pt x="684010" y="153346"/>
                    </a:cubicBezTo>
                    <a:cubicBezTo>
                      <a:pt x="681754" y="153346"/>
                      <a:pt x="679271" y="153120"/>
                      <a:pt x="676789" y="153120"/>
                    </a:cubicBezTo>
                    <a:cubicBezTo>
                      <a:pt x="664604" y="152669"/>
                      <a:pt x="651968" y="152443"/>
                      <a:pt x="645199" y="147254"/>
                    </a:cubicBezTo>
                    <a:cubicBezTo>
                      <a:pt x="639558" y="143192"/>
                      <a:pt x="633465" y="126043"/>
                      <a:pt x="634368" y="111827"/>
                    </a:cubicBezTo>
                    <a:cubicBezTo>
                      <a:pt x="634819" y="103704"/>
                      <a:pt x="637527" y="98063"/>
                      <a:pt x="642265" y="95129"/>
                    </a:cubicBezTo>
                    <a:cubicBezTo>
                      <a:pt x="648358" y="91519"/>
                      <a:pt x="655127" y="87683"/>
                      <a:pt x="661671" y="84073"/>
                    </a:cubicBezTo>
                    <a:cubicBezTo>
                      <a:pt x="669794" y="79560"/>
                      <a:pt x="677241" y="75047"/>
                      <a:pt x="681077" y="72790"/>
                    </a:cubicBezTo>
                    <a:cubicBezTo>
                      <a:pt x="684913" y="70308"/>
                      <a:pt x="688523" y="61959"/>
                      <a:pt x="691682" y="54513"/>
                    </a:cubicBezTo>
                    <a:cubicBezTo>
                      <a:pt x="693938" y="49549"/>
                      <a:pt x="695969" y="44810"/>
                      <a:pt x="698000" y="41877"/>
                    </a:cubicBezTo>
                    <a:cubicBezTo>
                      <a:pt x="703190" y="34882"/>
                      <a:pt x="706800" y="29918"/>
                      <a:pt x="727108" y="29918"/>
                    </a:cubicBezTo>
                    <a:cubicBezTo>
                      <a:pt x="735232" y="29918"/>
                      <a:pt x="744483" y="30820"/>
                      <a:pt x="753283" y="31723"/>
                    </a:cubicBezTo>
                    <a:cubicBezTo>
                      <a:pt x="765694" y="32851"/>
                      <a:pt x="777428" y="33979"/>
                      <a:pt x="784422" y="32625"/>
                    </a:cubicBezTo>
                    <a:cubicBezTo>
                      <a:pt x="793448" y="30820"/>
                      <a:pt x="799315" y="27661"/>
                      <a:pt x="807213" y="23148"/>
                    </a:cubicBezTo>
                    <a:cubicBezTo>
                      <a:pt x="809921" y="21569"/>
                      <a:pt x="812628" y="19989"/>
                      <a:pt x="816013" y="18410"/>
                    </a:cubicBezTo>
                    <a:lnTo>
                      <a:pt x="817592" y="17733"/>
                    </a:lnTo>
                    <a:cubicBezTo>
                      <a:pt x="830454" y="10963"/>
                      <a:pt x="843993" y="3968"/>
                      <a:pt x="857757" y="3968"/>
                    </a:cubicBezTo>
                    <a:cubicBezTo>
                      <a:pt x="865655" y="3968"/>
                      <a:pt x="870394" y="3066"/>
                      <a:pt x="875809" y="2163"/>
                    </a:cubicBezTo>
                    <a:cubicBezTo>
                      <a:pt x="879645" y="1486"/>
                      <a:pt x="884158" y="809"/>
                      <a:pt x="890251" y="132"/>
                    </a:cubicBezTo>
                    <a:cubicBezTo>
                      <a:pt x="898148" y="-545"/>
                      <a:pt x="902210" y="1486"/>
                      <a:pt x="906271" y="3743"/>
                    </a:cubicBezTo>
                    <a:cubicBezTo>
                      <a:pt x="910107" y="5773"/>
                      <a:pt x="914395" y="8030"/>
                      <a:pt x="923195" y="8932"/>
                    </a:cubicBezTo>
                    <a:cubicBezTo>
                      <a:pt x="931092" y="9609"/>
                      <a:pt x="937636" y="8030"/>
                      <a:pt x="943729" y="6676"/>
                    </a:cubicBezTo>
                    <a:cubicBezTo>
                      <a:pt x="951852" y="4645"/>
                      <a:pt x="959073" y="3066"/>
                      <a:pt x="965165" y="8707"/>
                    </a:cubicBezTo>
                    <a:cubicBezTo>
                      <a:pt x="968324" y="11640"/>
                      <a:pt x="972837" y="17056"/>
                      <a:pt x="977801" y="23374"/>
                    </a:cubicBezTo>
                    <a:cubicBezTo>
                      <a:pt x="987955" y="36010"/>
                      <a:pt x="1000592" y="51805"/>
                      <a:pt x="1013228" y="59928"/>
                    </a:cubicBezTo>
                    <a:cubicBezTo>
                      <a:pt x="1022930" y="66247"/>
                      <a:pt x="1029249" y="69406"/>
                      <a:pt x="1035792" y="72790"/>
                    </a:cubicBezTo>
                    <a:cubicBezTo>
                      <a:pt x="1042336" y="76175"/>
                      <a:pt x="1049105" y="79560"/>
                      <a:pt x="1059485" y="86329"/>
                    </a:cubicBezTo>
                    <a:cubicBezTo>
                      <a:pt x="1071670" y="94001"/>
                      <a:pt x="1077311" y="100545"/>
                      <a:pt x="1082275" y="106412"/>
                    </a:cubicBezTo>
                    <a:cubicBezTo>
                      <a:pt x="1086111" y="110699"/>
                      <a:pt x="1089496" y="114760"/>
                      <a:pt x="1095137" y="118822"/>
                    </a:cubicBezTo>
                    <a:cubicBezTo>
                      <a:pt x="1096717" y="119950"/>
                      <a:pt x="1098296" y="121079"/>
                      <a:pt x="1099876" y="122207"/>
                    </a:cubicBezTo>
                    <a:cubicBezTo>
                      <a:pt x="1111835" y="130781"/>
                      <a:pt x="1121087" y="137551"/>
                      <a:pt x="1124020" y="148156"/>
                    </a:cubicBezTo>
                    <a:cubicBezTo>
                      <a:pt x="1124697" y="150638"/>
                      <a:pt x="1125374" y="153572"/>
                      <a:pt x="1126276" y="156731"/>
                    </a:cubicBezTo>
                    <a:cubicBezTo>
                      <a:pt x="1128082" y="163951"/>
                      <a:pt x="1131015" y="175685"/>
                      <a:pt x="1132820" y="177039"/>
                    </a:cubicBezTo>
                    <a:cubicBezTo>
                      <a:pt x="1135528" y="177490"/>
                      <a:pt x="1162154" y="183131"/>
                      <a:pt x="1183365" y="197347"/>
                    </a:cubicBezTo>
                    <a:cubicBezTo>
                      <a:pt x="1191037" y="202537"/>
                      <a:pt x="1196001" y="207050"/>
                      <a:pt x="1199611" y="210886"/>
                    </a:cubicBezTo>
                    <a:cubicBezTo>
                      <a:pt x="1206155" y="217204"/>
                      <a:pt x="1209540" y="220588"/>
                      <a:pt x="1221048" y="221040"/>
                    </a:cubicBezTo>
                    <a:cubicBezTo>
                      <a:pt x="1240228" y="221717"/>
                      <a:pt x="1249931" y="221040"/>
                      <a:pt x="1262567" y="212014"/>
                    </a:cubicBezTo>
                    <a:cubicBezTo>
                      <a:pt x="1265726" y="209757"/>
                      <a:pt x="1269787" y="206598"/>
                      <a:pt x="1274300" y="203214"/>
                    </a:cubicBezTo>
                    <a:cubicBezTo>
                      <a:pt x="1288967" y="191931"/>
                      <a:pt x="1307245" y="178167"/>
                      <a:pt x="1318753" y="174105"/>
                    </a:cubicBezTo>
                    <a:cubicBezTo>
                      <a:pt x="1327553" y="171172"/>
                      <a:pt x="1344928" y="171623"/>
                      <a:pt x="1360497" y="171849"/>
                    </a:cubicBezTo>
                    <a:cubicBezTo>
                      <a:pt x="1372005" y="172075"/>
                      <a:pt x="1382836" y="172300"/>
                      <a:pt x="1386446" y="170946"/>
                    </a:cubicBezTo>
                    <a:cubicBezTo>
                      <a:pt x="1389380" y="169818"/>
                      <a:pt x="1390508" y="168690"/>
                      <a:pt x="1392088" y="167336"/>
                    </a:cubicBezTo>
                    <a:cubicBezTo>
                      <a:pt x="1394795" y="164854"/>
                      <a:pt x="1397503" y="162146"/>
                      <a:pt x="1408560" y="162146"/>
                    </a:cubicBezTo>
                    <a:cubicBezTo>
                      <a:pt x="1417360" y="162146"/>
                      <a:pt x="1426160" y="167562"/>
                      <a:pt x="1436314" y="173880"/>
                    </a:cubicBezTo>
                    <a:cubicBezTo>
                      <a:pt x="1445340" y="179521"/>
                      <a:pt x="1455720" y="186065"/>
                      <a:pt x="1467905" y="189224"/>
                    </a:cubicBezTo>
                    <a:cubicBezTo>
                      <a:pt x="1490469" y="195316"/>
                      <a:pt x="1495659" y="200055"/>
                      <a:pt x="1504008" y="207727"/>
                    </a:cubicBezTo>
                    <a:cubicBezTo>
                      <a:pt x="1505362" y="208855"/>
                      <a:pt x="1506716" y="210209"/>
                      <a:pt x="1508295" y="211563"/>
                    </a:cubicBezTo>
                    <a:cubicBezTo>
                      <a:pt x="1520932" y="222619"/>
                      <a:pt x="1519126" y="226907"/>
                      <a:pt x="1506265" y="259400"/>
                    </a:cubicBezTo>
                    <a:cubicBezTo>
                      <a:pt x="1493628" y="291216"/>
                      <a:pt x="1491372" y="298211"/>
                      <a:pt x="1487310" y="310847"/>
                    </a:cubicBezTo>
                    <a:lnTo>
                      <a:pt x="1486859" y="312426"/>
                    </a:lnTo>
                    <a:cubicBezTo>
                      <a:pt x="1482346" y="326191"/>
                      <a:pt x="1476479" y="334540"/>
                      <a:pt x="1467228" y="339730"/>
                    </a:cubicBezTo>
                    <a:cubicBezTo>
                      <a:pt x="1465197" y="340858"/>
                      <a:pt x="1463392" y="341760"/>
                      <a:pt x="1461812" y="342663"/>
                    </a:cubicBezTo>
                    <a:cubicBezTo>
                      <a:pt x="1456622" y="345145"/>
                      <a:pt x="1454140" y="346273"/>
                      <a:pt x="1451884" y="353720"/>
                    </a:cubicBezTo>
                    <a:cubicBezTo>
                      <a:pt x="1449627" y="361843"/>
                      <a:pt x="1444212" y="363422"/>
                      <a:pt x="1439248" y="364776"/>
                    </a:cubicBezTo>
                    <a:cubicBezTo>
                      <a:pt x="1436766" y="365453"/>
                      <a:pt x="1434058" y="366356"/>
                      <a:pt x="1431576" y="367935"/>
                    </a:cubicBezTo>
                    <a:cubicBezTo>
                      <a:pt x="1424129" y="372448"/>
                      <a:pt x="1421196" y="379895"/>
                      <a:pt x="1423001" y="389823"/>
                    </a:cubicBezTo>
                    <a:cubicBezTo>
                      <a:pt x="1425032" y="401331"/>
                      <a:pt x="1420293" y="409906"/>
                      <a:pt x="1415780" y="416224"/>
                    </a:cubicBezTo>
                    <a:cubicBezTo>
                      <a:pt x="1412847" y="420285"/>
                      <a:pt x="1406303" y="420737"/>
                      <a:pt x="1397954" y="420962"/>
                    </a:cubicBezTo>
                    <a:cubicBezTo>
                      <a:pt x="1391636" y="421188"/>
                      <a:pt x="1384190" y="421639"/>
                      <a:pt x="1377872" y="423670"/>
                    </a:cubicBezTo>
                    <a:cubicBezTo>
                      <a:pt x="1363205" y="428860"/>
                      <a:pt x="1355984" y="431568"/>
                      <a:pt x="1356661" y="438788"/>
                    </a:cubicBezTo>
                    <a:cubicBezTo>
                      <a:pt x="1356887" y="442399"/>
                      <a:pt x="1360046" y="448942"/>
                      <a:pt x="1363205" y="455260"/>
                    </a:cubicBezTo>
                    <a:cubicBezTo>
                      <a:pt x="1367718" y="464512"/>
                      <a:pt x="1372005" y="473312"/>
                      <a:pt x="1370200" y="477825"/>
                    </a:cubicBezTo>
                    <a:cubicBezTo>
                      <a:pt x="1369072" y="480984"/>
                      <a:pt x="1366590" y="482564"/>
                      <a:pt x="1364333" y="484143"/>
                    </a:cubicBezTo>
                    <a:cubicBezTo>
                      <a:pt x="1360497" y="486851"/>
                      <a:pt x="1356661" y="489333"/>
                      <a:pt x="1356661" y="498359"/>
                    </a:cubicBezTo>
                    <a:lnTo>
                      <a:pt x="1356661" y="500390"/>
                    </a:lnTo>
                    <a:cubicBezTo>
                      <a:pt x="1356661" y="514154"/>
                      <a:pt x="1356661" y="516411"/>
                      <a:pt x="1367718" y="518441"/>
                    </a:cubicBezTo>
                    <a:lnTo>
                      <a:pt x="1372005" y="519344"/>
                    </a:lnTo>
                    <a:cubicBezTo>
                      <a:pt x="1390508" y="522729"/>
                      <a:pt x="1407657" y="526339"/>
                      <a:pt x="1411042" y="534011"/>
                    </a:cubicBezTo>
                    <a:cubicBezTo>
                      <a:pt x="1412847" y="537847"/>
                      <a:pt x="1411944" y="543037"/>
                      <a:pt x="1410816" y="548904"/>
                    </a:cubicBezTo>
                    <a:cubicBezTo>
                      <a:pt x="1409462" y="556801"/>
                      <a:pt x="1407883" y="566053"/>
                      <a:pt x="1413298" y="571694"/>
                    </a:cubicBezTo>
                    <a:cubicBezTo>
                      <a:pt x="1414201" y="572822"/>
                      <a:pt x="1415329" y="573725"/>
                      <a:pt x="1416232" y="574627"/>
                    </a:cubicBezTo>
                    <a:cubicBezTo>
                      <a:pt x="1425032" y="583653"/>
                      <a:pt x="1432478" y="591551"/>
                      <a:pt x="1428191" y="606669"/>
                    </a:cubicBezTo>
                    <a:cubicBezTo>
                      <a:pt x="1423904" y="622239"/>
                      <a:pt x="1419616" y="626977"/>
                      <a:pt x="1411268" y="626300"/>
                    </a:cubicBezTo>
                    <a:cubicBezTo>
                      <a:pt x="1409914" y="626075"/>
                      <a:pt x="1408785" y="626075"/>
                      <a:pt x="1407657" y="625849"/>
                    </a:cubicBezTo>
                    <a:cubicBezTo>
                      <a:pt x="1402467" y="624946"/>
                      <a:pt x="1398406" y="624269"/>
                      <a:pt x="1390282" y="633295"/>
                    </a:cubicBezTo>
                    <a:lnTo>
                      <a:pt x="1387123" y="636906"/>
                    </a:lnTo>
                    <a:cubicBezTo>
                      <a:pt x="1378323" y="646834"/>
                      <a:pt x="1373133" y="652926"/>
                      <a:pt x="1364333" y="652250"/>
                    </a:cubicBezTo>
                    <a:cubicBezTo>
                      <a:pt x="1357112" y="651798"/>
                      <a:pt x="1350794" y="646157"/>
                      <a:pt x="1346507" y="642547"/>
                    </a:cubicBezTo>
                    <a:cubicBezTo>
                      <a:pt x="1345153" y="641419"/>
                      <a:pt x="1344025" y="640516"/>
                      <a:pt x="1343348" y="640065"/>
                    </a:cubicBezTo>
                    <a:cubicBezTo>
                      <a:pt x="1341769" y="639162"/>
                      <a:pt x="1340415" y="636680"/>
                      <a:pt x="1338158" y="632393"/>
                    </a:cubicBezTo>
                    <a:cubicBezTo>
                      <a:pt x="1335450" y="627428"/>
                      <a:pt x="1331614" y="620659"/>
                      <a:pt x="1328004" y="619531"/>
                    </a:cubicBezTo>
                    <a:cubicBezTo>
                      <a:pt x="1323942" y="618177"/>
                      <a:pt x="1315819" y="621110"/>
                      <a:pt x="1310178" y="622915"/>
                    </a:cubicBezTo>
                    <a:cubicBezTo>
                      <a:pt x="1306568" y="624269"/>
                      <a:pt x="1304537" y="624946"/>
                      <a:pt x="1303183" y="624946"/>
                    </a:cubicBezTo>
                    <a:cubicBezTo>
                      <a:pt x="1302280" y="624946"/>
                      <a:pt x="1300024" y="626075"/>
                      <a:pt x="1298670" y="628557"/>
                    </a:cubicBezTo>
                    <a:cubicBezTo>
                      <a:pt x="1297542" y="630362"/>
                      <a:pt x="1296639" y="633295"/>
                      <a:pt x="1298896" y="637131"/>
                    </a:cubicBezTo>
                    <a:cubicBezTo>
                      <a:pt x="1301604" y="642095"/>
                      <a:pt x="1301829" y="646608"/>
                      <a:pt x="1301829" y="650896"/>
                    </a:cubicBezTo>
                    <a:cubicBezTo>
                      <a:pt x="1301829" y="654280"/>
                      <a:pt x="1301829" y="657665"/>
                      <a:pt x="1303183" y="661275"/>
                    </a:cubicBezTo>
                    <a:cubicBezTo>
                      <a:pt x="1305891" y="668722"/>
                      <a:pt x="1313563" y="678424"/>
                      <a:pt x="1319655" y="686096"/>
                    </a:cubicBezTo>
                    <a:lnTo>
                      <a:pt x="1322137" y="689255"/>
                    </a:lnTo>
                    <a:cubicBezTo>
                      <a:pt x="1329132" y="698281"/>
                      <a:pt x="1332968" y="714302"/>
                      <a:pt x="1332968" y="724682"/>
                    </a:cubicBezTo>
                    <a:cubicBezTo>
                      <a:pt x="1332968" y="728744"/>
                      <a:pt x="1331840" y="732128"/>
                      <a:pt x="1331163" y="735062"/>
                    </a:cubicBezTo>
                    <a:cubicBezTo>
                      <a:pt x="1329809" y="739575"/>
                      <a:pt x="1328907" y="742282"/>
                      <a:pt x="1332517" y="746118"/>
                    </a:cubicBezTo>
                    <a:cubicBezTo>
                      <a:pt x="1340415" y="754016"/>
                      <a:pt x="1341543" y="758754"/>
                      <a:pt x="1338609" y="770037"/>
                    </a:cubicBezTo>
                    <a:cubicBezTo>
                      <a:pt x="1335902" y="779965"/>
                      <a:pt x="1340415" y="787863"/>
                      <a:pt x="1344928" y="794407"/>
                    </a:cubicBezTo>
                    <a:cubicBezTo>
                      <a:pt x="1349215" y="800499"/>
                      <a:pt x="1357338" y="798919"/>
                      <a:pt x="1359143" y="798017"/>
                    </a:cubicBezTo>
                    <a:cubicBezTo>
                      <a:pt x="1359820" y="797791"/>
                      <a:pt x="1360723" y="797114"/>
                      <a:pt x="1361851" y="796437"/>
                    </a:cubicBezTo>
                    <a:cubicBezTo>
                      <a:pt x="1366590" y="793504"/>
                      <a:pt x="1374713" y="788765"/>
                      <a:pt x="1381257" y="791473"/>
                    </a:cubicBezTo>
                    <a:cubicBezTo>
                      <a:pt x="1387349" y="793955"/>
                      <a:pt x="1393441" y="804109"/>
                      <a:pt x="1399083" y="814715"/>
                    </a:cubicBezTo>
                    <a:lnTo>
                      <a:pt x="1399985" y="816294"/>
                    </a:lnTo>
                    <a:cubicBezTo>
                      <a:pt x="1403144" y="821935"/>
                      <a:pt x="1419391" y="841341"/>
                      <a:pt x="1433381" y="843146"/>
                    </a:cubicBezTo>
                    <a:cubicBezTo>
                      <a:pt x="1439473" y="843823"/>
                      <a:pt x="1443760" y="843823"/>
                      <a:pt x="1447371" y="843597"/>
                    </a:cubicBezTo>
                    <a:cubicBezTo>
                      <a:pt x="1452561" y="843372"/>
                      <a:pt x="1456171" y="843372"/>
                      <a:pt x="1461361" y="846079"/>
                    </a:cubicBezTo>
                    <a:cubicBezTo>
                      <a:pt x="1467228" y="849239"/>
                      <a:pt x="1476254" y="855105"/>
                      <a:pt x="1484151" y="860521"/>
                    </a:cubicBezTo>
                    <a:cubicBezTo>
                      <a:pt x="1487310" y="862552"/>
                      <a:pt x="1490469" y="864582"/>
                      <a:pt x="1492951" y="866388"/>
                    </a:cubicBezTo>
                    <a:cubicBezTo>
                      <a:pt x="1498818" y="870224"/>
                      <a:pt x="1501752" y="873608"/>
                      <a:pt x="1504685" y="877219"/>
                    </a:cubicBezTo>
                    <a:cubicBezTo>
                      <a:pt x="1506490" y="879475"/>
                      <a:pt x="1508521" y="881957"/>
                      <a:pt x="1511680" y="884891"/>
                    </a:cubicBezTo>
                    <a:cubicBezTo>
                      <a:pt x="1513936" y="887147"/>
                      <a:pt x="1515967" y="889178"/>
                      <a:pt x="1517773" y="891209"/>
                    </a:cubicBezTo>
                    <a:cubicBezTo>
                      <a:pt x="1522060" y="895722"/>
                      <a:pt x="1525896" y="899783"/>
                      <a:pt x="1533342" y="904071"/>
                    </a:cubicBezTo>
                    <a:cubicBezTo>
                      <a:pt x="1544173" y="910163"/>
                      <a:pt x="1549589" y="911968"/>
                      <a:pt x="1560194" y="915127"/>
                    </a:cubicBezTo>
                    <a:cubicBezTo>
                      <a:pt x="1570574" y="918286"/>
                      <a:pt x="1574861" y="926410"/>
                      <a:pt x="1580276" y="936789"/>
                    </a:cubicBezTo>
                    <a:cubicBezTo>
                      <a:pt x="1580953" y="938143"/>
                      <a:pt x="1581630" y="939497"/>
                      <a:pt x="1582533" y="940851"/>
                    </a:cubicBezTo>
                    <a:cubicBezTo>
                      <a:pt x="1588400" y="951908"/>
                      <a:pt x="1575989" y="967251"/>
                      <a:pt x="1566963" y="978534"/>
                    </a:cubicBezTo>
                    <a:cubicBezTo>
                      <a:pt x="1564933" y="981016"/>
                      <a:pt x="1563127" y="983272"/>
                      <a:pt x="1561773" y="985077"/>
                    </a:cubicBezTo>
                    <a:cubicBezTo>
                      <a:pt x="1558389" y="989816"/>
                      <a:pt x="1554327" y="992298"/>
                      <a:pt x="1550265" y="994555"/>
                    </a:cubicBezTo>
                    <a:cubicBezTo>
                      <a:pt x="1545301" y="997714"/>
                      <a:pt x="1540563" y="1000421"/>
                      <a:pt x="1537404" y="1008093"/>
                    </a:cubicBezTo>
                    <a:cubicBezTo>
                      <a:pt x="1535373" y="1013058"/>
                      <a:pt x="1534696" y="1017571"/>
                      <a:pt x="1533793" y="1022084"/>
                    </a:cubicBezTo>
                    <a:cubicBezTo>
                      <a:pt x="1532439" y="1030432"/>
                      <a:pt x="1531086" y="1038104"/>
                      <a:pt x="1522737" y="1046453"/>
                    </a:cubicBezTo>
                    <a:cubicBezTo>
                      <a:pt x="1510552" y="1058638"/>
                      <a:pt x="1506490" y="1063602"/>
                      <a:pt x="1508295" y="1078721"/>
                    </a:cubicBezTo>
                    <a:cubicBezTo>
                      <a:pt x="1509649" y="1089552"/>
                      <a:pt x="1503106" y="1103542"/>
                      <a:pt x="1497690" y="1115050"/>
                    </a:cubicBezTo>
                    <a:cubicBezTo>
                      <a:pt x="1494982" y="1121142"/>
                      <a:pt x="1492500" y="1126332"/>
                      <a:pt x="1492274" y="1129040"/>
                    </a:cubicBezTo>
                    <a:cubicBezTo>
                      <a:pt x="1491598" y="1136035"/>
                      <a:pt x="1507844" y="1153410"/>
                      <a:pt x="1529732" y="1161758"/>
                    </a:cubicBezTo>
                    <a:cubicBezTo>
                      <a:pt x="1536276" y="1164241"/>
                      <a:pt x="1543045" y="1166497"/>
                      <a:pt x="1550040" y="1168979"/>
                    </a:cubicBezTo>
                    <a:cubicBezTo>
                      <a:pt x="1566286" y="1174395"/>
                      <a:pt x="1582759" y="1180036"/>
                      <a:pt x="1596749" y="1189287"/>
                    </a:cubicBezTo>
                    <a:cubicBezTo>
                      <a:pt x="1603067" y="1193349"/>
                      <a:pt x="1609611" y="1197185"/>
                      <a:pt x="1615929" y="1200795"/>
                    </a:cubicBezTo>
                    <a:cubicBezTo>
                      <a:pt x="1629693" y="1208467"/>
                      <a:pt x="1642781" y="1215688"/>
                      <a:pt x="1647970" y="1225842"/>
                    </a:cubicBezTo>
                    <a:cubicBezTo>
                      <a:pt x="1652258" y="1233965"/>
                      <a:pt x="1660832" y="1239155"/>
                      <a:pt x="1668278" y="1243894"/>
                    </a:cubicBezTo>
                    <a:cubicBezTo>
                      <a:pt x="1673468" y="1247053"/>
                      <a:pt x="1678207" y="1250212"/>
                      <a:pt x="1681140" y="1253596"/>
                    </a:cubicBezTo>
                    <a:cubicBezTo>
                      <a:pt x="1687458" y="1261043"/>
                      <a:pt x="1703931" y="1268038"/>
                      <a:pt x="1717921" y="1268940"/>
                    </a:cubicBezTo>
                    <a:cubicBezTo>
                      <a:pt x="1731459" y="1269843"/>
                      <a:pt x="1737778" y="1273002"/>
                      <a:pt x="1749285" y="1278869"/>
                    </a:cubicBezTo>
                    <a:lnTo>
                      <a:pt x="1750639" y="1279546"/>
                    </a:lnTo>
                    <a:cubicBezTo>
                      <a:pt x="1754701" y="1281577"/>
                      <a:pt x="1759214" y="1284059"/>
                      <a:pt x="1763727" y="1286315"/>
                    </a:cubicBezTo>
                    <a:cubicBezTo>
                      <a:pt x="1772527" y="1290828"/>
                      <a:pt x="1780650" y="1295115"/>
                      <a:pt x="1785163" y="1296920"/>
                    </a:cubicBezTo>
                    <a:cubicBezTo>
                      <a:pt x="1792610" y="1299854"/>
                      <a:pt x="1808179" y="1307300"/>
                      <a:pt x="1836159" y="1320839"/>
                    </a:cubicBezTo>
                    <a:lnTo>
                      <a:pt x="1836159" y="1320839"/>
                    </a:lnTo>
                    <a:cubicBezTo>
                      <a:pt x="1838641" y="1321967"/>
                      <a:pt x="1845411" y="1324449"/>
                      <a:pt x="1856016" y="1321290"/>
                    </a:cubicBezTo>
                    <a:lnTo>
                      <a:pt x="1856919" y="1321065"/>
                    </a:lnTo>
                    <a:cubicBezTo>
                      <a:pt x="1865267" y="1318357"/>
                      <a:pt x="1869781" y="1317003"/>
                      <a:pt x="1875422" y="1325803"/>
                    </a:cubicBezTo>
                    <a:cubicBezTo>
                      <a:pt x="1879935" y="1333024"/>
                      <a:pt x="1885801" y="1337988"/>
                      <a:pt x="1887832" y="1338665"/>
                    </a:cubicBezTo>
                    <a:cubicBezTo>
                      <a:pt x="1887832" y="1337762"/>
                      <a:pt x="1887607" y="1335732"/>
                      <a:pt x="1887155" y="1334152"/>
                    </a:cubicBezTo>
                    <a:cubicBezTo>
                      <a:pt x="1886478" y="1329639"/>
                      <a:pt x="1885350" y="1323998"/>
                      <a:pt x="1888058" y="1320613"/>
                    </a:cubicBezTo>
                    <a:cubicBezTo>
                      <a:pt x="1889186" y="1319034"/>
                      <a:pt x="1890766" y="1318357"/>
                      <a:pt x="1893022" y="1318131"/>
                    </a:cubicBezTo>
                    <a:lnTo>
                      <a:pt x="1894602" y="1317906"/>
                    </a:lnTo>
                    <a:cubicBezTo>
                      <a:pt x="1905207" y="1316777"/>
                      <a:pt x="1922807" y="1314972"/>
                      <a:pt x="1929577" y="1320839"/>
                    </a:cubicBezTo>
                    <a:cubicBezTo>
                      <a:pt x="1931833" y="1322644"/>
                      <a:pt x="1934541" y="1324449"/>
                      <a:pt x="1937023" y="1326254"/>
                    </a:cubicBezTo>
                    <a:cubicBezTo>
                      <a:pt x="1941085" y="1328962"/>
                      <a:pt x="1944695" y="1331444"/>
                      <a:pt x="1946951" y="1334378"/>
                    </a:cubicBezTo>
                    <a:cubicBezTo>
                      <a:pt x="1946951" y="1334152"/>
                      <a:pt x="1947177" y="1333926"/>
                      <a:pt x="1947177" y="1333926"/>
                    </a:cubicBezTo>
                    <a:cubicBezTo>
                      <a:pt x="1949208" y="1328511"/>
                      <a:pt x="1952818" y="1318583"/>
                      <a:pt x="1961393" y="1319936"/>
                    </a:cubicBezTo>
                    <a:lnTo>
                      <a:pt x="1963875" y="1320388"/>
                    </a:lnTo>
                    <a:cubicBezTo>
                      <a:pt x="1970870" y="1321516"/>
                      <a:pt x="1970870" y="1321516"/>
                      <a:pt x="1974706" y="1317454"/>
                    </a:cubicBezTo>
                    <a:lnTo>
                      <a:pt x="1975383" y="1316777"/>
                    </a:lnTo>
                    <a:cubicBezTo>
                      <a:pt x="1981475" y="1310234"/>
                      <a:pt x="1990050" y="1309557"/>
                      <a:pt x="1996819" y="1315198"/>
                    </a:cubicBezTo>
                    <a:cubicBezTo>
                      <a:pt x="1999527" y="1317454"/>
                      <a:pt x="2000881" y="1321065"/>
                      <a:pt x="2001783" y="1323998"/>
                    </a:cubicBezTo>
                    <a:cubicBezTo>
                      <a:pt x="2003363" y="1328511"/>
                      <a:pt x="2004266" y="1330316"/>
                      <a:pt x="2006973" y="1330316"/>
                    </a:cubicBezTo>
                    <a:cubicBezTo>
                      <a:pt x="2010132" y="1330316"/>
                      <a:pt x="2011937" y="1329639"/>
                      <a:pt x="2014194" y="1328962"/>
                    </a:cubicBezTo>
                    <a:cubicBezTo>
                      <a:pt x="2016902" y="1328060"/>
                      <a:pt x="2019835" y="1327157"/>
                      <a:pt x="2025251" y="1327157"/>
                    </a:cubicBezTo>
                    <a:cubicBezTo>
                      <a:pt x="2036759" y="1327157"/>
                      <a:pt x="2042625" y="1334152"/>
                      <a:pt x="2045107" y="1338439"/>
                    </a:cubicBezTo>
                    <a:cubicBezTo>
                      <a:pt x="2048041" y="1343404"/>
                      <a:pt x="2051651" y="1353783"/>
                      <a:pt x="2050072" y="1359650"/>
                    </a:cubicBezTo>
                    <a:cubicBezTo>
                      <a:pt x="2049846" y="1360778"/>
                      <a:pt x="2049169" y="1362358"/>
                      <a:pt x="2048492" y="1363937"/>
                    </a:cubicBezTo>
                    <a:cubicBezTo>
                      <a:pt x="2047364" y="1367096"/>
                      <a:pt x="2045333" y="1372286"/>
                      <a:pt x="2046236" y="1373866"/>
                    </a:cubicBezTo>
                    <a:cubicBezTo>
                      <a:pt x="2046236" y="1373866"/>
                      <a:pt x="2046461" y="1374317"/>
                      <a:pt x="2047364" y="1374317"/>
                    </a:cubicBezTo>
                    <a:cubicBezTo>
                      <a:pt x="2066093" y="1375671"/>
                      <a:pt x="2079631" y="1377476"/>
                      <a:pt x="2095201" y="1388758"/>
                    </a:cubicBezTo>
                    <a:cubicBezTo>
                      <a:pt x="2097232" y="1390338"/>
                      <a:pt x="2099488" y="1391917"/>
                      <a:pt x="2101519" y="1393497"/>
                    </a:cubicBezTo>
                    <a:cubicBezTo>
                      <a:pt x="2114381" y="1403425"/>
                      <a:pt x="2126566" y="1412903"/>
                      <a:pt x="2143715" y="1402748"/>
                    </a:cubicBezTo>
                    <a:cubicBezTo>
                      <a:pt x="2145294" y="1401846"/>
                      <a:pt x="2146648" y="1400943"/>
                      <a:pt x="2148228" y="1399815"/>
                    </a:cubicBezTo>
                    <a:cubicBezTo>
                      <a:pt x="2156351" y="1394625"/>
                      <a:pt x="2165377" y="1388758"/>
                      <a:pt x="2173049" y="1394851"/>
                    </a:cubicBezTo>
                    <a:cubicBezTo>
                      <a:pt x="2177788" y="1398687"/>
                      <a:pt x="2178013" y="1404554"/>
                      <a:pt x="2178239" y="1410195"/>
                    </a:cubicBezTo>
                    <a:cubicBezTo>
                      <a:pt x="2178464" y="1414031"/>
                      <a:pt x="2178690" y="1417867"/>
                      <a:pt x="2180270" y="1421026"/>
                    </a:cubicBezTo>
                    <a:cubicBezTo>
                      <a:pt x="2183429" y="1427344"/>
                      <a:pt x="2192003" y="1429149"/>
                      <a:pt x="2198998" y="1428021"/>
                    </a:cubicBezTo>
                    <a:cubicBezTo>
                      <a:pt x="2202834" y="1427570"/>
                      <a:pt x="2206670" y="1426216"/>
                      <a:pt x="2210732" y="1425087"/>
                    </a:cubicBezTo>
                    <a:cubicBezTo>
                      <a:pt x="2214342" y="1423959"/>
                      <a:pt x="2217953" y="1422831"/>
                      <a:pt x="2221789" y="1422154"/>
                    </a:cubicBezTo>
                    <a:cubicBezTo>
                      <a:pt x="2237809" y="1419446"/>
                      <a:pt x="2253605" y="1425764"/>
                      <a:pt x="2268497" y="1432082"/>
                    </a:cubicBezTo>
                    <a:lnTo>
                      <a:pt x="2272333" y="1433662"/>
                    </a:lnTo>
                    <a:cubicBezTo>
                      <a:pt x="2286775" y="1439529"/>
                      <a:pt x="2305278" y="1445396"/>
                      <a:pt x="2320621" y="1438175"/>
                    </a:cubicBezTo>
                    <a:cubicBezTo>
                      <a:pt x="2338899" y="1429600"/>
                      <a:pt x="2341832" y="1430954"/>
                      <a:pt x="2354920" y="1439980"/>
                    </a:cubicBezTo>
                    <a:cubicBezTo>
                      <a:pt x="2356274" y="1440883"/>
                      <a:pt x="2357627" y="1441785"/>
                      <a:pt x="2359207" y="1442914"/>
                    </a:cubicBezTo>
                    <a:cubicBezTo>
                      <a:pt x="2371392" y="1451037"/>
                      <a:pt x="2373874" y="1448780"/>
                      <a:pt x="2378161" y="1445170"/>
                    </a:cubicBezTo>
                    <a:cubicBezTo>
                      <a:pt x="2381772" y="1442236"/>
                      <a:pt x="2386059" y="1438401"/>
                      <a:pt x="2396213" y="1439078"/>
                    </a:cubicBezTo>
                    <a:cubicBezTo>
                      <a:pt x="2400952" y="1439303"/>
                      <a:pt x="2402757" y="1441560"/>
                      <a:pt x="2404336" y="1443365"/>
                    </a:cubicBezTo>
                    <a:cubicBezTo>
                      <a:pt x="2405464" y="1444719"/>
                      <a:pt x="2406367" y="1445621"/>
                      <a:pt x="2408398" y="1445847"/>
                    </a:cubicBezTo>
                    <a:cubicBezTo>
                      <a:pt x="2411783" y="1446073"/>
                      <a:pt x="2412911" y="1445621"/>
                      <a:pt x="2414265" y="1444944"/>
                    </a:cubicBezTo>
                    <a:cubicBezTo>
                      <a:pt x="2415167" y="1444493"/>
                      <a:pt x="2416070" y="1444042"/>
                      <a:pt x="2417649" y="1443590"/>
                    </a:cubicBezTo>
                    <a:cubicBezTo>
                      <a:pt x="2421485" y="1442688"/>
                      <a:pt x="2423291" y="1441334"/>
                      <a:pt x="2424419" y="1438626"/>
                    </a:cubicBezTo>
                    <a:cubicBezTo>
                      <a:pt x="2424644" y="1437949"/>
                      <a:pt x="2424644" y="1437272"/>
                      <a:pt x="2424193" y="1436595"/>
                    </a:cubicBezTo>
                    <a:cubicBezTo>
                      <a:pt x="2423967" y="1435693"/>
                      <a:pt x="2423516" y="1434339"/>
                      <a:pt x="2424419" y="1433211"/>
                    </a:cubicBezTo>
                    <a:cubicBezTo>
                      <a:pt x="2425321" y="1431857"/>
                      <a:pt x="2426901" y="1431406"/>
                      <a:pt x="2430511" y="1430954"/>
                    </a:cubicBezTo>
                    <a:cubicBezTo>
                      <a:pt x="2432091" y="1430729"/>
                      <a:pt x="2433445" y="1430503"/>
                      <a:pt x="2434799" y="1430277"/>
                    </a:cubicBezTo>
                    <a:cubicBezTo>
                      <a:pt x="2440440" y="1429375"/>
                      <a:pt x="2444501" y="1428923"/>
                      <a:pt x="2447435" y="1434113"/>
                    </a:cubicBezTo>
                    <a:cubicBezTo>
                      <a:pt x="2450142" y="1439078"/>
                      <a:pt x="2451271" y="1439754"/>
                      <a:pt x="2454204" y="1441334"/>
                    </a:cubicBezTo>
                    <a:cubicBezTo>
                      <a:pt x="2455107" y="1441785"/>
                      <a:pt x="2455784" y="1442236"/>
                      <a:pt x="2456461" y="1442688"/>
                    </a:cubicBezTo>
                    <a:cubicBezTo>
                      <a:pt x="2457814" y="1443590"/>
                      <a:pt x="2458491" y="1444042"/>
                      <a:pt x="2458943" y="1444042"/>
                    </a:cubicBezTo>
                    <a:cubicBezTo>
                      <a:pt x="2459620" y="1442688"/>
                      <a:pt x="2460748" y="1438852"/>
                      <a:pt x="2461650" y="1436144"/>
                    </a:cubicBezTo>
                    <a:cubicBezTo>
                      <a:pt x="2463907" y="1428472"/>
                      <a:pt x="2465486" y="1423282"/>
                      <a:pt x="2467517" y="1421477"/>
                    </a:cubicBezTo>
                    <a:cubicBezTo>
                      <a:pt x="2468645" y="1420349"/>
                      <a:pt x="2469774" y="1416964"/>
                      <a:pt x="2470450" y="1414256"/>
                    </a:cubicBezTo>
                    <a:cubicBezTo>
                      <a:pt x="2471579" y="1410195"/>
                      <a:pt x="2472481" y="1406810"/>
                      <a:pt x="2474738" y="1405456"/>
                    </a:cubicBezTo>
                    <a:cubicBezTo>
                      <a:pt x="2476543" y="1404328"/>
                      <a:pt x="2478123" y="1393046"/>
                      <a:pt x="2475866" y="1385599"/>
                    </a:cubicBezTo>
                    <a:lnTo>
                      <a:pt x="2475189" y="1383794"/>
                    </a:lnTo>
                    <a:cubicBezTo>
                      <a:pt x="2473158" y="1377025"/>
                      <a:pt x="2471353" y="1371158"/>
                      <a:pt x="2462327" y="1365066"/>
                    </a:cubicBezTo>
                    <a:cubicBezTo>
                      <a:pt x="2451271" y="1357619"/>
                      <a:pt x="2447435" y="1347916"/>
                      <a:pt x="2447435" y="1343404"/>
                    </a:cubicBezTo>
                    <a:cubicBezTo>
                      <a:pt x="2447435" y="1340019"/>
                      <a:pt x="2450594" y="1336409"/>
                      <a:pt x="2453076" y="1333475"/>
                    </a:cubicBezTo>
                    <a:cubicBezTo>
                      <a:pt x="2453978" y="1332347"/>
                      <a:pt x="2455332" y="1330993"/>
                      <a:pt x="2455558" y="1330542"/>
                    </a:cubicBezTo>
                    <a:cubicBezTo>
                      <a:pt x="2455558" y="1330316"/>
                      <a:pt x="2455107" y="1329188"/>
                      <a:pt x="2454881" y="1328511"/>
                    </a:cubicBezTo>
                    <a:cubicBezTo>
                      <a:pt x="2453753" y="1325352"/>
                      <a:pt x="2451722" y="1320388"/>
                      <a:pt x="2452173" y="1310685"/>
                    </a:cubicBezTo>
                    <a:cubicBezTo>
                      <a:pt x="2452625" y="1298049"/>
                      <a:pt x="2454204" y="1295115"/>
                      <a:pt x="2456686" y="1290602"/>
                    </a:cubicBezTo>
                    <a:cubicBezTo>
                      <a:pt x="2457137" y="1289700"/>
                      <a:pt x="2457589" y="1288797"/>
                      <a:pt x="2458040" y="1287895"/>
                    </a:cubicBezTo>
                    <a:cubicBezTo>
                      <a:pt x="2459394" y="1285412"/>
                      <a:pt x="2459168" y="1282930"/>
                      <a:pt x="2458943" y="1279997"/>
                    </a:cubicBezTo>
                    <a:cubicBezTo>
                      <a:pt x="2458717" y="1276612"/>
                      <a:pt x="2458266" y="1272551"/>
                      <a:pt x="2461876" y="1269392"/>
                    </a:cubicBezTo>
                    <a:cubicBezTo>
                      <a:pt x="2464584" y="1266910"/>
                      <a:pt x="2465261" y="1265330"/>
                      <a:pt x="2465938" y="1263299"/>
                    </a:cubicBezTo>
                    <a:cubicBezTo>
                      <a:pt x="2466389" y="1261720"/>
                      <a:pt x="2467066" y="1260140"/>
                      <a:pt x="2468645" y="1258109"/>
                    </a:cubicBezTo>
                    <a:cubicBezTo>
                      <a:pt x="2469999" y="1256304"/>
                      <a:pt x="2469322" y="1255176"/>
                      <a:pt x="2467066" y="1252242"/>
                    </a:cubicBezTo>
                    <a:cubicBezTo>
                      <a:pt x="2465938" y="1250889"/>
                      <a:pt x="2464809" y="1249309"/>
                      <a:pt x="2463907" y="1247278"/>
                    </a:cubicBezTo>
                    <a:cubicBezTo>
                      <a:pt x="2463004" y="1245473"/>
                      <a:pt x="2461876" y="1243894"/>
                      <a:pt x="2460973" y="1242540"/>
                    </a:cubicBezTo>
                    <a:cubicBezTo>
                      <a:pt x="2458943" y="1239832"/>
                      <a:pt x="2457137" y="1237124"/>
                      <a:pt x="2458266" y="1234191"/>
                    </a:cubicBezTo>
                    <a:cubicBezTo>
                      <a:pt x="2460296" y="1229678"/>
                      <a:pt x="2466840" y="1229227"/>
                      <a:pt x="2474061" y="1229227"/>
                    </a:cubicBezTo>
                    <a:cubicBezTo>
                      <a:pt x="2476994" y="1229227"/>
                      <a:pt x="2479025" y="1229904"/>
                      <a:pt x="2481056" y="1230355"/>
                    </a:cubicBezTo>
                    <a:cubicBezTo>
                      <a:pt x="2484215" y="1231257"/>
                      <a:pt x="2486020" y="1231709"/>
                      <a:pt x="2488954" y="1229678"/>
                    </a:cubicBezTo>
                    <a:cubicBezTo>
                      <a:pt x="2494595" y="1225391"/>
                      <a:pt x="2496851" y="1223586"/>
                      <a:pt x="2500913" y="1219073"/>
                    </a:cubicBezTo>
                    <a:cubicBezTo>
                      <a:pt x="2502041" y="1217719"/>
                      <a:pt x="2502944" y="1216590"/>
                      <a:pt x="2503620" y="1215237"/>
                    </a:cubicBezTo>
                    <a:cubicBezTo>
                      <a:pt x="2505200" y="1212529"/>
                      <a:pt x="2506780" y="1209821"/>
                      <a:pt x="2512872" y="1208918"/>
                    </a:cubicBezTo>
                    <a:cubicBezTo>
                      <a:pt x="2514903" y="1208693"/>
                      <a:pt x="2515354" y="1208242"/>
                      <a:pt x="2515580" y="1207790"/>
                    </a:cubicBezTo>
                    <a:cubicBezTo>
                      <a:pt x="2517385" y="1205308"/>
                      <a:pt x="2519416" y="1205534"/>
                      <a:pt x="2527765" y="1208693"/>
                    </a:cubicBezTo>
                    <a:cubicBezTo>
                      <a:pt x="2542657" y="1214108"/>
                      <a:pt x="2547170" y="1217719"/>
                      <a:pt x="2551683" y="1222909"/>
                    </a:cubicBezTo>
                    <a:lnTo>
                      <a:pt x="2552134" y="1223360"/>
                    </a:lnTo>
                    <a:cubicBezTo>
                      <a:pt x="2556422" y="1228550"/>
                      <a:pt x="2561160" y="1234417"/>
                      <a:pt x="2557099" y="1245699"/>
                    </a:cubicBezTo>
                    <a:cubicBezTo>
                      <a:pt x="2553940" y="1254950"/>
                      <a:pt x="2553488" y="1261043"/>
                      <a:pt x="2553037" y="1266910"/>
                    </a:cubicBezTo>
                    <a:lnTo>
                      <a:pt x="2552811" y="1269166"/>
                    </a:lnTo>
                    <a:cubicBezTo>
                      <a:pt x="2552586" y="1273453"/>
                      <a:pt x="2550555" y="1275710"/>
                      <a:pt x="2548750" y="1277741"/>
                    </a:cubicBezTo>
                    <a:cubicBezTo>
                      <a:pt x="2547622" y="1279094"/>
                      <a:pt x="2546268" y="1280448"/>
                      <a:pt x="2545591" y="1282479"/>
                    </a:cubicBezTo>
                    <a:cubicBezTo>
                      <a:pt x="2544237" y="1286315"/>
                      <a:pt x="2543334" y="1291505"/>
                      <a:pt x="2546268" y="1295341"/>
                    </a:cubicBezTo>
                    <a:cubicBezTo>
                      <a:pt x="2547396" y="1296695"/>
                      <a:pt x="2547847" y="1297823"/>
                      <a:pt x="2548298" y="1298726"/>
                    </a:cubicBezTo>
                    <a:cubicBezTo>
                      <a:pt x="2548975" y="1300305"/>
                      <a:pt x="2549427" y="1301208"/>
                      <a:pt x="2553263" y="1303239"/>
                    </a:cubicBezTo>
                    <a:cubicBezTo>
                      <a:pt x="2556196" y="1304592"/>
                      <a:pt x="2557776" y="1306398"/>
                      <a:pt x="2558227" y="1308428"/>
                    </a:cubicBezTo>
                    <a:cubicBezTo>
                      <a:pt x="2558904" y="1311587"/>
                      <a:pt x="2556873" y="1314295"/>
                      <a:pt x="2554842" y="1317003"/>
                    </a:cubicBezTo>
                    <a:cubicBezTo>
                      <a:pt x="2553940" y="1318131"/>
                      <a:pt x="2552360" y="1319936"/>
                      <a:pt x="2550781" y="1321967"/>
                    </a:cubicBezTo>
                    <a:cubicBezTo>
                      <a:pt x="2547847" y="1325577"/>
                      <a:pt x="2543334" y="1330767"/>
                      <a:pt x="2542883" y="1332347"/>
                    </a:cubicBezTo>
                    <a:cubicBezTo>
                      <a:pt x="2543334" y="1333024"/>
                      <a:pt x="2546719" y="1333926"/>
                      <a:pt x="2548524" y="1334378"/>
                    </a:cubicBezTo>
                    <a:lnTo>
                      <a:pt x="2549652" y="1334603"/>
                    </a:lnTo>
                    <a:cubicBezTo>
                      <a:pt x="2554391" y="1335732"/>
                      <a:pt x="2561837" y="1345660"/>
                      <a:pt x="2561837" y="1350624"/>
                    </a:cubicBezTo>
                    <a:cubicBezTo>
                      <a:pt x="2561837" y="1352204"/>
                      <a:pt x="2561160" y="1353783"/>
                      <a:pt x="2560483" y="1355363"/>
                    </a:cubicBezTo>
                    <a:cubicBezTo>
                      <a:pt x="2560032" y="1356265"/>
                      <a:pt x="2559355" y="1357845"/>
                      <a:pt x="2559581" y="1358296"/>
                    </a:cubicBezTo>
                    <a:cubicBezTo>
                      <a:pt x="2559581" y="1358296"/>
                      <a:pt x="2560032" y="1358973"/>
                      <a:pt x="2563417" y="1358973"/>
                    </a:cubicBezTo>
                    <a:cubicBezTo>
                      <a:pt x="2572443" y="1358973"/>
                      <a:pt x="2573796" y="1359650"/>
                      <a:pt x="2578761" y="1363035"/>
                    </a:cubicBezTo>
                    <a:cubicBezTo>
                      <a:pt x="2579438" y="1363486"/>
                      <a:pt x="2580340" y="1364163"/>
                      <a:pt x="2581469" y="1364840"/>
                    </a:cubicBezTo>
                    <a:cubicBezTo>
                      <a:pt x="2583951" y="1366645"/>
                      <a:pt x="2586658" y="1368450"/>
                      <a:pt x="2589140" y="1370255"/>
                    </a:cubicBezTo>
                    <a:cubicBezTo>
                      <a:pt x="2592299" y="1372512"/>
                      <a:pt x="2596361" y="1375445"/>
                      <a:pt x="2597489" y="1375897"/>
                    </a:cubicBezTo>
                    <a:lnTo>
                      <a:pt x="2597489" y="1375897"/>
                    </a:lnTo>
                    <a:cubicBezTo>
                      <a:pt x="2598843" y="1375897"/>
                      <a:pt x="2599746" y="1377025"/>
                      <a:pt x="2599971" y="1377476"/>
                    </a:cubicBezTo>
                    <a:cubicBezTo>
                      <a:pt x="2600423" y="1377476"/>
                      <a:pt x="2601325" y="1377025"/>
                      <a:pt x="2602905" y="1376122"/>
                    </a:cubicBezTo>
                    <a:cubicBezTo>
                      <a:pt x="2605387" y="1374768"/>
                      <a:pt x="2606966" y="1373189"/>
                      <a:pt x="2608772" y="1371609"/>
                    </a:cubicBezTo>
                    <a:cubicBezTo>
                      <a:pt x="2611479" y="1369127"/>
                      <a:pt x="2613961" y="1366645"/>
                      <a:pt x="2618474" y="1366645"/>
                    </a:cubicBezTo>
                    <a:cubicBezTo>
                      <a:pt x="2619151" y="1366645"/>
                      <a:pt x="2620054" y="1366645"/>
                      <a:pt x="2620731" y="1366645"/>
                    </a:cubicBezTo>
                    <a:cubicBezTo>
                      <a:pt x="2625695" y="1366645"/>
                      <a:pt x="2629531" y="1366419"/>
                      <a:pt x="2636075" y="1371835"/>
                    </a:cubicBezTo>
                    <a:cubicBezTo>
                      <a:pt x="2638106" y="1373415"/>
                      <a:pt x="2639685" y="1374994"/>
                      <a:pt x="2641039" y="1376348"/>
                    </a:cubicBezTo>
                    <a:cubicBezTo>
                      <a:pt x="2644198" y="1379281"/>
                      <a:pt x="2645778" y="1380861"/>
                      <a:pt x="2650516" y="1380861"/>
                    </a:cubicBezTo>
                    <a:cubicBezTo>
                      <a:pt x="2652998" y="1380861"/>
                      <a:pt x="2654578" y="1380635"/>
                      <a:pt x="2656157" y="1380635"/>
                    </a:cubicBezTo>
                    <a:cubicBezTo>
                      <a:pt x="2659316" y="1380409"/>
                      <a:pt x="2661347" y="1380184"/>
                      <a:pt x="2664732" y="1381989"/>
                    </a:cubicBezTo>
                    <a:cubicBezTo>
                      <a:pt x="2666763" y="1383117"/>
                      <a:pt x="2669019" y="1383117"/>
                      <a:pt x="2671501" y="1383343"/>
                    </a:cubicBezTo>
                    <a:cubicBezTo>
                      <a:pt x="2673532" y="1383343"/>
                      <a:pt x="2675563" y="1383569"/>
                      <a:pt x="2677594" y="1384246"/>
                    </a:cubicBezTo>
                    <a:cubicBezTo>
                      <a:pt x="2678948" y="1384697"/>
                      <a:pt x="2683009" y="1383794"/>
                      <a:pt x="2686620" y="1383117"/>
                    </a:cubicBezTo>
                    <a:cubicBezTo>
                      <a:pt x="2691133" y="1382215"/>
                      <a:pt x="2696774" y="1380861"/>
                      <a:pt x="2702189" y="1380861"/>
                    </a:cubicBezTo>
                    <a:cubicBezTo>
                      <a:pt x="2712343" y="1380861"/>
                      <a:pt x="2713020" y="1380861"/>
                      <a:pt x="2718210" y="1374543"/>
                    </a:cubicBezTo>
                    <a:cubicBezTo>
                      <a:pt x="2720466" y="1371835"/>
                      <a:pt x="2721595" y="1369578"/>
                      <a:pt x="2722497" y="1367548"/>
                    </a:cubicBezTo>
                    <a:cubicBezTo>
                      <a:pt x="2724077" y="1364614"/>
                      <a:pt x="2725205" y="1361907"/>
                      <a:pt x="2729041" y="1360101"/>
                    </a:cubicBezTo>
                    <a:cubicBezTo>
                      <a:pt x="2730169" y="1359650"/>
                      <a:pt x="2731072" y="1358973"/>
                      <a:pt x="2731749" y="1358747"/>
                    </a:cubicBezTo>
                    <a:cubicBezTo>
                      <a:pt x="2735359" y="1356717"/>
                      <a:pt x="2737390" y="1355814"/>
                      <a:pt x="2743482" y="1355814"/>
                    </a:cubicBezTo>
                    <a:cubicBezTo>
                      <a:pt x="2748672" y="1355814"/>
                      <a:pt x="2751380" y="1359424"/>
                      <a:pt x="2753862" y="1362358"/>
                    </a:cubicBezTo>
                    <a:cubicBezTo>
                      <a:pt x="2755216" y="1364163"/>
                      <a:pt x="2756570" y="1365743"/>
                      <a:pt x="2757924" y="1366194"/>
                    </a:cubicBezTo>
                    <a:cubicBezTo>
                      <a:pt x="2761534" y="1367548"/>
                      <a:pt x="2772591" y="1372061"/>
                      <a:pt x="2788386" y="1368225"/>
                    </a:cubicBezTo>
                    <a:cubicBezTo>
                      <a:pt x="2793801" y="1366871"/>
                      <a:pt x="2796284" y="1365968"/>
                      <a:pt x="2798314" y="1365291"/>
                    </a:cubicBezTo>
                    <a:cubicBezTo>
                      <a:pt x="2801925" y="1363937"/>
                      <a:pt x="2803053" y="1363712"/>
                      <a:pt x="2813884" y="1363712"/>
                    </a:cubicBezTo>
                    <a:cubicBezTo>
                      <a:pt x="2821330" y="1363712"/>
                      <a:pt x="2824715" y="1360553"/>
                      <a:pt x="2828100" y="1357394"/>
                    </a:cubicBezTo>
                    <a:cubicBezTo>
                      <a:pt x="2831710" y="1354009"/>
                      <a:pt x="2835546" y="1350399"/>
                      <a:pt x="2843444" y="1353783"/>
                    </a:cubicBezTo>
                    <a:cubicBezTo>
                      <a:pt x="2848408" y="1356040"/>
                      <a:pt x="2852018" y="1358296"/>
                      <a:pt x="2854726" y="1359876"/>
                    </a:cubicBezTo>
                    <a:cubicBezTo>
                      <a:pt x="2859690" y="1363035"/>
                      <a:pt x="2860141" y="1362809"/>
                      <a:pt x="2861270" y="1361230"/>
                    </a:cubicBezTo>
                    <a:cubicBezTo>
                      <a:pt x="2865106" y="1356040"/>
                      <a:pt x="2869619" y="1351301"/>
                      <a:pt x="2878419" y="1354235"/>
                    </a:cubicBezTo>
                    <a:cubicBezTo>
                      <a:pt x="2882255" y="1355588"/>
                      <a:pt x="2885414" y="1354912"/>
                      <a:pt x="2889701" y="1354235"/>
                    </a:cubicBezTo>
                    <a:cubicBezTo>
                      <a:pt x="2893086" y="1353558"/>
                      <a:pt x="2896696" y="1352881"/>
                      <a:pt x="2901660" y="1352881"/>
                    </a:cubicBezTo>
                    <a:cubicBezTo>
                      <a:pt x="2905045" y="1352881"/>
                      <a:pt x="2907076" y="1349947"/>
                      <a:pt x="2909784" y="1345209"/>
                    </a:cubicBezTo>
                    <a:cubicBezTo>
                      <a:pt x="2912943" y="1339568"/>
                      <a:pt x="2917230" y="1331896"/>
                      <a:pt x="2927610" y="1337537"/>
                    </a:cubicBezTo>
                    <a:cubicBezTo>
                      <a:pt x="2932574" y="1340245"/>
                      <a:pt x="2935507" y="1342275"/>
                      <a:pt x="2937538" y="1343855"/>
                    </a:cubicBezTo>
                    <a:cubicBezTo>
                      <a:pt x="2940923" y="1346337"/>
                      <a:pt x="2941600" y="1346788"/>
                      <a:pt x="2948143" y="1344983"/>
                    </a:cubicBezTo>
                    <a:cubicBezTo>
                      <a:pt x="2948595" y="1342727"/>
                      <a:pt x="2949949" y="1337311"/>
                      <a:pt x="2949497" y="1331896"/>
                    </a:cubicBezTo>
                    <a:cubicBezTo>
                      <a:pt x="2949046" y="1324449"/>
                      <a:pt x="2947241" y="1319711"/>
                      <a:pt x="2943856" y="1317906"/>
                    </a:cubicBezTo>
                    <a:cubicBezTo>
                      <a:pt x="2938666" y="1314972"/>
                      <a:pt x="2935056" y="1308203"/>
                      <a:pt x="2938892" y="1301208"/>
                    </a:cubicBezTo>
                    <a:cubicBezTo>
                      <a:pt x="2942277" y="1295115"/>
                      <a:pt x="2942954" y="1289700"/>
                      <a:pt x="2942954" y="1286089"/>
                    </a:cubicBezTo>
                    <a:cubicBezTo>
                      <a:pt x="2942954" y="1283382"/>
                      <a:pt x="2937764" y="1274356"/>
                      <a:pt x="2935733" y="1271197"/>
                    </a:cubicBezTo>
                    <a:cubicBezTo>
                      <a:pt x="2935056" y="1270069"/>
                      <a:pt x="2934379" y="1269166"/>
                      <a:pt x="2934153" y="1268715"/>
                    </a:cubicBezTo>
                    <a:cubicBezTo>
                      <a:pt x="2933251" y="1266910"/>
                      <a:pt x="2927384" y="1261494"/>
                      <a:pt x="2924451" y="1262171"/>
                    </a:cubicBezTo>
                    <a:lnTo>
                      <a:pt x="2923322" y="1262397"/>
                    </a:lnTo>
                    <a:cubicBezTo>
                      <a:pt x="2915199" y="1264202"/>
                      <a:pt x="2907076" y="1265781"/>
                      <a:pt x="2903014" y="1264879"/>
                    </a:cubicBezTo>
                    <a:cubicBezTo>
                      <a:pt x="2901886" y="1264653"/>
                      <a:pt x="2901886" y="1264879"/>
                      <a:pt x="2901435" y="1265556"/>
                    </a:cubicBezTo>
                    <a:cubicBezTo>
                      <a:pt x="2901209" y="1266233"/>
                      <a:pt x="2900532" y="1267361"/>
                      <a:pt x="2899404" y="1267361"/>
                    </a:cubicBezTo>
                    <a:cubicBezTo>
                      <a:pt x="2898050" y="1267586"/>
                      <a:pt x="2896922" y="1266458"/>
                      <a:pt x="2896470" y="1266007"/>
                    </a:cubicBezTo>
                    <a:cubicBezTo>
                      <a:pt x="2893988" y="1263525"/>
                      <a:pt x="2889250" y="1261945"/>
                      <a:pt x="2887445" y="1261945"/>
                    </a:cubicBezTo>
                    <a:cubicBezTo>
                      <a:pt x="2883834" y="1261945"/>
                      <a:pt x="2876614" y="1255176"/>
                      <a:pt x="2876162" y="1248858"/>
                    </a:cubicBezTo>
                    <a:cubicBezTo>
                      <a:pt x="2876162" y="1247730"/>
                      <a:pt x="2875937" y="1246601"/>
                      <a:pt x="2875711" y="1245473"/>
                    </a:cubicBezTo>
                    <a:cubicBezTo>
                      <a:pt x="2875034" y="1241637"/>
                      <a:pt x="2874583" y="1238252"/>
                      <a:pt x="2878870" y="1235319"/>
                    </a:cubicBezTo>
                    <a:cubicBezTo>
                      <a:pt x="2880675" y="1234191"/>
                      <a:pt x="2880901" y="1232611"/>
                      <a:pt x="2881352" y="1230806"/>
                    </a:cubicBezTo>
                    <a:cubicBezTo>
                      <a:pt x="2881578" y="1229227"/>
                      <a:pt x="2882029" y="1227421"/>
                      <a:pt x="2883157" y="1225842"/>
                    </a:cubicBezTo>
                    <a:cubicBezTo>
                      <a:pt x="2883383" y="1225391"/>
                      <a:pt x="2882480" y="1223586"/>
                      <a:pt x="2882029" y="1222683"/>
                    </a:cubicBezTo>
                    <a:cubicBezTo>
                      <a:pt x="2881127" y="1220652"/>
                      <a:pt x="2879998" y="1218170"/>
                      <a:pt x="2880901" y="1216139"/>
                    </a:cubicBezTo>
                    <a:cubicBezTo>
                      <a:pt x="2881352" y="1215011"/>
                      <a:pt x="2882480" y="1214108"/>
                      <a:pt x="2884286" y="1213883"/>
                    </a:cubicBezTo>
                    <a:cubicBezTo>
                      <a:pt x="2891055" y="1212303"/>
                      <a:pt x="2897147" y="1214785"/>
                      <a:pt x="2904819" y="1221780"/>
                    </a:cubicBezTo>
                    <a:cubicBezTo>
                      <a:pt x="2907978" y="1224714"/>
                      <a:pt x="2908881" y="1226745"/>
                      <a:pt x="2909558" y="1228098"/>
                    </a:cubicBezTo>
                    <a:cubicBezTo>
                      <a:pt x="2910235" y="1229452"/>
                      <a:pt x="2910460" y="1229678"/>
                      <a:pt x="2914296" y="1229678"/>
                    </a:cubicBezTo>
                    <a:cubicBezTo>
                      <a:pt x="2918358" y="1229678"/>
                      <a:pt x="2921969" y="1226745"/>
                      <a:pt x="2925128" y="1224037"/>
                    </a:cubicBezTo>
                    <a:cubicBezTo>
                      <a:pt x="2928061" y="1221555"/>
                      <a:pt x="2930769" y="1219298"/>
                      <a:pt x="2933702" y="1219298"/>
                    </a:cubicBezTo>
                    <a:cubicBezTo>
                      <a:pt x="2935056" y="1219298"/>
                      <a:pt x="2935733" y="1218396"/>
                      <a:pt x="2937312" y="1215914"/>
                    </a:cubicBezTo>
                    <a:cubicBezTo>
                      <a:pt x="2938892" y="1213431"/>
                      <a:pt x="2940697" y="1210498"/>
                      <a:pt x="2944533" y="1208242"/>
                    </a:cubicBezTo>
                    <a:cubicBezTo>
                      <a:pt x="2946338" y="1207339"/>
                      <a:pt x="2947015" y="1206662"/>
                      <a:pt x="2947241" y="1206436"/>
                    </a:cubicBezTo>
                    <a:cubicBezTo>
                      <a:pt x="2947466" y="1205082"/>
                      <a:pt x="2948369" y="1205082"/>
                      <a:pt x="2951979" y="1204180"/>
                    </a:cubicBezTo>
                    <a:cubicBezTo>
                      <a:pt x="2957169" y="1203052"/>
                      <a:pt x="2959651" y="1206436"/>
                      <a:pt x="2961457" y="1208918"/>
                    </a:cubicBezTo>
                    <a:cubicBezTo>
                      <a:pt x="2962359" y="1210272"/>
                      <a:pt x="2963487" y="1211401"/>
                      <a:pt x="2964390" y="1211626"/>
                    </a:cubicBezTo>
                    <a:cubicBezTo>
                      <a:pt x="2967098" y="1212303"/>
                      <a:pt x="2976800" y="1208467"/>
                      <a:pt x="2983344" y="1206211"/>
                    </a:cubicBezTo>
                    <a:cubicBezTo>
                      <a:pt x="2987180" y="1204857"/>
                      <a:pt x="2990339" y="1203503"/>
                      <a:pt x="2992821" y="1202826"/>
                    </a:cubicBezTo>
                    <a:cubicBezTo>
                      <a:pt x="2993949" y="1196959"/>
                      <a:pt x="2998914" y="1191769"/>
                      <a:pt x="3004781" y="1190416"/>
                    </a:cubicBezTo>
                    <a:cubicBezTo>
                      <a:pt x="3006360" y="1159953"/>
                      <a:pt x="3034566" y="1133101"/>
                      <a:pt x="3065028" y="1132650"/>
                    </a:cubicBezTo>
                    <a:cubicBezTo>
                      <a:pt x="3066156" y="1113470"/>
                      <a:pt x="3069541" y="1094742"/>
                      <a:pt x="3084434" y="1085716"/>
                    </a:cubicBezTo>
                    <a:cubicBezTo>
                      <a:pt x="3091654" y="1081203"/>
                      <a:pt x="3100229" y="1080300"/>
                      <a:pt x="3108352" y="1079398"/>
                    </a:cubicBezTo>
                    <a:cubicBezTo>
                      <a:pt x="3112865" y="1078946"/>
                      <a:pt x="3117604" y="1078495"/>
                      <a:pt x="3122117" y="1077367"/>
                    </a:cubicBezTo>
                    <a:cubicBezTo>
                      <a:pt x="3144456" y="1071726"/>
                      <a:pt x="3157543" y="1051869"/>
                      <a:pt x="3171307" y="1030884"/>
                    </a:cubicBezTo>
                    <a:cubicBezTo>
                      <a:pt x="3176723" y="1022760"/>
                      <a:pt x="3182139" y="1014186"/>
                      <a:pt x="3188231" y="1006740"/>
                    </a:cubicBezTo>
                    <a:cubicBezTo>
                      <a:pt x="3196805" y="996360"/>
                      <a:pt x="3205380" y="990042"/>
                      <a:pt x="3214406" y="987108"/>
                    </a:cubicBezTo>
                    <a:cubicBezTo>
                      <a:pt x="3225237" y="983724"/>
                      <a:pt x="3234940" y="987560"/>
                      <a:pt x="3244191" y="991170"/>
                    </a:cubicBezTo>
                    <a:cubicBezTo>
                      <a:pt x="3252315" y="994329"/>
                      <a:pt x="3260663" y="997488"/>
                      <a:pt x="3270140" y="996360"/>
                    </a:cubicBezTo>
                    <a:cubicBezTo>
                      <a:pt x="3278038" y="995457"/>
                      <a:pt x="3285033" y="996811"/>
                      <a:pt x="3292931" y="1001324"/>
                    </a:cubicBezTo>
                    <a:cubicBezTo>
                      <a:pt x="3295639" y="1002904"/>
                      <a:pt x="3297444" y="1003806"/>
                      <a:pt x="3298572" y="1004709"/>
                    </a:cubicBezTo>
                    <a:cubicBezTo>
                      <a:pt x="3300603" y="1005837"/>
                      <a:pt x="3301280" y="1006288"/>
                      <a:pt x="3303987" y="1007416"/>
                    </a:cubicBezTo>
                    <a:cubicBezTo>
                      <a:pt x="3305793" y="1008093"/>
                      <a:pt x="3306921" y="1008770"/>
                      <a:pt x="3307823" y="1009447"/>
                    </a:cubicBezTo>
                    <a:cubicBezTo>
                      <a:pt x="3309403" y="1010350"/>
                      <a:pt x="3310080" y="1010801"/>
                      <a:pt x="3313690" y="1010576"/>
                    </a:cubicBezTo>
                    <a:cubicBezTo>
                      <a:pt x="3314367" y="1010576"/>
                      <a:pt x="3314818" y="1010576"/>
                      <a:pt x="3314818" y="1007191"/>
                    </a:cubicBezTo>
                    <a:cubicBezTo>
                      <a:pt x="3314818" y="1003806"/>
                      <a:pt x="3315044" y="998616"/>
                      <a:pt x="3321362" y="997037"/>
                    </a:cubicBezTo>
                    <a:cubicBezTo>
                      <a:pt x="3326101" y="995909"/>
                      <a:pt x="3326778" y="993201"/>
                      <a:pt x="3328132" y="989590"/>
                    </a:cubicBezTo>
                    <a:cubicBezTo>
                      <a:pt x="3328809" y="987334"/>
                      <a:pt x="3329711" y="984626"/>
                      <a:pt x="3331742" y="982144"/>
                    </a:cubicBezTo>
                    <a:cubicBezTo>
                      <a:pt x="3336706" y="975826"/>
                      <a:pt x="3358594" y="963190"/>
                      <a:pt x="3364235" y="961836"/>
                    </a:cubicBezTo>
                    <a:cubicBezTo>
                      <a:pt x="3366040" y="961385"/>
                      <a:pt x="3370102" y="958226"/>
                      <a:pt x="3374163" y="955067"/>
                    </a:cubicBezTo>
                    <a:cubicBezTo>
                      <a:pt x="3381610" y="949425"/>
                      <a:pt x="3389282" y="943333"/>
                      <a:pt x="3394471" y="943333"/>
                    </a:cubicBezTo>
                    <a:lnTo>
                      <a:pt x="3395600" y="943333"/>
                    </a:lnTo>
                    <a:cubicBezTo>
                      <a:pt x="3402820" y="943333"/>
                      <a:pt x="3404174" y="943784"/>
                      <a:pt x="3409139" y="952133"/>
                    </a:cubicBezTo>
                    <a:cubicBezTo>
                      <a:pt x="3411621" y="956195"/>
                      <a:pt x="3411169" y="959354"/>
                      <a:pt x="3410944" y="961385"/>
                    </a:cubicBezTo>
                    <a:cubicBezTo>
                      <a:pt x="3410944" y="961836"/>
                      <a:pt x="3410718" y="962513"/>
                      <a:pt x="3410718" y="962739"/>
                    </a:cubicBezTo>
                    <a:cubicBezTo>
                      <a:pt x="3410718" y="962739"/>
                      <a:pt x="3411621" y="963190"/>
                      <a:pt x="3415457" y="963415"/>
                    </a:cubicBezTo>
                    <a:cubicBezTo>
                      <a:pt x="3419518" y="963641"/>
                      <a:pt x="3422226" y="964769"/>
                      <a:pt x="3423129" y="967251"/>
                    </a:cubicBezTo>
                    <a:cubicBezTo>
                      <a:pt x="3424708" y="970862"/>
                      <a:pt x="3422452" y="976052"/>
                      <a:pt x="3415682" y="983949"/>
                    </a:cubicBezTo>
                    <a:cubicBezTo>
                      <a:pt x="3413877" y="986206"/>
                      <a:pt x="3412072" y="987560"/>
                      <a:pt x="3410718" y="988462"/>
                    </a:cubicBezTo>
                    <a:cubicBezTo>
                      <a:pt x="3408462" y="990042"/>
                      <a:pt x="3408010" y="990267"/>
                      <a:pt x="3408913" y="994103"/>
                    </a:cubicBezTo>
                    <a:cubicBezTo>
                      <a:pt x="3409590" y="997262"/>
                      <a:pt x="3410041" y="999293"/>
                      <a:pt x="3410041" y="1000873"/>
                    </a:cubicBezTo>
                    <a:cubicBezTo>
                      <a:pt x="3410267" y="1003129"/>
                      <a:pt x="3410492" y="1004257"/>
                      <a:pt x="3412072" y="1007416"/>
                    </a:cubicBezTo>
                    <a:cubicBezTo>
                      <a:pt x="3412298" y="1007868"/>
                      <a:pt x="3412523" y="1008093"/>
                      <a:pt x="3412749" y="1008319"/>
                    </a:cubicBezTo>
                    <a:cubicBezTo>
                      <a:pt x="3414554" y="1008545"/>
                      <a:pt x="3419067" y="1003581"/>
                      <a:pt x="3421549" y="1000873"/>
                    </a:cubicBezTo>
                    <a:lnTo>
                      <a:pt x="3423129" y="999068"/>
                    </a:lnTo>
                    <a:cubicBezTo>
                      <a:pt x="3424482" y="997714"/>
                      <a:pt x="3425159" y="996360"/>
                      <a:pt x="3425836" y="995232"/>
                    </a:cubicBezTo>
                    <a:cubicBezTo>
                      <a:pt x="3427867" y="991847"/>
                      <a:pt x="3429672" y="989816"/>
                      <a:pt x="3435990" y="990944"/>
                    </a:cubicBezTo>
                    <a:cubicBezTo>
                      <a:pt x="3441406" y="991847"/>
                      <a:pt x="3443211" y="996585"/>
                      <a:pt x="3444791" y="1000421"/>
                    </a:cubicBezTo>
                    <a:cubicBezTo>
                      <a:pt x="3445919" y="1003355"/>
                      <a:pt x="3447047" y="1006288"/>
                      <a:pt x="3449529" y="1008093"/>
                    </a:cubicBezTo>
                    <a:cubicBezTo>
                      <a:pt x="3457427" y="1013735"/>
                      <a:pt x="3462617" y="1021632"/>
                      <a:pt x="3463068" y="1028853"/>
                    </a:cubicBezTo>
                    <a:cubicBezTo>
                      <a:pt x="3463519" y="1036976"/>
                      <a:pt x="3461940" y="1040361"/>
                      <a:pt x="3456524" y="1046228"/>
                    </a:cubicBezTo>
                    <a:cubicBezTo>
                      <a:pt x="3454493" y="1048484"/>
                      <a:pt x="3453139" y="1050515"/>
                      <a:pt x="3451786" y="1052546"/>
                    </a:cubicBezTo>
                    <a:cubicBezTo>
                      <a:pt x="3449980" y="1055479"/>
                      <a:pt x="3448175" y="1058412"/>
                      <a:pt x="3444114" y="1061797"/>
                    </a:cubicBezTo>
                    <a:cubicBezTo>
                      <a:pt x="3439601" y="1065633"/>
                      <a:pt x="3439601" y="1068792"/>
                      <a:pt x="3439601" y="1073080"/>
                    </a:cubicBezTo>
                    <a:cubicBezTo>
                      <a:pt x="3439601" y="1074433"/>
                      <a:pt x="3439601" y="1075562"/>
                      <a:pt x="3439601" y="1077141"/>
                    </a:cubicBezTo>
                    <a:cubicBezTo>
                      <a:pt x="3439375" y="1080075"/>
                      <a:pt x="3439826" y="1082105"/>
                      <a:pt x="3440729" y="1083008"/>
                    </a:cubicBezTo>
                    <a:cubicBezTo>
                      <a:pt x="3441406" y="1083685"/>
                      <a:pt x="3442309" y="1084136"/>
                      <a:pt x="3443888" y="1084136"/>
                    </a:cubicBezTo>
                    <a:cubicBezTo>
                      <a:pt x="3447950" y="1084136"/>
                      <a:pt x="3449980" y="1083008"/>
                      <a:pt x="3456524" y="1078721"/>
                    </a:cubicBezTo>
                    <a:cubicBezTo>
                      <a:pt x="3458555" y="1077367"/>
                      <a:pt x="3459909" y="1075787"/>
                      <a:pt x="3461263" y="1074433"/>
                    </a:cubicBezTo>
                    <a:cubicBezTo>
                      <a:pt x="3463970" y="1071500"/>
                      <a:pt x="3466678" y="1068341"/>
                      <a:pt x="3473673" y="1070146"/>
                    </a:cubicBezTo>
                    <a:cubicBezTo>
                      <a:pt x="3477961" y="1071274"/>
                      <a:pt x="3482699" y="1073982"/>
                      <a:pt x="3487212" y="1076464"/>
                    </a:cubicBezTo>
                    <a:cubicBezTo>
                      <a:pt x="3492176" y="1079172"/>
                      <a:pt x="3497592" y="1082105"/>
                      <a:pt x="3500074" y="1081880"/>
                    </a:cubicBezTo>
                    <a:cubicBezTo>
                      <a:pt x="3502105" y="1081654"/>
                      <a:pt x="3503684" y="1081654"/>
                      <a:pt x="3505490" y="1081880"/>
                    </a:cubicBezTo>
                    <a:cubicBezTo>
                      <a:pt x="3508649" y="1082105"/>
                      <a:pt x="3512033" y="1082331"/>
                      <a:pt x="3518803" y="1078721"/>
                    </a:cubicBezTo>
                    <a:cubicBezTo>
                      <a:pt x="3527151" y="1074208"/>
                      <a:pt x="3530987" y="1076239"/>
                      <a:pt x="3534372" y="1078044"/>
                    </a:cubicBezTo>
                    <a:cubicBezTo>
                      <a:pt x="3535726" y="1078721"/>
                      <a:pt x="3537080" y="1079398"/>
                      <a:pt x="3538885" y="1079849"/>
                    </a:cubicBezTo>
                    <a:cubicBezTo>
                      <a:pt x="3545429" y="1081203"/>
                      <a:pt x="3545429" y="1081203"/>
                      <a:pt x="3554229" y="1082557"/>
                    </a:cubicBezTo>
                    <a:cubicBezTo>
                      <a:pt x="3560096" y="1083459"/>
                      <a:pt x="3566414" y="1084813"/>
                      <a:pt x="3569122" y="1089326"/>
                    </a:cubicBezTo>
                    <a:cubicBezTo>
                      <a:pt x="3570701" y="1092034"/>
                      <a:pt x="3570475" y="1095193"/>
                      <a:pt x="3568896" y="1099254"/>
                    </a:cubicBezTo>
                    <a:cubicBezTo>
                      <a:pt x="3567768" y="1101962"/>
                      <a:pt x="3566865" y="1103767"/>
                      <a:pt x="3566188" y="1104896"/>
                    </a:cubicBezTo>
                    <a:cubicBezTo>
                      <a:pt x="3565060" y="1106926"/>
                      <a:pt x="3565060" y="1106926"/>
                      <a:pt x="3566639" y="1110085"/>
                    </a:cubicBezTo>
                    <a:cubicBezTo>
                      <a:pt x="3567091" y="1110988"/>
                      <a:pt x="3567542" y="1111891"/>
                      <a:pt x="3568219" y="1113244"/>
                    </a:cubicBezTo>
                    <a:cubicBezTo>
                      <a:pt x="3571829" y="1120916"/>
                      <a:pt x="3568219" y="1124978"/>
                      <a:pt x="3564834" y="1128814"/>
                    </a:cubicBezTo>
                    <a:cubicBezTo>
                      <a:pt x="3563029" y="1130845"/>
                      <a:pt x="3561450" y="1132876"/>
                      <a:pt x="3560321" y="1135358"/>
                    </a:cubicBezTo>
                    <a:cubicBezTo>
                      <a:pt x="3558065" y="1140548"/>
                      <a:pt x="3556937" y="1141902"/>
                      <a:pt x="3554680" y="1144158"/>
                    </a:cubicBezTo>
                    <a:cubicBezTo>
                      <a:pt x="3553326" y="1145512"/>
                      <a:pt x="3551747" y="1147317"/>
                      <a:pt x="3548814" y="1151153"/>
                    </a:cubicBezTo>
                    <a:cubicBezTo>
                      <a:pt x="3545880" y="1154989"/>
                      <a:pt x="3544526" y="1157697"/>
                      <a:pt x="3543172" y="1159953"/>
                    </a:cubicBezTo>
                    <a:cubicBezTo>
                      <a:pt x="3541367" y="1163338"/>
                      <a:pt x="3539788" y="1166046"/>
                      <a:pt x="3534823" y="1169882"/>
                    </a:cubicBezTo>
                    <a:cubicBezTo>
                      <a:pt x="3529408" y="1173943"/>
                      <a:pt x="3528731" y="1176200"/>
                      <a:pt x="3527828" y="1179133"/>
                    </a:cubicBezTo>
                    <a:cubicBezTo>
                      <a:pt x="3527377" y="1180261"/>
                      <a:pt x="3527151" y="1181615"/>
                      <a:pt x="3526249" y="1182969"/>
                    </a:cubicBezTo>
                    <a:cubicBezTo>
                      <a:pt x="3524444" y="1186579"/>
                      <a:pt x="3524444" y="1188159"/>
                      <a:pt x="3524895" y="1193575"/>
                    </a:cubicBezTo>
                    <a:lnTo>
                      <a:pt x="3525121" y="1195831"/>
                    </a:lnTo>
                    <a:cubicBezTo>
                      <a:pt x="3525121" y="1197410"/>
                      <a:pt x="3525121" y="1199216"/>
                      <a:pt x="3525121" y="1200795"/>
                    </a:cubicBezTo>
                    <a:cubicBezTo>
                      <a:pt x="3524669" y="1206436"/>
                      <a:pt x="3524444" y="1210949"/>
                      <a:pt x="3532116" y="1214560"/>
                    </a:cubicBezTo>
                    <a:cubicBezTo>
                      <a:pt x="3542947" y="1219524"/>
                      <a:pt x="3545429" y="1224714"/>
                      <a:pt x="3547911" y="1230355"/>
                    </a:cubicBezTo>
                    <a:lnTo>
                      <a:pt x="3548588" y="1231934"/>
                    </a:lnTo>
                    <a:cubicBezTo>
                      <a:pt x="3550844" y="1237124"/>
                      <a:pt x="3551070" y="1241863"/>
                      <a:pt x="3548814" y="1245022"/>
                    </a:cubicBezTo>
                    <a:cubicBezTo>
                      <a:pt x="3546782" y="1247955"/>
                      <a:pt x="3543172" y="1249083"/>
                      <a:pt x="3538208" y="1248632"/>
                    </a:cubicBezTo>
                    <a:cubicBezTo>
                      <a:pt x="3528731" y="1247955"/>
                      <a:pt x="3526249" y="1244796"/>
                      <a:pt x="3523315" y="1240960"/>
                    </a:cubicBezTo>
                    <a:cubicBezTo>
                      <a:pt x="3522187" y="1239606"/>
                      <a:pt x="3521285" y="1238252"/>
                      <a:pt x="3519705" y="1236899"/>
                    </a:cubicBezTo>
                    <a:lnTo>
                      <a:pt x="3518577" y="1235770"/>
                    </a:lnTo>
                    <a:cubicBezTo>
                      <a:pt x="3513161" y="1230355"/>
                      <a:pt x="3509325" y="1226519"/>
                      <a:pt x="3502331" y="1225165"/>
                    </a:cubicBezTo>
                    <a:cubicBezTo>
                      <a:pt x="3495110" y="1223811"/>
                      <a:pt x="3484279" y="1226519"/>
                      <a:pt x="3477961" y="1231032"/>
                    </a:cubicBezTo>
                    <a:cubicBezTo>
                      <a:pt x="3470740" y="1236222"/>
                      <a:pt x="3465099" y="1237124"/>
                      <a:pt x="3455622" y="1237124"/>
                    </a:cubicBezTo>
                    <a:cubicBezTo>
                      <a:pt x="3447047" y="1237124"/>
                      <a:pt x="3438698" y="1244345"/>
                      <a:pt x="3431026" y="1252017"/>
                    </a:cubicBezTo>
                    <a:cubicBezTo>
                      <a:pt x="3415231" y="1267812"/>
                      <a:pt x="3399210" y="1283607"/>
                      <a:pt x="3383640" y="1298951"/>
                    </a:cubicBezTo>
                    <a:lnTo>
                      <a:pt x="3371907" y="1310459"/>
                    </a:lnTo>
                    <a:cubicBezTo>
                      <a:pt x="3369650" y="1312716"/>
                      <a:pt x="3367168" y="1315423"/>
                      <a:pt x="3364686" y="1318131"/>
                    </a:cubicBezTo>
                    <a:cubicBezTo>
                      <a:pt x="3358368" y="1325126"/>
                      <a:pt x="3351824" y="1332347"/>
                      <a:pt x="3344378" y="1336183"/>
                    </a:cubicBezTo>
                    <a:cubicBezTo>
                      <a:pt x="3341445" y="1337762"/>
                      <a:pt x="3338511" y="1337085"/>
                      <a:pt x="3336255" y="1336860"/>
                    </a:cubicBezTo>
                    <a:cubicBezTo>
                      <a:pt x="3333321" y="1336409"/>
                      <a:pt x="3331742" y="1335957"/>
                      <a:pt x="3329937" y="1338891"/>
                    </a:cubicBezTo>
                    <a:cubicBezTo>
                      <a:pt x="3326552" y="1344080"/>
                      <a:pt x="3320685" y="1358973"/>
                      <a:pt x="3322039" y="1367322"/>
                    </a:cubicBezTo>
                    <a:cubicBezTo>
                      <a:pt x="3322942" y="1372286"/>
                      <a:pt x="3325198" y="1375220"/>
                      <a:pt x="3327229" y="1377702"/>
                    </a:cubicBezTo>
                    <a:cubicBezTo>
                      <a:pt x="3328583" y="1379507"/>
                      <a:pt x="3329937" y="1381086"/>
                      <a:pt x="3330388" y="1383117"/>
                    </a:cubicBezTo>
                    <a:cubicBezTo>
                      <a:pt x="3331065" y="1386502"/>
                      <a:pt x="3330614" y="1392143"/>
                      <a:pt x="3330162" y="1396656"/>
                    </a:cubicBezTo>
                    <a:cubicBezTo>
                      <a:pt x="3329937" y="1398010"/>
                      <a:pt x="3329937" y="1399364"/>
                      <a:pt x="3329937" y="1400266"/>
                    </a:cubicBezTo>
                    <a:cubicBezTo>
                      <a:pt x="3329711" y="1402072"/>
                      <a:pt x="3331291" y="1403877"/>
                      <a:pt x="3332870" y="1405908"/>
                    </a:cubicBezTo>
                    <a:cubicBezTo>
                      <a:pt x="3334450" y="1407938"/>
                      <a:pt x="3336029" y="1409969"/>
                      <a:pt x="3336706" y="1412451"/>
                    </a:cubicBezTo>
                    <a:cubicBezTo>
                      <a:pt x="3338060" y="1417867"/>
                      <a:pt x="3337834" y="1420123"/>
                      <a:pt x="3333773" y="1427570"/>
                    </a:cubicBezTo>
                    <a:cubicBezTo>
                      <a:pt x="3332645" y="1429600"/>
                      <a:pt x="3331291" y="1431406"/>
                      <a:pt x="3330162" y="1432759"/>
                    </a:cubicBezTo>
                    <a:cubicBezTo>
                      <a:pt x="3327229" y="1436595"/>
                      <a:pt x="3324973" y="1439529"/>
                      <a:pt x="3324973" y="1448103"/>
                    </a:cubicBezTo>
                    <a:cubicBezTo>
                      <a:pt x="3324973" y="1452616"/>
                      <a:pt x="3325424" y="1456001"/>
                      <a:pt x="3325875" y="1458934"/>
                    </a:cubicBezTo>
                    <a:cubicBezTo>
                      <a:pt x="3326778" y="1463899"/>
                      <a:pt x="3327229" y="1467509"/>
                      <a:pt x="3323618" y="1472247"/>
                    </a:cubicBezTo>
                    <a:cubicBezTo>
                      <a:pt x="3321362" y="1474955"/>
                      <a:pt x="3320459" y="1476986"/>
                      <a:pt x="3319331" y="1479017"/>
                    </a:cubicBezTo>
                    <a:cubicBezTo>
                      <a:pt x="3318203" y="1481499"/>
                      <a:pt x="3316849" y="1483981"/>
                      <a:pt x="3313690" y="1487366"/>
                    </a:cubicBezTo>
                    <a:cubicBezTo>
                      <a:pt x="3308726" y="1492781"/>
                      <a:pt x="3304213" y="1497294"/>
                      <a:pt x="3299700" y="1501130"/>
                    </a:cubicBezTo>
                    <a:cubicBezTo>
                      <a:pt x="3295639" y="1504515"/>
                      <a:pt x="3285710" y="1509479"/>
                      <a:pt x="3281874" y="1510833"/>
                    </a:cubicBezTo>
                    <a:cubicBezTo>
                      <a:pt x="3281423" y="1511059"/>
                      <a:pt x="3281423" y="1511059"/>
                      <a:pt x="3281423" y="1511059"/>
                    </a:cubicBezTo>
                    <a:cubicBezTo>
                      <a:pt x="3281197" y="1511284"/>
                      <a:pt x="3281423" y="1512412"/>
                      <a:pt x="3281423" y="1513090"/>
                    </a:cubicBezTo>
                    <a:cubicBezTo>
                      <a:pt x="3281423" y="1515120"/>
                      <a:pt x="3281648" y="1518054"/>
                      <a:pt x="3280294" y="1521890"/>
                    </a:cubicBezTo>
                    <a:cubicBezTo>
                      <a:pt x="3279843" y="1523469"/>
                      <a:pt x="3279392" y="1524597"/>
                      <a:pt x="3278941" y="1525726"/>
                    </a:cubicBezTo>
                    <a:cubicBezTo>
                      <a:pt x="3277361" y="1530238"/>
                      <a:pt x="3276684" y="1531592"/>
                      <a:pt x="3279166" y="1537008"/>
                    </a:cubicBezTo>
                    <a:cubicBezTo>
                      <a:pt x="3282100" y="1543326"/>
                      <a:pt x="3287967" y="1546936"/>
                      <a:pt x="3292480" y="1549870"/>
                    </a:cubicBezTo>
                    <a:lnTo>
                      <a:pt x="3293833" y="1550772"/>
                    </a:lnTo>
                    <a:cubicBezTo>
                      <a:pt x="3297669" y="1553254"/>
                      <a:pt x="3295639" y="1558444"/>
                      <a:pt x="3293156" y="1565214"/>
                    </a:cubicBezTo>
                    <a:cubicBezTo>
                      <a:pt x="3290900" y="1571081"/>
                      <a:pt x="3288418" y="1578301"/>
                      <a:pt x="3288418" y="1585973"/>
                    </a:cubicBezTo>
                    <a:cubicBezTo>
                      <a:pt x="3288418" y="1599286"/>
                      <a:pt x="3283228" y="1608312"/>
                      <a:pt x="3278941" y="1615758"/>
                    </a:cubicBezTo>
                    <a:cubicBezTo>
                      <a:pt x="3277812" y="1617564"/>
                      <a:pt x="3276910" y="1619369"/>
                      <a:pt x="3276007" y="1621174"/>
                    </a:cubicBezTo>
                    <a:cubicBezTo>
                      <a:pt x="3272848" y="1627718"/>
                      <a:pt x="3271494" y="1631328"/>
                      <a:pt x="3268561" y="1639451"/>
                    </a:cubicBezTo>
                    <a:cubicBezTo>
                      <a:pt x="3267658" y="1641708"/>
                      <a:pt x="3266756" y="1644416"/>
                      <a:pt x="3265628" y="1647800"/>
                    </a:cubicBezTo>
                    <a:cubicBezTo>
                      <a:pt x="3264274" y="1651862"/>
                      <a:pt x="3262017" y="1656600"/>
                      <a:pt x="3259535" y="1661565"/>
                    </a:cubicBezTo>
                    <a:cubicBezTo>
                      <a:pt x="3254571" y="1671719"/>
                      <a:pt x="3248930" y="1683227"/>
                      <a:pt x="3249607" y="1691350"/>
                    </a:cubicBezTo>
                    <a:cubicBezTo>
                      <a:pt x="3249832" y="1693381"/>
                      <a:pt x="3250058" y="1695186"/>
                      <a:pt x="3250283" y="1697217"/>
                    </a:cubicBezTo>
                    <a:cubicBezTo>
                      <a:pt x="3250960" y="1702181"/>
                      <a:pt x="3251863" y="1707371"/>
                      <a:pt x="3250509" y="1712561"/>
                    </a:cubicBezTo>
                    <a:cubicBezTo>
                      <a:pt x="3247350" y="1724971"/>
                      <a:pt x="3233811" y="1731289"/>
                      <a:pt x="3221852" y="1731289"/>
                    </a:cubicBezTo>
                    <a:cubicBezTo>
                      <a:pt x="3221852" y="1731289"/>
                      <a:pt x="3221627" y="1731289"/>
                      <a:pt x="3221627" y="1731289"/>
                    </a:cubicBezTo>
                    <a:cubicBezTo>
                      <a:pt x="3211924" y="1731289"/>
                      <a:pt x="3202898" y="1727905"/>
                      <a:pt x="3194098" y="1724971"/>
                    </a:cubicBezTo>
                    <a:cubicBezTo>
                      <a:pt x="3192067" y="1724294"/>
                      <a:pt x="3189810" y="1723392"/>
                      <a:pt x="3187780" y="1722715"/>
                    </a:cubicBezTo>
                    <a:cubicBezTo>
                      <a:pt x="3183718" y="1721361"/>
                      <a:pt x="3178754" y="1720007"/>
                      <a:pt x="3174466" y="1721135"/>
                    </a:cubicBezTo>
                    <a:cubicBezTo>
                      <a:pt x="3172887" y="1721586"/>
                      <a:pt x="3171307" y="1722263"/>
                      <a:pt x="3169502" y="1723166"/>
                    </a:cubicBezTo>
                    <a:cubicBezTo>
                      <a:pt x="3166343" y="1724745"/>
                      <a:pt x="3162959" y="1726325"/>
                      <a:pt x="3159348" y="1725648"/>
                    </a:cubicBezTo>
                    <a:cubicBezTo>
                      <a:pt x="3155061" y="1724971"/>
                      <a:pt x="3152128" y="1721586"/>
                      <a:pt x="3149420" y="1718879"/>
                    </a:cubicBezTo>
                    <a:cubicBezTo>
                      <a:pt x="3148969" y="1718427"/>
                      <a:pt x="3148517" y="1717976"/>
                      <a:pt x="3148066" y="1717525"/>
                    </a:cubicBezTo>
                    <a:cubicBezTo>
                      <a:pt x="3145584" y="1715043"/>
                      <a:pt x="3141748" y="1712561"/>
                      <a:pt x="3138815" y="1713914"/>
                    </a:cubicBezTo>
                    <a:cubicBezTo>
                      <a:pt x="3134076" y="1716397"/>
                      <a:pt x="3138137" y="1725422"/>
                      <a:pt x="3139717" y="1728356"/>
                    </a:cubicBezTo>
                    <a:cubicBezTo>
                      <a:pt x="3155061" y="1758141"/>
                      <a:pt x="3155061" y="1812296"/>
                      <a:pt x="3139943" y="1841856"/>
                    </a:cubicBezTo>
                    <a:cubicBezTo>
                      <a:pt x="3137912" y="1845918"/>
                      <a:pt x="3135204" y="1849979"/>
                      <a:pt x="3132948" y="1853815"/>
                    </a:cubicBezTo>
                    <a:cubicBezTo>
                      <a:pt x="3129337" y="1859682"/>
                      <a:pt x="3125727" y="1865549"/>
                      <a:pt x="3123245" y="1871867"/>
                    </a:cubicBezTo>
                    <a:cubicBezTo>
                      <a:pt x="3120086" y="1879764"/>
                      <a:pt x="3121665" y="1884954"/>
                      <a:pt x="3123470" y="1890821"/>
                    </a:cubicBezTo>
                    <a:cubicBezTo>
                      <a:pt x="3124599" y="1894206"/>
                      <a:pt x="3125501" y="1897816"/>
                      <a:pt x="3125953" y="1902329"/>
                    </a:cubicBezTo>
                    <a:cubicBezTo>
                      <a:pt x="3126178" y="1905714"/>
                      <a:pt x="3125501" y="1908873"/>
                      <a:pt x="3124824" y="1911806"/>
                    </a:cubicBezTo>
                    <a:cubicBezTo>
                      <a:pt x="3123696" y="1917447"/>
                      <a:pt x="3122568" y="1921960"/>
                      <a:pt x="3127306" y="1926699"/>
                    </a:cubicBezTo>
                    <a:cubicBezTo>
                      <a:pt x="3132271" y="1931663"/>
                      <a:pt x="3136107" y="1937530"/>
                      <a:pt x="3137235" y="1942043"/>
                    </a:cubicBezTo>
                    <a:lnTo>
                      <a:pt x="3137460" y="1942945"/>
                    </a:lnTo>
                    <a:cubicBezTo>
                      <a:pt x="3138363" y="1946330"/>
                      <a:pt x="3139491" y="1950843"/>
                      <a:pt x="3135881" y="1955807"/>
                    </a:cubicBezTo>
                    <a:cubicBezTo>
                      <a:pt x="3134978" y="1957161"/>
                      <a:pt x="3135881" y="1958966"/>
                      <a:pt x="3137460" y="1961674"/>
                    </a:cubicBezTo>
                    <a:cubicBezTo>
                      <a:pt x="3139040" y="1964382"/>
                      <a:pt x="3141297" y="1968443"/>
                      <a:pt x="3137235" y="1970925"/>
                    </a:cubicBezTo>
                    <a:cubicBezTo>
                      <a:pt x="3136332" y="1971377"/>
                      <a:pt x="3135656" y="1971828"/>
                      <a:pt x="3134753" y="1972279"/>
                    </a:cubicBezTo>
                    <a:cubicBezTo>
                      <a:pt x="3131142" y="1974310"/>
                      <a:pt x="3129789" y="1975213"/>
                      <a:pt x="3129112" y="1978146"/>
                    </a:cubicBezTo>
                    <a:cubicBezTo>
                      <a:pt x="3128209" y="1982208"/>
                      <a:pt x="3126629" y="1986269"/>
                      <a:pt x="3124824" y="1990331"/>
                    </a:cubicBezTo>
                    <a:lnTo>
                      <a:pt x="3123696" y="1993039"/>
                    </a:lnTo>
                    <a:cubicBezTo>
                      <a:pt x="3123470" y="1993716"/>
                      <a:pt x="3123245" y="1994167"/>
                      <a:pt x="3123019" y="1994844"/>
                    </a:cubicBezTo>
                    <a:cubicBezTo>
                      <a:pt x="3121891" y="1997777"/>
                      <a:pt x="3120763" y="2000936"/>
                      <a:pt x="3117829" y="2002290"/>
                    </a:cubicBezTo>
                    <a:cubicBezTo>
                      <a:pt x="3116024" y="2002967"/>
                      <a:pt x="3113768" y="2002741"/>
                      <a:pt x="3111286" y="2001613"/>
                    </a:cubicBezTo>
                    <a:cubicBezTo>
                      <a:pt x="3105645" y="1998906"/>
                      <a:pt x="3099327" y="1995972"/>
                      <a:pt x="3097521" y="1995521"/>
                    </a:cubicBezTo>
                    <a:cubicBezTo>
                      <a:pt x="3095490" y="1995069"/>
                      <a:pt x="3095265" y="1993264"/>
                      <a:pt x="3095265" y="1992587"/>
                    </a:cubicBezTo>
                    <a:cubicBezTo>
                      <a:pt x="3095265" y="1992136"/>
                      <a:pt x="3095265" y="1991685"/>
                      <a:pt x="3093234" y="1991233"/>
                    </a:cubicBezTo>
                    <a:cubicBezTo>
                      <a:pt x="3090977" y="1990557"/>
                      <a:pt x="3089624" y="1989654"/>
                      <a:pt x="3088721" y="1989203"/>
                    </a:cubicBezTo>
                    <a:cubicBezTo>
                      <a:pt x="3087818" y="1988526"/>
                      <a:pt x="3087818" y="1988526"/>
                      <a:pt x="3086690" y="1989203"/>
                    </a:cubicBezTo>
                    <a:cubicBezTo>
                      <a:pt x="3086013" y="1989654"/>
                      <a:pt x="3085562" y="1990331"/>
                      <a:pt x="3084885" y="1991685"/>
                    </a:cubicBezTo>
                    <a:cubicBezTo>
                      <a:pt x="3083757" y="1993941"/>
                      <a:pt x="3082403" y="1996875"/>
                      <a:pt x="3077664" y="1999582"/>
                    </a:cubicBezTo>
                    <a:cubicBezTo>
                      <a:pt x="3074280" y="2001388"/>
                      <a:pt x="3072023" y="2000485"/>
                      <a:pt x="3070443" y="1999582"/>
                    </a:cubicBezTo>
                    <a:cubicBezTo>
                      <a:pt x="3066156" y="1996875"/>
                      <a:pt x="3064577" y="1989428"/>
                      <a:pt x="3065028" y="1983110"/>
                    </a:cubicBezTo>
                    <a:cubicBezTo>
                      <a:pt x="3065254" y="1979725"/>
                      <a:pt x="3064351" y="1978146"/>
                      <a:pt x="3062997" y="1976115"/>
                    </a:cubicBezTo>
                    <a:cubicBezTo>
                      <a:pt x="3061418" y="1973407"/>
                      <a:pt x="3059387" y="1969797"/>
                      <a:pt x="3059387" y="1962125"/>
                    </a:cubicBezTo>
                    <a:cubicBezTo>
                      <a:pt x="3059387" y="1955807"/>
                      <a:pt x="3058710" y="1952648"/>
                      <a:pt x="3057807" y="1949489"/>
                    </a:cubicBezTo>
                    <a:cubicBezTo>
                      <a:pt x="3056905" y="1946104"/>
                      <a:pt x="3056002" y="1942720"/>
                      <a:pt x="3056002" y="1935950"/>
                    </a:cubicBezTo>
                    <a:cubicBezTo>
                      <a:pt x="3056002" y="1927827"/>
                      <a:pt x="3051264" y="1919704"/>
                      <a:pt x="3046751" y="1912032"/>
                    </a:cubicBezTo>
                    <a:cubicBezTo>
                      <a:pt x="3044946" y="1908647"/>
                      <a:pt x="3043140" y="1905488"/>
                      <a:pt x="3041561" y="1902555"/>
                    </a:cubicBezTo>
                    <a:cubicBezTo>
                      <a:pt x="3031181" y="1880667"/>
                      <a:pt x="3024863" y="1861487"/>
                      <a:pt x="3021253" y="1842081"/>
                    </a:cubicBezTo>
                    <a:cubicBezTo>
                      <a:pt x="3020801" y="1839148"/>
                      <a:pt x="3020350" y="1835763"/>
                      <a:pt x="3021478" y="1832830"/>
                    </a:cubicBezTo>
                    <a:cubicBezTo>
                      <a:pt x="3022155" y="1831025"/>
                      <a:pt x="3023509" y="1829671"/>
                      <a:pt x="3025314" y="1828768"/>
                    </a:cubicBezTo>
                    <a:cubicBezTo>
                      <a:pt x="3017642" y="1819517"/>
                      <a:pt x="3008842" y="1795373"/>
                      <a:pt x="3010422" y="1787475"/>
                    </a:cubicBezTo>
                    <a:cubicBezTo>
                      <a:pt x="3010647" y="1785896"/>
                      <a:pt x="3011099" y="1784316"/>
                      <a:pt x="3011550" y="1782962"/>
                    </a:cubicBezTo>
                    <a:cubicBezTo>
                      <a:pt x="3012001" y="1781383"/>
                      <a:pt x="3012453" y="1779352"/>
                      <a:pt x="3012227" y="1778675"/>
                    </a:cubicBezTo>
                    <a:cubicBezTo>
                      <a:pt x="3012227" y="1778675"/>
                      <a:pt x="3012001" y="1778675"/>
                      <a:pt x="3011776" y="1778675"/>
                    </a:cubicBezTo>
                    <a:cubicBezTo>
                      <a:pt x="3011550" y="1778675"/>
                      <a:pt x="3010873" y="1778675"/>
                      <a:pt x="3010196" y="1778901"/>
                    </a:cubicBezTo>
                    <a:cubicBezTo>
                      <a:pt x="3007940" y="1779126"/>
                      <a:pt x="3006360" y="1779577"/>
                      <a:pt x="3004781" y="1780029"/>
                    </a:cubicBezTo>
                    <a:cubicBezTo>
                      <a:pt x="3001847" y="1780931"/>
                      <a:pt x="2999140" y="1781608"/>
                      <a:pt x="2996883" y="1779352"/>
                    </a:cubicBezTo>
                    <a:cubicBezTo>
                      <a:pt x="2996206" y="1778675"/>
                      <a:pt x="2995755" y="1778224"/>
                      <a:pt x="2995304" y="1777547"/>
                    </a:cubicBezTo>
                    <a:cubicBezTo>
                      <a:pt x="2995304" y="1777321"/>
                      <a:pt x="2995078" y="1777321"/>
                      <a:pt x="2994852" y="1777095"/>
                    </a:cubicBezTo>
                    <a:cubicBezTo>
                      <a:pt x="2994627" y="1777321"/>
                      <a:pt x="2994175" y="1777772"/>
                      <a:pt x="2993273" y="1778675"/>
                    </a:cubicBezTo>
                    <a:cubicBezTo>
                      <a:pt x="2989211" y="1783865"/>
                      <a:pt x="2984698" y="1784542"/>
                      <a:pt x="2981539" y="1784542"/>
                    </a:cubicBezTo>
                    <a:cubicBezTo>
                      <a:pt x="2980411" y="1784542"/>
                      <a:pt x="2979283" y="1784090"/>
                      <a:pt x="2978380" y="1783639"/>
                    </a:cubicBezTo>
                    <a:cubicBezTo>
                      <a:pt x="2976124" y="1782737"/>
                      <a:pt x="2974770" y="1782285"/>
                      <a:pt x="2972965" y="1784993"/>
                    </a:cubicBezTo>
                    <a:cubicBezTo>
                      <a:pt x="2970257" y="1789055"/>
                      <a:pt x="2970257" y="1789731"/>
                      <a:pt x="2971159" y="1794019"/>
                    </a:cubicBezTo>
                    <a:cubicBezTo>
                      <a:pt x="2971385" y="1794696"/>
                      <a:pt x="2971611" y="1795598"/>
                      <a:pt x="2971836" y="1796727"/>
                    </a:cubicBezTo>
                    <a:cubicBezTo>
                      <a:pt x="2972062" y="1797629"/>
                      <a:pt x="2972288" y="1798306"/>
                      <a:pt x="2972288" y="1799209"/>
                    </a:cubicBezTo>
                    <a:cubicBezTo>
                      <a:pt x="2973641" y="1804850"/>
                      <a:pt x="2974544" y="1808911"/>
                      <a:pt x="2968000" y="1815455"/>
                    </a:cubicBezTo>
                    <a:cubicBezTo>
                      <a:pt x="2966646" y="1816809"/>
                      <a:pt x="2965518" y="1817937"/>
                      <a:pt x="2964390" y="1819066"/>
                    </a:cubicBezTo>
                    <a:cubicBezTo>
                      <a:pt x="2960103" y="1823127"/>
                      <a:pt x="2958298" y="1824932"/>
                      <a:pt x="2958298" y="1829220"/>
                    </a:cubicBezTo>
                    <a:cubicBezTo>
                      <a:pt x="2958298" y="1831927"/>
                      <a:pt x="2959200" y="1834410"/>
                      <a:pt x="2960103" y="1837117"/>
                    </a:cubicBezTo>
                    <a:cubicBezTo>
                      <a:pt x="2961231" y="1840728"/>
                      <a:pt x="2962585" y="1844338"/>
                      <a:pt x="2962134" y="1848625"/>
                    </a:cubicBezTo>
                    <a:cubicBezTo>
                      <a:pt x="2961231" y="1855620"/>
                      <a:pt x="2957846" y="1866677"/>
                      <a:pt x="2955816" y="1870739"/>
                    </a:cubicBezTo>
                    <a:cubicBezTo>
                      <a:pt x="2953784" y="1874574"/>
                      <a:pt x="2952882" y="1876154"/>
                      <a:pt x="2947466" y="1882021"/>
                    </a:cubicBezTo>
                    <a:cubicBezTo>
                      <a:pt x="2946338" y="1883149"/>
                      <a:pt x="2945661" y="1884277"/>
                      <a:pt x="2944984" y="1884954"/>
                    </a:cubicBezTo>
                    <a:cubicBezTo>
                      <a:pt x="2942277" y="1888339"/>
                      <a:pt x="2941374" y="1888565"/>
                      <a:pt x="2936410" y="1887888"/>
                    </a:cubicBezTo>
                    <a:lnTo>
                      <a:pt x="2935056" y="1887662"/>
                    </a:lnTo>
                    <a:cubicBezTo>
                      <a:pt x="2930317" y="1886985"/>
                      <a:pt x="2927384" y="1886308"/>
                      <a:pt x="2922871" y="1881118"/>
                    </a:cubicBezTo>
                    <a:cubicBezTo>
                      <a:pt x="2919261" y="1876605"/>
                      <a:pt x="2920389" y="1871415"/>
                      <a:pt x="2921066" y="1868031"/>
                    </a:cubicBezTo>
                    <a:cubicBezTo>
                      <a:pt x="2921292" y="1866902"/>
                      <a:pt x="2921517" y="1866000"/>
                      <a:pt x="2921517" y="1865323"/>
                    </a:cubicBezTo>
                    <a:cubicBezTo>
                      <a:pt x="2921517" y="1864646"/>
                      <a:pt x="2919938" y="1863518"/>
                      <a:pt x="2918810" y="1862615"/>
                    </a:cubicBezTo>
                    <a:cubicBezTo>
                      <a:pt x="2916779" y="1861261"/>
                      <a:pt x="2914748" y="1859682"/>
                      <a:pt x="2914748" y="1857200"/>
                    </a:cubicBezTo>
                    <a:cubicBezTo>
                      <a:pt x="2914748" y="1855395"/>
                      <a:pt x="2914296" y="1854943"/>
                      <a:pt x="2911363" y="1853138"/>
                    </a:cubicBezTo>
                    <a:cubicBezTo>
                      <a:pt x="2908204" y="1851559"/>
                      <a:pt x="2906850" y="1851559"/>
                      <a:pt x="2906399" y="1851784"/>
                    </a:cubicBezTo>
                    <a:cubicBezTo>
                      <a:pt x="2906173" y="1851784"/>
                      <a:pt x="2905948" y="1852010"/>
                      <a:pt x="2905496" y="1852461"/>
                    </a:cubicBezTo>
                    <a:cubicBezTo>
                      <a:pt x="2904819" y="1854041"/>
                      <a:pt x="2904819" y="1854492"/>
                      <a:pt x="2905271" y="1856072"/>
                    </a:cubicBezTo>
                    <a:cubicBezTo>
                      <a:pt x="2905496" y="1856974"/>
                      <a:pt x="2905722" y="1858102"/>
                      <a:pt x="2905722" y="1859682"/>
                    </a:cubicBezTo>
                    <a:cubicBezTo>
                      <a:pt x="2906173" y="1864646"/>
                      <a:pt x="2903240" y="1870287"/>
                      <a:pt x="2902112" y="1871415"/>
                    </a:cubicBezTo>
                    <a:lnTo>
                      <a:pt x="2901209" y="1872318"/>
                    </a:lnTo>
                    <a:lnTo>
                      <a:pt x="2899630" y="1871867"/>
                    </a:lnTo>
                    <a:cubicBezTo>
                      <a:pt x="2897147" y="1870964"/>
                      <a:pt x="2893763" y="1863292"/>
                      <a:pt x="2893537" y="1859231"/>
                    </a:cubicBezTo>
                    <a:cubicBezTo>
                      <a:pt x="2893311" y="1856297"/>
                      <a:pt x="2893311" y="1851559"/>
                      <a:pt x="2893311" y="1845692"/>
                    </a:cubicBezTo>
                    <a:cubicBezTo>
                      <a:pt x="2893086" y="1845240"/>
                      <a:pt x="2892183" y="1844564"/>
                      <a:pt x="2891506" y="1844112"/>
                    </a:cubicBezTo>
                    <a:cubicBezTo>
                      <a:pt x="2889476" y="1842307"/>
                      <a:pt x="2886542" y="1839825"/>
                      <a:pt x="2885188" y="1836440"/>
                    </a:cubicBezTo>
                    <a:cubicBezTo>
                      <a:pt x="2884737" y="1835312"/>
                      <a:pt x="2884286" y="1834184"/>
                      <a:pt x="2883834" y="1833507"/>
                    </a:cubicBezTo>
                    <a:cubicBezTo>
                      <a:pt x="2882706" y="1830799"/>
                      <a:pt x="2882029" y="1829220"/>
                      <a:pt x="2882706" y="1825384"/>
                    </a:cubicBezTo>
                    <a:cubicBezTo>
                      <a:pt x="2883157" y="1823804"/>
                      <a:pt x="2881803" y="1821999"/>
                      <a:pt x="2879773" y="1819968"/>
                    </a:cubicBezTo>
                    <a:cubicBezTo>
                      <a:pt x="2878419" y="1818614"/>
                      <a:pt x="2877291" y="1817486"/>
                      <a:pt x="2876839" y="1815907"/>
                    </a:cubicBezTo>
                    <a:cubicBezTo>
                      <a:pt x="2876614" y="1815004"/>
                      <a:pt x="2875485" y="1813424"/>
                      <a:pt x="2874583" y="1812071"/>
                    </a:cubicBezTo>
                    <a:cubicBezTo>
                      <a:pt x="2872778" y="1809588"/>
                      <a:pt x="2871198" y="1807106"/>
                      <a:pt x="2871198" y="1804850"/>
                    </a:cubicBezTo>
                    <a:cubicBezTo>
                      <a:pt x="2871198" y="1804173"/>
                      <a:pt x="2870972" y="1803045"/>
                      <a:pt x="2870521" y="1801916"/>
                    </a:cubicBezTo>
                    <a:cubicBezTo>
                      <a:pt x="2869619" y="1798757"/>
                      <a:pt x="2868716" y="1794696"/>
                      <a:pt x="2870747" y="1791085"/>
                    </a:cubicBezTo>
                    <a:cubicBezTo>
                      <a:pt x="2871875" y="1789280"/>
                      <a:pt x="2871424" y="1784993"/>
                      <a:pt x="2871198" y="1781383"/>
                    </a:cubicBezTo>
                    <a:cubicBezTo>
                      <a:pt x="2870972" y="1777095"/>
                      <a:pt x="2870747" y="1773259"/>
                      <a:pt x="2872101" y="1771229"/>
                    </a:cubicBezTo>
                    <a:cubicBezTo>
                      <a:pt x="2872778" y="1770326"/>
                      <a:pt x="2873003" y="1768746"/>
                      <a:pt x="2873229" y="1767167"/>
                    </a:cubicBezTo>
                    <a:cubicBezTo>
                      <a:pt x="2873680" y="1764685"/>
                      <a:pt x="2874132" y="1761977"/>
                      <a:pt x="2876614" y="1760398"/>
                    </a:cubicBezTo>
                    <a:cubicBezTo>
                      <a:pt x="2877968" y="1759495"/>
                      <a:pt x="2879321" y="1759269"/>
                      <a:pt x="2880224" y="1759044"/>
                    </a:cubicBezTo>
                    <a:cubicBezTo>
                      <a:pt x="2881803" y="1758592"/>
                      <a:pt x="2882255" y="1758592"/>
                      <a:pt x="2882706" y="1756787"/>
                    </a:cubicBezTo>
                    <a:cubicBezTo>
                      <a:pt x="2882932" y="1755659"/>
                      <a:pt x="2883157" y="1754305"/>
                      <a:pt x="2883157" y="1753177"/>
                    </a:cubicBezTo>
                    <a:cubicBezTo>
                      <a:pt x="2883383" y="1750018"/>
                      <a:pt x="2883834" y="1746859"/>
                      <a:pt x="2886768" y="1744151"/>
                    </a:cubicBezTo>
                    <a:cubicBezTo>
                      <a:pt x="2888122" y="1742797"/>
                      <a:pt x="2888799" y="1742120"/>
                      <a:pt x="2889476" y="1741218"/>
                    </a:cubicBezTo>
                    <a:cubicBezTo>
                      <a:pt x="2890604" y="1740089"/>
                      <a:pt x="2891506" y="1738961"/>
                      <a:pt x="2893988" y="1737156"/>
                    </a:cubicBezTo>
                    <a:cubicBezTo>
                      <a:pt x="2895794" y="1735802"/>
                      <a:pt x="2896245" y="1734448"/>
                      <a:pt x="2896922" y="1733094"/>
                    </a:cubicBezTo>
                    <a:cubicBezTo>
                      <a:pt x="2897599" y="1731740"/>
                      <a:pt x="2898276" y="1729935"/>
                      <a:pt x="2900306" y="1729484"/>
                    </a:cubicBezTo>
                    <a:lnTo>
                      <a:pt x="2901660" y="1729033"/>
                    </a:lnTo>
                    <a:cubicBezTo>
                      <a:pt x="2904368" y="1728356"/>
                      <a:pt x="2908655" y="1727228"/>
                      <a:pt x="2912943" y="1727453"/>
                    </a:cubicBezTo>
                    <a:cubicBezTo>
                      <a:pt x="2917230" y="1727679"/>
                      <a:pt x="2922646" y="1726551"/>
                      <a:pt x="2925353" y="1722715"/>
                    </a:cubicBezTo>
                    <a:cubicBezTo>
                      <a:pt x="2926256" y="1721361"/>
                      <a:pt x="2926933" y="1719556"/>
                      <a:pt x="2927384" y="1717751"/>
                    </a:cubicBezTo>
                    <a:cubicBezTo>
                      <a:pt x="2928512" y="1714140"/>
                      <a:pt x="2929866" y="1709853"/>
                      <a:pt x="2935056" y="1708950"/>
                    </a:cubicBezTo>
                    <a:cubicBezTo>
                      <a:pt x="2938441" y="1708499"/>
                      <a:pt x="2940923" y="1709402"/>
                      <a:pt x="2943179" y="1710304"/>
                    </a:cubicBezTo>
                    <a:cubicBezTo>
                      <a:pt x="2945436" y="1711207"/>
                      <a:pt x="2946338" y="1711432"/>
                      <a:pt x="2947015" y="1710755"/>
                    </a:cubicBezTo>
                    <a:cubicBezTo>
                      <a:pt x="2948369" y="1709627"/>
                      <a:pt x="2949723" y="1708725"/>
                      <a:pt x="2951077" y="1707822"/>
                    </a:cubicBezTo>
                    <a:cubicBezTo>
                      <a:pt x="2952882" y="1706694"/>
                      <a:pt x="2954913" y="1705340"/>
                      <a:pt x="2955139" y="1704212"/>
                    </a:cubicBezTo>
                    <a:cubicBezTo>
                      <a:pt x="2955364" y="1703309"/>
                      <a:pt x="2954913" y="1701729"/>
                      <a:pt x="2954687" y="1700376"/>
                    </a:cubicBezTo>
                    <a:cubicBezTo>
                      <a:pt x="2954010" y="1697442"/>
                      <a:pt x="2953333" y="1694058"/>
                      <a:pt x="2955139" y="1691124"/>
                    </a:cubicBezTo>
                    <a:cubicBezTo>
                      <a:pt x="2957395" y="1687063"/>
                      <a:pt x="2962585" y="1682324"/>
                      <a:pt x="2969580" y="1682098"/>
                    </a:cubicBezTo>
                    <a:cubicBezTo>
                      <a:pt x="2971159" y="1682098"/>
                      <a:pt x="2972739" y="1682098"/>
                      <a:pt x="2974093" y="1682098"/>
                    </a:cubicBezTo>
                    <a:cubicBezTo>
                      <a:pt x="2977477" y="1682098"/>
                      <a:pt x="2978831" y="1682098"/>
                      <a:pt x="2979960" y="1680744"/>
                    </a:cubicBezTo>
                    <a:cubicBezTo>
                      <a:pt x="2982216" y="1677811"/>
                      <a:pt x="2982442" y="1677360"/>
                      <a:pt x="2984021" y="1673073"/>
                    </a:cubicBezTo>
                    <a:cubicBezTo>
                      <a:pt x="2985826" y="1668334"/>
                      <a:pt x="2989437" y="1664272"/>
                      <a:pt x="2990790" y="1663370"/>
                    </a:cubicBezTo>
                    <a:cubicBezTo>
                      <a:pt x="2991242" y="1662693"/>
                      <a:pt x="2992596" y="1657277"/>
                      <a:pt x="2992596" y="1656149"/>
                    </a:cubicBezTo>
                    <a:cubicBezTo>
                      <a:pt x="2992596" y="1655923"/>
                      <a:pt x="2992370" y="1655472"/>
                      <a:pt x="2991919" y="1654795"/>
                    </a:cubicBezTo>
                    <a:cubicBezTo>
                      <a:pt x="2990339" y="1650959"/>
                      <a:pt x="2987180" y="1643964"/>
                      <a:pt x="2990565" y="1639451"/>
                    </a:cubicBezTo>
                    <a:cubicBezTo>
                      <a:pt x="2993047" y="1636067"/>
                      <a:pt x="2992370" y="1632908"/>
                      <a:pt x="2991919" y="1630200"/>
                    </a:cubicBezTo>
                    <a:cubicBezTo>
                      <a:pt x="2991919" y="1629523"/>
                      <a:pt x="2991693" y="1629072"/>
                      <a:pt x="2991693" y="1628620"/>
                    </a:cubicBezTo>
                    <a:cubicBezTo>
                      <a:pt x="2991693" y="1627943"/>
                      <a:pt x="2991467" y="1627266"/>
                      <a:pt x="2991242" y="1626815"/>
                    </a:cubicBezTo>
                    <a:cubicBezTo>
                      <a:pt x="2990790" y="1624784"/>
                      <a:pt x="2990339" y="1622302"/>
                      <a:pt x="2991016" y="1616887"/>
                    </a:cubicBezTo>
                    <a:cubicBezTo>
                      <a:pt x="2991693" y="1611471"/>
                      <a:pt x="2995078" y="1608312"/>
                      <a:pt x="2997786" y="1607409"/>
                    </a:cubicBezTo>
                    <a:cubicBezTo>
                      <a:pt x="2999816" y="1606732"/>
                      <a:pt x="3001847" y="1607184"/>
                      <a:pt x="3002976" y="1608763"/>
                    </a:cubicBezTo>
                    <a:cubicBezTo>
                      <a:pt x="3003652" y="1609440"/>
                      <a:pt x="3004104" y="1610343"/>
                      <a:pt x="3004781" y="1611246"/>
                    </a:cubicBezTo>
                    <a:cubicBezTo>
                      <a:pt x="3005458" y="1612374"/>
                      <a:pt x="3007037" y="1614405"/>
                      <a:pt x="3007488" y="1614630"/>
                    </a:cubicBezTo>
                    <a:cubicBezTo>
                      <a:pt x="3008391" y="1613728"/>
                      <a:pt x="3010196" y="1612825"/>
                      <a:pt x="3012001" y="1611922"/>
                    </a:cubicBezTo>
                    <a:cubicBezTo>
                      <a:pt x="3013806" y="1611020"/>
                      <a:pt x="3017417" y="1609440"/>
                      <a:pt x="3017417" y="1608312"/>
                    </a:cubicBezTo>
                    <a:cubicBezTo>
                      <a:pt x="3017417" y="1606732"/>
                      <a:pt x="3014258" y="1602445"/>
                      <a:pt x="3012678" y="1599963"/>
                    </a:cubicBezTo>
                    <a:cubicBezTo>
                      <a:pt x="3010873" y="1597481"/>
                      <a:pt x="3010196" y="1596353"/>
                      <a:pt x="3009970" y="1595450"/>
                    </a:cubicBezTo>
                    <a:cubicBezTo>
                      <a:pt x="3009970" y="1594999"/>
                      <a:pt x="3009745" y="1594322"/>
                      <a:pt x="3009294" y="1593871"/>
                    </a:cubicBezTo>
                    <a:cubicBezTo>
                      <a:pt x="3008842" y="1592517"/>
                      <a:pt x="3008165" y="1591163"/>
                      <a:pt x="3007940" y="1589132"/>
                    </a:cubicBezTo>
                    <a:cubicBezTo>
                      <a:pt x="3007263" y="1588681"/>
                      <a:pt x="3003427" y="1588906"/>
                      <a:pt x="3001170" y="1589132"/>
                    </a:cubicBezTo>
                    <a:cubicBezTo>
                      <a:pt x="2999816" y="1589132"/>
                      <a:pt x="2998688" y="1589358"/>
                      <a:pt x="2997560" y="1589358"/>
                    </a:cubicBezTo>
                    <a:cubicBezTo>
                      <a:pt x="2992370" y="1589358"/>
                      <a:pt x="2984472" y="1586424"/>
                      <a:pt x="2981088" y="1584619"/>
                    </a:cubicBezTo>
                    <a:cubicBezTo>
                      <a:pt x="2979960" y="1583942"/>
                      <a:pt x="2979057" y="1583265"/>
                      <a:pt x="2977929" y="1582363"/>
                    </a:cubicBezTo>
                    <a:cubicBezTo>
                      <a:pt x="2975221" y="1580332"/>
                      <a:pt x="2972288" y="1577850"/>
                      <a:pt x="2967775" y="1577850"/>
                    </a:cubicBezTo>
                    <a:cubicBezTo>
                      <a:pt x="2964841" y="1577850"/>
                      <a:pt x="2962359" y="1576722"/>
                      <a:pt x="2960328" y="1575819"/>
                    </a:cubicBezTo>
                    <a:cubicBezTo>
                      <a:pt x="2957169" y="1574465"/>
                      <a:pt x="2955139" y="1573562"/>
                      <a:pt x="2951528" y="1576496"/>
                    </a:cubicBezTo>
                    <a:cubicBezTo>
                      <a:pt x="2944759" y="1581911"/>
                      <a:pt x="2935507" y="1587101"/>
                      <a:pt x="2930543" y="1585747"/>
                    </a:cubicBezTo>
                    <a:cubicBezTo>
                      <a:pt x="2927384" y="1584845"/>
                      <a:pt x="2925128" y="1585296"/>
                      <a:pt x="2921969" y="1586876"/>
                    </a:cubicBezTo>
                    <a:cubicBezTo>
                      <a:pt x="2919712" y="1588230"/>
                      <a:pt x="2917230" y="1587553"/>
                      <a:pt x="2914296" y="1587101"/>
                    </a:cubicBezTo>
                    <a:cubicBezTo>
                      <a:pt x="2911589" y="1586650"/>
                      <a:pt x="2908430" y="1585747"/>
                      <a:pt x="2904142" y="1586199"/>
                    </a:cubicBezTo>
                    <a:lnTo>
                      <a:pt x="2903240" y="1586199"/>
                    </a:lnTo>
                    <a:cubicBezTo>
                      <a:pt x="2895342" y="1587101"/>
                      <a:pt x="2893537" y="1587327"/>
                      <a:pt x="2887445" y="1584845"/>
                    </a:cubicBezTo>
                    <a:lnTo>
                      <a:pt x="2885865" y="1584168"/>
                    </a:lnTo>
                    <a:cubicBezTo>
                      <a:pt x="2880901" y="1582137"/>
                      <a:pt x="2877291" y="1580783"/>
                      <a:pt x="2869167" y="1580332"/>
                    </a:cubicBezTo>
                    <a:cubicBezTo>
                      <a:pt x="2867362" y="1580332"/>
                      <a:pt x="2865557" y="1580106"/>
                      <a:pt x="2863977" y="1580106"/>
                    </a:cubicBezTo>
                    <a:cubicBezTo>
                      <a:pt x="2857208" y="1579655"/>
                      <a:pt x="2851116" y="1579429"/>
                      <a:pt x="2848408" y="1580558"/>
                    </a:cubicBezTo>
                    <a:cubicBezTo>
                      <a:pt x="2846828" y="1581235"/>
                      <a:pt x="2846377" y="1581460"/>
                      <a:pt x="2845700" y="1581911"/>
                    </a:cubicBezTo>
                    <a:cubicBezTo>
                      <a:pt x="2844798" y="1582588"/>
                      <a:pt x="2843669" y="1583265"/>
                      <a:pt x="2839833" y="1584619"/>
                    </a:cubicBezTo>
                    <a:cubicBezTo>
                      <a:pt x="2838479" y="1585070"/>
                      <a:pt x="2837351" y="1585522"/>
                      <a:pt x="2836223" y="1586199"/>
                    </a:cubicBezTo>
                    <a:cubicBezTo>
                      <a:pt x="2832387" y="1588004"/>
                      <a:pt x="2829002" y="1589584"/>
                      <a:pt x="2821105" y="1587327"/>
                    </a:cubicBezTo>
                    <a:cubicBezTo>
                      <a:pt x="2812079" y="1584845"/>
                      <a:pt x="2799443" y="1583491"/>
                      <a:pt x="2792448" y="1585522"/>
                    </a:cubicBezTo>
                    <a:cubicBezTo>
                      <a:pt x="2789740" y="1586424"/>
                      <a:pt x="2789289" y="1586650"/>
                      <a:pt x="2788612" y="1587101"/>
                    </a:cubicBezTo>
                    <a:cubicBezTo>
                      <a:pt x="2787483" y="1588004"/>
                      <a:pt x="2786130" y="1589132"/>
                      <a:pt x="2777104" y="1591840"/>
                    </a:cubicBezTo>
                    <a:lnTo>
                      <a:pt x="2773945" y="1592968"/>
                    </a:lnTo>
                    <a:cubicBezTo>
                      <a:pt x="2761760" y="1596804"/>
                      <a:pt x="2758826" y="1597707"/>
                      <a:pt x="2750477" y="1594548"/>
                    </a:cubicBezTo>
                    <a:cubicBezTo>
                      <a:pt x="2748221" y="1593645"/>
                      <a:pt x="2746641" y="1592968"/>
                      <a:pt x="2745062" y="1592291"/>
                    </a:cubicBezTo>
                    <a:cubicBezTo>
                      <a:pt x="2740775" y="1590260"/>
                      <a:pt x="2738067" y="1589132"/>
                      <a:pt x="2729944" y="1589132"/>
                    </a:cubicBezTo>
                    <a:cubicBezTo>
                      <a:pt x="2723625" y="1589132"/>
                      <a:pt x="2721820" y="1587327"/>
                      <a:pt x="2720241" y="1585296"/>
                    </a:cubicBezTo>
                    <a:cubicBezTo>
                      <a:pt x="2719338" y="1584168"/>
                      <a:pt x="2718887" y="1583717"/>
                      <a:pt x="2715728" y="1583942"/>
                    </a:cubicBezTo>
                    <a:cubicBezTo>
                      <a:pt x="2708959" y="1584619"/>
                      <a:pt x="2702866" y="1583491"/>
                      <a:pt x="2698804" y="1582814"/>
                    </a:cubicBezTo>
                    <a:cubicBezTo>
                      <a:pt x="2697451" y="1582588"/>
                      <a:pt x="2696097" y="1582363"/>
                      <a:pt x="2695420" y="1582363"/>
                    </a:cubicBezTo>
                    <a:cubicBezTo>
                      <a:pt x="2691809" y="1582363"/>
                      <a:pt x="2688199" y="1577850"/>
                      <a:pt x="2686394" y="1571306"/>
                    </a:cubicBezTo>
                    <a:cubicBezTo>
                      <a:pt x="2684814" y="1565439"/>
                      <a:pt x="2687296" y="1559121"/>
                      <a:pt x="2688650" y="1555962"/>
                    </a:cubicBezTo>
                    <a:lnTo>
                      <a:pt x="2689102" y="1555060"/>
                    </a:lnTo>
                    <a:cubicBezTo>
                      <a:pt x="2690004" y="1552578"/>
                      <a:pt x="2690681" y="1545131"/>
                      <a:pt x="2689779" y="1543100"/>
                    </a:cubicBezTo>
                    <a:cubicBezTo>
                      <a:pt x="2689327" y="1541972"/>
                      <a:pt x="2689327" y="1540393"/>
                      <a:pt x="2689102" y="1538362"/>
                    </a:cubicBezTo>
                    <a:cubicBezTo>
                      <a:pt x="2689102" y="1534752"/>
                      <a:pt x="2689102" y="1530238"/>
                      <a:pt x="2685266" y="1526628"/>
                    </a:cubicBezTo>
                    <a:cubicBezTo>
                      <a:pt x="2678045" y="1519408"/>
                      <a:pt x="2679173" y="1510607"/>
                      <a:pt x="2679625" y="1507674"/>
                    </a:cubicBezTo>
                    <a:cubicBezTo>
                      <a:pt x="2679850" y="1505869"/>
                      <a:pt x="2680753" y="1502710"/>
                      <a:pt x="2681655" y="1499099"/>
                    </a:cubicBezTo>
                    <a:cubicBezTo>
                      <a:pt x="2682784" y="1495038"/>
                      <a:pt x="2683912" y="1490074"/>
                      <a:pt x="2683912" y="1488494"/>
                    </a:cubicBezTo>
                    <a:cubicBezTo>
                      <a:pt x="2683912" y="1486914"/>
                      <a:pt x="2680301" y="1481950"/>
                      <a:pt x="2678271" y="1479017"/>
                    </a:cubicBezTo>
                    <a:cubicBezTo>
                      <a:pt x="2676466" y="1476535"/>
                      <a:pt x="2675112" y="1474504"/>
                      <a:pt x="2674209" y="1472924"/>
                    </a:cubicBezTo>
                    <a:cubicBezTo>
                      <a:pt x="2669471" y="1463673"/>
                      <a:pt x="2667665" y="1461868"/>
                      <a:pt x="2666988" y="1461642"/>
                    </a:cubicBezTo>
                    <a:cubicBezTo>
                      <a:pt x="2666086" y="1461642"/>
                      <a:pt x="2665183" y="1461417"/>
                      <a:pt x="2663829" y="1461191"/>
                    </a:cubicBezTo>
                    <a:cubicBezTo>
                      <a:pt x="2659993" y="1460514"/>
                      <a:pt x="2656157" y="1460063"/>
                      <a:pt x="2655706" y="1462093"/>
                    </a:cubicBezTo>
                    <a:cubicBezTo>
                      <a:pt x="2655255" y="1463899"/>
                      <a:pt x="2655480" y="1465929"/>
                      <a:pt x="2655932" y="1468186"/>
                    </a:cubicBezTo>
                    <a:cubicBezTo>
                      <a:pt x="2656383" y="1472022"/>
                      <a:pt x="2657060" y="1476309"/>
                      <a:pt x="2653901" y="1479468"/>
                    </a:cubicBezTo>
                    <a:cubicBezTo>
                      <a:pt x="2649162" y="1484207"/>
                      <a:pt x="2640813" y="1488043"/>
                      <a:pt x="2635172" y="1488043"/>
                    </a:cubicBezTo>
                    <a:lnTo>
                      <a:pt x="2633593" y="1488043"/>
                    </a:lnTo>
                    <a:cubicBezTo>
                      <a:pt x="2627952" y="1488043"/>
                      <a:pt x="2618474" y="1488268"/>
                      <a:pt x="2612608" y="1484432"/>
                    </a:cubicBezTo>
                    <a:cubicBezTo>
                      <a:pt x="2608095" y="1481725"/>
                      <a:pt x="2606515" y="1478566"/>
                      <a:pt x="2604484" y="1475181"/>
                    </a:cubicBezTo>
                    <a:cubicBezTo>
                      <a:pt x="2603582" y="1473601"/>
                      <a:pt x="2602679" y="1471796"/>
                      <a:pt x="2601100" y="1469991"/>
                    </a:cubicBezTo>
                    <a:cubicBezTo>
                      <a:pt x="2599295" y="1467735"/>
                      <a:pt x="2597715" y="1466381"/>
                      <a:pt x="2596361" y="1465478"/>
                    </a:cubicBezTo>
                    <a:cubicBezTo>
                      <a:pt x="2594556" y="1464124"/>
                      <a:pt x="2592751" y="1462996"/>
                      <a:pt x="2592751" y="1459837"/>
                    </a:cubicBezTo>
                    <a:cubicBezTo>
                      <a:pt x="2592751" y="1458934"/>
                      <a:pt x="2592074" y="1458257"/>
                      <a:pt x="2591171" y="1457129"/>
                    </a:cubicBezTo>
                    <a:cubicBezTo>
                      <a:pt x="2589592" y="1455324"/>
                      <a:pt x="2587335" y="1452842"/>
                      <a:pt x="2586658" y="1447878"/>
                    </a:cubicBezTo>
                    <a:cubicBezTo>
                      <a:pt x="2586433" y="1446298"/>
                      <a:pt x="2586433" y="1444944"/>
                      <a:pt x="2586207" y="1443590"/>
                    </a:cubicBezTo>
                    <a:cubicBezTo>
                      <a:pt x="2585756" y="1438175"/>
                      <a:pt x="2585304" y="1435241"/>
                      <a:pt x="2583274" y="1434565"/>
                    </a:cubicBezTo>
                    <a:cubicBezTo>
                      <a:pt x="2578761" y="1432985"/>
                      <a:pt x="2574925" y="1432759"/>
                      <a:pt x="2573345" y="1433888"/>
                    </a:cubicBezTo>
                    <a:cubicBezTo>
                      <a:pt x="2573120" y="1434113"/>
                      <a:pt x="2572668" y="1434565"/>
                      <a:pt x="2572668" y="1435467"/>
                    </a:cubicBezTo>
                    <a:cubicBezTo>
                      <a:pt x="2572668" y="1436595"/>
                      <a:pt x="2572443" y="1437949"/>
                      <a:pt x="2572443" y="1439078"/>
                    </a:cubicBezTo>
                    <a:cubicBezTo>
                      <a:pt x="2572217" y="1443590"/>
                      <a:pt x="2571991" y="1448555"/>
                      <a:pt x="2569284" y="1451488"/>
                    </a:cubicBezTo>
                    <a:cubicBezTo>
                      <a:pt x="2567930" y="1453068"/>
                      <a:pt x="2566125" y="1453970"/>
                      <a:pt x="2564545" y="1455098"/>
                    </a:cubicBezTo>
                    <a:cubicBezTo>
                      <a:pt x="2562063" y="1456678"/>
                      <a:pt x="2559581" y="1458032"/>
                      <a:pt x="2558227" y="1460965"/>
                    </a:cubicBezTo>
                    <a:cubicBezTo>
                      <a:pt x="2557550" y="1462770"/>
                      <a:pt x="2556873" y="1464576"/>
                      <a:pt x="2556422" y="1466381"/>
                    </a:cubicBezTo>
                    <a:cubicBezTo>
                      <a:pt x="2555519" y="1469991"/>
                      <a:pt x="2554617" y="1472924"/>
                      <a:pt x="2551458" y="1473376"/>
                    </a:cubicBezTo>
                    <a:cubicBezTo>
                      <a:pt x="2550781" y="1473601"/>
                      <a:pt x="2550104" y="1473827"/>
                      <a:pt x="2549652" y="1474053"/>
                    </a:cubicBezTo>
                    <a:cubicBezTo>
                      <a:pt x="2548298" y="1474730"/>
                      <a:pt x="2547170" y="1474955"/>
                      <a:pt x="2544914" y="1473827"/>
                    </a:cubicBezTo>
                    <a:cubicBezTo>
                      <a:pt x="2542432" y="1472473"/>
                      <a:pt x="2541529" y="1467058"/>
                      <a:pt x="2541304" y="1463447"/>
                    </a:cubicBezTo>
                    <a:cubicBezTo>
                      <a:pt x="2539498" y="1463447"/>
                      <a:pt x="2537016" y="1463222"/>
                      <a:pt x="2535662" y="1461642"/>
                    </a:cubicBezTo>
                    <a:cubicBezTo>
                      <a:pt x="2534985" y="1460739"/>
                      <a:pt x="2534308" y="1459386"/>
                      <a:pt x="2535211" y="1456903"/>
                    </a:cubicBezTo>
                    <a:cubicBezTo>
                      <a:pt x="2537016" y="1452165"/>
                      <a:pt x="2536339" y="1445847"/>
                      <a:pt x="2534760" y="1444267"/>
                    </a:cubicBezTo>
                    <a:cubicBezTo>
                      <a:pt x="2533631" y="1443139"/>
                      <a:pt x="2532278" y="1442236"/>
                      <a:pt x="2530472" y="1441108"/>
                    </a:cubicBezTo>
                    <a:cubicBezTo>
                      <a:pt x="2528893" y="1440206"/>
                      <a:pt x="2527088" y="1439078"/>
                      <a:pt x="2525057" y="1437498"/>
                    </a:cubicBezTo>
                    <a:cubicBezTo>
                      <a:pt x="2523703" y="1436595"/>
                      <a:pt x="2522575" y="1435467"/>
                      <a:pt x="2521447" y="1434565"/>
                    </a:cubicBezTo>
                    <a:cubicBezTo>
                      <a:pt x="2518964" y="1432534"/>
                      <a:pt x="2516708" y="1430503"/>
                      <a:pt x="2514677" y="1429600"/>
                    </a:cubicBezTo>
                    <a:cubicBezTo>
                      <a:pt x="2513098" y="1428923"/>
                      <a:pt x="2511744" y="1428021"/>
                      <a:pt x="2510841" y="1427118"/>
                    </a:cubicBezTo>
                    <a:cubicBezTo>
                      <a:pt x="2509487" y="1426216"/>
                      <a:pt x="2508810" y="1425539"/>
                      <a:pt x="2507908" y="1425539"/>
                    </a:cubicBezTo>
                    <a:cubicBezTo>
                      <a:pt x="2507005" y="1425539"/>
                      <a:pt x="2504974" y="1427344"/>
                      <a:pt x="2503395" y="1429149"/>
                    </a:cubicBezTo>
                    <a:cubicBezTo>
                      <a:pt x="2504072" y="1430729"/>
                      <a:pt x="2504974" y="1432308"/>
                      <a:pt x="2505426" y="1432759"/>
                    </a:cubicBezTo>
                    <a:cubicBezTo>
                      <a:pt x="2508134" y="1433211"/>
                      <a:pt x="2514226" y="1436821"/>
                      <a:pt x="2515128" y="1440657"/>
                    </a:cubicBezTo>
                    <a:cubicBezTo>
                      <a:pt x="2515354" y="1441560"/>
                      <a:pt x="2516482" y="1442914"/>
                      <a:pt x="2517385" y="1444042"/>
                    </a:cubicBezTo>
                    <a:cubicBezTo>
                      <a:pt x="2518964" y="1446073"/>
                      <a:pt x="2520544" y="1448103"/>
                      <a:pt x="2519867" y="1450134"/>
                    </a:cubicBezTo>
                    <a:cubicBezTo>
                      <a:pt x="2519641" y="1450811"/>
                      <a:pt x="2519190" y="1451714"/>
                      <a:pt x="2517836" y="1452391"/>
                    </a:cubicBezTo>
                    <a:cubicBezTo>
                      <a:pt x="2516257" y="1453068"/>
                      <a:pt x="2513775" y="1453293"/>
                      <a:pt x="2510841" y="1453293"/>
                    </a:cubicBezTo>
                    <a:cubicBezTo>
                      <a:pt x="2508359" y="1453519"/>
                      <a:pt x="2503395" y="1453744"/>
                      <a:pt x="2502718" y="1454647"/>
                    </a:cubicBezTo>
                    <a:cubicBezTo>
                      <a:pt x="2502267" y="1455550"/>
                      <a:pt x="2502267" y="1456452"/>
                      <a:pt x="2502267" y="1457806"/>
                    </a:cubicBezTo>
                    <a:cubicBezTo>
                      <a:pt x="2502041" y="1460288"/>
                      <a:pt x="2502041" y="1463222"/>
                      <a:pt x="2499333" y="1467058"/>
                    </a:cubicBezTo>
                    <a:cubicBezTo>
                      <a:pt x="2497302" y="1470217"/>
                      <a:pt x="2495046" y="1471345"/>
                      <a:pt x="2493015" y="1472247"/>
                    </a:cubicBezTo>
                    <a:cubicBezTo>
                      <a:pt x="2491210" y="1473150"/>
                      <a:pt x="2489631" y="1473827"/>
                      <a:pt x="2488051" y="1476535"/>
                    </a:cubicBezTo>
                    <a:cubicBezTo>
                      <a:pt x="2486246" y="1479468"/>
                      <a:pt x="2483764" y="1481950"/>
                      <a:pt x="2481282" y="1484658"/>
                    </a:cubicBezTo>
                    <a:cubicBezTo>
                      <a:pt x="2478574" y="1487366"/>
                      <a:pt x="2475866" y="1490074"/>
                      <a:pt x="2475640" y="1491879"/>
                    </a:cubicBezTo>
                    <a:cubicBezTo>
                      <a:pt x="2475415" y="1493233"/>
                      <a:pt x="2475866" y="1494812"/>
                      <a:pt x="2476543" y="1496392"/>
                    </a:cubicBezTo>
                    <a:cubicBezTo>
                      <a:pt x="2477446" y="1499099"/>
                      <a:pt x="2478348" y="1502484"/>
                      <a:pt x="2476994" y="1506320"/>
                    </a:cubicBezTo>
                    <a:cubicBezTo>
                      <a:pt x="2475189" y="1511736"/>
                      <a:pt x="2474287" y="1517377"/>
                      <a:pt x="2475189" y="1519633"/>
                    </a:cubicBezTo>
                    <a:cubicBezTo>
                      <a:pt x="2475640" y="1520761"/>
                      <a:pt x="2475415" y="1522115"/>
                      <a:pt x="2475189" y="1523695"/>
                    </a:cubicBezTo>
                    <a:cubicBezTo>
                      <a:pt x="2474964" y="1524597"/>
                      <a:pt x="2474738" y="1527079"/>
                      <a:pt x="2475189" y="1527531"/>
                    </a:cubicBezTo>
                    <a:cubicBezTo>
                      <a:pt x="2475189" y="1527531"/>
                      <a:pt x="2476092" y="1528208"/>
                      <a:pt x="2480605" y="1526177"/>
                    </a:cubicBezTo>
                    <a:lnTo>
                      <a:pt x="2483989" y="1524597"/>
                    </a:lnTo>
                    <a:cubicBezTo>
                      <a:pt x="2493015" y="1520310"/>
                      <a:pt x="2495723" y="1519182"/>
                      <a:pt x="2499785" y="1526403"/>
                    </a:cubicBezTo>
                    <a:cubicBezTo>
                      <a:pt x="2501138" y="1528659"/>
                      <a:pt x="2501590" y="1530464"/>
                      <a:pt x="2502041" y="1531818"/>
                    </a:cubicBezTo>
                    <a:cubicBezTo>
                      <a:pt x="2502944" y="1534300"/>
                      <a:pt x="2502944" y="1534977"/>
                      <a:pt x="2507457" y="1535654"/>
                    </a:cubicBezTo>
                    <a:cubicBezTo>
                      <a:pt x="2514226" y="1536782"/>
                      <a:pt x="2517385" y="1540844"/>
                      <a:pt x="2518513" y="1542423"/>
                    </a:cubicBezTo>
                    <a:cubicBezTo>
                      <a:pt x="2519641" y="1544003"/>
                      <a:pt x="2520093" y="1545808"/>
                      <a:pt x="2519867" y="1546936"/>
                    </a:cubicBezTo>
                    <a:cubicBezTo>
                      <a:pt x="2519867" y="1546936"/>
                      <a:pt x="2520093" y="1547162"/>
                      <a:pt x="2520093" y="1547162"/>
                    </a:cubicBezTo>
                    <a:cubicBezTo>
                      <a:pt x="2521221" y="1548290"/>
                      <a:pt x="2523026" y="1550095"/>
                      <a:pt x="2523929" y="1555285"/>
                    </a:cubicBezTo>
                    <a:cubicBezTo>
                      <a:pt x="2525057" y="1561829"/>
                      <a:pt x="2527088" y="1562506"/>
                      <a:pt x="2533180" y="1561829"/>
                    </a:cubicBezTo>
                    <a:cubicBezTo>
                      <a:pt x="2536339" y="1561378"/>
                      <a:pt x="2539273" y="1561378"/>
                      <a:pt x="2542206" y="1561378"/>
                    </a:cubicBezTo>
                    <a:cubicBezTo>
                      <a:pt x="2546042" y="1561378"/>
                      <a:pt x="2549652" y="1561378"/>
                      <a:pt x="2552360" y="1560475"/>
                    </a:cubicBezTo>
                    <a:cubicBezTo>
                      <a:pt x="2553714" y="1560024"/>
                      <a:pt x="2554617" y="1559347"/>
                      <a:pt x="2555745" y="1558896"/>
                    </a:cubicBezTo>
                    <a:cubicBezTo>
                      <a:pt x="2557550" y="1557993"/>
                      <a:pt x="2559129" y="1556865"/>
                      <a:pt x="2560935" y="1557542"/>
                    </a:cubicBezTo>
                    <a:cubicBezTo>
                      <a:pt x="2562740" y="1558219"/>
                      <a:pt x="2563868" y="1560249"/>
                      <a:pt x="2564771" y="1561829"/>
                    </a:cubicBezTo>
                    <a:cubicBezTo>
                      <a:pt x="2566576" y="1565665"/>
                      <a:pt x="2564996" y="1569275"/>
                      <a:pt x="2564094" y="1571757"/>
                    </a:cubicBezTo>
                    <a:cubicBezTo>
                      <a:pt x="2562966" y="1574691"/>
                      <a:pt x="2562966" y="1575368"/>
                      <a:pt x="2563868" y="1576270"/>
                    </a:cubicBezTo>
                    <a:cubicBezTo>
                      <a:pt x="2568155" y="1579655"/>
                      <a:pt x="2573796" y="1582137"/>
                      <a:pt x="2577407" y="1583717"/>
                    </a:cubicBezTo>
                    <a:cubicBezTo>
                      <a:pt x="2583048" y="1586199"/>
                      <a:pt x="2585304" y="1590260"/>
                      <a:pt x="2583725" y="1594999"/>
                    </a:cubicBezTo>
                    <a:cubicBezTo>
                      <a:pt x="2583048" y="1597030"/>
                      <a:pt x="2582371" y="1598158"/>
                      <a:pt x="2581694" y="1599061"/>
                    </a:cubicBezTo>
                    <a:cubicBezTo>
                      <a:pt x="2581017" y="1600189"/>
                      <a:pt x="2580792" y="1600640"/>
                      <a:pt x="2580792" y="1601768"/>
                    </a:cubicBezTo>
                    <a:cubicBezTo>
                      <a:pt x="2580792" y="1606507"/>
                      <a:pt x="2575827" y="1607409"/>
                      <a:pt x="2569058" y="1608538"/>
                    </a:cubicBezTo>
                    <a:cubicBezTo>
                      <a:pt x="2567027" y="1608989"/>
                      <a:pt x="2565673" y="1609440"/>
                      <a:pt x="2564319" y="1609892"/>
                    </a:cubicBezTo>
                    <a:cubicBezTo>
                      <a:pt x="2561612" y="1611020"/>
                      <a:pt x="2558904" y="1612148"/>
                      <a:pt x="2554617" y="1609440"/>
                    </a:cubicBezTo>
                    <a:cubicBezTo>
                      <a:pt x="2553263" y="1608763"/>
                      <a:pt x="2552360" y="1608086"/>
                      <a:pt x="2551458" y="1607409"/>
                    </a:cubicBezTo>
                    <a:cubicBezTo>
                      <a:pt x="2548750" y="1605604"/>
                      <a:pt x="2548750" y="1605604"/>
                      <a:pt x="2547170" y="1606281"/>
                    </a:cubicBezTo>
                    <a:cubicBezTo>
                      <a:pt x="2546268" y="1606732"/>
                      <a:pt x="2545816" y="1607184"/>
                      <a:pt x="2545139" y="1607861"/>
                    </a:cubicBezTo>
                    <a:cubicBezTo>
                      <a:pt x="2543785" y="1609215"/>
                      <a:pt x="2542206" y="1610569"/>
                      <a:pt x="2537693" y="1610794"/>
                    </a:cubicBezTo>
                    <a:cubicBezTo>
                      <a:pt x="2534985" y="1610794"/>
                      <a:pt x="2532278" y="1610569"/>
                      <a:pt x="2530247" y="1610343"/>
                    </a:cubicBezTo>
                    <a:cubicBezTo>
                      <a:pt x="2528893" y="1610117"/>
                      <a:pt x="2527088" y="1609892"/>
                      <a:pt x="2526636" y="1610117"/>
                    </a:cubicBezTo>
                    <a:cubicBezTo>
                      <a:pt x="2526636" y="1610343"/>
                      <a:pt x="2526185" y="1610569"/>
                      <a:pt x="2525734" y="1611020"/>
                    </a:cubicBezTo>
                    <a:cubicBezTo>
                      <a:pt x="2524154" y="1612374"/>
                      <a:pt x="2522801" y="1613502"/>
                      <a:pt x="2522801" y="1615533"/>
                    </a:cubicBezTo>
                    <a:cubicBezTo>
                      <a:pt x="2522801" y="1617112"/>
                      <a:pt x="2523252" y="1619143"/>
                      <a:pt x="2523703" y="1620948"/>
                    </a:cubicBezTo>
                    <a:cubicBezTo>
                      <a:pt x="2524380" y="1623882"/>
                      <a:pt x="2525057" y="1626815"/>
                      <a:pt x="2524380" y="1628846"/>
                    </a:cubicBezTo>
                    <a:cubicBezTo>
                      <a:pt x="2523703" y="1630877"/>
                      <a:pt x="2522123" y="1632682"/>
                      <a:pt x="2520770" y="1634487"/>
                    </a:cubicBezTo>
                    <a:cubicBezTo>
                      <a:pt x="2520093" y="1635390"/>
                      <a:pt x="2519190" y="1636292"/>
                      <a:pt x="2518964" y="1636743"/>
                    </a:cubicBezTo>
                    <a:cubicBezTo>
                      <a:pt x="2518513" y="1637872"/>
                      <a:pt x="2517611" y="1638774"/>
                      <a:pt x="2516257" y="1640128"/>
                    </a:cubicBezTo>
                    <a:cubicBezTo>
                      <a:pt x="2514677" y="1641708"/>
                      <a:pt x="2512646" y="1643738"/>
                      <a:pt x="2510616" y="1646897"/>
                    </a:cubicBezTo>
                    <a:cubicBezTo>
                      <a:pt x="2509487" y="1648477"/>
                      <a:pt x="2508810" y="1649831"/>
                      <a:pt x="2508359" y="1651185"/>
                    </a:cubicBezTo>
                    <a:cubicBezTo>
                      <a:pt x="2507457" y="1652990"/>
                      <a:pt x="2506780" y="1654570"/>
                      <a:pt x="2504974" y="1654795"/>
                    </a:cubicBezTo>
                    <a:cubicBezTo>
                      <a:pt x="2503395" y="1655021"/>
                      <a:pt x="2502041" y="1654118"/>
                      <a:pt x="2500913" y="1653216"/>
                    </a:cubicBezTo>
                    <a:cubicBezTo>
                      <a:pt x="2498882" y="1651411"/>
                      <a:pt x="2498656" y="1649154"/>
                      <a:pt x="2498431" y="1647575"/>
                    </a:cubicBezTo>
                    <a:cubicBezTo>
                      <a:pt x="2498431" y="1647123"/>
                      <a:pt x="2498431" y="1646446"/>
                      <a:pt x="2498205" y="1646221"/>
                    </a:cubicBezTo>
                    <a:cubicBezTo>
                      <a:pt x="2498205" y="1646221"/>
                      <a:pt x="2497979" y="1646221"/>
                      <a:pt x="2497528" y="1646221"/>
                    </a:cubicBezTo>
                    <a:cubicBezTo>
                      <a:pt x="2497077" y="1646221"/>
                      <a:pt x="2496400" y="1646221"/>
                      <a:pt x="2495497" y="1646446"/>
                    </a:cubicBezTo>
                    <a:cubicBezTo>
                      <a:pt x="2490533" y="1647349"/>
                      <a:pt x="2490533" y="1648251"/>
                      <a:pt x="2490984" y="1650734"/>
                    </a:cubicBezTo>
                    <a:cubicBezTo>
                      <a:pt x="2490984" y="1651411"/>
                      <a:pt x="2491210" y="1652313"/>
                      <a:pt x="2491210" y="1652990"/>
                    </a:cubicBezTo>
                    <a:cubicBezTo>
                      <a:pt x="2491210" y="1656826"/>
                      <a:pt x="2489179" y="1658857"/>
                      <a:pt x="2486697" y="1661565"/>
                    </a:cubicBezTo>
                    <a:cubicBezTo>
                      <a:pt x="2485794" y="1662467"/>
                      <a:pt x="2484892" y="1663370"/>
                      <a:pt x="2483989" y="1664498"/>
                    </a:cubicBezTo>
                    <a:cubicBezTo>
                      <a:pt x="2480153" y="1669011"/>
                      <a:pt x="2479251" y="1670139"/>
                      <a:pt x="2477446" y="1675555"/>
                    </a:cubicBezTo>
                    <a:cubicBezTo>
                      <a:pt x="2476543" y="1678037"/>
                      <a:pt x="2477220" y="1679165"/>
                      <a:pt x="2478799" y="1681196"/>
                    </a:cubicBezTo>
                    <a:cubicBezTo>
                      <a:pt x="2479928" y="1682775"/>
                      <a:pt x="2481056" y="1684581"/>
                      <a:pt x="2481958" y="1687288"/>
                    </a:cubicBezTo>
                    <a:cubicBezTo>
                      <a:pt x="2482861" y="1690447"/>
                      <a:pt x="2485794" y="1693155"/>
                      <a:pt x="2488502" y="1696088"/>
                    </a:cubicBezTo>
                    <a:cubicBezTo>
                      <a:pt x="2490759" y="1698345"/>
                      <a:pt x="2493015" y="1700601"/>
                      <a:pt x="2494369" y="1703083"/>
                    </a:cubicBezTo>
                    <a:cubicBezTo>
                      <a:pt x="2496626" y="1707371"/>
                      <a:pt x="2499108" y="1709176"/>
                      <a:pt x="2506328" y="1713914"/>
                    </a:cubicBezTo>
                    <a:lnTo>
                      <a:pt x="2507457" y="1714591"/>
                    </a:lnTo>
                    <a:cubicBezTo>
                      <a:pt x="2515805" y="1720007"/>
                      <a:pt x="2528216" y="1724294"/>
                      <a:pt x="2532729" y="1721812"/>
                    </a:cubicBezTo>
                    <a:cubicBezTo>
                      <a:pt x="2540401" y="1717525"/>
                      <a:pt x="2554165" y="1721586"/>
                      <a:pt x="2554842" y="1721586"/>
                    </a:cubicBezTo>
                    <a:cubicBezTo>
                      <a:pt x="2558227" y="1722489"/>
                      <a:pt x="2561837" y="1725874"/>
                      <a:pt x="2563417" y="1729258"/>
                    </a:cubicBezTo>
                    <a:cubicBezTo>
                      <a:pt x="2564545" y="1731515"/>
                      <a:pt x="2564545" y="1733771"/>
                      <a:pt x="2563417" y="1735802"/>
                    </a:cubicBezTo>
                    <a:cubicBezTo>
                      <a:pt x="2560032" y="1742572"/>
                      <a:pt x="2559355" y="1747987"/>
                      <a:pt x="2561612" y="1752726"/>
                    </a:cubicBezTo>
                    <a:cubicBezTo>
                      <a:pt x="2562289" y="1754079"/>
                      <a:pt x="2562740" y="1755433"/>
                      <a:pt x="2563417" y="1756561"/>
                    </a:cubicBezTo>
                    <a:cubicBezTo>
                      <a:pt x="2566576" y="1762880"/>
                      <a:pt x="2569284" y="1768972"/>
                      <a:pt x="2567478" y="1773034"/>
                    </a:cubicBezTo>
                    <a:cubicBezTo>
                      <a:pt x="2564771" y="1779126"/>
                      <a:pt x="2560032" y="1782737"/>
                      <a:pt x="2555970" y="1786121"/>
                    </a:cubicBezTo>
                    <a:cubicBezTo>
                      <a:pt x="2552134" y="1789280"/>
                      <a:pt x="2548298" y="1792214"/>
                      <a:pt x="2546719" y="1797178"/>
                    </a:cubicBezTo>
                    <a:cubicBezTo>
                      <a:pt x="2541304" y="1812522"/>
                      <a:pt x="2550555" y="1818614"/>
                      <a:pt x="2560483" y="1825158"/>
                    </a:cubicBezTo>
                    <a:cubicBezTo>
                      <a:pt x="2570412" y="1831476"/>
                      <a:pt x="2581469" y="1838697"/>
                      <a:pt x="2573571" y="1856072"/>
                    </a:cubicBezTo>
                    <a:cubicBezTo>
                      <a:pt x="2572894" y="1857651"/>
                      <a:pt x="2570637" y="1863518"/>
                      <a:pt x="2573345" y="1866902"/>
                    </a:cubicBezTo>
                    <a:cubicBezTo>
                      <a:pt x="2575827" y="1869836"/>
                      <a:pt x="2580792" y="1869610"/>
                      <a:pt x="2585981" y="1869159"/>
                    </a:cubicBezTo>
                    <a:cubicBezTo>
                      <a:pt x="2592074" y="1868708"/>
                      <a:pt x="2598843" y="1868256"/>
                      <a:pt x="2601551" y="1874123"/>
                    </a:cubicBezTo>
                    <a:cubicBezTo>
                      <a:pt x="2603356" y="1878185"/>
                      <a:pt x="2601777" y="1882246"/>
                      <a:pt x="2600197" y="1885857"/>
                    </a:cubicBezTo>
                    <a:lnTo>
                      <a:pt x="2599746" y="1886759"/>
                    </a:lnTo>
                    <a:cubicBezTo>
                      <a:pt x="2592751" y="1905037"/>
                      <a:pt x="2597941" y="1924442"/>
                      <a:pt x="2603131" y="1943397"/>
                    </a:cubicBezTo>
                    <a:cubicBezTo>
                      <a:pt x="2604936" y="1949940"/>
                      <a:pt x="2606741" y="1956484"/>
                      <a:pt x="2607869" y="1962802"/>
                    </a:cubicBezTo>
                    <a:cubicBezTo>
                      <a:pt x="2608546" y="1966638"/>
                      <a:pt x="2608546" y="1971828"/>
                      <a:pt x="2608320" y="1977018"/>
                    </a:cubicBezTo>
                    <a:cubicBezTo>
                      <a:pt x="2608320" y="1983110"/>
                      <a:pt x="2608095" y="1989428"/>
                      <a:pt x="2609449" y="1992362"/>
                    </a:cubicBezTo>
                    <a:cubicBezTo>
                      <a:pt x="2610125" y="1994167"/>
                      <a:pt x="2609449" y="1995521"/>
                      <a:pt x="2609223" y="1996649"/>
                    </a:cubicBezTo>
                    <a:cubicBezTo>
                      <a:pt x="2608772" y="1997777"/>
                      <a:pt x="2608320" y="1998454"/>
                      <a:pt x="2611931" y="2000259"/>
                    </a:cubicBezTo>
                    <a:cubicBezTo>
                      <a:pt x="2620280" y="2004772"/>
                      <a:pt x="2621633" y="2008834"/>
                      <a:pt x="2621633" y="2015378"/>
                    </a:cubicBezTo>
                    <a:cubicBezTo>
                      <a:pt x="2621633" y="2017183"/>
                      <a:pt x="2621633" y="2018762"/>
                      <a:pt x="2621408" y="2020342"/>
                    </a:cubicBezTo>
                    <a:cubicBezTo>
                      <a:pt x="2621182" y="2023501"/>
                      <a:pt x="2621182" y="2025532"/>
                      <a:pt x="2622085" y="2027563"/>
                    </a:cubicBezTo>
                    <a:cubicBezTo>
                      <a:pt x="2622310" y="2028239"/>
                      <a:pt x="2622536" y="2028691"/>
                      <a:pt x="2622987" y="2029142"/>
                    </a:cubicBezTo>
                    <a:cubicBezTo>
                      <a:pt x="2624341" y="2031850"/>
                      <a:pt x="2625018" y="2033655"/>
                      <a:pt x="2622310" y="2038168"/>
                    </a:cubicBezTo>
                    <a:cubicBezTo>
                      <a:pt x="2621408" y="2039522"/>
                      <a:pt x="2621408" y="2041101"/>
                      <a:pt x="2621182" y="2042455"/>
                    </a:cubicBezTo>
                    <a:cubicBezTo>
                      <a:pt x="2620957" y="2045163"/>
                      <a:pt x="2620505" y="2048548"/>
                      <a:pt x="2615315" y="2050127"/>
                    </a:cubicBezTo>
                    <a:cubicBezTo>
                      <a:pt x="2611028" y="2051481"/>
                      <a:pt x="2608772" y="2050579"/>
                      <a:pt x="2606515" y="2049450"/>
                    </a:cubicBezTo>
                    <a:cubicBezTo>
                      <a:pt x="2604936" y="2048773"/>
                      <a:pt x="2603131" y="2047871"/>
                      <a:pt x="2599971" y="2047871"/>
                    </a:cubicBezTo>
                    <a:cubicBezTo>
                      <a:pt x="2598392" y="2047871"/>
                      <a:pt x="2597038" y="2047871"/>
                      <a:pt x="2595684" y="2047871"/>
                    </a:cubicBezTo>
                    <a:cubicBezTo>
                      <a:pt x="2590269" y="2047871"/>
                      <a:pt x="2587110" y="2048096"/>
                      <a:pt x="2584176" y="2045840"/>
                    </a:cubicBezTo>
                    <a:cubicBezTo>
                      <a:pt x="2580340" y="2043132"/>
                      <a:pt x="2579663" y="2037265"/>
                      <a:pt x="2579663" y="2034106"/>
                    </a:cubicBezTo>
                    <a:cubicBezTo>
                      <a:pt x="2579663" y="2033429"/>
                      <a:pt x="2579663" y="2032527"/>
                      <a:pt x="2579663" y="2032527"/>
                    </a:cubicBezTo>
                    <a:cubicBezTo>
                      <a:pt x="2579663" y="2032527"/>
                      <a:pt x="2579212" y="2032301"/>
                      <a:pt x="2576955" y="2032301"/>
                    </a:cubicBezTo>
                    <a:cubicBezTo>
                      <a:pt x="2574699" y="2032301"/>
                      <a:pt x="2572894" y="2031624"/>
                      <a:pt x="2571540" y="2031173"/>
                    </a:cubicBezTo>
                    <a:cubicBezTo>
                      <a:pt x="2571089" y="2030947"/>
                      <a:pt x="2570637" y="2030722"/>
                      <a:pt x="2570186" y="2030722"/>
                    </a:cubicBezTo>
                    <a:cubicBezTo>
                      <a:pt x="2570186" y="2030722"/>
                      <a:pt x="2570186" y="2030947"/>
                      <a:pt x="2570186" y="2030947"/>
                    </a:cubicBezTo>
                    <a:cubicBezTo>
                      <a:pt x="2569058" y="2033429"/>
                      <a:pt x="2567253" y="2033429"/>
                      <a:pt x="2566350" y="2033204"/>
                    </a:cubicBezTo>
                    <a:cubicBezTo>
                      <a:pt x="2566350" y="2033655"/>
                      <a:pt x="2566125" y="2034106"/>
                      <a:pt x="2566125" y="2035009"/>
                    </a:cubicBezTo>
                    <a:lnTo>
                      <a:pt x="2565899" y="2037040"/>
                    </a:lnTo>
                    <a:cubicBezTo>
                      <a:pt x="2565448" y="2042455"/>
                      <a:pt x="2565448" y="2045163"/>
                      <a:pt x="2561837" y="2049225"/>
                    </a:cubicBezTo>
                    <a:cubicBezTo>
                      <a:pt x="2560483" y="2050804"/>
                      <a:pt x="2559129" y="2051707"/>
                      <a:pt x="2558227" y="2052384"/>
                    </a:cubicBezTo>
                    <a:cubicBezTo>
                      <a:pt x="2556873" y="2053512"/>
                      <a:pt x="2556647" y="2053512"/>
                      <a:pt x="2556647" y="2055317"/>
                    </a:cubicBezTo>
                    <a:cubicBezTo>
                      <a:pt x="2556647" y="2058702"/>
                      <a:pt x="2554842" y="2059604"/>
                      <a:pt x="2553488" y="2060281"/>
                    </a:cubicBezTo>
                    <a:cubicBezTo>
                      <a:pt x="2552360" y="2060733"/>
                      <a:pt x="2551232" y="2061409"/>
                      <a:pt x="2549878" y="2063215"/>
                    </a:cubicBezTo>
                    <a:cubicBezTo>
                      <a:pt x="2548975" y="2064343"/>
                      <a:pt x="2548524" y="2065020"/>
                      <a:pt x="2548073" y="2065697"/>
                    </a:cubicBezTo>
                    <a:cubicBezTo>
                      <a:pt x="2546493" y="2068179"/>
                      <a:pt x="2546042" y="2068404"/>
                      <a:pt x="2541980" y="2070887"/>
                    </a:cubicBezTo>
                    <a:cubicBezTo>
                      <a:pt x="2540852" y="2071564"/>
                      <a:pt x="2539950" y="2072241"/>
                      <a:pt x="2539273" y="2072917"/>
                    </a:cubicBezTo>
                    <a:cubicBezTo>
                      <a:pt x="2536339" y="2075400"/>
                      <a:pt x="2534760" y="2075625"/>
                      <a:pt x="2528667" y="2073143"/>
                    </a:cubicBezTo>
                    <a:cubicBezTo>
                      <a:pt x="2520770" y="2070210"/>
                      <a:pt x="2519867" y="2069984"/>
                      <a:pt x="2518513" y="2069758"/>
                    </a:cubicBezTo>
                    <a:cubicBezTo>
                      <a:pt x="2516482" y="2069533"/>
                      <a:pt x="2513323" y="2066599"/>
                      <a:pt x="2511969" y="2063892"/>
                    </a:cubicBezTo>
                    <a:cubicBezTo>
                      <a:pt x="2510841" y="2061409"/>
                      <a:pt x="2511293" y="2059830"/>
                      <a:pt x="2511969" y="2058702"/>
                    </a:cubicBezTo>
                    <a:cubicBezTo>
                      <a:pt x="2512195" y="2058250"/>
                      <a:pt x="2511518" y="2056897"/>
                      <a:pt x="2511067" y="2055994"/>
                    </a:cubicBezTo>
                    <a:cubicBezTo>
                      <a:pt x="2509713" y="2053512"/>
                      <a:pt x="2507908" y="2049676"/>
                      <a:pt x="2510390" y="2045614"/>
                    </a:cubicBezTo>
                    <a:cubicBezTo>
                      <a:pt x="2513549" y="2040424"/>
                      <a:pt x="2514677" y="2037491"/>
                      <a:pt x="2516257" y="2033655"/>
                    </a:cubicBezTo>
                    <a:lnTo>
                      <a:pt x="2516482" y="2032752"/>
                    </a:lnTo>
                    <a:cubicBezTo>
                      <a:pt x="2517159" y="2031173"/>
                      <a:pt x="2517611" y="2030270"/>
                      <a:pt x="2518062" y="2029368"/>
                    </a:cubicBezTo>
                    <a:cubicBezTo>
                      <a:pt x="2518964" y="2027788"/>
                      <a:pt x="2518964" y="2027788"/>
                      <a:pt x="2518513" y="2026886"/>
                    </a:cubicBezTo>
                    <a:cubicBezTo>
                      <a:pt x="2517836" y="2025757"/>
                      <a:pt x="2516031" y="2024629"/>
                      <a:pt x="2514677" y="2023727"/>
                    </a:cubicBezTo>
                    <a:cubicBezTo>
                      <a:pt x="2513323" y="2022824"/>
                      <a:pt x="2512195" y="2022147"/>
                      <a:pt x="2511518" y="2021244"/>
                    </a:cubicBezTo>
                    <a:cubicBezTo>
                      <a:pt x="2510841" y="2020568"/>
                      <a:pt x="2508134" y="2018762"/>
                      <a:pt x="2506780" y="2018311"/>
                    </a:cubicBezTo>
                    <a:cubicBezTo>
                      <a:pt x="2506780" y="2018537"/>
                      <a:pt x="2507005" y="2018762"/>
                      <a:pt x="2507005" y="2018988"/>
                    </a:cubicBezTo>
                    <a:cubicBezTo>
                      <a:pt x="2507908" y="2021244"/>
                      <a:pt x="2508810" y="2022373"/>
                      <a:pt x="2509939" y="2023727"/>
                    </a:cubicBezTo>
                    <a:cubicBezTo>
                      <a:pt x="2512421" y="2026434"/>
                      <a:pt x="2513775" y="2028691"/>
                      <a:pt x="2511067" y="2034332"/>
                    </a:cubicBezTo>
                    <a:cubicBezTo>
                      <a:pt x="2509036" y="2038394"/>
                      <a:pt x="2505877" y="2040199"/>
                      <a:pt x="2503169" y="2041553"/>
                    </a:cubicBezTo>
                    <a:cubicBezTo>
                      <a:pt x="2500010" y="2043358"/>
                      <a:pt x="2497528" y="2044712"/>
                      <a:pt x="2496400" y="2049225"/>
                    </a:cubicBezTo>
                    <a:cubicBezTo>
                      <a:pt x="2494595" y="2057573"/>
                      <a:pt x="2484441" y="2069533"/>
                      <a:pt x="2476994" y="2078333"/>
                    </a:cubicBezTo>
                    <a:cubicBezTo>
                      <a:pt x="2475415" y="2080364"/>
                      <a:pt x="2473835" y="2082169"/>
                      <a:pt x="2472707" y="2083523"/>
                    </a:cubicBezTo>
                    <a:cubicBezTo>
                      <a:pt x="2471353" y="2085102"/>
                      <a:pt x="2470450" y="2086456"/>
                      <a:pt x="2469774" y="2087584"/>
                    </a:cubicBezTo>
                    <a:cubicBezTo>
                      <a:pt x="2467066" y="2091646"/>
                      <a:pt x="2466163" y="2092323"/>
                      <a:pt x="2457363" y="2095256"/>
                    </a:cubicBezTo>
                    <a:cubicBezTo>
                      <a:pt x="2454881" y="2096159"/>
                      <a:pt x="2453076" y="2096836"/>
                      <a:pt x="2451496" y="2097287"/>
                    </a:cubicBezTo>
                    <a:cubicBezTo>
                      <a:pt x="2445629" y="2099544"/>
                      <a:pt x="2442245" y="2100672"/>
                      <a:pt x="2426675" y="2102477"/>
                    </a:cubicBezTo>
                    <a:cubicBezTo>
                      <a:pt x="2425096" y="2104057"/>
                      <a:pt x="2420357" y="2108344"/>
                      <a:pt x="2412008" y="2111503"/>
                    </a:cubicBezTo>
                    <a:cubicBezTo>
                      <a:pt x="2405916" y="2113985"/>
                      <a:pt x="2401403" y="2113308"/>
                      <a:pt x="2397567" y="2112857"/>
                    </a:cubicBezTo>
                    <a:cubicBezTo>
                      <a:pt x="2395085" y="2112631"/>
                      <a:pt x="2392828" y="2112180"/>
                      <a:pt x="2390346" y="2112857"/>
                    </a:cubicBezTo>
                    <a:cubicBezTo>
                      <a:pt x="2384479" y="2114211"/>
                      <a:pt x="2363043" y="2132488"/>
                      <a:pt x="2353115" y="2149863"/>
                    </a:cubicBezTo>
                    <a:cubicBezTo>
                      <a:pt x="2344314" y="2165432"/>
                      <a:pt x="2349279" y="2172879"/>
                      <a:pt x="2358530" y="2186643"/>
                    </a:cubicBezTo>
                    <a:lnTo>
                      <a:pt x="2359207" y="2187771"/>
                    </a:lnTo>
                    <a:cubicBezTo>
                      <a:pt x="2363494" y="2194089"/>
                      <a:pt x="2366428" y="2197700"/>
                      <a:pt x="2368233" y="2199956"/>
                    </a:cubicBezTo>
                    <a:cubicBezTo>
                      <a:pt x="2370715" y="2202890"/>
                      <a:pt x="2371843" y="2204244"/>
                      <a:pt x="2371843" y="2207177"/>
                    </a:cubicBezTo>
                    <a:cubicBezTo>
                      <a:pt x="2371843" y="2211915"/>
                      <a:pt x="2371166" y="2213044"/>
                      <a:pt x="2366202" y="2215752"/>
                    </a:cubicBezTo>
                    <a:cubicBezTo>
                      <a:pt x="2365525" y="2216203"/>
                      <a:pt x="2364623" y="2216654"/>
                      <a:pt x="2363720" y="2216880"/>
                    </a:cubicBezTo>
                    <a:cubicBezTo>
                      <a:pt x="2364397" y="2216880"/>
                      <a:pt x="2364848" y="2216654"/>
                      <a:pt x="2365299" y="2216654"/>
                    </a:cubicBezTo>
                    <a:cubicBezTo>
                      <a:pt x="2367782" y="2216428"/>
                      <a:pt x="2370264" y="2215977"/>
                      <a:pt x="2372294" y="2218008"/>
                    </a:cubicBezTo>
                    <a:cubicBezTo>
                      <a:pt x="2374551" y="2220264"/>
                      <a:pt x="2378387" y="2224100"/>
                      <a:pt x="2373648" y="2230644"/>
                    </a:cubicBezTo>
                    <a:cubicBezTo>
                      <a:pt x="2371618" y="2233352"/>
                      <a:pt x="2368910" y="2234931"/>
                      <a:pt x="2365976" y="2236962"/>
                    </a:cubicBezTo>
                    <a:cubicBezTo>
                      <a:pt x="2363269" y="2238767"/>
                      <a:pt x="2360110" y="2240798"/>
                      <a:pt x="2356499" y="2243957"/>
                    </a:cubicBezTo>
                    <a:cubicBezTo>
                      <a:pt x="2349504" y="2250727"/>
                      <a:pt x="2346571" y="2253660"/>
                      <a:pt x="2345443" y="2257045"/>
                    </a:cubicBezTo>
                    <a:lnTo>
                      <a:pt x="2345217" y="2257496"/>
                    </a:lnTo>
                    <a:cubicBezTo>
                      <a:pt x="2344089" y="2260881"/>
                      <a:pt x="2343637" y="2262911"/>
                      <a:pt x="2345443" y="2266522"/>
                    </a:cubicBezTo>
                    <a:cubicBezTo>
                      <a:pt x="2347473" y="2270132"/>
                      <a:pt x="2351084" y="2277127"/>
                      <a:pt x="2346120" y="2282091"/>
                    </a:cubicBezTo>
                    <a:cubicBezTo>
                      <a:pt x="2343412" y="2284799"/>
                      <a:pt x="2334837" y="2289989"/>
                      <a:pt x="2327391" y="2294728"/>
                    </a:cubicBezTo>
                    <a:cubicBezTo>
                      <a:pt x="2324006" y="2296758"/>
                      <a:pt x="2321073" y="2298564"/>
                      <a:pt x="2319042" y="2299917"/>
                    </a:cubicBezTo>
                    <a:cubicBezTo>
                      <a:pt x="2314755" y="2302851"/>
                      <a:pt x="2310467" y="2310974"/>
                      <a:pt x="2307534" y="2316390"/>
                    </a:cubicBezTo>
                    <a:cubicBezTo>
                      <a:pt x="2306406" y="2318646"/>
                      <a:pt x="2305278" y="2320451"/>
                      <a:pt x="2304601" y="2321805"/>
                    </a:cubicBezTo>
                    <a:cubicBezTo>
                      <a:pt x="2303924" y="2322708"/>
                      <a:pt x="2303247" y="2323836"/>
                      <a:pt x="2302570" y="2324964"/>
                    </a:cubicBezTo>
                    <a:cubicBezTo>
                      <a:pt x="2299185" y="2330380"/>
                      <a:pt x="2296703" y="2334216"/>
                      <a:pt x="2294221" y="2334893"/>
                    </a:cubicBezTo>
                    <a:cubicBezTo>
                      <a:pt x="2293318" y="2335118"/>
                      <a:pt x="2290385" y="2336472"/>
                      <a:pt x="2285872" y="2338277"/>
                    </a:cubicBezTo>
                    <a:cubicBezTo>
                      <a:pt x="2276395" y="2342113"/>
                      <a:pt x="2260825" y="2348431"/>
                      <a:pt x="2246384" y="2353847"/>
                    </a:cubicBezTo>
                    <a:cubicBezTo>
                      <a:pt x="2238712" y="2356780"/>
                      <a:pt x="2231943" y="2358811"/>
                      <a:pt x="2226076" y="2360391"/>
                    </a:cubicBezTo>
                    <a:cubicBezTo>
                      <a:pt x="2215470" y="2363550"/>
                      <a:pt x="2206896" y="2365806"/>
                      <a:pt x="2198773" y="2372350"/>
                    </a:cubicBezTo>
                    <a:cubicBezTo>
                      <a:pt x="2192906" y="2376863"/>
                      <a:pt x="2183880" y="2380473"/>
                      <a:pt x="2175305" y="2383858"/>
                    </a:cubicBezTo>
                    <a:cubicBezTo>
                      <a:pt x="2164700" y="2388145"/>
                      <a:pt x="2153869" y="2392432"/>
                      <a:pt x="2151387" y="2397848"/>
                    </a:cubicBezTo>
                    <a:cubicBezTo>
                      <a:pt x="2148679" y="2404166"/>
                      <a:pt x="2144618" y="2406648"/>
                      <a:pt x="2140556" y="2408905"/>
                    </a:cubicBezTo>
                    <a:cubicBezTo>
                      <a:pt x="2137397" y="2410710"/>
                      <a:pt x="2134238" y="2412515"/>
                      <a:pt x="2131981" y="2416351"/>
                    </a:cubicBezTo>
                    <a:cubicBezTo>
                      <a:pt x="2127694" y="2423346"/>
                      <a:pt x="2121150" y="2429664"/>
                      <a:pt x="2113930" y="2436208"/>
                    </a:cubicBezTo>
                    <a:cubicBezTo>
                      <a:pt x="2111222" y="2438690"/>
                      <a:pt x="2108514" y="2441398"/>
                      <a:pt x="2105806" y="2443880"/>
                    </a:cubicBezTo>
                    <a:cubicBezTo>
                      <a:pt x="2103099" y="2446587"/>
                      <a:pt x="2101068" y="2448393"/>
                      <a:pt x="2099488" y="2449746"/>
                    </a:cubicBezTo>
                    <a:cubicBezTo>
                      <a:pt x="2095652" y="2453131"/>
                      <a:pt x="2094975" y="2453582"/>
                      <a:pt x="2094750" y="2459675"/>
                    </a:cubicBezTo>
                    <a:cubicBezTo>
                      <a:pt x="2094524" y="2465993"/>
                      <a:pt x="2084596" y="2477275"/>
                      <a:pt x="2073990" y="2489234"/>
                    </a:cubicBezTo>
                    <a:cubicBezTo>
                      <a:pt x="2067672" y="2496230"/>
                      <a:pt x="2061805" y="2502999"/>
                      <a:pt x="2058646" y="2507963"/>
                    </a:cubicBezTo>
                    <a:cubicBezTo>
                      <a:pt x="2055036" y="2513604"/>
                      <a:pt x="2049395" y="2519697"/>
                      <a:pt x="2043302" y="2526015"/>
                    </a:cubicBezTo>
                    <a:cubicBezTo>
                      <a:pt x="2035405" y="2534364"/>
                      <a:pt x="2027056" y="2543164"/>
                      <a:pt x="2023897" y="2551062"/>
                    </a:cubicBezTo>
                    <a:cubicBezTo>
                      <a:pt x="2022543" y="2554446"/>
                      <a:pt x="2021640" y="2557380"/>
                      <a:pt x="2020963" y="2560087"/>
                    </a:cubicBezTo>
                    <a:cubicBezTo>
                      <a:pt x="2018481" y="2568436"/>
                      <a:pt x="2016902" y="2573852"/>
                      <a:pt x="2004040" y="2578365"/>
                    </a:cubicBezTo>
                    <a:cubicBezTo>
                      <a:pt x="1988696" y="2583780"/>
                      <a:pt x="1955977" y="2599575"/>
                      <a:pt x="1944695" y="2611760"/>
                    </a:cubicBezTo>
                    <a:cubicBezTo>
                      <a:pt x="1939956" y="2616725"/>
                      <a:pt x="1935218" y="2620786"/>
                      <a:pt x="1931156" y="2624397"/>
                    </a:cubicBezTo>
                    <a:cubicBezTo>
                      <a:pt x="1925064" y="2629586"/>
                      <a:pt x="1919648" y="2634099"/>
                      <a:pt x="1915812" y="2640643"/>
                    </a:cubicBezTo>
                    <a:cubicBezTo>
                      <a:pt x="1914233" y="2643351"/>
                      <a:pt x="1912879" y="2646059"/>
                      <a:pt x="1911525" y="2648541"/>
                    </a:cubicBezTo>
                    <a:cubicBezTo>
                      <a:pt x="1907463" y="2656438"/>
                      <a:pt x="1903853" y="2663208"/>
                      <a:pt x="1896407" y="2667721"/>
                    </a:cubicBezTo>
                    <a:cubicBezTo>
                      <a:pt x="1894827" y="2668623"/>
                      <a:pt x="1893022" y="2669751"/>
                      <a:pt x="1890766" y="2671105"/>
                    </a:cubicBezTo>
                    <a:cubicBezTo>
                      <a:pt x="1879709" y="2677649"/>
                      <a:pt x="1858949" y="2689608"/>
                      <a:pt x="1853534" y="2696603"/>
                    </a:cubicBezTo>
                    <a:cubicBezTo>
                      <a:pt x="1849247" y="2702244"/>
                      <a:pt x="1839093" y="2706532"/>
                      <a:pt x="1830744" y="2709916"/>
                    </a:cubicBezTo>
                    <a:cubicBezTo>
                      <a:pt x="1826456" y="2711722"/>
                      <a:pt x="1822169" y="2713527"/>
                      <a:pt x="1820815" y="2714655"/>
                    </a:cubicBezTo>
                    <a:cubicBezTo>
                      <a:pt x="1819236" y="2716235"/>
                      <a:pt x="1815400" y="2718491"/>
                      <a:pt x="1809984" y="2721876"/>
                    </a:cubicBezTo>
                    <a:cubicBezTo>
                      <a:pt x="1801184" y="2727291"/>
                      <a:pt x="1789451" y="2734738"/>
                      <a:pt x="1785614" y="2739702"/>
                    </a:cubicBezTo>
                    <a:cubicBezTo>
                      <a:pt x="1779522" y="2748276"/>
                      <a:pt x="1776137" y="2757528"/>
                      <a:pt x="1777040" y="2764297"/>
                    </a:cubicBezTo>
                    <a:cubicBezTo>
                      <a:pt x="1777266" y="2767005"/>
                      <a:pt x="1778619" y="2768810"/>
                      <a:pt x="1779973" y="2769036"/>
                    </a:cubicBezTo>
                    <a:cubicBezTo>
                      <a:pt x="1781327" y="2769261"/>
                      <a:pt x="1783358" y="2767907"/>
                      <a:pt x="1785163" y="2763846"/>
                    </a:cubicBezTo>
                    <a:cubicBezTo>
                      <a:pt x="1785840" y="2762041"/>
                      <a:pt x="1786968" y="2760461"/>
                      <a:pt x="1788548" y="2760235"/>
                    </a:cubicBezTo>
                    <a:cubicBezTo>
                      <a:pt x="1789451" y="2760235"/>
                      <a:pt x="1790353" y="2760687"/>
                      <a:pt x="1790804" y="2761589"/>
                    </a:cubicBezTo>
                    <a:cubicBezTo>
                      <a:pt x="1792835" y="2764748"/>
                      <a:pt x="1791707" y="2777610"/>
                      <a:pt x="1788773" y="2782574"/>
                    </a:cubicBezTo>
                    <a:cubicBezTo>
                      <a:pt x="1784938" y="2789344"/>
                      <a:pt x="1779748" y="2793180"/>
                      <a:pt x="1775009" y="2792503"/>
                    </a:cubicBezTo>
                    <a:cubicBezTo>
                      <a:pt x="1774332" y="2792503"/>
                      <a:pt x="1773655" y="2792277"/>
                      <a:pt x="1772527" y="2792052"/>
                    </a:cubicBezTo>
                    <a:cubicBezTo>
                      <a:pt x="1763952" y="2790246"/>
                      <a:pt x="1763050" y="2791149"/>
                      <a:pt x="1762824" y="2791600"/>
                    </a:cubicBezTo>
                    <a:cubicBezTo>
                      <a:pt x="1762373" y="2793180"/>
                      <a:pt x="1762599" y="2795436"/>
                      <a:pt x="1763727" y="2796565"/>
                    </a:cubicBezTo>
                    <a:cubicBezTo>
                      <a:pt x="1765081" y="2797918"/>
                      <a:pt x="1767337" y="2797693"/>
                      <a:pt x="1768917" y="2797241"/>
                    </a:cubicBezTo>
                    <a:cubicBezTo>
                      <a:pt x="1774332" y="2795888"/>
                      <a:pt x="1776589" y="2794308"/>
                      <a:pt x="1778845" y="2792729"/>
                    </a:cubicBezTo>
                    <a:cubicBezTo>
                      <a:pt x="1779748" y="2792052"/>
                      <a:pt x="1780650" y="2791375"/>
                      <a:pt x="1781553" y="2790923"/>
                    </a:cubicBezTo>
                    <a:cubicBezTo>
                      <a:pt x="1783132" y="2790021"/>
                      <a:pt x="1784035" y="2790698"/>
                      <a:pt x="1784486" y="2791375"/>
                    </a:cubicBezTo>
                    <a:cubicBezTo>
                      <a:pt x="1787194" y="2794985"/>
                      <a:pt x="1770722" y="2813488"/>
                      <a:pt x="1764629" y="2819129"/>
                    </a:cubicBezTo>
                    <a:cubicBezTo>
                      <a:pt x="1758537" y="2824545"/>
                      <a:pt x="1749060" y="2827027"/>
                      <a:pt x="1739808" y="2829283"/>
                    </a:cubicBezTo>
                    <a:cubicBezTo>
                      <a:pt x="1731685" y="2831314"/>
                      <a:pt x="1723787" y="2833345"/>
                      <a:pt x="1719500" y="2837181"/>
                    </a:cubicBezTo>
                    <a:cubicBezTo>
                      <a:pt x="1712054" y="2843724"/>
                      <a:pt x="1697161" y="2843724"/>
                      <a:pt x="1685202" y="2843950"/>
                    </a:cubicBezTo>
                    <a:cubicBezTo>
                      <a:pt x="1679786" y="2843950"/>
                      <a:pt x="1675273" y="2843950"/>
                      <a:pt x="1672340" y="2844627"/>
                    </a:cubicBezTo>
                    <a:cubicBezTo>
                      <a:pt x="1670309" y="2845078"/>
                      <a:pt x="1668278" y="2845304"/>
                      <a:pt x="1666473" y="2845530"/>
                    </a:cubicBezTo>
                    <a:cubicBezTo>
                      <a:pt x="1659253" y="2846432"/>
                      <a:pt x="1653837" y="2847109"/>
                      <a:pt x="1649776" y="2854330"/>
                    </a:cubicBezTo>
                    <a:cubicBezTo>
                      <a:pt x="1647970" y="2857715"/>
                      <a:pt x="1647745" y="2858843"/>
                      <a:pt x="1647745" y="2860197"/>
                    </a:cubicBezTo>
                    <a:cubicBezTo>
                      <a:pt x="1647519" y="2863356"/>
                      <a:pt x="1646616" y="2866064"/>
                      <a:pt x="1636462" y="2877797"/>
                    </a:cubicBezTo>
                    <a:cubicBezTo>
                      <a:pt x="1630596" y="2884567"/>
                      <a:pt x="1626308" y="2888854"/>
                      <a:pt x="1623149" y="2891787"/>
                    </a:cubicBezTo>
                    <a:cubicBezTo>
                      <a:pt x="1617959" y="2896977"/>
                      <a:pt x="1616831" y="2898105"/>
                      <a:pt x="1616831" y="2902844"/>
                    </a:cubicBezTo>
                    <a:cubicBezTo>
                      <a:pt x="1616831" y="2912321"/>
                      <a:pt x="1614575" y="2915931"/>
                      <a:pt x="1609611" y="2922701"/>
                    </a:cubicBezTo>
                    <a:cubicBezTo>
                      <a:pt x="1604421" y="2929921"/>
                      <a:pt x="1590882" y="2926762"/>
                      <a:pt x="1585692" y="2925634"/>
                    </a:cubicBezTo>
                    <a:cubicBezTo>
                      <a:pt x="1585241" y="2925408"/>
                      <a:pt x="1584789" y="2925408"/>
                      <a:pt x="1584564" y="2925408"/>
                    </a:cubicBezTo>
                    <a:cubicBezTo>
                      <a:pt x="1582759" y="2924957"/>
                      <a:pt x="1581856" y="2923378"/>
                      <a:pt x="1580502" y="2921347"/>
                    </a:cubicBezTo>
                    <a:cubicBezTo>
                      <a:pt x="1578471" y="2917737"/>
                      <a:pt x="1575764" y="2912998"/>
                      <a:pt x="1567866" y="2912998"/>
                    </a:cubicBezTo>
                    <a:cubicBezTo>
                      <a:pt x="1555004" y="2912998"/>
                      <a:pt x="1525219" y="2928342"/>
                      <a:pt x="1519352" y="2940075"/>
                    </a:cubicBezTo>
                    <a:cubicBezTo>
                      <a:pt x="1517095" y="2944588"/>
                      <a:pt x="1516644" y="2948199"/>
                      <a:pt x="1516193" y="2952035"/>
                    </a:cubicBezTo>
                    <a:cubicBezTo>
                      <a:pt x="1515516" y="2958353"/>
                      <a:pt x="1514614" y="2964897"/>
                      <a:pt x="1505136" y="2973922"/>
                    </a:cubicBezTo>
                    <a:cubicBezTo>
                      <a:pt x="1500398" y="2978435"/>
                      <a:pt x="1496562" y="2981594"/>
                      <a:pt x="1493628" y="2983851"/>
                    </a:cubicBezTo>
                    <a:cubicBezTo>
                      <a:pt x="1487762" y="2988589"/>
                      <a:pt x="1485731" y="2990169"/>
                      <a:pt x="1485731" y="2995584"/>
                    </a:cubicBezTo>
                    <a:cubicBezTo>
                      <a:pt x="1485731" y="2998067"/>
                      <a:pt x="1485505" y="3001226"/>
                      <a:pt x="1485279" y="3004836"/>
                    </a:cubicBezTo>
                    <a:cubicBezTo>
                      <a:pt x="1484377" y="3015667"/>
                      <a:pt x="1483249" y="3032139"/>
                      <a:pt x="1487085" y="3046580"/>
                    </a:cubicBezTo>
                    <a:cubicBezTo>
                      <a:pt x="1489567" y="3056057"/>
                      <a:pt x="1492726" y="3063730"/>
                      <a:pt x="1495433" y="3070499"/>
                    </a:cubicBezTo>
                    <a:cubicBezTo>
                      <a:pt x="1498367" y="3077720"/>
                      <a:pt x="1501075" y="3084038"/>
                      <a:pt x="1501977" y="3090807"/>
                    </a:cubicBezTo>
                    <a:cubicBezTo>
                      <a:pt x="1502880" y="3096900"/>
                      <a:pt x="1500849" y="3102541"/>
                      <a:pt x="1498592" y="3108633"/>
                    </a:cubicBezTo>
                    <a:cubicBezTo>
                      <a:pt x="1496111" y="3115854"/>
                      <a:pt x="1493403" y="3123300"/>
                      <a:pt x="1494982" y="3132777"/>
                    </a:cubicBezTo>
                    <a:cubicBezTo>
                      <a:pt x="1496336" y="3140224"/>
                      <a:pt x="1496336" y="3146542"/>
                      <a:pt x="1496562" y="3152183"/>
                    </a:cubicBezTo>
                    <a:cubicBezTo>
                      <a:pt x="1496787" y="3160080"/>
                      <a:pt x="1496787" y="3165721"/>
                      <a:pt x="1500172" y="3168880"/>
                    </a:cubicBezTo>
                    <a:cubicBezTo>
                      <a:pt x="1506941" y="3175650"/>
                      <a:pt x="1511454" y="3197312"/>
                      <a:pt x="1510777" y="3207917"/>
                    </a:cubicBezTo>
                    <a:cubicBezTo>
                      <a:pt x="1509649" y="3225969"/>
                      <a:pt x="1511906" y="3240636"/>
                      <a:pt x="1517095" y="3249888"/>
                    </a:cubicBezTo>
                    <a:cubicBezTo>
                      <a:pt x="1524542" y="3263201"/>
                      <a:pt x="1527701" y="3273355"/>
                      <a:pt x="1522962" y="3288924"/>
                    </a:cubicBezTo>
                    <a:cubicBezTo>
                      <a:pt x="1520932" y="3295468"/>
                      <a:pt x="1517773" y="3299530"/>
                      <a:pt x="1514839" y="3303817"/>
                    </a:cubicBezTo>
                    <a:cubicBezTo>
                      <a:pt x="1510777" y="3309458"/>
                      <a:pt x="1507167" y="3314197"/>
                      <a:pt x="1507167" y="3324125"/>
                    </a:cubicBezTo>
                    <a:cubicBezTo>
                      <a:pt x="1507167" y="3330669"/>
                      <a:pt x="1507844" y="3334054"/>
                      <a:pt x="1508295" y="3336536"/>
                    </a:cubicBezTo>
                    <a:cubicBezTo>
                      <a:pt x="1509198" y="3341500"/>
                      <a:pt x="1509424" y="3344208"/>
                      <a:pt x="1505813" y="3355716"/>
                    </a:cubicBezTo>
                    <a:cubicBezTo>
                      <a:pt x="1500172" y="3373993"/>
                      <a:pt x="1498141" y="3378506"/>
                      <a:pt x="1491372" y="3392270"/>
                    </a:cubicBezTo>
                    <a:cubicBezTo>
                      <a:pt x="1485279" y="3404229"/>
                      <a:pt x="1473997" y="3420250"/>
                      <a:pt x="1460910" y="3434692"/>
                    </a:cubicBezTo>
                    <a:cubicBezTo>
                      <a:pt x="1457299" y="3438753"/>
                      <a:pt x="1453463" y="3441461"/>
                      <a:pt x="1450079" y="3443943"/>
                    </a:cubicBezTo>
                    <a:cubicBezTo>
                      <a:pt x="1443309" y="3448682"/>
                      <a:pt x="1439022" y="3451841"/>
                      <a:pt x="1440150" y="3462220"/>
                    </a:cubicBezTo>
                    <a:cubicBezTo>
                      <a:pt x="1441053" y="3469441"/>
                      <a:pt x="1442858" y="3477790"/>
                      <a:pt x="1444663" y="3486139"/>
                    </a:cubicBezTo>
                    <a:cubicBezTo>
                      <a:pt x="1447145" y="3497647"/>
                      <a:pt x="1449402" y="3507350"/>
                      <a:pt x="1448274" y="3511863"/>
                    </a:cubicBezTo>
                    <a:lnTo>
                      <a:pt x="1448048" y="3512314"/>
                    </a:lnTo>
                    <a:cubicBezTo>
                      <a:pt x="1446243" y="3518858"/>
                      <a:pt x="1444663" y="3524499"/>
                      <a:pt x="1448725" y="3531042"/>
                    </a:cubicBezTo>
                    <a:cubicBezTo>
                      <a:pt x="1454140" y="3540294"/>
                      <a:pt x="1457074" y="3558346"/>
                      <a:pt x="1457074" y="3580910"/>
                    </a:cubicBezTo>
                    <a:cubicBezTo>
                      <a:pt x="1457074" y="3592418"/>
                      <a:pt x="1456622" y="3601218"/>
                      <a:pt x="1456171" y="3609116"/>
                    </a:cubicBezTo>
                    <a:cubicBezTo>
                      <a:pt x="1455720" y="3618368"/>
                      <a:pt x="1455268" y="3625814"/>
                      <a:pt x="1455945" y="3633486"/>
                    </a:cubicBezTo>
                    <a:lnTo>
                      <a:pt x="1455945" y="3633937"/>
                    </a:lnTo>
                    <a:cubicBezTo>
                      <a:pt x="1457299" y="3649056"/>
                      <a:pt x="1459104" y="3669815"/>
                      <a:pt x="1456397" y="3678164"/>
                    </a:cubicBezTo>
                    <a:lnTo>
                      <a:pt x="1456171" y="3678615"/>
                    </a:lnTo>
                    <a:cubicBezTo>
                      <a:pt x="1454366" y="3684707"/>
                      <a:pt x="1453012" y="3688544"/>
                      <a:pt x="1450079" y="3690123"/>
                    </a:cubicBezTo>
                    <a:cubicBezTo>
                      <a:pt x="1448725" y="3690800"/>
                      <a:pt x="1446920" y="3690800"/>
                      <a:pt x="1445114" y="3690123"/>
                    </a:cubicBezTo>
                    <a:cubicBezTo>
                      <a:pt x="1443986" y="3689672"/>
                      <a:pt x="1442858" y="3689221"/>
                      <a:pt x="1441730" y="3688544"/>
                    </a:cubicBezTo>
                    <a:cubicBezTo>
                      <a:pt x="1436766" y="3686287"/>
                      <a:pt x="1429996" y="3683128"/>
                      <a:pt x="1418488" y="3683128"/>
                    </a:cubicBezTo>
                    <a:cubicBezTo>
                      <a:pt x="1416006" y="3683128"/>
                      <a:pt x="1413298" y="3683128"/>
                      <a:pt x="1410816" y="3683128"/>
                    </a:cubicBezTo>
                    <a:cubicBezTo>
                      <a:pt x="1399083" y="3682903"/>
                      <a:pt x="1388026" y="3682677"/>
                      <a:pt x="1382610" y="3688318"/>
                    </a:cubicBezTo>
                    <a:cubicBezTo>
                      <a:pt x="1375841" y="3695539"/>
                      <a:pt x="1374939" y="3698021"/>
                      <a:pt x="1372231" y="3709980"/>
                    </a:cubicBezTo>
                    <a:lnTo>
                      <a:pt x="1371779" y="3712236"/>
                    </a:lnTo>
                    <a:cubicBezTo>
                      <a:pt x="1369297" y="3723068"/>
                      <a:pt x="1367267" y="3731868"/>
                      <a:pt x="1357789" y="3741345"/>
                    </a:cubicBezTo>
                    <a:cubicBezTo>
                      <a:pt x="1347861" y="3751273"/>
                      <a:pt x="1331840" y="3776771"/>
                      <a:pt x="1328681" y="3787602"/>
                    </a:cubicBezTo>
                    <a:cubicBezTo>
                      <a:pt x="1325748" y="3797756"/>
                      <a:pt x="1333194" y="3813100"/>
                      <a:pt x="1339286" y="3816936"/>
                    </a:cubicBezTo>
                    <a:cubicBezTo>
                      <a:pt x="1340415" y="3817613"/>
                      <a:pt x="1341317" y="3818290"/>
                      <a:pt x="1342220" y="3818741"/>
                    </a:cubicBezTo>
                    <a:cubicBezTo>
                      <a:pt x="1346281" y="3821449"/>
                      <a:pt x="1347861" y="3822352"/>
                      <a:pt x="1353728" y="3823254"/>
                    </a:cubicBezTo>
                    <a:cubicBezTo>
                      <a:pt x="1356661" y="3823706"/>
                      <a:pt x="1358015" y="3824834"/>
                      <a:pt x="1358241" y="3825962"/>
                    </a:cubicBezTo>
                    <a:cubicBezTo>
                      <a:pt x="1358692" y="3827090"/>
                      <a:pt x="1358466" y="3828444"/>
                      <a:pt x="1357564" y="3829347"/>
                    </a:cubicBezTo>
                    <a:cubicBezTo>
                      <a:pt x="1355307" y="3832280"/>
                      <a:pt x="1348087" y="3834311"/>
                      <a:pt x="1337481" y="3832506"/>
                    </a:cubicBezTo>
                    <a:cubicBezTo>
                      <a:pt x="1334548" y="3832054"/>
                      <a:pt x="1332291" y="3831603"/>
                      <a:pt x="1330035" y="3831152"/>
                    </a:cubicBezTo>
                    <a:cubicBezTo>
                      <a:pt x="1319655" y="3829347"/>
                      <a:pt x="1317173" y="3828895"/>
                      <a:pt x="1311758" y="3831377"/>
                    </a:cubicBezTo>
                    <a:cubicBezTo>
                      <a:pt x="1308824" y="3832732"/>
                      <a:pt x="1305439" y="3833860"/>
                      <a:pt x="1301604" y="3835214"/>
                    </a:cubicBezTo>
                    <a:cubicBezTo>
                      <a:pt x="1295737" y="3837244"/>
                      <a:pt x="1288967" y="3839727"/>
                      <a:pt x="1282649" y="3843111"/>
                    </a:cubicBezTo>
                    <a:cubicBezTo>
                      <a:pt x="1274526" y="3847624"/>
                      <a:pt x="1271141" y="3848075"/>
                      <a:pt x="1265726" y="3848978"/>
                    </a:cubicBezTo>
                    <a:cubicBezTo>
                      <a:pt x="1264146" y="3849204"/>
                      <a:pt x="1262115" y="3849429"/>
                      <a:pt x="1259859" y="3849881"/>
                    </a:cubicBezTo>
                    <a:cubicBezTo>
                      <a:pt x="1246771" y="3852588"/>
                      <a:pt x="1227592" y="3859809"/>
                      <a:pt x="1226012" y="3867706"/>
                    </a:cubicBezTo>
                    <a:cubicBezTo>
                      <a:pt x="1225109" y="3872671"/>
                      <a:pt x="1223079" y="3876732"/>
                      <a:pt x="1221048" y="3880568"/>
                    </a:cubicBezTo>
                    <a:cubicBezTo>
                      <a:pt x="1218791" y="3885081"/>
                      <a:pt x="1216535" y="3889369"/>
                      <a:pt x="1216761" y="3894107"/>
                    </a:cubicBezTo>
                    <a:cubicBezTo>
                      <a:pt x="1216986" y="3898620"/>
                      <a:pt x="1216761" y="3902682"/>
                      <a:pt x="1216309" y="3906743"/>
                    </a:cubicBezTo>
                    <a:cubicBezTo>
                      <a:pt x="1216084" y="3911482"/>
                      <a:pt x="1215632" y="3915995"/>
                      <a:pt x="1216084" y="3920733"/>
                    </a:cubicBezTo>
                    <a:cubicBezTo>
                      <a:pt x="1216986" y="3929985"/>
                      <a:pt x="1214278" y="3935626"/>
                      <a:pt x="1208637" y="3942847"/>
                    </a:cubicBezTo>
                    <a:cubicBezTo>
                      <a:pt x="1202996" y="3950067"/>
                      <a:pt x="1199386" y="3954580"/>
                      <a:pt x="1196001" y="3955709"/>
                    </a:cubicBezTo>
                    <a:cubicBezTo>
                      <a:pt x="1193745" y="3956611"/>
                      <a:pt x="1155836" y="3977822"/>
                      <a:pt x="1149969" y="3982561"/>
                    </a:cubicBezTo>
                    <a:cubicBezTo>
                      <a:pt x="1145456" y="3986396"/>
                      <a:pt x="1142749" y="3990232"/>
                      <a:pt x="1142072" y="3993617"/>
                    </a:cubicBezTo>
                    <a:cubicBezTo>
                      <a:pt x="1142072" y="3994294"/>
                      <a:pt x="1141620" y="3994971"/>
                      <a:pt x="1140943" y="3995422"/>
                    </a:cubicBezTo>
                    <a:cubicBezTo>
                      <a:pt x="1140943" y="3991361"/>
                      <a:pt x="1140041" y="3991586"/>
                      <a:pt x="1138687" y="3991586"/>
                    </a:cubicBezTo>
                    <a:close/>
                    <a:moveTo>
                      <a:pt x="701836" y="3039360"/>
                    </a:moveTo>
                    <a:cubicBezTo>
                      <a:pt x="701836" y="3039360"/>
                      <a:pt x="702062" y="3039585"/>
                      <a:pt x="702062" y="3039585"/>
                    </a:cubicBezTo>
                    <a:cubicBezTo>
                      <a:pt x="702739" y="3040262"/>
                      <a:pt x="703641" y="3040939"/>
                      <a:pt x="704769" y="3041842"/>
                    </a:cubicBezTo>
                    <a:cubicBezTo>
                      <a:pt x="710862" y="3046580"/>
                      <a:pt x="715826" y="3050868"/>
                      <a:pt x="716729" y="3054253"/>
                    </a:cubicBezTo>
                    <a:cubicBezTo>
                      <a:pt x="717180" y="3055832"/>
                      <a:pt x="717406" y="3058088"/>
                      <a:pt x="717857" y="3060345"/>
                    </a:cubicBezTo>
                    <a:cubicBezTo>
                      <a:pt x="718308" y="3063504"/>
                      <a:pt x="718759" y="3067114"/>
                      <a:pt x="719662" y="3069145"/>
                    </a:cubicBezTo>
                    <a:cubicBezTo>
                      <a:pt x="720339" y="3070725"/>
                      <a:pt x="722144" y="3071853"/>
                      <a:pt x="724401" y="3072981"/>
                    </a:cubicBezTo>
                    <a:cubicBezTo>
                      <a:pt x="725980" y="3073884"/>
                      <a:pt x="727560" y="3074561"/>
                      <a:pt x="728914" y="3075914"/>
                    </a:cubicBezTo>
                    <a:cubicBezTo>
                      <a:pt x="732750" y="3079299"/>
                      <a:pt x="734329" y="3084038"/>
                      <a:pt x="733652" y="3086745"/>
                    </a:cubicBezTo>
                    <a:cubicBezTo>
                      <a:pt x="733652" y="3087197"/>
                      <a:pt x="733426" y="3087648"/>
                      <a:pt x="733201" y="3088550"/>
                    </a:cubicBezTo>
                    <a:cubicBezTo>
                      <a:pt x="732298" y="3091258"/>
                      <a:pt x="730493" y="3096223"/>
                      <a:pt x="731847" y="3099382"/>
                    </a:cubicBezTo>
                    <a:cubicBezTo>
                      <a:pt x="733652" y="3104120"/>
                      <a:pt x="735683" y="3110213"/>
                      <a:pt x="735232" y="3115854"/>
                    </a:cubicBezTo>
                    <a:cubicBezTo>
                      <a:pt x="734780" y="3120141"/>
                      <a:pt x="735006" y="3121044"/>
                      <a:pt x="736586" y="3126233"/>
                    </a:cubicBezTo>
                    <a:lnTo>
                      <a:pt x="737037" y="3127813"/>
                    </a:lnTo>
                    <a:cubicBezTo>
                      <a:pt x="738165" y="3131423"/>
                      <a:pt x="739970" y="3135485"/>
                      <a:pt x="741775" y="3139998"/>
                    </a:cubicBezTo>
                    <a:cubicBezTo>
                      <a:pt x="743355" y="3143608"/>
                      <a:pt x="744934" y="3147219"/>
                      <a:pt x="746288" y="3151280"/>
                    </a:cubicBezTo>
                    <a:cubicBezTo>
                      <a:pt x="747868" y="3155342"/>
                      <a:pt x="750124" y="3158726"/>
                      <a:pt x="751929" y="3161660"/>
                    </a:cubicBezTo>
                    <a:cubicBezTo>
                      <a:pt x="754186" y="3165044"/>
                      <a:pt x="756217" y="3168204"/>
                      <a:pt x="756217" y="3171137"/>
                    </a:cubicBezTo>
                    <a:cubicBezTo>
                      <a:pt x="756217" y="3176101"/>
                      <a:pt x="756894" y="3183322"/>
                      <a:pt x="761632" y="3193250"/>
                    </a:cubicBezTo>
                    <a:cubicBezTo>
                      <a:pt x="765468" y="3201374"/>
                      <a:pt x="765694" y="3205435"/>
                      <a:pt x="765694" y="3210625"/>
                    </a:cubicBezTo>
                    <a:cubicBezTo>
                      <a:pt x="765694" y="3212656"/>
                      <a:pt x="765694" y="3214687"/>
                      <a:pt x="765920" y="3217395"/>
                    </a:cubicBezTo>
                    <a:cubicBezTo>
                      <a:pt x="766597" y="3223487"/>
                      <a:pt x="766145" y="3227774"/>
                      <a:pt x="765694" y="3232061"/>
                    </a:cubicBezTo>
                    <a:cubicBezTo>
                      <a:pt x="765468" y="3234995"/>
                      <a:pt x="765017" y="3237928"/>
                      <a:pt x="765017" y="3241538"/>
                    </a:cubicBezTo>
                    <a:cubicBezTo>
                      <a:pt x="765017" y="3245826"/>
                      <a:pt x="766822" y="3252144"/>
                      <a:pt x="768627" y="3258011"/>
                    </a:cubicBezTo>
                    <a:cubicBezTo>
                      <a:pt x="770432" y="3263878"/>
                      <a:pt x="772238" y="3269970"/>
                      <a:pt x="772463" y="3274709"/>
                    </a:cubicBezTo>
                    <a:cubicBezTo>
                      <a:pt x="772689" y="3280801"/>
                      <a:pt x="776525" y="3292535"/>
                      <a:pt x="779910" y="3302914"/>
                    </a:cubicBezTo>
                    <a:cubicBezTo>
                      <a:pt x="781489" y="3307879"/>
                      <a:pt x="783069" y="3312391"/>
                      <a:pt x="784197" y="3316228"/>
                    </a:cubicBezTo>
                    <a:cubicBezTo>
                      <a:pt x="785325" y="3320064"/>
                      <a:pt x="786679" y="3324351"/>
                      <a:pt x="788033" y="3328864"/>
                    </a:cubicBezTo>
                    <a:cubicBezTo>
                      <a:pt x="790966" y="3338341"/>
                      <a:pt x="793900" y="3348043"/>
                      <a:pt x="795479" y="3356393"/>
                    </a:cubicBezTo>
                    <a:cubicBezTo>
                      <a:pt x="796833" y="3363613"/>
                      <a:pt x="801120" y="3370834"/>
                      <a:pt x="805408" y="3378054"/>
                    </a:cubicBezTo>
                    <a:cubicBezTo>
                      <a:pt x="808115" y="3382793"/>
                      <a:pt x="810823" y="3387306"/>
                      <a:pt x="812854" y="3391819"/>
                    </a:cubicBezTo>
                    <a:cubicBezTo>
                      <a:pt x="817367" y="3402876"/>
                      <a:pt x="842188" y="3440107"/>
                      <a:pt x="847829" y="3447779"/>
                    </a:cubicBezTo>
                    <a:cubicBezTo>
                      <a:pt x="853922" y="3456128"/>
                      <a:pt x="862270" y="3466734"/>
                      <a:pt x="865429" y="3470118"/>
                    </a:cubicBezTo>
                    <a:lnTo>
                      <a:pt x="866558" y="3471246"/>
                    </a:lnTo>
                    <a:cubicBezTo>
                      <a:pt x="869717" y="3474405"/>
                      <a:pt x="871973" y="3476436"/>
                      <a:pt x="873327" y="3484108"/>
                    </a:cubicBezTo>
                    <a:cubicBezTo>
                      <a:pt x="874681" y="3491554"/>
                      <a:pt x="880096" y="3501032"/>
                      <a:pt x="884609" y="3503965"/>
                    </a:cubicBezTo>
                    <a:cubicBezTo>
                      <a:pt x="888671" y="3506447"/>
                      <a:pt x="890702" y="3511863"/>
                      <a:pt x="892733" y="3517053"/>
                    </a:cubicBezTo>
                    <a:cubicBezTo>
                      <a:pt x="893635" y="3519309"/>
                      <a:pt x="894538" y="3521565"/>
                      <a:pt x="895440" y="3523371"/>
                    </a:cubicBezTo>
                    <a:cubicBezTo>
                      <a:pt x="898825" y="3529914"/>
                      <a:pt x="906497" y="3548869"/>
                      <a:pt x="911687" y="3568048"/>
                    </a:cubicBezTo>
                    <a:cubicBezTo>
                      <a:pt x="914620" y="3579331"/>
                      <a:pt x="915297" y="3583393"/>
                      <a:pt x="915974" y="3587228"/>
                    </a:cubicBezTo>
                    <a:cubicBezTo>
                      <a:pt x="916426" y="3589936"/>
                      <a:pt x="916877" y="3592870"/>
                      <a:pt x="918231" y="3598511"/>
                    </a:cubicBezTo>
                    <a:cubicBezTo>
                      <a:pt x="921390" y="3611824"/>
                      <a:pt x="923646" y="3617691"/>
                      <a:pt x="937862" y="3650409"/>
                    </a:cubicBezTo>
                    <a:lnTo>
                      <a:pt x="941923" y="3659887"/>
                    </a:lnTo>
                    <a:cubicBezTo>
                      <a:pt x="952980" y="3685159"/>
                      <a:pt x="957042" y="3694636"/>
                      <a:pt x="960426" y="3709529"/>
                    </a:cubicBezTo>
                    <a:cubicBezTo>
                      <a:pt x="962457" y="3718329"/>
                      <a:pt x="962683" y="3728032"/>
                      <a:pt x="963134" y="3738186"/>
                    </a:cubicBezTo>
                    <a:cubicBezTo>
                      <a:pt x="963360" y="3747211"/>
                      <a:pt x="963586" y="3756689"/>
                      <a:pt x="965165" y="3766166"/>
                    </a:cubicBezTo>
                    <a:cubicBezTo>
                      <a:pt x="969227" y="3790536"/>
                      <a:pt x="974191" y="3807233"/>
                      <a:pt x="981412" y="3818516"/>
                    </a:cubicBezTo>
                    <a:cubicBezTo>
                      <a:pt x="987730" y="3828670"/>
                      <a:pt x="992468" y="3843788"/>
                      <a:pt x="995627" y="3853716"/>
                    </a:cubicBezTo>
                    <a:cubicBezTo>
                      <a:pt x="996756" y="3857327"/>
                      <a:pt x="997884" y="3860711"/>
                      <a:pt x="998561" y="3862517"/>
                    </a:cubicBezTo>
                    <a:cubicBezTo>
                      <a:pt x="999915" y="3865676"/>
                      <a:pt x="1002622" y="3868609"/>
                      <a:pt x="1005330" y="3871542"/>
                    </a:cubicBezTo>
                    <a:cubicBezTo>
                      <a:pt x="1008264" y="3874702"/>
                      <a:pt x="1010971" y="3877861"/>
                      <a:pt x="1011874" y="3881020"/>
                    </a:cubicBezTo>
                    <a:cubicBezTo>
                      <a:pt x="1013228" y="3886210"/>
                      <a:pt x="1029700" y="3913964"/>
                      <a:pt x="1043239" y="3925698"/>
                    </a:cubicBezTo>
                    <a:cubicBezTo>
                      <a:pt x="1048654" y="3930436"/>
                      <a:pt x="1051588" y="3933821"/>
                      <a:pt x="1054070" y="3936754"/>
                    </a:cubicBezTo>
                    <a:cubicBezTo>
                      <a:pt x="1057906" y="3941267"/>
                      <a:pt x="1061290" y="3945329"/>
                      <a:pt x="1073250" y="3952775"/>
                    </a:cubicBezTo>
                    <a:cubicBezTo>
                      <a:pt x="1085209" y="3960447"/>
                      <a:pt x="1091527" y="3967216"/>
                      <a:pt x="1096265" y="3971955"/>
                    </a:cubicBezTo>
                    <a:cubicBezTo>
                      <a:pt x="1099199" y="3975114"/>
                      <a:pt x="1101230" y="3977370"/>
                      <a:pt x="1103712" y="3978499"/>
                    </a:cubicBezTo>
                    <a:cubicBezTo>
                      <a:pt x="1105066" y="3979176"/>
                      <a:pt x="1106194" y="3979853"/>
                      <a:pt x="1107096" y="3980304"/>
                    </a:cubicBezTo>
                    <a:cubicBezTo>
                      <a:pt x="1110481" y="3982109"/>
                      <a:pt x="1111158" y="3982335"/>
                      <a:pt x="1116348" y="3983012"/>
                    </a:cubicBezTo>
                    <a:cubicBezTo>
                      <a:pt x="1118830" y="3983237"/>
                      <a:pt x="1122440" y="3984140"/>
                      <a:pt x="1126051" y="3985268"/>
                    </a:cubicBezTo>
                    <a:cubicBezTo>
                      <a:pt x="1130112" y="3986396"/>
                      <a:pt x="1136656" y="3987976"/>
                      <a:pt x="1138687" y="3987750"/>
                    </a:cubicBezTo>
                    <a:cubicBezTo>
                      <a:pt x="1139364" y="3984817"/>
                      <a:pt x="1141395" y="3980304"/>
                      <a:pt x="1147713" y="3974888"/>
                    </a:cubicBezTo>
                    <a:cubicBezTo>
                      <a:pt x="1153580" y="3969924"/>
                      <a:pt x="1191714" y="3948262"/>
                      <a:pt x="1194873" y="3947359"/>
                    </a:cubicBezTo>
                    <a:cubicBezTo>
                      <a:pt x="1197355" y="3946457"/>
                      <a:pt x="1201642" y="3941041"/>
                      <a:pt x="1205704" y="3935852"/>
                    </a:cubicBezTo>
                    <a:cubicBezTo>
                      <a:pt x="1210894" y="3929308"/>
                      <a:pt x="1213150" y="3924569"/>
                      <a:pt x="1212473" y="3916446"/>
                    </a:cubicBezTo>
                    <a:cubicBezTo>
                      <a:pt x="1212022" y="3911482"/>
                      <a:pt x="1212248" y="3906518"/>
                      <a:pt x="1212699" y="3901779"/>
                    </a:cubicBezTo>
                    <a:cubicBezTo>
                      <a:pt x="1212925" y="3897717"/>
                      <a:pt x="1213150" y="3893656"/>
                      <a:pt x="1212925" y="3889594"/>
                    </a:cubicBezTo>
                    <a:cubicBezTo>
                      <a:pt x="1212699" y="3883953"/>
                      <a:pt x="1215181" y="3878989"/>
                      <a:pt x="1217663" y="3874250"/>
                    </a:cubicBezTo>
                    <a:cubicBezTo>
                      <a:pt x="1219694" y="3870640"/>
                      <a:pt x="1221499" y="3866804"/>
                      <a:pt x="1222402" y="3862291"/>
                    </a:cubicBezTo>
                    <a:cubicBezTo>
                      <a:pt x="1224884" y="3848527"/>
                      <a:pt x="1258731" y="3841532"/>
                      <a:pt x="1259182" y="3841532"/>
                    </a:cubicBezTo>
                    <a:cubicBezTo>
                      <a:pt x="1261438" y="3841080"/>
                      <a:pt x="1263469" y="3840855"/>
                      <a:pt x="1265049" y="3840403"/>
                    </a:cubicBezTo>
                    <a:cubicBezTo>
                      <a:pt x="1270013" y="3839727"/>
                      <a:pt x="1273172" y="3839050"/>
                      <a:pt x="1280618" y="3834988"/>
                    </a:cubicBezTo>
                    <a:cubicBezTo>
                      <a:pt x="1287162" y="3831377"/>
                      <a:pt x="1293932" y="3829121"/>
                      <a:pt x="1300024" y="3826865"/>
                    </a:cubicBezTo>
                    <a:cubicBezTo>
                      <a:pt x="1303634" y="3825511"/>
                      <a:pt x="1307245" y="3824382"/>
                      <a:pt x="1309952" y="3823029"/>
                    </a:cubicBezTo>
                    <a:cubicBezTo>
                      <a:pt x="1316270" y="3820095"/>
                      <a:pt x="1319655" y="3820546"/>
                      <a:pt x="1330486" y="3822577"/>
                    </a:cubicBezTo>
                    <a:cubicBezTo>
                      <a:pt x="1332517" y="3823029"/>
                      <a:pt x="1334999" y="3823480"/>
                      <a:pt x="1337933" y="3823931"/>
                    </a:cubicBezTo>
                    <a:cubicBezTo>
                      <a:pt x="1347861" y="3825511"/>
                      <a:pt x="1353051" y="3823480"/>
                      <a:pt x="1354179" y="3822352"/>
                    </a:cubicBezTo>
                    <a:cubicBezTo>
                      <a:pt x="1353953" y="3822352"/>
                      <a:pt x="1353502" y="3822126"/>
                      <a:pt x="1352825" y="3822126"/>
                    </a:cubicBezTo>
                    <a:cubicBezTo>
                      <a:pt x="1346056" y="3821223"/>
                      <a:pt x="1344025" y="3819870"/>
                      <a:pt x="1339738" y="3817162"/>
                    </a:cubicBezTo>
                    <a:cubicBezTo>
                      <a:pt x="1338835" y="3816711"/>
                      <a:pt x="1337933" y="3816034"/>
                      <a:pt x="1337030" y="3815357"/>
                    </a:cubicBezTo>
                    <a:cubicBezTo>
                      <a:pt x="1329809" y="3810618"/>
                      <a:pt x="1321460" y="3793695"/>
                      <a:pt x="1325071" y="3781735"/>
                    </a:cubicBezTo>
                    <a:cubicBezTo>
                      <a:pt x="1328455" y="3770453"/>
                      <a:pt x="1344928" y="3744052"/>
                      <a:pt x="1355082" y="3733898"/>
                    </a:cubicBezTo>
                    <a:cubicBezTo>
                      <a:pt x="1363882" y="3725098"/>
                      <a:pt x="1365687" y="3717201"/>
                      <a:pt x="1368169" y="3706595"/>
                    </a:cubicBezTo>
                    <a:lnTo>
                      <a:pt x="1368620" y="3704339"/>
                    </a:lnTo>
                    <a:cubicBezTo>
                      <a:pt x="1371554" y="3692154"/>
                      <a:pt x="1372456" y="3688995"/>
                      <a:pt x="1379903" y="3680871"/>
                    </a:cubicBezTo>
                    <a:cubicBezTo>
                      <a:pt x="1386446" y="3674102"/>
                      <a:pt x="1398180" y="3674328"/>
                      <a:pt x="1410816" y="3674553"/>
                    </a:cubicBezTo>
                    <a:cubicBezTo>
                      <a:pt x="1413298" y="3674553"/>
                      <a:pt x="1415780" y="3674553"/>
                      <a:pt x="1418263" y="3674553"/>
                    </a:cubicBezTo>
                    <a:cubicBezTo>
                      <a:pt x="1430673" y="3674553"/>
                      <a:pt x="1438119" y="3677938"/>
                      <a:pt x="1443084" y="3680420"/>
                    </a:cubicBezTo>
                    <a:cubicBezTo>
                      <a:pt x="1444212" y="3680871"/>
                      <a:pt x="1445340" y="3681548"/>
                      <a:pt x="1446243" y="3681774"/>
                    </a:cubicBezTo>
                    <a:cubicBezTo>
                      <a:pt x="1447597" y="3682225"/>
                      <a:pt x="1448048" y="3682000"/>
                      <a:pt x="1448274" y="3682000"/>
                    </a:cubicBezTo>
                    <a:cubicBezTo>
                      <a:pt x="1449853" y="3681323"/>
                      <a:pt x="1450981" y="3677261"/>
                      <a:pt x="1452335" y="3672748"/>
                    </a:cubicBezTo>
                    <a:lnTo>
                      <a:pt x="1452561" y="3672297"/>
                    </a:lnTo>
                    <a:cubicBezTo>
                      <a:pt x="1455043" y="3664625"/>
                      <a:pt x="1453012" y="3643414"/>
                      <a:pt x="1451884" y="3629424"/>
                    </a:cubicBezTo>
                    <a:lnTo>
                      <a:pt x="1451884" y="3628973"/>
                    </a:lnTo>
                    <a:cubicBezTo>
                      <a:pt x="1451207" y="3621075"/>
                      <a:pt x="1451658" y="3613629"/>
                      <a:pt x="1452109" y="3604152"/>
                    </a:cubicBezTo>
                    <a:cubicBezTo>
                      <a:pt x="1452561" y="3596480"/>
                      <a:pt x="1453012" y="3587454"/>
                      <a:pt x="1453012" y="3576172"/>
                    </a:cubicBezTo>
                    <a:cubicBezTo>
                      <a:pt x="1453012" y="3554735"/>
                      <a:pt x="1450079" y="3536684"/>
                      <a:pt x="1445114" y="3528335"/>
                    </a:cubicBezTo>
                    <a:cubicBezTo>
                      <a:pt x="1440376" y="3520212"/>
                      <a:pt x="1442407" y="3513442"/>
                      <a:pt x="1444212" y="3506673"/>
                    </a:cubicBezTo>
                    <a:lnTo>
                      <a:pt x="1444438" y="3506222"/>
                    </a:lnTo>
                    <a:cubicBezTo>
                      <a:pt x="1445340" y="3502611"/>
                      <a:pt x="1443084" y="3492457"/>
                      <a:pt x="1440827" y="3482303"/>
                    </a:cubicBezTo>
                    <a:cubicBezTo>
                      <a:pt x="1439022" y="3473954"/>
                      <a:pt x="1436991" y="3465379"/>
                      <a:pt x="1436314" y="3457933"/>
                    </a:cubicBezTo>
                    <a:cubicBezTo>
                      <a:pt x="1434960" y="3445523"/>
                      <a:pt x="1440827" y="3441235"/>
                      <a:pt x="1447822" y="3436271"/>
                    </a:cubicBezTo>
                    <a:cubicBezTo>
                      <a:pt x="1450981" y="3434015"/>
                      <a:pt x="1454592" y="3431307"/>
                      <a:pt x="1457976" y="3427697"/>
                    </a:cubicBezTo>
                    <a:cubicBezTo>
                      <a:pt x="1470838" y="3413481"/>
                      <a:pt x="1481895" y="3397911"/>
                      <a:pt x="1487762" y="3386178"/>
                    </a:cubicBezTo>
                    <a:cubicBezTo>
                      <a:pt x="1494531" y="3372413"/>
                      <a:pt x="1496336" y="3368126"/>
                      <a:pt x="1501977" y="3350075"/>
                    </a:cubicBezTo>
                    <a:cubicBezTo>
                      <a:pt x="1505362" y="3339018"/>
                      <a:pt x="1505136" y="3337213"/>
                      <a:pt x="1504234" y="3332700"/>
                    </a:cubicBezTo>
                    <a:cubicBezTo>
                      <a:pt x="1503782" y="3329992"/>
                      <a:pt x="1503106" y="3326382"/>
                      <a:pt x="1503106" y="3319612"/>
                    </a:cubicBezTo>
                    <a:cubicBezTo>
                      <a:pt x="1503106" y="3308555"/>
                      <a:pt x="1507393" y="3302689"/>
                      <a:pt x="1511680" y="3297048"/>
                    </a:cubicBezTo>
                    <a:cubicBezTo>
                      <a:pt x="1514614" y="3293212"/>
                      <a:pt x="1517547" y="3289150"/>
                      <a:pt x="1519352" y="3283283"/>
                    </a:cubicBezTo>
                    <a:cubicBezTo>
                      <a:pt x="1523865" y="3268842"/>
                      <a:pt x="1521157" y="3259816"/>
                      <a:pt x="1513936" y="3247180"/>
                    </a:cubicBezTo>
                    <a:cubicBezTo>
                      <a:pt x="1506716" y="3234769"/>
                      <a:pt x="1506265" y="3216266"/>
                      <a:pt x="1507167" y="3203179"/>
                    </a:cubicBezTo>
                    <a:cubicBezTo>
                      <a:pt x="1507844" y="3193702"/>
                      <a:pt x="1503557" y="3172942"/>
                      <a:pt x="1497690" y="3167076"/>
                    </a:cubicBezTo>
                    <a:cubicBezTo>
                      <a:pt x="1493403" y="3162788"/>
                      <a:pt x="1493177" y="3156244"/>
                      <a:pt x="1492951" y="3147896"/>
                    </a:cubicBezTo>
                    <a:cubicBezTo>
                      <a:pt x="1492726" y="3142480"/>
                      <a:pt x="1492726" y="3136162"/>
                      <a:pt x="1491372" y="3129167"/>
                    </a:cubicBezTo>
                    <a:cubicBezTo>
                      <a:pt x="1489567" y="3118561"/>
                      <a:pt x="1492500" y="3110438"/>
                      <a:pt x="1495208" y="3102992"/>
                    </a:cubicBezTo>
                    <a:cubicBezTo>
                      <a:pt x="1497239" y="3097125"/>
                      <a:pt x="1499044" y="3092161"/>
                      <a:pt x="1498367" y="3086971"/>
                    </a:cubicBezTo>
                    <a:cubicBezTo>
                      <a:pt x="1497464" y="3080879"/>
                      <a:pt x="1494982" y="3074786"/>
                      <a:pt x="1492049" y="3067566"/>
                    </a:cubicBezTo>
                    <a:cubicBezTo>
                      <a:pt x="1489115" y="3060571"/>
                      <a:pt x="1485956" y="3052898"/>
                      <a:pt x="1483474" y="3043196"/>
                    </a:cubicBezTo>
                    <a:cubicBezTo>
                      <a:pt x="1479638" y="3028303"/>
                      <a:pt x="1480767" y="3011380"/>
                      <a:pt x="1481669" y="3000323"/>
                    </a:cubicBezTo>
                    <a:cubicBezTo>
                      <a:pt x="1481895" y="2996713"/>
                      <a:pt x="1482120" y="2993554"/>
                      <a:pt x="1482120" y="2991297"/>
                    </a:cubicBezTo>
                    <a:cubicBezTo>
                      <a:pt x="1482120" y="2984077"/>
                      <a:pt x="1485279" y="2981594"/>
                      <a:pt x="1491372" y="2976630"/>
                    </a:cubicBezTo>
                    <a:cubicBezTo>
                      <a:pt x="1494305" y="2974148"/>
                      <a:pt x="1497916" y="2971215"/>
                      <a:pt x="1502654" y="2966927"/>
                    </a:cubicBezTo>
                    <a:cubicBezTo>
                      <a:pt x="1511229" y="2958804"/>
                      <a:pt x="1511680" y="2953389"/>
                      <a:pt x="1512583" y="2947296"/>
                    </a:cubicBezTo>
                    <a:cubicBezTo>
                      <a:pt x="1513034" y="2943234"/>
                      <a:pt x="1513485" y="2939173"/>
                      <a:pt x="1516193" y="2934209"/>
                    </a:cubicBezTo>
                    <a:cubicBezTo>
                      <a:pt x="1522737" y="2921347"/>
                      <a:pt x="1553876" y="2904875"/>
                      <a:pt x="1568092" y="2904875"/>
                    </a:cubicBezTo>
                    <a:cubicBezTo>
                      <a:pt x="1578246" y="2904875"/>
                      <a:pt x="1581856" y="2911193"/>
                      <a:pt x="1583887" y="2915254"/>
                    </a:cubicBezTo>
                    <a:cubicBezTo>
                      <a:pt x="1584338" y="2916157"/>
                      <a:pt x="1585015" y="2917285"/>
                      <a:pt x="1585466" y="2917511"/>
                    </a:cubicBezTo>
                    <a:cubicBezTo>
                      <a:pt x="1585692" y="2917511"/>
                      <a:pt x="1586143" y="2917737"/>
                      <a:pt x="1586595" y="2917737"/>
                    </a:cubicBezTo>
                    <a:cubicBezTo>
                      <a:pt x="1590656" y="2918639"/>
                      <a:pt x="1602841" y="2921572"/>
                      <a:pt x="1606677" y="2916383"/>
                    </a:cubicBezTo>
                    <a:cubicBezTo>
                      <a:pt x="1611641" y="2909613"/>
                      <a:pt x="1613221" y="2906905"/>
                      <a:pt x="1613221" y="2898782"/>
                    </a:cubicBezTo>
                    <a:cubicBezTo>
                      <a:pt x="1613221" y="2892464"/>
                      <a:pt x="1615252" y="2890433"/>
                      <a:pt x="1620667" y="2885018"/>
                    </a:cubicBezTo>
                    <a:cubicBezTo>
                      <a:pt x="1623826" y="2882084"/>
                      <a:pt x="1627888" y="2878023"/>
                      <a:pt x="1633755" y="2871253"/>
                    </a:cubicBezTo>
                    <a:cubicBezTo>
                      <a:pt x="1643683" y="2859745"/>
                      <a:pt x="1643909" y="2857715"/>
                      <a:pt x="1644134" y="2855684"/>
                    </a:cubicBezTo>
                    <a:cubicBezTo>
                      <a:pt x="1644360" y="2854104"/>
                      <a:pt x="1644360" y="2852299"/>
                      <a:pt x="1646616" y="2848238"/>
                    </a:cubicBezTo>
                    <a:cubicBezTo>
                      <a:pt x="1651581" y="2839437"/>
                      <a:pt x="1658576" y="2838535"/>
                      <a:pt x="1666022" y="2837406"/>
                    </a:cubicBezTo>
                    <a:cubicBezTo>
                      <a:pt x="1667827" y="2837181"/>
                      <a:pt x="1669632" y="2836955"/>
                      <a:pt x="1671663" y="2836504"/>
                    </a:cubicBezTo>
                    <a:cubicBezTo>
                      <a:pt x="1675048" y="2835827"/>
                      <a:pt x="1679786" y="2835827"/>
                      <a:pt x="1685202" y="2835827"/>
                    </a:cubicBezTo>
                    <a:cubicBezTo>
                      <a:pt x="1696710" y="2835827"/>
                      <a:pt x="1710700" y="2835601"/>
                      <a:pt x="1717244" y="2829960"/>
                    </a:cubicBezTo>
                    <a:cubicBezTo>
                      <a:pt x="1722434" y="2825447"/>
                      <a:pt x="1730557" y="2823416"/>
                      <a:pt x="1739131" y="2821160"/>
                    </a:cubicBezTo>
                    <a:cubicBezTo>
                      <a:pt x="1747706" y="2818903"/>
                      <a:pt x="1756732" y="2816647"/>
                      <a:pt x="1762373" y="2811683"/>
                    </a:cubicBezTo>
                    <a:cubicBezTo>
                      <a:pt x="1768917" y="2806042"/>
                      <a:pt x="1774783" y="2798370"/>
                      <a:pt x="1778394" y="2793180"/>
                    </a:cubicBezTo>
                    <a:cubicBezTo>
                      <a:pt x="1776363" y="2794308"/>
                      <a:pt x="1773881" y="2795436"/>
                      <a:pt x="1770045" y="2796339"/>
                    </a:cubicBezTo>
                    <a:cubicBezTo>
                      <a:pt x="1765306" y="2797467"/>
                      <a:pt x="1762599" y="2796113"/>
                      <a:pt x="1761245" y="2794534"/>
                    </a:cubicBezTo>
                    <a:cubicBezTo>
                      <a:pt x="1758763" y="2792052"/>
                      <a:pt x="1758763" y="2788441"/>
                      <a:pt x="1759440" y="2785959"/>
                    </a:cubicBezTo>
                    <a:cubicBezTo>
                      <a:pt x="1760568" y="2781221"/>
                      <a:pt x="1768240" y="2782574"/>
                      <a:pt x="1773430" y="2783703"/>
                    </a:cubicBezTo>
                    <a:cubicBezTo>
                      <a:pt x="1774332" y="2783928"/>
                      <a:pt x="1775009" y="2783928"/>
                      <a:pt x="1775686" y="2784154"/>
                    </a:cubicBezTo>
                    <a:cubicBezTo>
                      <a:pt x="1778168" y="2784605"/>
                      <a:pt x="1782230" y="2782123"/>
                      <a:pt x="1785614" y="2776256"/>
                    </a:cubicBezTo>
                    <a:cubicBezTo>
                      <a:pt x="1787645" y="2772872"/>
                      <a:pt x="1788322" y="2765877"/>
                      <a:pt x="1788097" y="2761815"/>
                    </a:cubicBezTo>
                    <a:cubicBezTo>
                      <a:pt x="1784712" y="2768359"/>
                      <a:pt x="1780876" y="2768584"/>
                      <a:pt x="1779296" y="2768359"/>
                    </a:cubicBezTo>
                    <a:cubicBezTo>
                      <a:pt x="1776137" y="2767907"/>
                      <a:pt x="1773881" y="2764748"/>
                      <a:pt x="1773204" y="2760461"/>
                    </a:cubicBezTo>
                    <a:cubicBezTo>
                      <a:pt x="1772301" y="2752789"/>
                      <a:pt x="1775686" y="2742635"/>
                      <a:pt x="1782455" y="2733384"/>
                    </a:cubicBezTo>
                    <a:cubicBezTo>
                      <a:pt x="1786517" y="2727742"/>
                      <a:pt x="1798476" y="2720296"/>
                      <a:pt x="1807954" y="2714429"/>
                    </a:cubicBezTo>
                    <a:cubicBezTo>
                      <a:pt x="1812466" y="2711496"/>
                      <a:pt x="1816754" y="2709014"/>
                      <a:pt x="1818108" y="2707660"/>
                    </a:cubicBezTo>
                    <a:cubicBezTo>
                      <a:pt x="1819913" y="2705855"/>
                      <a:pt x="1823749" y="2704275"/>
                      <a:pt x="1829164" y="2702019"/>
                    </a:cubicBezTo>
                    <a:cubicBezTo>
                      <a:pt x="1836836" y="2698860"/>
                      <a:pt x="1846539" y="2694798"/>
                      <a:pt x="1850375" y="2689834"/>
                    </a:cubicBezTo>
                    <a:cubicBezTo>
                      <a:pt x="1856242" y="2682388"/>
                      <a:pt x="1876550" y="2670654"/>
                      <a:pt x="1888509" y="2663433"/>
                    </a:cubicBezTo>
                    <a:cubicBezTo>
                      <a:pt x="1890766" y="2662079"/>
                      <a:pt x="1892571" y="2660951"/>
                      <a:pt x="1894150" y="2660274"/>
                    </a:cubicBezTo>
                    <a:cubicBezTo>
                      <a:pt x="1900694" y="2656213"/>
                      <a:pt x="1903853" y="2650346"/>
                      <a:pt x="1907915" y="2642674"/>
                    </a:cubicBezTo>
                    <a:cubicBezTo>
                      <a:pt x="1909269" y="2640192"/>
                      <a:pt x="1910622" y="2637484"/>
                      <a:pt x="1912202" y="2634776"/>
                    </a:cubicBezTo>
                    <a:cubicBezTo>
                      <a:pt x="1916264" y="2627781"/>
                      <a:pt x="1922130" y="2622817"/>
                      <a:pt x="1928223" y="2617627"/>
                    </a:cubicBezTo>
                    <a:cubicBezTo>
                      <a:pt x="1932510" y="2614017"/>
                      <a:pt x="1937023" y="2610181"/>
                      <a:pt x="1941536" y="2605442"/>
                    </a:cubicBezTo>
                    <a:cubicBezTo>
                      <a:pt x="1953270" y="2592806"/>
                      <a:pt x="1986891" y="2576560"/>
                      <a:pt x="2002460" y="2571144"/>
                    </a:cubicBezTo>
                    <a:cubicBezTo>
                      <a:pt x="2013517" y="2567308"/>
                      <a:pt x="2014645" y="2563246"/>
                      <a:pt x="2017127" y="2555349"/>
                    </a:cubicBezTo>
                    <a:cubicBezTo>
                      <a:pt x="2017804" y="2552641"/>
                      <a:pt x="2018707" y="2549482"/>
                      <a:pt x="2020286" y="2545872"/>
                    </a:cubicBezTo>
                    <a:cubicBezTo>
                      <a:pt x="2023671" y="2537297"/>
                      <a:pt x="2032246" y="2528271"/>
                      <a:pt x="2040369" y="2519697"/>
                    </a:cubicBezTo>
                    <a:cubicBezTo>
                      <a:pt x="2046236" y="2513604"/>
                      <a:pt x="2051651" y="2507737"/>
                      <a:pt x="2055262" y="2502322"/>
                    </a:cubicBezTo>
                    <a:cubicBezTo>
                      <a:pt x="2058646" y="2497132"/>
                      <a:pt x="2064513" y="2490363"/>
                      <a:pt x="2070831" y="2483142"/>
                    </a:cubicBezTo>
                    <a:cubicBezTo>
                      <a:pt x="2080083" y="2472762"/>
                      <a:pt x="2090462" y="2460803"/>
                      <a:pt x="2090688" y="2455839"/>
                    </a:cubicBezTo>
                    <a:cubicBezTo>
                      <a:pt x="2091139" y="2448618"/>
                      <a:pt x="2092268" y="2447039"/>
                      <a:pt x="2096780" y="2443203"/>
                    </a:cubicBezTo>
                    <a:cubicBezTo>
                      <a:pt x="2098360" y="2441849"/>
                      <a:pt x="2100391" y="2440044"/>
                      <a:pt x="2102873" y="2437561"/>
                    </a:cubicBezTo>
                    <a:cubicBezTo>
                      <a:pt x="2105581" y="2434854"/>
                      <a:pt x="2108289" y="2432372"/>
                      <a:pt x="2110996" y="2429664"/>
                    </a:cubicBezTo>
                    <a:cubicBezTo>
                      <a:pt x="2117991" y="2423120"/>
                      <a:pt x="2124535" y="2417028"/>
                      <a:pt x="2128371" y="2410484"/>
                    </a:cubicBezTo>
                    <a:cubicBezTo>
                      <a:pt x="2131304" y="2405745"/>
                      <a:pt x="2134915" y="2403489"/>
                      <a:pt x="2138300" y="2401684"/>
                    </a:cubicBezTo>
                    <a:cubicBezTo>
                      <a:pt x="2142135" y="2399427"/>
                      <a:pt x="2145294" y="2397622"/>
                      <a:pt x="2147551" y="2392432"/>
                    </a:cubicBezTo>
                    <a:cubicBezTo>
                      <a:pt x="2150484" y="2385663"/>
                      <a:pt x="2161767" y="2381150"/>
                      <a:pt x="2173500" y="2376411"/>
                    </a:cubicBezTo>
                    <a:cubicBezTo>
                      <a:pt x="2181849" y="2373027"/>
                      <a:pt x="2190649" y="2369642"/>
                      <a:pt x="2196065" y="2365355"/>
                    </a:cubicBezTo>
                    <a:cubicBezTo>
                      <a:pt x="2204865" y="2358360"/>
                      <a:pt x="2213665" y="2355878"/>
                      <a:pt x="2224722" y="2352719"/>
                    </a:cubicBezTo>
                    <a:cubicBezTo>
                      <a:pt x="2230589" y="2351139"/>
                      <a:pt x="2237132" y="2349108"/>
                      <a:pt x="2244804" y="2346175"/>
                    </a:cubicBezTo>
                    <a:cubicBezTo>
                      <a:pt x="2259246" y="2340759"/>
                      <a:pt x="2274815" y="2334216"/>
                      <a:pt x="2284292" y="2330605"/>
                    </a:cubicBezTo>
                    <a:cubicBezTo>
                      <a:pt x="2288805" y="2328800"/>
                      <a:pt x="2291964" y="2327446"/>
                      <a:pt x="2292867" y="2327221"/>
                    </a:cubicBezTo>
                    <a:cubicBezTo>
                      <a:pt x="2294221" y="2326769"/>
                      <a:pt x="2297606" y="2321579"/>
                      <a:pt x="2299185" y="2318646"/>
                    </a:cubicBezTo>
                    <a:cubicBezTo>
                      <a:pt x="2299862" y="2317518"/>
                      <a:pt x="2300539" y="2316390"/>
                      <a:pt x="2301216" y="2315487"/>
                    </a:cubicBezTo>
                    <a:cubicBezTo>
                      <a:pt x="2301893" y="2314359"/>
                      <a:pt x="2302796" y="2312554"/>
                      <a:pt x="2303924" y="2310523"/>
                    </a:cubicBezTo>
                    <a:cubicBezTo>
                      <a:pt x="2307083" y="2304430"/>
                      <a:pt x="2311596" y="2296081"/>
                      <a:pt x="2316560" y="2292697"/>
                    </a:cubicBezTo>
                    <a:cubicBezTo>
                      <a:pt x="2318591" y="2291343"/>
                      <a:pt x="2321750" y="2289538"/>
                      <a:pt x="2325134" y="2287281"/>
                    </a:cubicBezTo>
                    <a:cubicBezTo>
                      <a:pt x="2332129" y="2282994"/>
                      <a:pt x="2340704" y="2277578"/>
                      <a:pt x="2343186" y="2275322"/>
                    </a:cubicBezTo>
                    <a:cubicBezTo>
                      <a:pt x="2345668" y="2272840"/>
                      <a:pt x="2344540" y="2269230"/>
                      <a:pt x="2341832" y="2264040"/>
                    </a:cubicBezTo>
                    <a:cubicBezTo>
                      <a:pt x="2339124" y="2259076"/>
                      <a:pt x="2340253" y="2255916"/>
                      <a:pt x="2341381" y="2252081"/>
                    </a:cubicBezTo>
                    <a:lnTo>
                      <a:pt x="2341607" y="2251629"/>
                    </a:lnTo>
                    <a:cubicBezTo>
                      <a:pt x="2342961" y="2247342"/>
                      <a:pt x="2346120" y="2244408"/>
                      <a:pt x="2353566" y="2236962"/>
                    </a:cubicBezTo>
                    <a:cubicBezTo>
                      <a:pt x="2357402" y="2233352"/>
                      <a:pt x="2360561" y="2231321"/>
                      <a:pt x="2363494" y="2229290"/>
                    </a:cubicBezTo>
                    <a:cubicBezTo>
                      <a:pt x="2366202" y="2227485"/>
                      <a:pt x="2368458" y="2226131"/>
                      <a:pt x="2370264" y="2223875"/>
                    </a:cubicBezTo>
                    <a:cubicBezTo>
                      <a:pt x="2372971" y="2220264"/>
                      <a:pt x="2371618" y="2218685"/>
                      <a:pt x="2369361" y="2216203"/>
                    </a:cubicBezTo>
                    <a:cubicBezTo>
                      <a:pt x="2368684" y="2215526"/>
                      <a:pt x="2367782" y="2215526"/>
                      <a:pt x="2365525" y="2215977"/>
                    </a:cubicBezTo>
                    <a:cubicBezTo>
                      <a:pt x="2363720" y="2216203"/>
                      <a:pt x="2361464" y="2216428"/>
                      <a:pt x="2358756" y="2216203"/>
                    </a:cubicBezTo>
                    <a:cubicBezTo>
                      <a:pt x="2357402" y="2215977"/>
                      <a:pt x="2355145" y="2215752"/>
                      <a:pt x="2354920" y="2213946"/>
                    </a:cubicBezTo>
                    <a:cubicBezTo>
                      <a:pt x="2354694" y="2212141"/>
                      <a:pt x="2356499" y="2211238"/>
                      <a:pt x="2359433" y="2210110"/>
                    </a:cubicBezTo>
                    <a:cubicBezTo>
                      <a:pt x="2361012" y="2209433"/>
                      <a:pt x="2362592" y="2208756"/>
                      <a:pt x="2363946" y="2208079"/>
                    </a:cubicBezTo>
                    <a:cubicBezTo>
                      <a:pt x="2367782" y="2205823"/>
                      <a:pt x="2367782" y="2205823"/>
                      <a:pt x="2367782" y="2202664"/>
                    </a:cubicBezTo>
                    <a:cubicBezTo>
                      <a:pt x="2367782" y="2201084"/>
                      <a:pt x="2367330" y="2200633"/>
                      <a:pt x="2365074" y="2197925"/>
                    </a:cubicBezTo>
                    <a:cubicBezTo>
                      <a:pt x="2363043" y="2195669"/>
                      <a:pt x="2360110" y="2192059"/>
                      <a:pt x="2355822" y="2185515"/>
                    </a:cubicBezTo>
                    <a:lnTo>
                      <a:pt x="2355145" y="2184387"/>
                    </a:lnTo>
                    <a:cubicBezTo>
                      <a:pt x="2345668" y="2170397"/>
                      <a:pt x="2339576" y="2161145"/>
                      <a:pt x="2349504" y="2143770"/>
                    </a:cubicBezTo>
                    <a:cubicBezTo>
                      <a:pt x="2359433" y="2126396"/>
                      <a:pt x="2381772" y="2106539"/>
                      <a:pt x="2389218" y="2104959"/>
                    </a:cubicBezTo>
                    <a:cubicBezTo>
                      <a:pt x="2392377" y="2104282"/>
                      <a:pt x="2395085" y="2104508"/>
                      <a:pt x="2397793" y="2104959"/>
                    </a:cubicBezTo>
                    <a:cubicBezTo>
                      <a:pt x="2401403" y="2105411"/>
                      <a:pt x="2405013" y="2105862"/>
                      <a:pt x="2410203" y="2103831"/>
                    </a:cubicBezTo>
                    <a:cubicBezTo>
                      <a:pt x="2419229" y="2100221"/>
                      <a:pt x="2423742" y="2095256"/>
                      <a:pt x="2423967" y="2095256"/>
                    </a:cubicBezTo>
                    <a:lnTo>
                      <a:pt x="2424419" y="2094805"/>
                    </a:lnTo>
                    <a:lnTo>
                      <a:pt x="2425096" y="2094805"/>
                    </a:lnTo>
                    <a:cubicBezTo>
                      <a:pt x="2440891" y="2093226"/>
                      <a:pt x="2443824" y="2092097"/>
                      <a:pt x="2449691" y="2089841"/>
                    </a:cubicBezTo>
                    <a:cubicBezTo>
                      <a:pt x="2451271" y="2089164"/>
                      <a:pt x="2453301" y="2088487"/>
                      <a:pt x="2455784" y="2087584"/>
                    </a:cubicBezTo>
                    <a:cubicBezTo>
                      <a:pt x="2463907" y="2084877"/>
                      <a:pt x="2464132" y="2084651"/>
                      <a:pt x="2466163" y="2081492"/>
                    </a:cubicBezTo>
                    <a:cubicBezTo>
                      <a:pt x="2466840" y="2080364"/>
                      <a:pt x="2467743" y="2079010"/>
                      <a:pt x="2469322" y="2077205"/>
                    </a:cubicBezTo>
                    <a:cubicBezTo>
                      <a:pt x="2470450" y="2075851"/>
                      <a:pt x="2472030" y="2074046"/>
                      <a:pt x="2473610" y="2072015"/>
                    </a:cubicBezTo>
                    <a:cubicBezTo>
                      <a:pt x="2480379" y="2063892"/>
                      <a:pt x="2490533" y="2051932"/>
                      <a:pt x="2492113" y="2044486"/>
                    </a:cubicBezTo>
                    <a:cubicBezTo>
                      <a:pt x="2493466" y="2038394"/>
                      <a:pt x="2497302" y="2036137"/>
                      <a:pt x="2500687" y="2034332"/>
                    </a:cubicBezTo>
                    <a:cubicBezTo>
                      <a:pt x="2503395" y="2032978"/>
                      <a:pt x="2505651" y="2031624"/>
                      <a:pt x="2507005" y="2028691"/>
                    </a:cubicBezTo>
                    <a:cubicBezTo>
                      <a:pt x="2508810" y="2024855"/>
                      <a:pt x="2508134" y="2024178"/>
                      <a:pt x="2506554" y="2022147"/>
                    </a:cubicBezTo>
                    <a:cubicBezTo>
                      <a:pt x="2505426" y="2020793"/>
                      <a:pt x="2503846" y="2019214"/>
                      <a:pt x="2502944" y="2016280"/>
                    </a:cubicBezTo>
                    <a:cubicBezTo>
                      <a:pt x="2501815" y="2012895"/>
                      <a:pt x="2502718" y="2011542"/>
                      <a:pt x="2503846" y="2010865"/>
                    </a:cubicBezTo>
                    <a:cubicBezTo>
                      <a:pt x="2507005" y="2009060"/>
                      <a:pt x="2513098" y="2013798"/>
                      <a:pt x="2514000" y="2014926"/>
                    </a:cubicBezTo>
                    <a:cubicBezTo>
                      <a:pt x="2514226" y="2015378"/>
                      <a:pt x="2515354" y="2016055"/>
                      <a:pt x="2516257" y="2016506"/>
                    </a:cubicBezTo>
                    <a:cubicBezTo>
                      <a:pt x="2518062" y="2017634"/>
                      <a:pt x="2520093" y="2018988"/>
                      <a:pt x="2521221" y="2020793"/>
                    </a:cubicBezTo>
                    <a:cubicBezTo>
                      <a:pt x="2523026" y="2023501"/>
                      <a:pt x="2521898" y="2025306"/>
                      <a:pt x="2520995" y="2027111"/>
                    </a:cubicBezTo>
                    <a:cubicBezTo>
                      <a:pt x="2520544" y="2027788"/>
                      <a:pt x="2520093" y="2028691"/>
                      <a:pt x="2519641" y="2030045"/>
                    </a:cubicBezTo>
                    <a:lnTo>
                      <a:pt x="2519416" y="2030947"/>
                    </a:lnTo>
                    <a:cubicBezTo>
                      <a:pt x="2517836" y="2034783"/>
                      <a:pt x="2516708" y="2038168"/>
                      <a:pt x="2513323" y="2043583"/>
                    </a:cubicBezTo>
                    <a:cubicBezTo>
                      <a:pt x="2511969" y="2045840"/>
                      <a:pt x="2512646" y="2047645"/>
                      <a:pt x="2514000" y="2050353"/>
                    </a:cubicBezTo>
                    <a:cubicBezTo>
                      <a:pt x="2515128" y="2052384"/>
                      <a:pt x="2516257" y="2054640"/>
                      <a:pt x="2514903" y="2056897"/>
                    </a:cubicBezTo>
                    <a:cubicBezTo>
                      <a:pt x="2514677" y="2057122"/>
                      <a:pt x="2514677" y="2057573"/>
                      <a:pt x="2514903" y="2058025"/>
                    </a:cubicBezTo>
                    <a:cubicBezTo>
                      <a:pt x="2515580" y="2059830"/>
                      <a:pt x="2518062" y="2061861"/>
                      <a:pt x="2518739" y="2062086"/>
                    </a:cubicBezTo>
                    <a:cubicBezTo>
                      <a:pt x="2520544" y="2062312"/>
                      <a:pt x="2521447" y="2062538"/>
                      <a:pt x="2529570" y="2065697"/>
                    </a:cubicBezTo>
                    <a:cubicBezTo>
                      <a:pt x="2534534" y="2067502"/>
                      <a:pt x="2534760" y="2067276"/>
                      <a:pt x="2536565" y="2065922"/>
                    </a:cubicBezTo>
                    <a:cubicBezTo>
                      <a:pt x="2537242" y="2065245"/>
                      <a:pt x="2538370" y="2064568"/>
                      <a:pt x="2539724" y="2063666"/>
                    </a:cubicBezTo>
                    <a:cubicBezTo>
                      <a:pt x="2543334" y="2061635"/>
                      <a:pt x="2543334" y="2061635"/>
                      <a:pt x="2544688" y="2059604"/>
                    </a:cubicBezTo>
                    <a:cubicBezTo>
                      <a:pt x="2545139" y="2058927"/>
                      <a:pt x="2545591" y="2058250"/>
                      <a:pt x="2546493" y="2057122"/>
                    </a:cubicBezTo>
                    <a:cubicBezTo>
                      <a:pt x="2548298" y="2054640"/>
                      <a:pt x="2550104" y="2053738"/>
                      <a:pt x="2551232" y="2053060"/>
                    </a:cubicBezTo>
                    <a:cubicBezTo>
                      <a:pt x="2552360" y="2052384"/>
                      <a:pt x="2552360" y="2052384"/>
                      <a:pt x="2552360" y="2051481"/>
                    </a:cubicBezTo>
                    <a:cubicBezTo>
                      <a:pt x="2552360" y="2048096"/>
                      <a:pt x="2553940" y="2046968"/>
                      <a:pt x="2555519" y="2045614"/>
                    </a:cubicBezTo>
                    <a:cubicBezTo>
                      <a:pt x="2556422" y="2044937"/>
                      <a:pt x="2557324" y="2044260"/>
                      <a:pt x="2558453" y="2042906"/>
                    </a:cubicBezTo>
                    <a:cubicBezTo>
                      <a:pt x="2561160" y="2039747"/>
                      <a:pt x="2561386" y="2038168"/>
                      <a:pt x="2561612" y="2032978"/>
                    </a:cubicBezTo>
                    <a:lnTo>
                      <a:pt x="2561837" y="2030947"/>
                    </a:lnTo>
                    <a:cubicBezTo>
                      <a:pt x="2562063" y="2028239"/>
                      <a:pt x="2562514" y="2026886"/>
                      <a:pt x="2563417" y="2025983"/>
                    </a:cubicBezTo>
                    <a:cubicBezTo>
                      <a:pt x="2564319" y="2025306"/>
                      <a:pt x="2565448" y="2025306"/>
                      <a:pt x="2566125" y="2025532"/>
                    </a:cubicBezTo>
                    <a:cubicBezTo>
                      <a:pt x="2567930" y="2021921"/>
                      <a:pt x="2570637" y="2023050"/>
                      <a:pt x="2572443" y="2023727"/>
                    </a:cubicBezTo>
                    <a:cubicBezTo>
                      <a:pt x="2573571" y="2024178"/>
                      <a:pt x="2574925" y="2024629"/>
                      <a:pt x="2576504" y="2024629"/>
                    </a:cubicBezTo>
                    <a:cubicBezTo>
                      <a:pt x="2582145" y="2024629"/>
                      <a:pt x="2583048" y="2026209"/>
                      <a:pt x="2583048" y="2030270"/>
                    </a:cubicBezTo>
                    <a:cubicBezTo>
                      <a:pt x="2583048" y="2034557"/>
                      <a:pt x="2584176" y="2037717"/>
                      <a:pt x="2585756" y="2039071"/>
                    </a:cubicBezTo>
                    <a:cubicBezTo>
                      <a:pt x="2587787" y="2040424"/>
                      <a:pt x="2590494" y="2040424"/>
                      <a:pt x="2595233" y="2040424"/>
                    </a:cubicBezTo>
                    <a:cubicBezTo>
                      <a:pt x="2596587" y="2040424"/>
                      <a:pt x="2597941" y="2040424"/>
                      <a:pt x="2599520" y="2040424"/>
                    </a:cubicBezTo>
                    <a:cubicBezTo>
                      <a:pt x="2603356" y="2040424"/>
                      <a:pt x="2605838" y="2041553"/>
                      <a:pt x="2607643" y="2042230"/>
                    </a:cubicBezTo>
                    <a:cubicBezTo>
                      <a:pt x="2609674" y="2043132"/>
                      <a:pt x="2610802" y="2043583"/>
                      <a:pt x="2613736" y="2042681"/>
                    </a:cubicBezTo>
                    <a:cubicBezTo>
                      <a:pt x="2616669" y="2041778"/>
                      <a:pt x="2616895" y="2040650"/>
                      <a:pt x="2617120" y="2038168"/>
                    </a:cubicBezTo>
                    <a:cubicBezTo>
                      <a:pt x="2617346" y="2036588"/>
                      <a:pt x="2617572" y="2034332"/>
                      <a:pt x="2618700" y="2032301"/>
                    </a:cubicBezTo>
                    <a:cubicBezTo>
                      <a:pt x="2620505" y="2029368"/>
                      <a:pt x="2620280" y="2028916"/>
                      <a:pt x="2619151" y="2027111"/>
                    </a:cubicBezTo>
                    <a:cubicBezTo>
                      <a:pt x="2618926" y="2026660"/>
                      <a:pt x="2618474" y="2025983"/>
                      <a:pt x="2618249" y="2025306"/>
                    </a:cubicBezTo>
                    <a:cubicBezTo>
                      <a:pt x="2616895" y="2022373"/>
                      <a:pt x="2617120" y="2019665"/>
                      <a:pt x="2617346" y="2016280"/>
                    </a:cubicBezTo>
                    <a:cubicBezTo>
                      <a:pt x="2617346" y="2014926"/>
                      <a:pt x="2617572" y="2013347"/>
                      <a:pt x="2617572" y="2011542"/>
                    </a:cubicBezTo>
                    <a:cubicBezTo>
                      <a:pt x="2617572" y="2006352"/>
                      <a:pt x="2616895" y="2003418"/>
                      <a:pt x="2609674" y="1999808"/>
                    </a:cubicBezTo>
                    <a:cubicBezTo>
                      <a:pt x="2604259" y="1996875"/>
                      <a:pt x="2604033" y="1994393"/>
                      <a:pt x="2605387" y="1991233"/>
                    </a:cubicBezTo>
                    <a:cubicBezTo>
                      <a:pt x="2605613" y="1990557"/>
                      <a:pt x="2605838" y="1990331"/>
                      <a:pt x="2605613" y="1990105"/>
                    </a:cubicBezTo>
                    <a:cubicBezTo>
                      <a:pt x="2604033" y="1986495"/>
                      <a:pt x="2604033" y="1979951"/>
                      <a:pt x="2604259" y="1973182"/>
                    </a:cubicBezTo>
                    <a:cubicBezTo>
                      <a:pt x="2604259" y="1968218"/>
                      <a:pt x="2604484" y="1963253"/>
                      <a:pt x="2603807" y="1959869"/>
                    </a:cubicBezTo>
                    <a:cubicBezTo>
                      <a:pt x="2602679" y="1953551"/>
                      <a:pt x="2600874" y="1947233"/>
                      <a:pt x="2599069" y="1940689"/>
                    </a:cubicBezTo>
                    <a:cubicBezTo>
                      <a:pt x="2593653" y="1921283"/>
                      <a:pt x="2588238" y="1900975"/>
                      <a:pt x="2595684" y="1881795"/>
                    </a:cubicBezTo>
                    <a:lnTo>
                      <a:pt x="2596136" y="1880893"/>
                    </a:lnTo>
                    <a:cubicBezTo>
                      <a:pt x="2597264" y="1877734"/>
                      <a:pt x="2598617" y="1874574"/>
                      <a:pt x="2597489" y="1872092"/>
                    </a:cubicBezTo>
                    <a:cubicBezTo>
                      <a:pt x="2595910" y="1868708"/>
                      <a:pt x="2592074" y="1868708"/>
                      <a:pt x="2585756" y="1869159"/>
                    </a:cubicBezTo>
                    <a:cubicBezTo>
                      <a:pt x="2580115" y="1869610"/>
                      <a:pt x="2573796" y="1870062"/>
                      <a:pt x="2569961" y="1865549"/>
                    </a:cubicBezTo>
                    <a:cubicBezTo>
                      <a:pt x="2567027" y="1862164"/>
                      <a:pt x="2567027" y="1856748"/>
                      <a:pt x="2569735" y="1850882"/>
                    </a:cubicBezTo>
                    <a:cubicBezTo>
                      <a:pt x="2576279" y="1836666"/>
                      <a:pt x="2568155" y="1831250"/>
                      <a:pt x="2558001" y="1824707"/>
                    </a:cubicBezTo>
                    <a:cubicBezTo>
                      <a:pt x="2547847" y="1818163"/>
                      <a:pt x="2536339" y="1810717"/>
                      <a:pt x="2542657" y="1792439"/>
                    </a:cubicBezTo>
                    <a:cubicBezTo>
                      <a:pt x="2544688" y="1786572"/>
                      <a:pt x="2548975" y="1783188"/>
                      <a:pt x="2553263" y="1779803"/>
                    </a:cubicBezTo>
                    <a:cubicBezTo>
                      <a:pt x="2557099" y="1776644"/>
                      <a:pt x="2561160" y="1773485"/>
                      <a:pt x="2563642" y="1768069"/>
                    </a:cubicBezTo>
                    <a:cubicBezTo>
                      <a:pt x="2564771" y="1765587"/>
                      <a:pt x="2562063" y="1759946"/>
                      <a:pt x="2559581" y="1754756"/>
                    </a:cubicBezTo>
                    <a:cubicBezTo>
                      <a:pt x="2558904" y="1753402"/>
                      <a:pt x="2558227" y="1752049"/>
                      <a:pt x="2557776" y="1750695"/>
                    </a:cubicBezTo>
                    <a:cubicBezTo>
                      <a:pt x="2555068" y="1745054"/>
                      <a:pt x="2555745" y="1738284"/>
                      <a:pt x="2559581" y="1730612"/>
                    </a:cubicBezTo>
                    <a:cubicBezTo>
                      <a:pt x="2560032" y="1729710"/>
                      <a:pt x="2560032" y="1728581"/>
                      <a:pt x="2559355" y="1727228"/>
                    </a:cubicBezTo>
                    <a:cubicBezTo>
                      <a:pt x="2558227" y="1724745"/>
                      <a:pt x="2555519" y="1722263"/>
                      <a:pt x="2553263" y="1721586"/>
                    </a:cubicBezTo>
                    <a:cubicBezTo>
                      <a:pt x="2548073" y="1720007"/>
                      <a:pt x="2538596" y="1718879"/>
                      <a:pt x="2534083" y="1721361"/>
                    </a:cubicBezTo>
                    <a:cubicBezTo>
                      <a:pt x="2527313" y="1725197"/>
                      <a:pt x="2512872" y="1719330"/>
                      <a:pt x="2504974" y="1714140"/>
                    </a:cubicBezTo>
                    <a:lnTo>
                      <a:pt x="2503846" y="1713463"/>
                    </a:lnTo>
                    <a:cubicBezTo>
                      <a:pt x="2496400" y="1708725"/>
                      <a:pt x="2493015" y="1706468"/>
                      <a:pt x="2490533" y="1701278"/>
                    </a:cubicBezTo>
                    <a:cubicBezTo>
                      <a:pt x="2489631" y="1699473"/>
                      <a:pt x="2487600" y="1697442"/>
                      <a:pt x="2485569" y="1695411"/>
                    </a:cubicBezTo>
                    <a:cubicBezTo>
                      <a:pt x="2482410" y="1692252"/>
                      <a:pt x="2479251" y="1689093"/>
                      <a:pt x="2477897" y="1685032"/>
                    </a:cubicBezTo>
                    <a:cubicBezTo>
                      <a:pt x="2477220" y="1682775"/>
                      <a:pt x="2476317" y="1681421"/>
                      <a:pt x="2475189" y="1680067"/>
                    </a:cubicBezTo>
                    <a:cubicBezTo>
                      <a:pt x="2473610" y="1677811"/>
                      <a:pt x="2472030" y="1675329"/>
                      <a:pt x="2473384" y="1671042"/>
                    </a:cubicBezTo>
                    <a:cubicBezTo>
                      <a:pt x="2475415" y="1664949"/>
                      <a:pt x="2476543" y="1663595"/>
                      <a:pt x="2480605" y="1658857"/>
                    </a:cubicBezTo>
                    <a:cubicBezTo>
                      <a:pt x="2481733" y="1657729"/>
                      <a:pt x="2482635" y="1656600"/>
                      <a:pt x="2483538" y="1655698"/>
                    </a:cubicBezTo>
                    <a:cubicBezTo>
                      <a:pt x="2486020" y="1652990"/>
                      <a:pt x="2487148" y="1651862"/>
                      <a:pt x="2487148" y="1649605"/>
                    </a:cubicBezTo>
                    <a:cubicBezTo>
                      <a:pt x="2487148" y="1648928"/>
                      <a:pt x="2487148" y="1648251"/>
                      <a:pt x="2486923" y="1647575"/>
                    </a:cubicBezTo>
                    <a:cubicBezTo>
                      <a:pt x="2486472" y="1643738"/>
                      <a:pt x="2486923" y="1640579"/>
                      <a:pt x="2494595" y="1639226"/>
                    </a:cubicBezTo>
                    <a:cubicBezTo>
                      <a:pt x="2497302" y="1638774"/>
                      <a:pt x="2499108" y="1638774"/>
                      <a:pt x="2500461" y="1639903"/>
                    </a:cubicBezTo>
                    <a:cubicBezTo>
                      <a:pt x="2501815" y="1641031"/>
                      <a:pt x="2502041" y="1642610"/>
                      <a:pt x="2502041" y="1643964"/>
                    </a:cubicBezTo>
                    <a:cubicBezTo>
                      <a:pt x="2502041" y="1645318"/>
                      <a:pt x="2502267" y="1646221"/>
                      <a:pt x="2503169" y="1646897"/>
                    </a:cubicBezTo>
                    <a:cubicBezTo>
                      <a:pt x="2503620" y="1647123"/>
                      <a:pt x="2503846" y="1647349"/>
                      <a:pt x="2503846" y="1647575"/>
                    </a:cubicBezTo>
                    <a:cubicBezTo>
                      <a:pt x="2504072" y="1647123"/>
                      <a:pt x="2504297" y="1646672"/>
                      <a:pt x="2504523" y="1645995"/>
                    </a:cubicBezTo>
                    <a:cubicBezTo>
                      <a:pt x="2505200" y="1644867"/>
                      <a:pt x="2505877" y="1643287"/>
                      <a:pt x="2507005" y="1641256"/>
                    </a:cubicBezTo>
                    <a:cubicBezTo>
                      <a:pt x="2509262" y="1637872"/>
                      <a:pt x="2511518" y="1635615"/>
                      <a:pt x="2513098" y="1634036"/>
                    </a:cubicBezTo>
                    <a:cubicBezTo>
                      <a:pt x="2514000" y="1633133"/>
                      <a:pt x="2514903" y="1632231"/>
                      <a:pt x="2515128" y="1631779"/>
                    </a:cubicBezTo>
                    <a:cubicBezTo>
                      <a:pt x="2515580" y="1630877"/>
                      <a:pt x="2516482" y="1629748"/>
                      <a:pt x="2517385" y="1628620"/>
                    </a:cubicBezTo>
                    <a:cubicBezTo>
                      <a:pt x="2518513" y="1627266"/>
                      <a:pt x="2519867" y="1625461"/>
                      <a:pt x="2520318" y="1624107"/>
                    </a:cubicBezTo>
                    <a:cubicBezTo>
                      <a:pt x="2520770" y="1622979"/>
                      <a:pt x="2520093" y="1620497"/>
                      <a:pt x="2519641" y="1618240"/>
                    </a:cubicBezTo>
                    <a:cubicBezTo>
                      <a:pt x="2519190" y="1616210"/>
                      <a:pt x="2518739" y="1613953"/>
                      <a:pt x="2518739" y="1611922"/>
                    </a:cubicBezTo>
                    <a:cubicBezTo>
                      <a:pt x="2518739" y="1607861"/>
                      <a:pt x="2521672" y="1605604"/>
                      <a:pt x="2523252" y="1604476"/>
                    </a:cubicBezTo>
                    <a:cubicBezTo>
                      <a:pt x="2523477" y="1604250"/>
                      <a:pt x="2523929" y="1604025"/>
                      <a:pt x="2524154" y="1603799"/>
                    </a:cubicBezTo>
                    <a:cubicBezTo>
                      <a:pt x="2525508" y="1602445"/>
                      <a:pt x="2527539" y="1602671"/>
                      <a:pt x="2530698" y="1603122"/>
                    </a:cubicBezTo>
                    <a:cubicBezTo>
                      <a:pt x="2532729" y="1603348"/>
                      <a:pt x="2534985" y="1603573"/>
                      <a:pt x="2537693" y="1603573"/>
                    </a:cubicBezTo>
                    <a:cubicBezTo>
                      <a:pt x="2540852" y="1603348"/>
                      <a:pt x="2541755" y="1602671"/>
                      <a:pt x="2542883" y="1601543"/>
                    </a:cubicBezTo>
                    <a:cubicBezTo>
                      <a:pt x="2543560" y="1600866"/>
                      <a:pt x="2544463" y="1599963"/>
                      <a:pt x="2546042" y="1599512"/>
                    </a:cubicBezTo>
                    <a:cubicBezTo>
                      <a:pt x="2549427" y="1597932"/>
                      <a:pt x="2551006" y="1599061"/>
                      <a:pt x="2553940" y="1601091"/>
                    </a:cubicBezTo>
                    <a:cubicBezTo>
                      <a:pt x="2554842" y="1601543"/>
                      <a:pt x="2555745" y="1602220"/>
                      <a:pt x="2556873" y="1603122"/>
                    </a:cubicBezTo>
                    <a:cubicBezTo>
                      <a:pt x="2559581" y="1604927"/>
                      <a:pt x="2560709" y="1604476"/>
                      <a:pt x="2563417" y="1603348"/>
                    </a:cubicBezTo>
                    <a:cubicBezTo>
                      <a:pt x="2564771" y="1602897"/>
                      <a:pt x="2566576" y="1602220"/>
                      <a:pt x="2568832" y="1601768"/>
                    </a:cubicBezTo>
                    <a:cubicBezTo>
                      <a:pt x="2574248" y="1600866"/>
                      <a:pt x="2577407" y="1600189"/>
                      <a:pt x="2577407" y="1598609"/>
                    </a:cubicBezTo>
                    <a:cubicBezTo>
                      <a:pt x="2577407" y="1596353"/>
                      <a:pt x="2578084" y="1594999"/>
                      <a:pt x="2578986" y="1593871"/>
                    </a:cubicBezTo>
                    <a:cubicBezTo>
                      <a:pt x="2579438" y="1592968"/>
                      <a:pt x="2580115" y="1592066"/>
                      <a:pt x="2580566" y="1590712"/>
                    </a:cubicBezTo>
                    <a:cubicBezTo>
                      <a:pt x="2581017" y="1589584"/>
                      <a:pt x="2582145" y="1586424"/>
                      <a:pt x="2576504" y="1584168"/>
                    </a:cubicBezTo>
                    <a:cubicBezTo>
                      <a:pt x="2571540" y="1582137"/>
                      <a:pt x="2566125" y="1579655"/>
                      <a:pt x="2561837" y="1576045"/>
                    </a:cubicBezTo>
                    <a:cubicBezTo>
                      <a:pt x="2558678" y="1573337"/>
                      <a:pt x="2560032" y="1569952"/>
                      <a:pt x="2560935" y="1567244"/>
                    </a:cubicBezTo>
                    <a:cubicBezTo>
                      <a:pt x="2561837" y="1564762"/>
                      <a:pt x="2562740" y="1562732"/>
                      <a:pt x="2561612" y="1560249"/>
                    </a:cubicBezTo>
                    <a:cubicBezTo>
                      <a:pt x="2560709" y="1558219"/>
                      <a:pt x="2560258" y="1557993"/>
                      <a:pt x="2560258" y="1557993"/>
                    </a:cubicBezTo>
                    <a:cubicBezTo>
                      <a:pt x="2559806" y="1557993"/>
                      <a:pt x="2558904" y="1558670"/>
                      <a:pt x="2558227" y="1559121"/>
                    </a:cubicBezTo>
                    <a:cubicBezTo>
                      <a:pt x="2557099" y="1559798"/>
                      <a:pt x="2555970" y="1560475"/>
                      <a:pt x="2554165" y="1561152"/>
                    </a:cubicBezTo>
                    <a:cubicBezTo>
                      <a:pt x="2550781" y="1562280"/>
                      <a:pt x="2546945" y="1562280"/>
                      <a:pt x="2542657" y="1562280"/>
                    </a:cubicBezTo>
                    <a:cubicBezTo>
                      <a:pt x="2539724" y="1562280"/>
                      <a:pt x="2536790" y="1562280"/>
                      <a:pt x="2534083" y="1562732"/>
                    </a:cubicBezTo>
                    <a:cubicBezTo>
                      <a:pt x="2526862" y="1563634"/>
                      <a:pt x="2522349" y="1562506"/>
                      <a:pt x="2520770" y="1553254"/>
                    </a:cubicBezTo>
                    <a:cubicBezTo>
                      <a:pt x="2520093" y="1549193"/>
                      <a:pt x="2518739" y="1547839"/>
                      <a:pt x="2517836" y="1546936"/>
                    </a:cubicBezTo>
                    <a:cubicBezTo>
                      <a:pt x="2517159" y="1546259"/>
                      <a:pt x="2516031" y="1545131"/>
                      <a:pt x="2516482" y="1543552"/>
                    </a:cubicBezTo>
                    <a:cubicBezTo>
                      <a:pt x="2516482" y="1542649"/>
                      <a:pt x="2514226" y="1537685"/>
                      <a:pt x="2507231" y="1536557"/>
                    </a:cubicBezTo>
                    <a:cubicBezTo>
                      <a:pt x="2500913" y="1535428"/>
                      <a:pt x="2500010" y="1533398"/>
                      <a:pt x="2498882" y="1530013"/>
                    </a:cubicBezTo>
                    <a:cubicBezTo>
                      <a:pt x="2498431" y="1528659"/>
                      <a:pt x="2497979" y="1527079"/>
                      <a:pt x="2496851" y="1525274"/>
                    </a:cubicBezTo>
                    <a:cubicBezTo>
                      <a:pt x="2494369" y="1520987"/>
                      <a:pt x="2494369" y="1520987"/>
                      <a:pt x="2485794" y="1524823"/>
                    </a:cubicBezTo>
                    <a:lnTo>
                      <a:pt x="2482410" y="1526403"/>
                    </a:lnTo>
                    <a:cubicBezTo>
                      <a:pt x="2477897" y="1528433"/>
                      <a:pt x="2475189" y="1528885"/>
                      <a:pt x="2473158" y="1527305"/>
                    </a:cubicBezTo>
                    <a:cubicBezTo>
                      <a:pt x="2470902" y="1525726"/>
                      <a:pt x="2471353" y="1522567"/>
                      <a:pt x="2471579" y="1520084"/>
                    </a:cubicBezTo>
                    <a:cubicBezTo>
                      <a:pt x="2471579" y="1519182"/>
                      <a:pt x="2471804" y="1518054"/>
                      <a:pt x="2471804" y="1517828"/>
                    </a:cubicBezTo>
                    <a:cubicBezTo>
                      <a:pt x="2470450" y="1513992"/>
                      <a:pt x="2472030" y="1506997"/>
                      <a:pt x="2473610" y="1502033"/>
                    </a:cubicBezTo>
                    <a:cubicBezTo>
                      <a:pt x="2474512" y="1499325"/>
                      <a:pt x="2473835" y="1496843"/>
                      <a:pt x="2473158" y="1494361"/>
                    </a:cubicBezTo>
                    <a:cubicBezTo>
                      <a:pt x="2472481" y="1492330"/>
                      <a:pt x="2472030" y="1490525"/>
                      <a:pt x="2472256" y="1488268"/>
                    </a:cubicBezTo>
                    <a:cubicBezTo>
                      <a:pt x="2472481" y="1485335"/>
                      <a:pt x="2475415" y="1482402"/>
                      <a:pt x="2478799" y="1478791"/>
                    </a:cubicBezTo>
                    <a:cubicBezTo>
                      <a:pt x="2481056" y="1476309"/>
                      <a:pt x="2483538" y="1473827"/>
                      <a:pt x="2485118" y="1471345"/>
                    </a:cubicBezTo>
                    <a:cubicBezTo>
                      <a:pt x="2487374" y="1467735"/>
                      <a:pt x="2489631" y="1466606"/>
                      <a:pt x="2491661" y="1465704"/>
                    </a:cubicBezTo>
                    <a:cubicBezTo>
                      <a:pt x="2493466" y="1464801"/>
                      <a:pt x="2494820" y="1464124"/>
                      <a:pt x="2496400" y="1461868"/>
                    </a:cubicBezTo>
                    <a:cubicBezTo>
                      <a:pt x="2498431" y="1458709"/>
                      <a:pt x="2498656" y="1456452"/>
                      <a:pt x="2498656" y="1454421"/>
                    </a:cubicBezTo>
                    <a:cubicBezTo>
                      <a:pt x="2498656" y="1453068"/>
                      <a:pt x="2498882" y="1451488"/>
                      <a:pt x="2499559" y="1449909"/>
                    </a:cubicBezTo>
                    <a:cubicBezTo>
                      <a:pt x="2500913" y="1446749"/>
                      <a:pt x="2505651" y="1446524"/>
                      <a:pt x="2510841" y="1446298"/>
                    </a:cubicBezTo>
                    <a:cubicBezTo>
                      <a:pt x="2512872" y="1446298"/>
                      <a:pt x="2515128" y="1446073"/>
                      <a:pt x="2516257" y="1445847"/>
                    </a:cubicBezTo>
                    <a:cubicBezTo>
                      <a:pt x="2516031" y="1445170"/>
                      <a:pt x="2515128" y="1444042"/>
                      <a:pt x="2514452" y="1443139"/>
                    </a:cubicBezTo>
                    <a:cubicBezTo>
                      <a:pt x="2513323" y="1441560"/>
                      <a:pt x="2512195" y="1439980"/>
                      <a:pt x="2511744" y="1438401"/>
                    </a:cubicBezTo>
                    <a:cubicBezTo>
                      <a:pt x="2511067" y="1436144"/>
                      <a:pt x="2506103" y="1433436"/>
                      <a:pt x="2504974" y="1433211"/>
                    </a:cubicBezTo>
                    <a:cubicBezTo>
                      <a:pt x="2504297" y="1433211"/>
                      <a:pt x="2502492" y="1433211"/>
                      <a:pt x="2499559" y="1426441"/>
                    </a:cubicBezTo>
                    <a:lnTo>
                      <a:pt x="2499108" y="1425539"/>
                    </a:lnTo>
                    <a:lnTo>
                      <a:pt x="2499785" y="1424636"/>
                    </a:lnTo>
                    <a:cubicBezTo>
                      <a:pt x="2500461" y="1423734"/>
                      <a:pt x="2504297" y="1418769"/>
                      <a:pt x="2507908" y="1418769"/>
                    </a:cubicBezTo>
                    <a:cubicBezTo>
                      <a:pt x="2510164" y="1418769"/>
                      <a:pt x="2511744" y="1420123"/>
                      <a:pt x="2513098" y="1421251"/>
                    </a:cubicBezTo>
                    <a:cubicBezTo>
                      <a:pt x="2514000" y="1421928"/>
                      <a:pt x="2514903" y="1422831"/>
                      <a:pt x="2516031" y="1423282"/>
                    </a:cubicBezTo>
                    <a:cubicBezTo>
                      <a:pt x="2518513" y="1424410"/>
                      <a:pt x="2520995" y="1426441"/>
                      <a:pt x="2523703" y="1428698"/>
                    </a:cubicBezTo>
                    <a:cubicBezTo>
                      <a:pt x="2524831" y="1429600"/>
                      <a:pt x="2525960" y="1430503"/>
                      <a:pt x="2527088" y="1431406"/>
                    </a:cubicBezTo>
                    <a:cubicBezTo>
                      <a:pt x="2528893" y="1432759"/>
                      <a:pt x="2530698" y="1433888"/>
                      <a:pt x="2532052" y="1434790"/>
                    </a:cubicBezTo>
                    <a:cubicBezTo>
                      <a:pt x="2534083" y="1435918"/>
                      <a:pt x="2535662" y="1437047"/>
                      <a:pt x="2537016" y="1438626"/>
                    </a:cubicBezTo>
                    <a:cubicBezTo>
                      <a:pt x="2540175" y="1441785"/>
                      <a:pt x="2540401" y="1449909"/>
                      <a:pt x="2538370" y="1455098"/>
                    </a:cubicBezTo>
                    <a:cubicBezTo>
                      <a:pt x="2538144" y="1455775"/>
                      <a:pt x="2538144" y="1456001"/>
                      <a:pt x="2538144" y="1456001"/>
                    </a:cubicBezTo>
                    <a:cubicBezTo>
                      <a:pt x="2538596" y="1456452"/>
                      <a:pt x="2540626" y="1456678"/>
                      <a:pt x="2542206" y="1456227"/>
                    </a:cubicBezTo>
                    <a:lnTo>
                      <a:pt x="2544237" y="1455775"/>
                    </a:lnTo>
                    <a:lnTo>
                      <a:pt x="2544237" y="1457806"/>
                    </a:lnTo>
                    <a:cubicBezTo>
                      <a:pt x="2544463" y="1462093"/>
                      <a:pt x="2545365" y="1466381"/>
                      <a:pt x="2546268" y="1467058"/>
                    </a:cubicBezTo>
                    <a:cubicBezTo>
                      <a:pt x="2546719" y="1467283"/>
                      <a:pt x="2546945" y="1467283"/>
                      <a:pt x="2546945" y="1467283"/>
                    </a:cubicBezTo>
                    <a:cubicBezTo>
                      <a:pt x="2546945" y="1467283"/>
                      <a:pt x="2547170" y="1467058"/>
                      <a:pt x="2547396" y="1467058"/>
                    </a:cubicBezTo>
                    <a:cubicBezTo>
                      <a:pt x="2548073" y="1466832"/>
                      <a:pt x="2548750" y="1466381"/>
                      <a:pt x="2550104" y="1466155"/>
                    </a:cubicBezTo>
                    <a:cubicBezTo>
                      <a:pt x="2550781" y="1466155"/>
                      <a:pt x="2551458" y="1463673"/>
                      <a:pt x="2551909" y="1461868"/>
                    </a:cubicBezTo>
                    <a:cubicBezTo>
                      <a:pt x="2552360" y="1460063"/>
                      <a:pt x="2553037" y="1458257"/>
                      <a:pt x="2553714" y="1456001"/>
                    </a:cubicBezTo>
                    <a:cubicBezTo>
                      <a:pt x="2555293" y="1451939"/>
                      <a:pt x="2558678" y="1449909"/>
                      <a:pt x="2561386" y="1448329"/>
                    </a:cubicBezTo>
                    <a:cubicBezTo>
                      <a:pt x="2562966" y="1447426"/>
                      <a:pt x="2564319" y="1446524"/>
                      <a:pt x="2565222" y="1445621"/>
                    </a:cubicBezTo>
                    <a:cubicBezTo>
                      <a:pt x="2567027" y="1443590"/>
                      <a:pt x="2567253" y="1439529"/>
                      <a:pt x="2567478" y="1435467"/>
                    </a:cubicBezTo>
                    <a:cubicBezTo>
                      <a:pt x="2567478" y="1434113"/>
                      <a:pt x="2567704" y="1432985"/>
                      <a:pt x="2567704" y="1431631"/>
                    </a:cubicBezTo>
                    <a:cubicBezTo>
                      <a:pt x="2567930" y="1429826"/>
                      <a:pt x="2568607" y="1428247"/>
                      <a:pt x="2570186" y="1427344"/>
                    </a:cubicBezTo>
                    <a:cubicBezTo>
                      <a:pt x="2573796" y="1425087"/>
                      <a:pt x="2579889" y="1426667"/>
                      <a:pt x="2583274" y="1427795"/>
                    </a:cubicBezTo>
                    <a:cubicBezTo>
                      <a:pt x="2587787" y="1429375"/>
                      <a:pt x="2588238" y="1434339"/>
                      <a:pt x="2588915" y="1440206"/>
                    </a:cubicBezTo>
                    <a:cubicBezTo>
                      <a:pt x="2589140" y="1441560"/>
                      <a:pt x="2589140" y="1442914"/>
                      <a:pt x="2589366" y="1444493"/>
                    </a:cubicBezTo>
                    <a:cubicBezTo>
                      <a:pt x="2589817" y="1448103"/>
                      <a:pt x="2591397" y="1449909"/>
                      <a:pt x="2592976" y="1451714"/>
                    </a:cubicBezTo>
                    <a:cubicBezTo>
                      <a:pt x="2594330" y="1453068"/>
                      <a:pt x="2595684" y="1454647"/>
                      <a:pt x="2595684" y="1457129"/>
                    </a:cubicBezTo>
                    <a:cubicBezTo>
                      <a:pt x="2595684" y="1458032"/>
                      <a:pt x="2595910" y="1458483"/>
                      <a:pt x="2597715" y="1459611"/>
                    </a:cubicBezTo>
                    <a:cubicBezTo>
                      <a:pt x="2599295" y="1460739"/>
                      <a:pt x="2601100" y="1462093"/>
                      <a:pt x="2603356" y="1464801"/>
                    </a:cubicBezTo>
                    <a:cubicBezTo>
                      <a:pt x="2604936" y="1466832"/>
                      <a:pt x="2606064" y="1468863"/>
                      <a:pt x="2606966" y="1470442"/>
                    </a:cubicBezTo>
                    <a:cubicBezTo>
                      <a:pt x="2608772" y="1473601"/>
                      <a:pt x="2610125" y="1476083"/>
                      <a:pt x="2613736" y="1478340"/>
                    </a:cubicBezTo>
                    <a:cubicBezTo>
                      <a:pt x="2618926" y="1481499"/>
                      <a:pt x="2627500" y="1481499"/>
                      <a:pt x="2632690" y="1481273"/>
                    </a:cubicBezTo>
                    <a:lnTo>
                      <a:pt x="2634270" y="1481273"/>
                    </a:lnTo>
                    <a:cubicBezTo>
                      <a:pt x="2638783" y="1481273"/>
                      <a:pt x="2646455" y="1477889"/>
                      <a:pt x="2650290" y="1473827"/>
                    </a:cubicBezTo>
                    <a:cubicBezTo>
                      <a:pt x="2652096" y="1472022"/>
                      <a:pt x="2651870" y="1469088"/>
                      <a:pt x="2651193" y="1465704"/>
                    </a:cubicBezTo>
                    <a:cubicBezTo>
                      <a:pt x="2650742" y="1463222"/>
                      <a:pt x="2650516" y="1460514"/>
                      <a:pt x="2651193" y="1458032"/>
                    </a:cubicBezTo>
                    <a:cubicBezTo>
                      <a:pt x="2652773" y="1452391"/>
                      <a:pt x="2659542" y="1453744"/>
                      <a:pt x="2663604" y="1454421"/>
                    </a:cubicBezTo>
                    <a:cubicBezTo>
                      <a:pt x="2664732" y="1454647"/>
                      <a:pt x="2665634" y="1454873"/>
                      <a:pt x="2666086" y="1454873"/>
                    </a:cubicBezTo>
                    <a:cubicBezTo>
                      <a:pt x="2669471" y="1454873"/>
                      <a:pt x="2672630" y="1459837"/>
                      <a:pt x="2676691" y="1468186"/>
                    </a:cubicBezTo>
                    <a:cubicBezTo>
                      <a:pt x="2677368" y="1469540"/>
                      <a:pt x="2678722" y="1471571"/>
                      <a:pt x="2680301" y="1473827"/>
                    </a:cubicBezTo>
                    <a:cubicBezTo>
                      <a:pt x="2684137" y="1479243"/>
                      <a:pt x="2686620" y="1483079"/>
                      <a:pt x="2686620" y="1485561"/>
                    </a:cubicBezTo>
                    <a:cubicBezTo>
                      <a:pt x="2686620" y="1487591"/>
                      <a:pt x="2685717" y="1491427"/>
                      <a:pt x="2684137" y="1497068"/>
                    </a:cubicBezTo>
                    <a:cubicBezTo>
                      <a:pt x="2683235" y="1500228"/>
                      <a:pt x="2682558" y="1503612"/>
                      <a:pt x="2682332" y="1504966"/>
                    </a:cubicBezTo>
                    <a:cubicBezTo>
                      <a:pt x="2682107" y="1507448"/>
                      <a:pt x="2680978" y="1514895"/>
                      <a:pt x="2687071" y="1520761"/>
                    </a:cubicBezTo>
                    <a:cubicBezTo>
                      <a:pt x="2691809" y="1525500"/>
                      <a:pt x="2691809" y="1531367"/>
                      <a:pt x="2691809" y="1535203"/>
                    </a:cubicBezTo>
                    <a:cubicBezTo>
                      <a:pt x="2691809" y="1536557"/>
                      <a:pt x="2691809" y="1537911"/>
                      <a:pt x="2692035" y="1538362"/>
                    </a:cubicBezTo>
                    <a:cubicBezTo>
                      <a:pt x="2693615" y="1541972"/>
                      <a:pt x="2692486" y="1550547"/>
                      <a:pt x="2691358" y="1553254"/>
                    </a:cubicBezTo>
                    <a:lnTo>
                      <a:pt x="2690907" y="1554383"/>
                    </a:lnTo>
                    <a:cubicBezTo>
                      <a:pt x="2689779" y="1557316"/>
                      <a:pt x="2687522" y="1562506"/>
                      <a:pt x="2688876" y="1567244"/>
                    </a:cubicBezTo>
                    <a:cubicBezTo>
                      <a:pt x="2690455" y="1573111"/>
                      <a:pt x="2693163" y="1575593"/>
                      <a:pt x="2694292" y="1575593"/>
                    </a:cubicBezTo>
                    <a:cubicBezTo>
                      <a:pt x="2695194" y="1575593"/>
                      <a:pt x="2696548" y="1575819"/>
                      <a:pt x="2698128" y="1576045"/>
                    </a:cubicBezTo>
                    <a:cubicBezTo>
                      <a:pt x="2701963" y="1576722"/>
                      <a:pt x="2707830" y="1577624"/>
                      <a:pt x="2714148" y="1577173"/>
                    </a:cubicBezTo>
                    <a:cubicBezTo>
                      <a:pt x="2719113" y="1576722"/>
                      <a:pt x="2720692" y="1578076"/>
                      <a:pt x="2722046" y="1580106"/>
                    </a:cubicBezTo>
                    <a:cubicBezTo>
                      <a:pt x="2722949" y="1581235"/>
                      <a:pt x="2723851" y="1582363"/>
                      <a:pt x="2728590" y="1582363"/>
                    </a:cubicBezTo>
                    <a:cubicBezTo>
                      <a:pt x="2737390" y="1582363"/>
                      <a:pt x="2740775" y="1583942"/>
                      <a:pt x="2745287" y="1585973"/>
                    </a:cubicBezTo>
                    <a:cubicBezTo>
                      <a:pt x="2746867" y="1586650"/>
                      <a:pt x="2748447" y="1587327"/>
                      <a:pt x="2750477" y="1588230"/>
                    </a:cubicBezTo>
                    <a:cubicBezTo>
                      <a:pt x="2757698" y="1590937"/>
                      <a:pt x="2759503" y="1590486"/>
                      <a:pt x="2771463" y="1586650"/>
                    </a:cubicBezTo>
                    <a:lnTo>
                      <a:pt x="2774622" y="1585522"/>
                    </a:lnTo>
                    <a:cubicBezTo>
                      <a:pt x="2782971" y="1582814"/>
                      <a:pt x="2784099" y="1581911"/>
                      <a:pt x="2785001" y="1581235"/>
                    </a:cubicBezTo>
                    <a:cubicBezTo>
                      <a:pt x="2785904" y="1580558"/>
                      <a:pt x="2786806" y="1579881"/>
                      <a:pt x="2789965" y="1578978"/>
                    </a:cubicBezTo>
                    <a:cubicBezTo>
                      <a:pt x="2797863" y="1576722"/>
                      <a:pt x="2811402" y="1578301"/>
                      <a:pt x="2820653" y="1580783"/>
                    </a:cubicBezTo>
                    <a:cubicBezTo>
                      <a:pt x="2827197" y="1582588"/>
                      <a:pt x="2829679" y="1581460"/>
                      <a:pt x="2833290" y="1579881"/>
                    </a:cubicBezTo>
                    <a:cubicBezTo>
                      <a:pt x="2834418" y="1579429"/>
                      <a:pt x="2835772" y="1578752"/>
                      <a:pt x="2837351" y="1578301"/>
                    </a:cubicBezTo>
                    <a:cubicBezTo>
                      <a:pt x="2840736" y="1577173"/>
                      <a:pt x="2841413" y="1576722"/>
                      <a:pt x="2842315" y="1576045"/>
                    </a:cubicBezTo>
                    <a:cubicBezTo>
                      <a:pt x="2842992" y="1575593"/>
                      <a:pt x="2843895" y="1575142"/>
                      <a:pt x="2845700" y="1574240"/>
                    </a:cubicBezTo>
                    <a:cubicBezTo>
                      <a:pt x="2849310" y="1572660"/>
                      <a:pt x="2855403" y="1573111"/>
                      <a:pt x="2863075" y="1573562"/>
                    </a:cubicBezTo>
                    <a:cubicBezTo>
                      <a:pt x="2864654" y="1573562"/>
                      <a:pt x="2866460" y="1573788"/>
                      <a:pt x="2868265" y="1573788"/>
                    </a:cubicBezTo>
                    <a:cubicBezTo>
                      <a:pt x="2877065" y="1574240"/>
                      <a:pt x="2881127" y="1575819"/>
                      <a:pt x="2886316" y="1578076"/>
                    </a:cubicBezTo>
                    <a:lnTo>
                      <a:pt x="2887896" y="1578752"/>
                    </a:lnTo>
                    <a:cubicBezTo>
                      <a:pt x="2893086" y="1580783"/>
                      <a:pt x="2894214" y="1580783"/>
                      <a:pt x="2901886" y="1579881"/>
                    </a:cubicBezTo>
                    <a:lnTo>
                      <a:pt x="2902789" y="1579881"/>
                    </a:lnTo>
                    <a:cubicBezTo>
                      <a:pt x="2907527" y="1579429"/>
                      <a:pt x="2911137" y="1580106"/>
                      <a:pt x="2914071" y="1580783"/>
                    </a:cubicBezTo>
                    <a:cubicBezTo>
                      <a:pt x="2916327" y="1581235"/>
                      <a:pt x="2918132" y="1581686"/>
                      <a:pt x="2919035" y="1581009"/>
                    </a:cubicBezTo>
                    <a:cubicBezTo>
                      <a:pt x="2922871" y="1578752"/>
                      <a:pt x="2926256" y="1578301"/>
                      <a:pt x="2930317" y="1579429"/>
                    </a:cubicBezTo>
                    <a:cubicBezTo>
                      <a:pt x="2932800" y="1580106"/>
                      <a:pt x="2940246" y="1576947"/>
                      <a:pt x="2947918" y="1570855"/>
                    </a:cubicBezTo>
                    <a:cubicBezTo>
                      <a:pt x="2953333" y="1566568"/>
                      <a:pt x="2957169" y="1568373"/>
                      <a:pt x="2960554" y="1569727"/>
                    </a:cubicBezTo>
                    <a:cubicBezTo>
                      <a:pt x="2962359" y="1570629"/>
                      <a:pt x="2964164" y="1571306"/>
                      <a:pt x="2966421" y="1571306"/>
                    </a:cubicBezTo>
                    <a:cubicBezTo>
                      <a:pt x="2972288" y="1571306"/>
                      <a:pt x="2976124" y="1574465"/>
                      <a:pt x="2978831" y="1576722"/>
                    </a:cubicBezTo>
                    <a:cubicBezTo>
                      <a:pt x="2979734" y="1577624"/>
                      <a:pt x="2980636" y="1578301"/>
                      <a:pt x="2981313" y="1578527"/>
                    </a:cubicBezTo>
                    <a:cubicBezTo>
                      <a:pt x="2984472" y="1580332"/>
                      <a:pt x="2991693" y="1582814"/>
                      <a:pt x="2995981" y="1582814"/>
                    </a:cubicBezTo>
                    <a:cubicBezTo>
                      <a:pt x="2997108" y="1582814"/>
                      <a:pt x="2998237" y="1582814"/>
                      <a:pt x="2999365" y="1582588"/>
                    </a:cubicBezTo>
                    <a:cubicBezTo>
                      <a:pt x="3004329" y="1582363"/>
                      <a:pt x="3009519" y="1582137"/>
                      <a:pt x="3009970" y="1585973"/>
                    </a:cubicBezTo>
                    <a:cubicBezTo>
                      <a:pt x="3010196" y="1587553"/>
                      <a:pt x="3010647" y="1588681"/>
                      <a:pt x="3011099" y="1589809"/>
                    </a:cubicBezTo>
                    <a:cubicBezTo>
                      <a:pt x="3011550" y="1590712"/>
                      <a:pt x="3011776" y="1591389"/>
                      <a:pt x="3011776" y="1592066"/>
                    </a:cubicBezTo>
                    <a:cubicBezTo>
                      <a:pt x="3012001" y="1592291"/>
                      <a:pt x="3012904" y="1593871"/>
                      <a:pt x="3013806" y="1595225"/>
                    </a:cubicBezTo>
                    <a:cubicBezTo>
                      <a:pt x="3016965" y="1599512"/>
                      <a:pt x="3019222" y="1603122"/>
                      <a:pt x="3019222" y="1605604"/>
                    </a:cubicBezTo>
                    <a:cubicBezTo>
                      <a:pt x="3019222" y="1608989"/>
                      <a:pt x="3015160" y="1610794"/>
                      <a:pt x="3011550" y="1612599"/>
                    </a:cubicBezTo>
                    <a:cubicBezTo>
                      <a:pt x="3009970" y="1613276"/>
                      <a:pt x="3008617" y="1613953"/>
                      <a:pt x="3007940" y="1614630"/>
                    </a:cubicBezTo>
                    <a:cubicBezTo>
                      <a:pt x="3006811" y="1615533"/>
                      <a:pt x="3005909" y="1615758"/>
                      <a:pt x="3005006" y="1615533"/>
                    </a:cubicBezTo>
                    <a:cubicBezTo>
                      <a:pt x="3002750" y="1615307"/>
                      <a:pt x="3001170" y="1612825"/>
                      <a:pt x="2999591" y="1610569"/>
                    </a:cubicBezTo>
                    <a:cubicBezTo>
                      <a:pt x="2999140" y="1609666"/>
                      <a:pt x="2998463" y="1608989"/>
                      <a:pt x="2998011" y="1608312"/>
                    </a:cubicBezTo>
                    <a:cubicBezTo>
                      <a:pt x="2997786" y="1607861"/>
                      <a:pt x="2997108" y="1608086"/>
                      <a:pt x="2996657" y="1608086"/>
                    </a:cubicBezTo>
                    <a:cubicBezTo>
                      <a:pt x="2995078" y="1608538"/>
                      <a:pt x="2993047" y="1610794"/>
                      <a:pt x="2992370" y="1614405"/>
                    </a:cubicBezTo>
                    <a:cubicBezTo>
                      <a:pt x="2991693" y="1619143"/>
                      <a:pt x="2992145" y="1620948"/>
                      <a:pt x="2992596" y="1622979"/>
                    </a:cubicBezTo>
                    <a:cubicBezTo>
                      <a:pt x="2992821" y="1623656"/>
                      <a:pt x="2992821" y="1624559"/>
                      <a:pt x="2993047" y="1625235"/>
                    </a:cubicBezTo>
                    <a:cubicBezTo>
                      <a:pt x="2993047" y="1625687"/>
                      <a:pt x="2993273" y="1626138"/>
                      <a:pt x="2993273" y="1626589"/>
                    </a:cubicBezTo>
                    <a:cubicBezTo>
                      <a:pt x="2993724" y="1629523"/>
                      <a:pt x="2994627" y="1634261"/>
                      <a:pt x="2991242" y="1638774"/>
                    </a:cubicBezTo>
                    <a:cubicBezTo>
                      <a:pt x="2989211" y="1641708"/>
                      <a:pt x="2991693" y="1647575"/>
                      <a:pt x="2993047" y="1650508"/>
                    </a:cubicBezTo>
                    <a:cubicBezTo>
                      <a:pt x="2993498" y="1651636"/>
                      <a:pt x="2993724" y="1652087"/>
                      <a:pt x="2993949" y="1652764"/>
                    </a:cubicBezTo>
                    <a:cubicBezTo>
                      <a:pt x="2994401" y="1654570"/>
                      <a:pt x="2992596" y="1662467"/>
                      <a:pt x="2990565" y="1663821"/>
                    </a:cubicBezTo>
                    <a:cubicBezTo>
                      <a:pt x="2990114" y="1664272"/>
                      <a:pt x="2986729" y="1667657"/>
                      <a:pt x="2985375" y="1671719"/>
                    </a:cubicBezTo>
                    <a:cubicBezTo>
                      <a:pt x="2983795" y="1676232"/>
                      <a:pt x="2983344" y="1677134"/>
                      <a:pt x="2980636" y="1680519"/>
                    </a:cubicBezTo>
                    <a:cubicBezTo>
                      <a:pt x="2978154" y="1683452"/>
                      <a:pt x="2975221" y="1683452"/>
                      <a:pt x="2971836" y="1683452"/>
                    </a:cubicBezTo>
                    <a:cubicBezTo>
                      <a:pt x="2970708" y="1683452"/>
                      <a:pt x="2969354" y="1683452"/>
                      <a:pt x="2967775" y="1683452"/>
                    </a:cubicBezTo>
                    <a:cubicBezTo>
                      <a:pt x="2962359" y="1683678"/>
                      <a:pt x="2958298" y="1687514"/>
                      <a:pt x="2956492" y="1690673"/>
                    </a:cubicBezTo>
                    <a:cubicBezTo>
                      <a:pt x="2955590" y="1692252"/>
                      <a:pt x="2956041" y="1694735"/>
                      <a:pt x="2956492" y="1697217"/>
                    </a:cubicBezTo>
                    <a:cubicBezTo>
                      <a:pt x="2956943" y="1699248"/>
                      <a:pt x="2957395" y="1701053"/>
                      <a:pt x="2956943" y="1702632"/>
                    </a:cubicBezTo>
                    <a:cubicBezTo>
                      <a:pt x="2956492" y="1705340"/>
                      <a:pt x="2953784" y="1707145"/>
                      <a:pt x="2951077" y="1708725"/>
                    </a:cubicBezTo>
                    <a:cubicBezTo>
                      <a:pt x="2949723" y="1709402"/>
                      <a:pt x="2948595" y="1710304"/>
                      <a:pt x="2947466" y="1711207"/>
                    </a:cubicBezTo>
                    <a:cubicBezTo>
                      <a:pt x="2944984" y="1713463"/>
                      <a:pt x="2942277" y="1712335"/>
                      <a:pt x="2939795" y="1711432"/>
                    </a:cubicBezTo>
                    <a:cubicBezTo>
                      <a:pt x="2937989" y="1710755"/>
                      <a:pt x="2935959" y="1709853"/>
                      <a:pt x="2933702" y="1710304"/>
                    </a:cubicBezTo>
                    <a:cubicBezTo>
                      <a:pt x="2930994" y="1710755"/>
                      <a:pt x="2930317" y="1712786"/>
                      <a:pt x="2928964" y="1716397"/>
                    </a:cubicBezTo>
                    <a:cubicBezTo>
                      <a:pt x="2928287" y="1718427"/>
                      <a:pt x="2927610" y="1720458"/>
                      <a:pt x="2926481" y="1722263"/>
                    </a:cubicBezTo>
                    <a:cubicBezTo>
                      <a:pt x="2922871" y="1727679"/>
                      <a:pt x="2915876" y="1729033"/>
                      <a:pt x="2910686" y="1728807"/>
                    </a:cubicBezTo>
                    <a:cubicBezTo>
                      <a:pt x="2907076" y="1728581"/>
                      <a:pt x="2903240" y="1729484"/>
                      <a:pt x="2900758" y="1730387"/>
                    </a:cubicBezTo>
                    <a:lnTo>
                      <a:pt x="2899404" y="1730838"/>
                    </a:lnTo>
                    <a:cubicBezTo>
                      <a:pt x="2899178" y="1730838"/>
                      <a:pt x="2898953" y="1731289"/>
                      <a:pt x="2898501" y="1732417"/>
                    </a:cubicBezTo>
                    <a:cubicBezTo>
                      <a:pt x="2897824" y="1733997"/>
                      <a:pt x="2896922" y="1736253"/>
                      <a:pt x="2894440" y="1738059"/>
                    </a:cubicBezTo>
                    <a:cubicBezTo>
                      <a:pt x="2892183" y="1739864"/>
                      <a:pt x="2891506" y="1740766"/>
                      <a:pt x="2890378" y="1741669"/>
                    </a:cubicBezTo>
                    <a:cubicBezTo>
                      <a:pt x="2889701" y="1742572"/>
                      <a:pt x="2888799" y="1743474"/>
                      <a:pt x="2887219" y="1744828"/>
                    </a:cubicBezTo>
                    <a:cubicBezTo>
                      <a:pt x="2885414" y="1746633"/>
                      <a:pt x="2885188" y="1748664"/>
                      <a:pt x="2884962" y="1751372"/>
                    </a:cubicBezTo>
                    <a:cubicBezTo>
                      <a:pt x="2884737" y="1752726"/>
                      <a:pt x="2884737" y="1754079"/>
                      <a:pt x="2884511" y="1755433"/>
                    </a:cubicBezTo>
                    <a:cubicBezTo>
                      <a:pt x="2883609" y="1759495"/>
                      <a:pt x="2881127" y="1759946"/>
                      <a:pt x="2879321" y="1760398"/>
                    </a:cubicBezTo>
                    <a:cubicBezTo>
                      <a:pt x="2878419" y="1760623"/>
                      <a:pt x="2877516" y="1760849"/>
                      <a:pt x="2876839" y="1761300"/>
                    </a:cubicBezTo>
                    <a:cubicBezTo>
                      <a:pt x="2875937" y="1761977"/>
                      <a:pt x="2875485" y="1763331"/>
                      <a:pt x="2875260" y="1765587"/>
                    </a:cubicBezTo>
                    <a:cubicBezTo>
                      <a:pt x="2875034" y="1767393"/>
                      <a:pt x="2874583" y="1769423"/>
                      <a:pt x="2873454" y="1771229"/>
                    </a:cubicBezTo>
                    <a:cubicBezTo>
                      <a:pt x="2872778" y="1772131"/>
                      <a:pt x="2873003" y="1776193"/>
                      <a:pt x="2873229" y="1778901"/>
                    </a:cubicBezTo>
                    <a:cubicBezTo>
                      <a:pt x="2873454" y="1783413"/>
                      <a:pt x="2873906" y="1787926"/>
                      <a:pt x="2872326" y="1790860"/>
                    </a:cubicBezTo>
                    <a:cubicBezTo>
                      <a:pt x="2870972" y="1793116"/>
                      <a:pt x="2871875" y="1796275"/>
                      <a:pt x="2872552" y="1798983"/>
                    </a:cubicBezTo>
                    <a:cubicBezTo>
                      <a:pt x="2873003" y="1800337"/>
                      <a:pt x="2873229" y="1801691"/>
                      <a:pt x="2873229" y="1802819"/>
                    </a:cubicBezTo>
                    <a:cubicBezTo>
                      <a:pt x="2873229" y="1803947"/>
                      <a:pt x="2874808" y="1806204"/>
                      <a:pt x="2875937" y="1807783"/>
                    </a:cubicBezTo>
                    <a:cubicBezTo>
                      <a:pt x="2877065" y="1809588"/>
                      <a:pt x="2878193" y="1811168"/>
                      <a:pt x="2878644" y="1812522"/>
                    </a:cubicBezTo>
                    <a:cubicBezTo>
                      <a:pt x="2878870" y="1813199"/>
                      <a:pt x="2879773" y="1814101"/>
                      <a:pt x="2880675" y="1815004"/>
                    </a:cubicBezTo>
                    <a:cubicBezTo>
                      <a:pt x="2882706" y="1817035"/>
                      <a:pt x="2885414" y="1819968"/>
                      <a:pt x="2884511" y="1823804"/>
                    </a:cubicBezTo>
                    <a:cubicBezTo>
                      <a:pt x="2883834" y="1826512"/>
                      <a:pt x="2884286" y="1827189"/>
                      <a:pt x="2885414" y="1829671"/>
                    </a:cubicBezTo>
                    <a:cubicBezTo>
                      <a:pt x="2885865" y="1830574"/>
                      <a:pt x="2886316" y="1831476"/>
                      <a:pt x="2886768" y="1832830"/>
                    </a:cubicBezTo>
                    <a:cubicBezTo>
                      <a:pt x="2887670" y="1835312"/>
                      <a:pt x="2890152" y="1837569"/>
                      <a:pt x="2891958" y="1839148"/>
                    </a:cubicBezTo>
                    <a:cubicBezTo>
                      <a:pt x="2893763" y="1840728"/>
                      <a:pt x="2894891" y="1841856"/>
                      <a:pt x="2894891" y="1843210"/>
                    </a:cubicBezTo>
                    <a:cubicBezTo>
                      <a:pt x="2894891" y="1849302"/>
                      <a:pt x="2894891" y="1854041"/>
                      <a:pt x="2895117" y="1856974"/>
                    </a:cubicBezTo>
                    <a:cubicBezTo>
                      <a:pt x="2895342" y="1859456"/>
                      <a:pt x="2896922" y="1863292"/>
                      <a:pt x="2898050" y="1865097"/>
                    </a:cubicBezTo>
                    <a:cubicBezTo>
                      <a:pt x="2898953" y="1863292"/>
                      <a:pt x="2899855" y="1860359"/>
                      <a:pt x="2899630" y="1857877"/>
                    </a:cubicBezTo>
                    <a:cubicBezTo>
                      <a:pt x="2899630" y="1856523"/>
                      <a:pt x="2899404" y="1855620"/>
                      <a:pt x="2899178" y="1854718"/>
                    </a:cubicBezTo>
                    <a:cubicBezTo>
                      <a:pt x="2898727" y="1852912"/>
                      <a:pt x="2898501" y="1851333"/>
                      <a:pt x="2899855" y="1848851"/>
                    </a:cubicBezTo>
                    <a:cubicBezTo>
                      <a:pt x="2900532" y="1847497"/>
                      <a:pt x="2901660" y="1846594"/>
                      <a:pt x="2902789" y="1846143"/>
                    </a:cubicBezTo>
                    <a:cubicBezTo>
                      <a:pt x="2904819" y="1845466"/>
                      <a:pt x="2907527" y="1846143"/>
                      <a:pt x="2910686" y="1847948"/>
                    </a:cubicBezTo>
                    <a:cubicBezTo>
                      <a:pt x="2913394" y="1849528"/>
                      <a:pt x="2916102" y="1850882"/>
                      <a:pt x="2916102" y="1855169"/>
                    </a:cubicBezTo>
                    <a:cubicBezTo>
                      <a:pt x="2916102" y="1855620"/>
                      <a:pt x="2917681" y="1856748"/>
                      <a:pt x="2918584" y="1857425"/>
                    </a:cubicBezTo>
                    <a:cubicBezTo>
                      <a:pt x="2920614" y="1858779"/>
                      <a:pt x="2922871" y="1860359"/>
                      <a:pt x="2922871" y="1863066"/>
                    </a:cubicBezTo>
                    <a:cubicBezTo>
                      <a:pt x="2922871" y="1864195"/>
                      <a:pt x="2922646" y="1865323"/>
                      <a:pt x="2922420" y="1866677"/>
                    </a:cubicBezTo>
                    <a:cubicBezTo>
                      <a:pt x="2921743" y="1869836"/>
                      <a:pt x="2920840" y="1873446"/>
                      <a:pt x="2923548" y="1876380"/>
                    </a:cubicBezTo>
                    <a:cubicBezTo>
                      <a:pt x="2926933" y="1880667"/>
                      <a:pt x="2928738" y="1880893"/>
                      <a:pt x="2933251" y="1881569"/>
                    </a:cubicBezTo>
                    <a:lnTo>
                      <a:pt x="2934605" y="1881795"/>
                    </a:lnTo>
                    <a:cubicBezTo>
                      <a:pt x="2937989" y="1882246"/>
                      <a:pt x="2937989" y="1882246"/>
                      <a:pt x="2939569" y="1880216"/>
                    </a:cubicBezTo>
                    <a:cubicBezTo>
                      <a:pt x="2940246" y="1879313"/>
                      <a:pt x="2941148" y="1878410"/>
                      <a:pt x="2942277" y="1877057"/>
                    </a:cubicBezTo>
                    <a:cubicBezTo>
                      <a:pt x="2947241" y="1871641"/>
                      <a:pt x="2948143" y="1870287"/>
                      <a:pt x="2949949" y="1866677"/>
                    </a:cubicBezTo>
                    <a:cubicBezTo>
                      <a:pt x="2951528" y="1863292"/>
                      <a:pt x="2954913" y="1852687"/>
                      <a:pt x="2955816" y="1845692"/>
                    </a:cubicBezTo>
                    <a:cubicBezTo>
                      <a:pt x="2956267" y="1842307"/>
                      <a:pt x="2955139" y="1839148"/>
                      <a:pt x="2954010" y="1835763"/>
                    </a:cubicBezTo>
                    <a:cubicBezTo>
                      <a:pt x="2953108" y="1832830"/>
                      <a:pt x="2951979" y="1829896"/>
                      <a:pt x="2951979" y="1826512"/>
                    </a:cubicBezTo>
                    <a:cubicBezTo>
                      <a:pt x="2951979" y="1820419"/>
                      <a:pt x="2954913" y="1817712"/>
                      <a:pt x="2959426" y="1813650"/>
                    </a:cubicBezTo>
                    <a:cubicBezTo>
                      <a:pt x="2960554" y="1812747"/>
                      <a:pt x="2961682" y="1811619"/>
                      <a:pt x="2963036" y="1810265"/>
                    </a:cubicBezTo>
                    <a:cubicBezTo>
                      <a:pt x="2968000" y="1805301"/>
                      <a:pt x="2967549" y="1802819"/>
                      <a:pt x="2966421" y="1797629"/>
                    </a:cubicBezTo>
                    <a:cubicBezTo>
                      <a:pt x="2966195" y="1796952"/>
                      <a:pt x="2965970" y="1796050"/>
                      <a:pt x="2965970" y="1795147"/>
                    </a:cubicBezTo>
                    <a:cubicBezTo>
                      <a:pt x="2965744" y="1794245"/>
                      <a:pt x="2965518" y="1793342"/>
                      <a:pt x="2965518" y="1792439"/>
                    </a:cubicBezTo>
                    <a:cubicBezTo>
                      <a:pt x="2964390" y="1787249"/>
                      <a:pt x="2964164" y="1785670"/>
                      <a:pt x="2967775" y="1780480"/>
                    </a:cubicBezTo>
                    <a:cubicBezTo>
                      <a:pt x="2971385" y="1775064"/>
                      <a:pt x="2975447" y="1776644"/>
                      <a:pt x="2977703" y="1777772"/>
                    </a:cubicBezTo>
                    <a:cubicBezTo>
                      <a:pt x="2978380" y="1777998"/>
                      <a:pt x="2979057" y="1778449"/>
                      <a:pt x="2979508" y="1778449"/>
                    </a:cubicBezTo>
                    <a:cubicBezTo>
                      <a:pt x="2982216" y="1778449"/>
                      <a:pt x="2985149" y="1777998"/>
                      <a:pt x="2988308" y="1773936"/>
                    </a:cubicBezTo>
                    <a:cubicBezTo>
                      <a:pt x="2989888" y="1771905"/>
                      <a:pt x="2991467" y="1770777"/>
                      <a:pt x="2992821" y="1770777"/>
                    </a:cubicBezTo>
                    <a:cubicBezTo>
                      <a:pt x="2994401" y="1770777"/>
                      <a:pt x="2995304" y="1771905"/>
                      <a:pt x="2995981" y="1773034"/>
                    </a:cubicBezTo>
                    <a:cubicBezTo>
                      <a:pt x="2996206" y="1773485"/>
                      <a:pt x="2996657" y="1773936"/>
                      <a:pt x="2997108" y="1774388"/>
                    </a:cubicBezTo>
                    <a:cubicBezTo>
                      <a:pt x="2997786" y="1775064"/>
                      <a:pt x="2998463" y="1775064"/>
                      <a:pt x="3001396" y="1774162"/>
                    </a:cubicBezTo>
                    <a:cubicBezTo>
                      <a:pt x="3002976" y="1773711"/>
                      <a:pt x="3004781" y="1773259"/>
                      <a:pt x="3007263" y="1772808"/>
                    </a:cubicBezTo>
                    <a:cubicBezTo>
                      <a:pt x="3009068" y="1772583"/>
                      <a:pt x="3011324" y="1772357"/>
                      <a:pt x="3012678" y="1773936"/>
                    </a:cubicBezTo>
                    <a:cubicBezTo>
                      <a:pt x="3014258" y="1775742"/>
                      <a:pt x="3013581" y="1778224"/>
                      <a:pt x="3012678" y="1781608"/>
                    </a:cubicBezTo>
                    <a:cubicBezTo>
                      <a:pt x="3012453" y="1782962"/>
                      <a:pt x="3012001" y="1784316"/>
                      <a:pt x="3011776" y="1785896"/>
                    </a:cubicBezTo>
                    <a:cubicBezTo>
                      <a:pt x="3010196" y="1794019"/>
                      <a:pt x="3022381" y="1823353"/>
                      <a:pt x="3028474" y="1826286"/>
                    </a:cubicBezTo>
                    <a:cubicBezTo>
                      <a:pt x="3028474" y="1826286"/>
                      <a:pt x="3028474" y="1826286"/>
                      <a:pt x="3028474" y="1826286"/>
                    </a:cubicBezTo>
                    <a:lnTo>
                      <a:pt x="3026894" y="1829671"/>
                    </a:lnTo>
                    <a:cubicBezTo>
                      <a:pt x="3026217" y="1829445"/>
                      <a:pt x="3025540" y="1829445"/>
                      <a:pt x="3025089" y="1829671"/>
                    </a:cubicBezTo>
                    <a:cubicBezTo>
                      <a:pt x="3024186" y="1830122"/>
                      <a:pt x="3023284" y="1831025"/>
                      <a:pt x="3022832" y="1831927"/>
                    </a:cubicBezTo>
                    <a:cubicBezTo>
                      <a:pt x="3021930" y="1833958"/>
                      <a:pt x="3022381" y="1836440"/>
                      <a:pt x="3022832" y="1838922"/>
                    </a:cubicBezTo>
                    <a:cubicBezTo>
                      <a:pt x="3026217" y="1857877"/>
                      <a:pt x="3032761" y="1876831"/>
                      <a:pt x="3042915" y="1898267"/>
                    </a:cubicBezTo>
                    <a:cubicBezTo>
                      <a:pt x="3044269" y="1901201"/>
                      <a:pt x="3046074" y="1904360"/>
                      <a:pt x="3047879" y="1907519"/>
                    </a:cubicBezTo>
                    <a:cubicBezTo>
                      <a:pt x="3052618" y="1915642"/>
                      <a:pt x="3057582" y="1924217"/>
                      <a:pt x="3057582" y="1933242"/>
                    </a:cubicBezTo>
                    <a:cubicBezTo>
                      <a:pt x="3057582" y="1939560"/>
                      <a:pt x="3058259" y="1942720"/>
                      <a:pt x="3059161" y="1945879"/>
                    </a:cubicBezTo>
                    <a:cubicBezTo>
                      <a:pt x="3060064" y="1949263"/>
                      <a:pt x="3060966" y="1952648"/>
                      <a:pt x="3060966" y="1959417"/>
                    </a:cubicBezTo>
                    <a:cubicBezTo>
                      <a:pt x="3060966" y="1965961"/>
                      <a:pt x="3062546" y="1968895"/>
                      <a:pt x="3064125" y="1971377"/>
                    </a:cubicBezTo>
                    <a:cubicBezTo>
                      <a:pt x="3065480" y="1973633"/>
                      <a:pt x="3066833" y="1976115"/>
                      <a:pt x="3066608" y="1980628"/>
                    </a:cubicBezTo>
                    <a:cubicBezTo>
                      <a:pt x="3066382" y="1986495"/>
                      <a:pt x="3067962" y="1992136"/>
                      <a:pt x="3070218" y="1993716"/>
                    </a:cubicBezTo>
                    <a:cubicBezTo>
                      <a:pt x="3070895" y="1994167"/>
                      <a:pt x="3071798" y="1994393"/>
                      <a:pt x="3073603" y="1993490"/>
                    </a:cubicBezTo>
                    <a:cubicBezTo>
                      <a:pt x="3077213" y="1991459"/>
                      <a:pt x="3078116" y="1989428"/>
                      <a:pt x="3079244" y="1987398"/>
                    </a:cubicBezTo>
                    <a:cubicBezTo>
                      <a:pt x="3079921" y="1985818"/>
                      <a:pt x="3080823" y="1984239"/>
                      <a:pt x="3082629" y="1983110"/>
                    </a:cubicBezTo>
                    <a:cubicBezTo>
                      <a:pt x="3085336" y="1981531"/>
                      <a:pt x="3086690" y="1982208"/>
                      <a:pt x="3088495" y="1983110"/>
                    </a:cubicBezTo>
                    <a:cubicBezTo>
                      <a:pt x="3089398" y="1983562"/>
                      <a:pt x="3090300" y="1984239"/>
                      <a:pt x="3092106" y="1984690"/>
                    </a:cubicBezTo>
                    <a:cubicBezTo>
                      <a:pt x="3095716" y="1985592"/>
                      <a:pt x="3096619" y="1987398"/>
                      <a:pt x="3096844" y="1988977"/>
                    </a:cubicBezTo>
                    <a:cubicBezTo>
                      <a:pt x="3099101" y="1989654"/>
                      <a:pt x="3103613" y="1991685"/>
                      <a:pt x="3110609" y="1995069"/>
                    </a:cubicBezTo>
                    <a:cubicBezTo>
                      <a:pt x="3112188" y="1995747"/>
                      <a:pt x="3113316" y="1995972"/>
                      <a:pt x="3114219" y="1995747"/>
                    </a:cubicBezTo>
                    <a:cubicBezTo>
                      <a:pt x="3115573" y="1995295"/>
                      <a:pt x="3116475" y="1992813"/>
                      <a:pt x="3117152" y="1990557"/>
                    </a:cubicBezTo>
                    <a:cubicBezTo>
                      <a:pt x="3117378" y="1989880"/>
                      <a:pt x="3117604" y="1989203"/>
                      <a:pt x="3117829" y="1988526"/>
                    </a:cubicBezTo>
                    <a:lnTo>
                      <a:pt x="3118958" y="1985818"/>
                    </a:lnTo>
                    <a:cubicBezTo>
                      <a:pt x="3120537" y="1981982"/>
                      <a:pt x="3122117" y="1977920"/>
                      <a:pt x="3123019" y="1974310"/>
                    </a:cubicBezTo>
                    <a:cubicBezTo>
                      <a:pt x="3123922" y="1969571"/>
                      <a:pt x="3127081" y="1967992"/>
                      <a:pt x="3130465" y="1965961"/>
                    </a:cubicBezTo>
                    <a:cubicBezTo>
                      <a:pt x="3131142" y="1965510"/>
                      <a:pt x="3132045" y="1965059"/>
                      <a:pt x="3132722" y="1964607"/>
                    </a:cubicBezTo>
                    <a:cubicBezTo>
                      <a:pt x="3133399" y="1964156"/>
                      <a:pt x="3133173" y="1963479"/>
                      <a:pt x="3131594" y="1960320"/>
                    </a:cubicBezTo>
                    <a:cubicBezTo>
                      <a:pt x="3130014" y="1957387"/>
                      <a:pt x="3127983" y="1953776"/>
                      <a:pt x="3130240" y="1950392"/>
                    </a:cubicBezTo>
                    <a:cubicBezTo>
                      <a:pt x="3132722" y="1946781"/>
                      <a:pt x="3132045" y="1944074"/>
                      <a:pt x="3131142" y="1940689"/>
                    </a:cubicBezTo>
                    <a:lnTo>
                      <a:pt x="3130917" y="1939786"/>
                    </a:lnTo>
                    <a:cubicBezTo>
                      <a:pt x="3130240" y="1936853"/>
                      <a:pt x="3127306" y="1931437"/>
                      <a:pt x="3122117" y="1926022"/>
                    </a:cubicBezTo>
                    <a:cubicBezTo>
                      <a:pt x="3116024" y="1919929"/>
                      <a:pt x="3117378" y="1913837"/>
                      <a:pt x="3118732" y="1907744"/>
                    </a:cubicBezTo>
                    <a:cubicBezTo>
                      <a:pt x="3119409" y="1905037"/>
                      <a:pt x="3119860" y="1902103"/>
                      <a:pt x="3119860" y="1899170"/>
                    </a:cubicBezTo>
                    <a:cubicBezTo>
                      <a:pt x="3119635" y="1895108"/>
                      <a:pt x="3118506" y="1891724"/>
                      <a:pt x="3117604" y="1888565"/>
                    </a:cubicBezTo>
                    <a:cubicBezTo>
                      <a:pt x="3115799" y="1882472"/>
                      <a:pt x="3113993" y="1876380"/>
                      <a:pt x="3117378" y="1867128"/>
                    </a:cubicBezTo>
                    <a:cubicBezTo>
                      <a:pt x="3119860" y="1860359"/>
                      <a:pt x="3123696" y="1854266"/>
                      <a:pt x="3127532" y="1848399"/>
                    </a:cubicBezTo>
                    <a:cubicBezTo>
                      <a:pt x="3130014" y="1844564"/>
                      <a:pt x="3132271" y="1840728"/>
                      <a:pt x="3134527" y="1836666"/>
                    </a:cubicBezTo>
                    <a:cubicBezTo>
                      <a:pt x="3149194" y="1808009"/>
                      <a:pt x="3149194" y="1755433"/>
                      <a:pt x="3134301" y="1726551"/>
                    </a:cubicBezTo>
                    <a:cubicBezTo>
                      <a:pt x="3129337" y="1717073"/>
                      <a:pt x="3129789" y="1710078"/>
                      <a:pt x="3134978" y="1707145"/>
                    </a:cubicBezTo>
                    <a:cubicBezTo>
                      <a:pt x="3139717" y="1704663"/>
                      <a:pt x="3145133" y="1707822"/>
                      <a:pt x="3148517" y="1711432"/>
                    </a:cubicBezTo>
                    <a:cubicBezTo>
                      <a:pt x="3148969" y="1711884"/>
                      <a:pt x="3149420" y="1712335"/>
                      <a:pt x="3149871" y="1713012"/>
                    </a:cubicBezTo>
                    <a:cubicBezTo>
                      <a:pt x="3152353" y="1715720"/>
                      <a:pt x="3154610" y="1718202"/>
                      <a:pt x="3157543" y="1718653"/>
                    </a:cubicBezTo>
                    <a:cubicBezTo>
                      <a:pt x="3160251" y="1719104"/>
                      <a:pt x="3162733" y="1717751"/>
                      <a:pt x="3165441" y="1716397"/>
                    </a:cubicBezTo>
                    <a:cubicBezTo>
                      <a:pt x="3167246" y="1715494"/>
                      <a:pt x="3169051" y="1714591"/>
                      <a:pt x="3171082" y="1714140"/>
                    </a:cubicBezTo>
                    <a:cubicBezTo>
                      <a:pt x="3176497" y="1712786"/>
                      <a:pt x="3181913" y="1714366"/>
                      <a:pt x="3186426" y="1715720"/>
                    </a:cubicBezTo>
                    <a:cubicBezTo>
                      <a:pt x="3188682" y="1716397"/>
                      <a:pt x="3190713" y="1717073"/>
                      <a:pt x="3192970" y="1717976"/>
                    </a:cubicBezTo>
                    <a:cubicBezTo>
                      <a:pt x="3201544" y="1720910"/>
                      <a:pt x="3210344" y="1724069"/>
                      <a:pt x="3219370" y="1724069"/>
                    </a:cubicBezTo>
                    <a:cubicBezTo>
                      <a:pt x="3219370" y="1724069"/>
                      <a:pt x="3219596" y="1724069"/>
                      <a:pt x="3219596" y="1724069"/>
                    </a:cubicBezTo>
                    <a:cubicBezTo>
                      <a:pt x="3229750" y="1724069"/>
                      <a:pt x="3241935" y="1718427"/>
                      <a:pt x="3244642" y="1708048"/>
                    </a:cubicBezTo>
                    <a:cubicBezTo>
                      <a:pt x="3245771" y="1703535"/>
                      <a:pt x="3245094" y="1699022"/>
                      <a:pt x="3244417" y="1694283"/>
                    </a:cubicBezTo>
                    <a:cubicBezTo>
                      <a:pt x="3244191" y="1692252"/>
                      <a:pt x="3243740" y="1690222"/>
                      <a:pt x="3243740" y="1688191"/>
                    </a:cubicBezTo>
                    <a:cubicBezTo>
                      <a:pt x="3243063" y="1679165"/>
                      <a:pt x="3248930" y="1667206"/>
                      <a:pt x="3253894" y="1656375"/>
                    </a:cubicBezTo>
                    <a:cubicBezTo>
                      <a:pt x="3256150" y="1651411"/>
                      <a:pt x="3258407" y="1646897"/>
                      <a:pt x="3259761" y="1643062"/>
                    </a:cubicBezTo>
                    <a:cubicBezTo>
                      <a:pt x="3260889" y="1639903"/>
                      <a:pt x="3261792" y="1637195"/>
                      <a:pt x="3262694" y="1634713"/>
                    </a:cubicBezTo>
                    <a:cubicBezTo>
                      <a:pt x="3265628" y="1626364"/>
                      <a:pt x="3266981" y="1622753"/>
                      <a:pt x="3270140" y="1615984"/>
                    </a:cubicBezTo>
                    <a:cubicBezTo>
                      <a:pt x="3271043" y="1614179"/>
                      <a:pt x="3272171" y="1612374"/>
                      <a:pt x="3273074" y="1610569"/>
                    </a:cubicBezTo>
                    <a:cubicBezTo>
                      <a:pt x="3277361" y="1603122"/>
                      <a:pt x="3282100" y="1594773"/>
                      <a:pt x="3282100" y="1582588"/>
                    </a:cubicBezTo>
                    <a:cubicBezTo>
                      <a:pt x="3282100" y="1574465"/>
                      <a:pt x="3284807" y="1566793"/>
                      <a:pt x="3287064" y="1560475"/>
                    </a:cubicBezTo>
                    <a:cubicBezTo>
                      <a:pt x="3288644" y="1556188"/>
                      <a:pt x="3290448" y="1551224"/>
                      <a:pt x="3289095" y="1550547"/>
                    </a:cubicBezTo>
                    <a:lnTo>
                      <a:pt x="3287741" y="1549870"/>
                    </a:lnTo>
                    <a:cubicBezTo>
                      <a:pt x="3282551" y="1546711"/>
                      <a:pt x="3276233" y="1542875"/>
                      <a:pt x="3272848" y="1535428"/>
                    </a:cubicBezTo>
                    <a:cubicBezTo>
                      <a:pt x="3269689" y="1528659"/>
                      <a:pt x="3270592" y="1526177"/>
                      <a:pt x="3272397" y="1521213"/>
                    </a:cubicBezTo>
                    <a:cubicBezTo>
                      <a:pt x="3272848" y="1520084"/>
                      <a:pt x="3273299" y="1518956"/>
                      <a:pt x="3273751" y="1517377"/>
                    </a:cubicBezTo>
                    <a:cubicBezTo>
                      <a:pt x="3274879" y="1513992"/>
                      <a:pt x="3274653" y="1511736"/>
                      <a:pt x="3274653" y="1509930"/>
                    </a:cubicBezTo>
                    <a:cubicBezTo>
                      <a:pt x="3274653" y="1507674"/>
                      <a:pt x="3274428" y="1505192"/>
                      <a:pt x="3277812" y="1504064"/>
                    </a:cubicBezTo>
                    <a:cubicBezTo>
                      <a:pt x="3281423" y="1502935"/>
                      <a:pt x="3290900" y="1497971"/>
                      <a:pt x="3294510" y="1495038"/>
                    </a:cubicBezTo>
                    <a:cubicBezTo>
                      <a:pt x="3299023" y="1491427"/>
                      <a:pt x="3303310" y="1487140"/>
                      <a:pt x="3308049" y="1481725"/>
                    </a:cubicBezTo>
                    <a:cubicBezTo>
                      <a:pt x="3310982" y="1478566"/>
                      <a:pt x="3311885" y="1476309"/>
                      <a:pt x="3313013" y="1474053"/>
                    </a:cubicBezTo>
                    <a:cubicBezTo>
                      <a:pt x="3314141" y="1472022"/>
                      <a:pt x="3315270" y="1469765"/>
                      <a:pt x="3317526" y="1466606"/>
                    </a:cubicBezTo>
                    <a:cubicBezTo>
                      <a:pt x="3320234" y="1463222"/>
                      <a:pt x="3319783" y="1461191"/>
                      <a:pt x="3319106" y="1456227"/>
                    </a:cubicBezTo>
                    <a:cubicBezTo>
                      <a:pt x="3318654" y="1453293"/>
                      <a:pt x="3317977" y="1449683"/>
                      <a:pt x="3317977" y="1444944"/>
                    </a:cubicBezTo>
                    <a:cubicBezTo>
                      <a:pt x="3317977" y="1435016"/>
                      <a:pt x="3320911" y="1431180"/>
                      <a:pt x="3324070" y="1427344"/>
                    </a:cubicBezTo>
                    <a:cubicBezTo>
                      <a:pt x="3325198" y="1425990"/>
                      <a:pt x="3326326" y="1424410"/>
                      <a:pt x="3327455" y="1422380"/>
                    </a:cubicBezTo>
                    <a:cubicBezTo>
                      <a:pt x="3331291" y="1415610"/>
                      <a:pt x="3331291" y="1414256"/>
                      <a:pt x="3330162" y="1409969"/>
                    </a:cubicBezTo>
                    <a:cubicBezTo>
                      <a:pt x="3329711" y="1408164"/>
                      <a:pt x="3328357" y="1406584"/>
                      <a:pt x="3327003" y="1404779"/>
                    </a:cubicBezTo>
                    <a:cubicBezTo>
                      <a:pt x="3324973" y="1402297"/>
                      <a:pt x="3322942" y="1399589"/>
                      <a:pt x="3323167" y="1396430"/>
                    </a:cubicBezTo>
                    <a:cubicBezTo>
                      <a:pt x="3323167" y="1395302"/>
                      <a:pt x="3323393" y="1394174"/>
                      <a:pt x="3323618" y="1392594"/>
                    </a:cubicBezTo>
                    <a:cubicBezTo>
                      <a:pt x="3324070" y="1388533"/>
                      <a:pt x="3324521" y="1383117"/>
                      <a:pt x="3323844" y="1380184"/>
                    </a:cubicBezTo>
                    <a:cubicBezTo>
                      <a:pt x="3323618" y="1379056"/>
                      <a:pt x="3322716" y="1377927"/>
                      <a:pt x="3321362" y="1376348"/>
                    </a:cubicBezTo>
                    <a:cubicBezTo>
                      <a:pt x="3319331" y="1373640"/>
                      <a:pt x="3316398" y="1370255"/>
                      <a:pt x="3315270" y="1364163"/>
                    </a:cubicBezTo>
                    <a:cubicBezTo>
                      <a:pt x="3313464" y="1354009"/>
                      <a:pt x="3320459" y="1337988"/>
                      <a:pt x="3323618" y="1333024"/>
                    </a:cubicBezTo>
                    <a:cubicBezTo>
                      <a:pt x="3326778" y="1328060"/>
                      <a:pt x="3330614" y="1328737"/>
                      <a:pt x="3333773" y="1329414"/>
                    </a:cubicBezTo>
                    <a:cubicBezTo>
                      <a:pt x="3335804" y="1329865"/>
                      <a:pt x="3337609" y="1330090"/>
                      <a:pt x="3339414" y="1329188"/>
                    </a:cubicBezTo>
                    <a:cubicBezTo>
                      <a:pt x="3346409" y="1325577"/>
                      <a:pt x="3352727" y="1318583"/>
                      <a:pt x="3358820" y="1311813"/>
                    </a:cubicBezTo>
                    <a:cubicBezTo>
                      <a:pt x="3361302" y="1309105"/>
                      <a:pt x="3363783" y="1306398"/>
                      <a:pt x="3366040" y="1303915"/>
                    </a:cubicBezTo>
                    <a:lnTo>
                      <a:pt x="3377774" y="1292408"/>
                    </a:lnTo>
                    <a:cubicBezTo>
                      <a:pt x="3393343" y="1277064"/>
                      <a:pt x="3409364" y="1261268"/>
                      <a:pt x="3425159" y="1245473"/>
                    </a:cubicBezTo>
                    <a:cubicBezTo>
                      <a:pt x="3433508" y="1237124"/>
                      <a:pt x="3442534" y="1229452"/>
                      <a:pt x="3452463" y="1229452"/>
                    </a:cubicBezTo>
                    <a:cubicBezTo>
                      <a:pt x="3461263" y="1229452"/>
                      <a:pt x="3466227" y="1228775"/>
                      <a:pt x="3472545" y="1224262"/>
                    </a:cubicBezTo>
                    <a:cubicBezTo>
                      <a:pt x="3479766" y="1219073"/>
                      <a:pt x="3491499" y="1216365"/>
                      <a:pt x="3499848" y="1217719"/>
                    </a:cubicBezTo>
                    <a:cubicBezTo>
                      <a:pt x="3507972" y="1219073"/>
                      <a:pt x="3512485" y="1223586"/>
                      <a:pt x="3518126" y="1229227"/>
                    </a:cubicBezTo>
                    <a:lnTo>
                      <a:pt x="3519254" y="1230355"/>
                    </a:lnTo>
                    <a:cubicBezTo>
                      <a:pt x="3520833" y="1231934"/>
                      <a:pt x="3522187" y="1233514"/>
                      <a:pt x="3523090" y="1234868"/>
                    </a:cubicBezTo>
                    <a:cubicBezTo>
                      <a:pt x="3526023" y="1238478"/>
                      <a:pt x="3527603" y="1240509"/>
                      <a:pt x="3535500" y="1241186"/>
                    </a:cubicBezTo>
                    <a:cubicBezTo>
                      <a:pt x="3539111" y="1241411"/>
                      <a:pt x="3541593" y="1240735"/>
                      <a:pt x="3542721" y="1239155"/>
                    </a:cubicBezTo>
                    <a:cubicBezTo>
                      <a:pt x="3544300" y="1236899"/>
                      <a:pt x="3543398" y="1232611"/>
                      <a:pt x="3542044" y="1229678"/>
                    </a:cubicBezTo>
                    <a:lnTo>
                      <a:pt x="3541367" y="1228098"/>
                    </a:lnTo>
                    <a:cubicBezTo>
                      <a:pt x="3539111" y="1222909"/>
                      <a:pt x="3537080" y="1218621"/>
                      <a:pt x="3527603" y="1214334"/>
                    </a:cubicBezTo>
                    <a:cubicBezTo>
                      <a:pt x="3517674" y="1209821"/>
                      <a:pt x="3518126" y="1202600"/>
                      <a:pt x="3518351" y="1196959"/>
                    </a:cubicBezTo>
                    <a:cubicBezTo>
                      <a:pt x="3518351" y="1195380"/>
                      <a:pt x="3518577" y="1193800"/>
                      <a:pt x="3518351" y="1192446"/>
                    </a:cubicBezTo>
                    <a:lnTo>
                      <a:pt x="3518126" y="1190416"/>
                    </a:lnTo>
                    <a:cubicBezTo>
                      <a:pt x="3517674" y="1185000"/>
                      <a:pt x="3517449" y="1182518"/>
                      <a:pt x="3519931" y="1178005"/>
                    </a:cubicBezTo>
                    <a:cubicBezTo>
                      <a:pt x="3520608" y="1176877"/>
                      <a:pt x="3520833" y="1175748"/>
                      <a:pt x="3521285" y="1174620"/>
                    </a:cubicBezTo>
                    <a:cubicBezTo>
                      <a:pt x="3522187" y="1171461"/>
                      <a:pt x="3523315" y="1168302"/>
                      <a:pt x="3529408" y="1163564"/>
                    </a:cubicBezTo>
                    <a:cubicBezTo>
                      <a:pt x="3533921" y="1160179"/>
                      <a:pt x="3535049" y="1158148"/>
                      <a:pt x="3536854" y="1154763"/>
                    </a:cubicBezTo>
                    <a:cubicBezTo>
                      <a:pt x="3538208" y="1152507"/>
                      <a:pt x="3539562" y="1149574"/>
                      <a:pt x="3542721" y="1145512"/>
                    </a:cubicBezTo>
                    <a:cubicBezTo>
                      <a:pt x="3545655" y="1141676"/>
                      <a:pt x="3547460" y="1139645"/>
                      <a:pt x="3548814" y="1138291"/>
                    </a:cubicBezTo>
                    <a:cubicBezTo>
                      <a:pt x="3550844" y="1136260"/>
                      <a:pt x="3551521" y="1135358"/>
                      <a:pt x="3553778" y="1130394"/>
                    </a:cubicBezTo>
                    <a:cubicBezTo>
                      <a:pt x="3555132" y="1127235"/>
                      <a:pt x="3557162" y="1124978"/>
                      <a:pt x="3558968" y="1122947"/>
                    </a:cubicBezTo>
                    <a:cubicBezTo>
                      <a:pt x="3562352" y="1119111"/>
                      <a:pt x="3564383" y="1116855"/>
                      <a:pt x="3561675" y="1111439"/>
                    </a:cubicBezTo>
                    <a:cubicBezTo>
                      <a:pt x="3560998" y="1110085"/>
                      <a:pt x="3560547" y="1109183"/>
                      <a:pt x="3560096" y="1108280"/>
                    </a:cubicBezTo>
                    <a:cubicBezTo>
                      <a:pt x="3557839" y="1103993"/>
                      <a:pt x="3557839" y="1103316"/>
                      <a:pt x="3559644" y="1099706"/>
                    </a:cubicBezTo>
                    <a:cubicBezTo>
                      <a:pt x="3560321" y="1098578"/>
                      <a:pt x="3560998" y="1096998"/>
                      <a:pt x="3562127" y="1094290"/>
                    </a:cubicBezTo>
                    <a:cubicBezTo>
                      <a:pt x="3563255" y="1091357"/>
                      <a:pt x="3563480" y="1089326"/>
                      <a:pt x="3562578" y="1087747"/>
                    </a:cubicBezTo>
                    <a:cubicBezTo>
                      <a:pt x="3560998" y="1084813"/>
                      <a:pt x="3555809" y="1083685"/>
                      <a:pt x="3550393" y="1082782"/>
                    </a:cubicBezTo>
                    <a:cubicBezTo>
                      <a:pt x="3541367" y="1081428"/>
                      <a:pt x="3541367" y="1081428"/>
                      <a:pt x="3534823" y="1079849"/>
                    </a:cubicBezTo>
                    <a:cubicBezTo>
                      <a:pt x="3532567" y="1079398"/>
                      <a:pt x="3530987" y="1078495"/>
                      <a:pt x="3529408" y="1077592"/>
                    </a:cubicBezTo>
                    <a:cubicBezTo>
                      <a:pt x="3526249" y="1076013"/>
                      <a:pt x="3523992" y="1074659"/>
                      <a:pt x="3517223" y="1078269"/>
                    </a:cubicBezTo>
                    <a:cubicBezTo>
                      <a:pt x="3509325" y="1082331"/>
                      <a:pt x="3505264" y="1082105"/>
                      <a:pt x="3501879" y="1081654"/>
                    </a:cubicBezTo>
                    <a:cubicBezTo>
                      <a:pt x="3500299" y="1081428"/>
                      <a:pt x="3498946" y="1081428"/>
                      <a:pt x="3497592" y="1081654"/>
                    </a:cubicBezTo>
                    <a:cubicBezTo>
                      <a:pt x="3493756" y="1082331"/>
                      <a:pt x="3488566" y="1079398"/>
                      <a:pt x="3482248" y="1075787"/>
                    </a:cubicBezTo>
                    <a:cubicBezTo>
                      <a:pt x="3477735" y="1073305"/>
                      <a:pt x="3473222" y="1070823"/>
                      <a:pt x="3469386" y="1069695"/>
                    </a:cubicBezTo>
                    <a:cubicBezTo>
                      <a:pt x="3464647" y="1068341"/>
                      <a:pt x="3463293" y="1069920"/>
                      <a:pt x="3460811" y="1072854"/>
                    </a:cubicBezTo>
                    <a:cubicBezTo>
                      <a:pt x="3459458" y="1074433"/>
                      <a:pt x="3457878" y="1076239"/>
                      <a:pt x="3455396" y="1077818"/>
                    </a:cubicBezTo>
                    <a:cubicBezTo>
                      <a:pt x="3449078" y="1081880"/>
                      <a:pt x="3446145" y="1083685"/>
                      <a:pt x="3440729" y="1083685"/>
                    </a:cubicBezTo>
                    <a:cubicBezTo>
                      <a:pt x="3438247" y="1083685"/>
                      <a:pt x="3436216" y="1083008"/>
                      <a:pt x="3434862" y="1081428"/>
                    </a:cubicBezTo>
                    <a:cubicBezTo>
                      <a:pt x="3433283" y="1079623"/>
                      <a:pt x="3432606" y="1076690"/>
                      <a:pt x="3432831" y="1072628"/>
                    </a:cubicBezTo>
                    <a:cubicBezTo>
                      <a:pt x="3432831" y="1071274"/>
                      <a:pt x="3432831" y="1070146"/>
                      <a:pt x="3432831" y="1069018"/>
                    </a:cubicBezTo>
                    <a:cubicBezTo>
                      <a:pt x="3432831" y="1064505"/>
                      <a:pt x="3432831" y="1059992"/>
                      <a:pt x="3438473" y="1055028"/>
                    </a:cubicBezTo>
                    <a:cubicBezTo>
                      <a:pt x="3442083" y="1051869"/>
                      <a:pt x="3443662" y="1049387"/>
                      <a:pt x="3445468" y="1046453"/>
                    </a:cubicBezTo>
                    <a:cubicBezTo>
                      <a:pt x="3446821" y="1044197"/>
                      <a:pt x="3448175" y="1042166"/>
                      <a:pt x="3450432" y="1039684"/>
                    </a:cubicBezTo>
                    <a:cubicBezTo>
                      <a:pt x="3455396" y="1034268"/>
                      <a:pt x="3456524" y="1032012"/>
                      <a:pt x="3456073" y="1025017"/>
                    </a:cubicBezTo>
                    <a:cubicBezTo>
                      <a:pt x="3455622" y="1018924"/>
                      <a:pt x="3451334" y="1012155"/>
                      <a:pt x="3444114" y="1007191"/>
                    </a:cubicBezTo>
                    <a:cubicBezTo>
                      <a:pt x="3440729" y="1004709"/>
                      <a:pt x="3439375" y="1001098"/>
                      <a:pt x="3438021" y="997714"/>
                    </a:cubicBezTo>
                    <a:cubicBezTo>
                      <a:pt x="3436442" y="993652"/>
                      <a:pt x="3435314" y="991170"/>
                      <a:pt x="3432155" y="990493"/>
                    </a:cubicBezTo>
                    <a:cubicBezTo>
                      <a:pt x="3427867" y="989816"/>
                      <a:pt x="3427416" y="990493"/>
                      <a:pt x="3425836" y="992975"/>
                    </a:cubicBezTo>
                    <a:cubicBezTo>
                      <a:pt x="3425159" y="994103"/>
                      <a:pt x="3424257" y="995683"/>
                      <a:pt x="3422677" y="997262"/>
                    </a:cubicBezTo>
                    <a:lnTo>
                      <a:pt x="3421098" y="999068"/>
                    </a:lnTo>
                    <a:cubicBezTo>
                      <a:pt x="3417036" y="1003581"/>
                      <a:pt x="3412974" y="1008319"/>
                      <a:pt x="3409139" y="1007868"/>
                    </a:cubicBezTo>
                    <a:cubicBezTo>
                      <a:pt x="3408010" y="1007642"/>
                      <a:pt x="3406656" y="1007191"/>
                      <a:pt x="3405528" y="1004934"/>
                    </a:cubicBezTo>
                    <a:cubicBezTo>
                      <a:pt x="3403723" y="1001324"/>
                      <a:pt x="3403497" y="999519"/>
                      <a:pt x="3403272" y="997262"/>
                    </a:cubicBezTo>
                    <a:cubicBezTo>
                      <a:pt x="3403046" y="995683"/>
                      <a:pt x="3402820" y="993878"/>
                      <a:pt x="3402144" y="990944"/>
                    </a:cubicBezTo>
                    <a:cubicBezTo>
                      <a:pt x="3400564" y="985077"/>
                      <a:pt x="3402369" y="983498"/>
                      <a:pt x="3405303" y="981467"/>
                    </a:cubicBezTo>
                    <a:cubicBezTo>
                      <a:pt x="3406656" y="980565"/>
                      <a:pt x="3408010" y="979436"/>
                      <a:pt x="3409590" y="977631"/>
                    </a:cubicBezTo>
                    <a:cubicBezTo>
                      <a:pt x="3417036" y="969057"/>
                      <a:pt x="3416810" y="965898"/>
                      <a:pt x="3416359" y="964995"/>
                    </a:cubicBezTo>
                    <a:cubicBezTo>
                      <a:pt x="3415908" y="963641"/>
                      <a:pt x="3413426" y="963415"/>
                      <a:pt x="3411846" y="963415"/>
                    </a:cubicBezTo>
                    <a:cubicBezTo>
                      <a:pt x="3407333" y="963190"/>
                      <a:pt x="3405303" y="962739"/>
                      <a:pt x="3404174" y="961385"/>
                    </a:cubicBezTo>
                    <a:cubicBezTo>
                      <a:pt x="3403046" y="960031"/>
                      <a:pt x="3403272" y="958451"/>
                      <a:pt x="3403497" y="957097"/>
                    </a:cubicBezTo>
                    <a:cubicBezTo>
                      <a:pt x="3403723" y="955292"/>
                      <a:pt x="3404174" y="953261"/>
                      <a:pt x="3402369" y="950328"/>
                    </a:cubicBezTo>
                    <a:cubicBezTo>
                      <a:pt x="3398082" y="943107"/>
                      <a:pt x="3398082" y="943107"/>
                      <a:pt x="3391989" y="943333"/>
                    </a:cubicBezTo>
                    <a:lnTo>
                      <a:pt x="3390861" y="943333"/>
                    </a:lnTo>
                    <a:cubicBezTo>
                      <a:pt x="3387025" y="943333"/>
                      <a:pt x="3378902" y="949651"/>
                      <a:pt x="3372810" y="954164"/>
                    </a:cubicBezTo>
                    <a:cubicBezTo>
                      <a:pt x="3367394" y="958226"/>
                      <a:pt x="3364009" y="960933"/>
                      <a:pt x="3361753" y="961610"/>
                    </a:cubicBezTo>
                    <a:cubicBezTo>
                      <a:pt x="3356563" y="962964"/>
                      <a:pt x="3335578" y="975149"/>
                      <a:pt x="3331291" y="980790"/>
                    </a:cubicBezTo>
                    <a:cubicBezTo>
                      <a:pt x="3329711" y="982821"/>
                      <a:pt x="3329034" y="984852"/>
                      <a:pt x="3328357" y="987108"/>
                    </a:cubicBezTo>
                    <a:cubicBezTo>
                      <a:pt x="3327003" y="991170"/>
                      <a:pt x="3325650" y="995232"/>
                      <a:pt x="3318880" y="997037"/>
                    </a:cubicBezTo>
                    <a:cubicBezTo>
                      <a:pt x="3315495" y="997939"/>
                      <a:pt x="3315270" y="1000196"/>
                      <a:pt x="3315270" y="1003581"/>
                    </a:cubicBezTo>
                    <a:cubicBezTo>
                      <a:pt x="3315270" y="1006288"/>
                      <a:pt x="3315044" y="1010350"/>
                      <a:pt x="3310531" y="1010576"/>
                    </a:cubicBezTo>
                    <a:cubicBezTo>
                      <a:pt x="3306244" y="1010801"/>
                      <a:pt x="3304664" y="1010124"/>
                      <a:pt x="3302408" y="1008770"/>
                    </a:cubicBezTo>
                    <a:cubicBezTo>
                      <a:pt x="3301505" y="1008319"/>
                      <a:pt x="3300603" y="1007642"/>
                      <a:pt x="3299249" y="1007191"/>
                    </a:cubicBezTo>
                    <a:cubicBezTo>
                      <a:pt x="3296090" y="1005837"/>
                      <a:pt x="3295187" y="1005386"/>
                      <a:pt x="3293382" y="1004257"/>
                    </a:cubicBezTo>
                    <a:cubicBezTo>
                      <a:pt x="3292254" y="1003581"/>
                      <a:pt x="3290674" y="1002678"/>
                      <a:pt x="3287741" y="1001098"/>
                    </a:cubicBezTo>
                    <a:cubicBezTo>
                      <a:pt x="3280520" y="997037"/>
                      <a:pt x="3274428" y="995683"/>
                      <a:pt x="3267207" y="996585"/>
                    </a:cubicBezTo>
                    <a:cubicBezTo>
                      <a:pt x="3256827" y="997939"/>
                      <a:pt x="3248027" y="994329"/>
                      <a:pt x="3239453" y="991170"/>
                    </a:cubicBezTo>
                    <a:cubicBezTo>
                      <a:pt x="3230201" y="987560"/>
                      <a:pt x="3221627" y="984175"/>
                      <a:pt x="3212150" y="987108"/>
                    </a:cubicBezTo>
                    <a:cubicBezTo>
                      <a:pt x="3203800" y="989590"/>
                      <a:pt x="3195903" y="995683"/>
                      <a:pt x="3187780" y="1005386"/>
                    </a:cubicBezTo>
                    <a:cubicBezTo>
                      <a:pt x="3181913" y="1012606"/>
                      <a:pt x="3176272" y="1020955"/>
                      <a:pt x="3171082" y="1029078"/>
                    </a:cubicBezTo>
                    <a:cubicBezTo>
                      <a:pt x="3157543" y="1049838"/>
                      <a:pt x="3143553" y="1071049"/>
                      <a:pt x="3119860" y="1077141"/>
                    </a:cubicBezTo>
                    <a:cubicBezTo>
                      <a:pt x="3115122" y="1078269"/>
                      <a:pt x="3110383" y="1078946"/>
                      <a:pt x="3105645" y="1079398"/>
                    </a:cubicBezTo>
                    <a:cubicBezTo>
                      <a:pt x="3097521" y="1080300"/>
                      <a:pt x="3089849" y="1080977"/>
                      <a:pt x="3083305" y="1085039"/>
                    </a:cubicBezTo>
                    <a:cubicBezTo>
                      <a:pt x="3069541" y="1093388"/>
                      <a:pt x="3066608" y="1112116"/>
                      <a:pt x="3065705" y="1130845"/>
                    </a:cubicBezTo>
                    <a:lnTo>
                      <a:pt x="3065705" y="1132650"/>
                    </a:lnTo>
                    <a:lnTo>
                      <a:pt x="3063900" y="1132650"/>
                    </a:lnTo>
                    <a:cubicBezTo>
                      <a:pt x="3034340" y="1132199"/>
                      <a:pt x="3006360" y="1158599"/>
                      <a:pt x="3005683" y="1188385"/>
                    </a:cubicBezTo>
                    <a:lnTo>
                      <a:pt x="3005683" y="1189964"/>
                    </a:lnTo>
                    <a:lnTo>
                      <a:pt x="3004104" y="1190190"/>
                    </a:lnTo>
                    <a:cubicBezTo>
                      <a:pt x="2998688" y="1190867"/>
                      <a:pt x="2994175" y="1195605"/>
                      <a:pt x="2993724" y="1201021"/>
                    </a:cubicBezTo>
                    <a:lnTo>
                      <a:pt x="2993498" y="1202375"/>
                    </a:lnTo>
                    <a:lnTo>
                      <a:pt x="2992145" y="1202600"/>
                    </a:lnTo>
                    <a:cubicBezTo>
                      <a:pt x="2990114" y="1203052"/>
                      <a:pt x="2986052" y="1204406"/>
                      <a:pt x="2981990" y="1205985"/>
                    </a:cubicBezTo>
                    <a:cubicBezTo>
                      <a:pt x="2971836" y="1209821"/>
                      <a:pt x="2964390" y="1212529"/>
                      <a:pt x="2960780" y="1211626"/>
                    </a:cubicBezTo>
                    <a:cubicBezTo>
                      <a:pt x="2958523" y="1211175"/>
                      <a:pt x="2956943" y="1209144"/>
                      <a:pt x="2955590" y="1207339"/>
                    </a:cubicBezTo>
                    <a:cubicBezTo>
                      <a:pt x="2953559" y="1204857"/>
                      <a:pt x="2952431" y="1203503"/>
                      <a:pt x="2949723" y="1203954"/>
                    </a:cubicBezTo>
                    <a:cubicBezTo>
                      <a:pt x="2948595" y="1204180"/>
                      <a:pt x="2947918" y="1204406"/>
                      <a:pt x="2947466" y="1204406"/>
                    </a:cubicBezTo>
                    <a:cubicBezTo>
                      <a:pt x="2947015" y="1205308"/>
                      <a:pt x="2945887" y="1206211"/>
                      <a:pt x="2943179" y="1207565"/>
                    </a:cubicBezTo>
                    <a:cubicBezTo>
                      <a:pt x="2940246" y="1209144"/>
                      <a:pt x="2938666" y="1211626"/>
                      <a:pt x="2937312" y="1213883"/>
                    </a:cubicBezTo>
                    <a:cubicBezTo>
                      <a:pt x="2935733" y="1216365"/>
                      <a:pt x="2934153" y="1219073"/>
                      <a:pt x="2930543" y="1219073"/>
                    </a:cubicBezTo>
                    <a:cubicBezTo>
                      <a:pt x="2928964" y="1219073"/>
                      <a:pt x="2926707" y="1220878"/>
                      <a:pt x="2924451" y="1222909"/>
                    </a:cubicBezTo>
                    <a:cubicBezTo>
                      <a:pt x="2921066" y="1225842"/>
                      <a:pt x="2916779" y="1229452"/>
                      <a:pt x="2911137" y="1229452"/>
                    </a:cubicBezTo>
                    <a:cubicBezTo>
                      <a:pt x="2905722" y="1229452"/>
                      <a:pt x="2904594" y="1228550"/>
                      <a:pt x="2903014" y="1225842"/>
                    </a:cubicBezTo>
                    <a:cubicBezTo>
                      <a:pt x="2902337" y="1224714"/>
                      <a:pt x="2901660" y="1222909"/>
                      <a:pt x="2898953" y="1220652"/>
                    </a:cubicBezTo>
                    <a:cubicBezTo>
                      <a:pt x="2892409" y="1214560"/>
                      <a:pt x="2887219" y="1212303"/>
                      <a:pt x="2881803" y="1213657"/>
                    </a:cubicBezTo>
                    <a:cubicBezTo>
                      <a:pt x="2881127" y="1213883"/>
                      <a:pt x="2880901" y="1213883"/>
                      <a:pt x="2880901" y="1213883"/>
                    </a:cubicBezTo>
                    <a:cubicBezTo>
                      <a:pt x="2880675" y="1214334"/>
                      <a:pt x="2881578" y="1216139"/>
                      <a:pt x="2882029" y="1217042"/>
                    </a:cubicBezTo>
                    <a:cubicBezTo>
                      <a:pt x="2883157" y="1219298"/>
                      <a:pt x="2884511" y="1222006"/>
                      <a:pt x="2882706" y="1224262"/>
                    </a:cubicBezTo>
                    <a:cubicBezTo>
                      <a:pt x="2882029" y="1224939"/>
                      <a:pt x="2881803" y="1226068"/>
                      <a:pt x="2881578" y="1227421"/>
                    </a:cubicBezTo>
                    <a:cubicBezTo>
                      <a:pt x="2881127" y="1229678"/>
                      <a:pt x="2880675" y="1232386"/>
                      <a:pt x="2877516" y="1234417"/>
                    </a:cubicBezTo>
                    <a:cubicBezTo>
                      <a:pt x="2875260" y="1235770"/>
                      <a:pt x="2875485" y="1237124"/>
                      <a:pt x="2875937" y="1240735"/>
                    </a:cubicBezTo>
                    <a:cubicBezTo>
                      <a:pt x="2876162" y="1241863"/>
                      <a:pt x="2876388" y="1242991"/>
                      <a:pt x="2876388" y="1244345"/>
                    </a:cubicBezTo>
                    <a:cubicBezTo>
                      <a:pt x="2876839" y="1248858"/>
                      <a:pt x="2882480" y="1253822"/>
                      <a:pt x="2883834" y="1253822"/>
                    </a:cubicBezTo>
                    <a:cubicBezTo>
                      <a:pt x="2886768" y="1253822"/>
                      <a:pt x="2891958" y="1255853"/>
                      <a:pt x="2895117" y="1258561"/>
                    </a:cubicBezTo>
                    <a:cubicBezTo>
                      <a:pt x="2896019" y="1257432"/>
                      <a:pt x="2897373" y="1256079"/>
                      <a:pt x="2900306" y="1256530"/>
                    </a:cubicBezTo>
                    <a:cubicBezTo>
                      <a:pt x="2904142" y="1257207"/>
                      <a:pt x="2914748" y="1254950"/>
                      <a:pt x="2919035" y="1254048"/>
                    </a:cubicBezTo>
                    <a:lnTo>
                      <a:pt x="2920163" y="1253822"/>
                    </a:lnTo>
                    <a:cubicBezTo>
                      <a:pt x="2925579" y="1252694"/>
                      <a:pt x="2932800" y="1260140"/>
                      <a:pt x="2933928" y="1262397"/>
                    </a:cubicBezTo>
                    <a:cubicBezTo>
                      <a:pt x="2934153" y="1262848"/>
                      <a:pt x="2934605" y="1263525"/>
                      <a:pt x="2935282" y="1264653"/>
                    </a:cubicBezTo>
                    <a:cubicBezTo>
                      <a:pt x="2939118" y="1270971"/>
                      <a:pt x="2943179" y="1277966"/>
                      <a:pt x="2943179" y="1281577"/>
                    </a:cubicBezTo>
                    <a:cubicBezTo>
                      <a:pt x="2943179" y="1285412"/>
                      <a:pt x="2942502" y="1291505"/>
                      <a:pt x="2938666" y="1298500"/>
                    </a:cubicBezTo>
                    <a:cubicBezTo>
                      <a:pt x="2935733" y="1303915"/>
                      <a:pt x="2939118" y="1308428"/>
                      <a:pt x="2942051" y="1310008"/>
                    </a:cubicBezTo>
                    <a:cubicBezTo>
                      <a:pt x="2946564" y="1312490"/>
                      <a:pt x="2949046" y="1318131"/>
                      <a:pt x="2949497" y="1327157"/>
                    </a:cubicBezTo>
                    <a:cubicBezTo>
                      <a:pt x="2949949" y="1334829"/>
                      <a:pt x="2947692" y="1342275"/>
                      <a:pt x="2947692" y="1342727"/>
                    </a:cubicBezTo>
                    <a:lnTo>
                      <a:pt x="2947466" y="1343629"/>
                    </a:lnTo>
                    <a:lnTo>
                      <a:pt x="2946564" y="1343855"/>
                    </a:lnTo>
                    <a:cubicBezTo>
                      <a:pt x="2937764" y="1346337"/>
                      <a:pt x="2936410" y="1345886"/>
                      <a:pt x="2931671" y="1342501"/>
                    </a:cubicBezTo>
                    <a:cubicBezTo>
                      <a:pt x="2929641" y="1341147"/>
                      <a:pt x="2927158" y="1339116"/>
                      <a:pt x="2922194" y="1336634"/>
                    </a:cubicBezTo>
                    <a:cubicBezTo>
                      <a:pt x="2915199" y="1333024"/>
                      <a:pt x="2912943" y="1336409"/>
                      <a:pt x="2909332" y="1342952"/>
                    </a:cubicBezTo>
                    <a:cubicBezTo>
                      <a:pt x="2906850" y="1347465"/>
                      <a:pt x="2903917" y="1352655"/>
                      <a:pt x="2898050" y="1352655"/>
                    </a:cubicBezTo>
                    <a:cubicBezTo>
                      <a:pt x="2893537" y="1352655"/>
                      <a:pt x="2889927" y="1353332"/>
                      <a:pt x="2886768" y="1353783"/>
                    </a:cubicBezTo>
                    <a:cubicBezTo>
                      <a:pt x="2882255" y="1354686"/>
                      <a:pt x="2878419" y="1355363"/>
                      <a:pt x="2873680" y="1353783"/>
                    </a:cubicBezTo>
                    <a:cubicBezTo>
                      <a:pt x="2867813" y="1351752"/>
                      <a:pt x="2864880" y="1354009"/>
                      <a:pt x="2860818" y="1359424"/>
                    </a:cubicBezTo>
                    <a:cubicBezTo>
                      <a:pt x="2857434" y="1363937"/>
                      <a:pt x="2853823" y="1361681"/>
                      <a:pt x="2849310" y="1358973"/>
                    </a:cubicBezTo>
                    <a:cubicBezTo>
                      <a:pt x="2846603" y="1357394"/>
                      <a:pt x="2843218" y="1355137"/>
                      <a:pt x="2838479" y="1353106"/>
                    </a:cubicBezTo>
                    <a:cubicBezTo>
                      <a:pt x="2832838" y="1350624"/>
                      <a:pt x="2830582" y="1352655"/>
                      <a:pt x="2827197" y="1356040"/>
                    </a:cubicBezTo>
                    <a:cubicBezTo>
                      <a:pt x="2823812" y="1359199"/>
                      <a:pt x="2819300" y="1363260"/>
                      <a:pt x="2810499" y="1363260"/>
                    </a:cubicBezTo>
                    <a:cubicBezTo>
                      <a:pt x="2799894" y="1363260"/>
                      <a:pt x="2799217" y="1363486"/>
                      <a:pt x="2796058" y="1364614"/>
                    </a:cubicBezTo>
                    <a:cubicBezTo>
                      <a:pt x="2794253" y="1365291"/>
                      <a:pt x="2791545" y="1366194"/>
                      <a:pt x="2785904" y="1367548"/>
                    </a:cubicBezTo>
                    <a:cubicBezTo>
                      <a:pt x="2768980" y="1371609"/>
                      <a:pt x="2757021" y="1366871"/>
                      <a:pt x="2753185" y="1365291"/>
                    </a:cubicBezTo>
                    <a:cubicBezTo>
                      <a:pt x="2750929" y="1364389"/>
                      <a:pt x="2749124" y="1362132"/>
                      <a:pt x="2747544" y="1360101"/>
                    </a:cubicBezTo>
                    <a:cubicBezTo>
                      <a:pt x="2745513" y="1357394"/>
                      <a:pt x="2743482" y="1354912"/>
                      <a:pt x="2740323" y="1354912"/>
                    </a:cubicBezTo>
                    <a:cubicBezTo>
                      <a:pt x="2735133" y="1354912"/>
                      <a:pt x="2733780" y="1355588"/>
                      <a:pt x="2730395" y="1357394"/>
                    </a:cubicBezTo>
                    <a:cubicBezTo>
                      <a:pt x="2729492" y="1357845"/>
                      <a:pt x="2728590" y="1358296"/>
                      <a:pt x="2727462" y="1358973"/>
                    </a:cubicBezTo>
                    <a:cubicBezTo>
                      <a:pt x="2724754" y="1360327"/>
                      <a:pt x="2723851" y="1361907"/>
                      <a:pt x="2722497" y="1364840"/>
                    </a:cubicBezTo>
                    <a:cubicBezTo>
                      <a:pt x="2721369" y="1366871"/>
                      <a:pt x="2720241" y="1369578"/>
                      <a:pt x="2717759" y="1372512"/>
                    </a:cubicBezTo>
                    <a:cubicBezTo>
                      <a:pt x="2711441" y="1380184"/>
                      <a:pt x="2709410" y="1380184"/>
                      <a:pt x="2698804" y="1380184"/>
                    </a:cubicBezTo>
                    <a:cubicBezTo>
                      <a:pt x="2693840" y="1380184"/>
                      <a:pt x="2688650" y="1381312"/>
                      <a:pt x="2683912" y="1382215"/>
                    </a:cubicBezTo>
                    <a:cubicBezTo>
                      <a:pt x="2678722" y="1383343"/>
                      <a:pt x="2675112" y="1384246"/>
                      <a:pt x="2672630" y="1383343"/>
                    </a:cubicBezTo>
                    <a:cubicBezTo>
                      <a:pt x="2671276" y="1382892"/>
                      <a:pt x="2669471" y="1382666"/>
                      <a:pt x="2667665" y="1382666"/>
                    </a:cubicBezTo>
                    <a:cubicBezTo>
                      <a:pt x="2664958" y="1382440"/>
                      <a:pt x="2662024" y="1382440"/>
                      <a:pt x="2659091" y="1380861"/>
                    </a:cubicBezTo>
                    <a:cubicBezTo>
                      <a:pt x="2656834" y="1379507"/>
                      <a:pt x="2655706" y="1379733"/>
                      <a:pt x="2652773" y="1379958"/>
                    </a:cubicBezTo>
                    <a:cubicBezTo>
                      <a:pt x="2651193" y="1380184"/>
                      <a:pt x="2649388" y="1380184"/>
                      <a:pt x="2646906" y="1380184"/>
                    </a:cubicBezTo>
                    <a:cubicBezTo>
                      <a:pt x="2640813" y="1380184"/>
                      <a:pt x="2638331" y="1377927"/>
                      <a:pt x="2634947" y="1374543"/>
                    </a:cubicBezTo>
                    <a:cubicBezTo>
                      <a:pt x="2633593" y="1373415"/>
                      <a:pt x="2632239" y="1371835"/>
                      <a:pt x="2630208" y="1370255"/>
                    </a:cubicBezTo>
                    <a:cubicBezTo>
                      <a:pt x="2624567" y="1365743"/>
                      <a:pt x="2621859" y="1365743"/>
                      <a:pt x="2617120" y="1365968"/>
                    </a:cubicBezTo>
                    <a:cubicBezTo>
                      <a:pt x="2616444" y="1365968"/>
                      <a:pt x="2615541" y="1365968"/>
                      <a:pt x="2614864" y="1365968"/>
                    </a:cubicBezTo>
                    <a:cubicBezTo>
                      <a:pt x="2611931" y="1365968"/>
                      <a:pt x="2610125" y="1367548"/>
                      <a:pt x="2607869" y="1370030"/>
                    </a:cubicBezTo>
                    <a:cubicBezTo>
                      <a:pt x="2606064" y="1371609"/>
                      <a:pt x="2604033" y="1373640"/>
                      <a:pt x="2601325" y="1375220"/>
                    </a:cubicBezTo>
                    <a:cubicBezTo>
                      <a:pt x="2597489" y="1377250"/>
                      <a:pt x="2595007" y="1378153"/>
                      <a:pt x="2593202" y="1375445"/>
                    </a:cubicBezTo>
                    <a:cubicBezTo>
                      <a:pt x="2591623" y="1375220"/>
                      <a:pt x="2589140" y="1373415"/>
                      <a:pt x="2583274" y="1369353"/>
                    </a:cubicBezTo>
                    <a:cubicBezTo>
                      <a:pt x="2580792" y="1367548"/>
                      <a:pt x="2578309" y="1365743"/>
                      <a:pt x="2575602" y="1363937"/>
                    </a:cubicBezTo>
                    <a:cubicBezTo>
                      <a:pt x="2574473" y="1363260"/>
                      <a:pt x="2573571" y="1362584"/>
                      <a:pt x="2572894" y="1362132"/>
                    </a:cubicBezTo>
                    <a:cubicBezTo>
                      <a:pt x="2568607" y="1359199"/>
                      <a:pt x="2567930" y="1358747"/>
                      <a:pt x="2559806" y="1358747"/>
                    </a:cubicBezTo>
                    <a:cubicBezTo>
                      <a:pt x="2556196" y="1358747"/>
                      <a:pt x="2553940" y="1358071"/>
                      <a:pt x="2552811" y="1356491"/>
                    </a:cubicBezTo>
                    <a:cubicBezTo>
                      <a:pt x="2551458" y="1354460"/>
                      <a:pt x="2552586" y="1351978"/>
                      <a:pt x="2553488" y="1349947"/>
                    </a:cubicBezTo>
                    <a:cubicBezTo>
                      <a:pt x="2553940" y="1348819"/>
                      <a:pt x="2554617" y="1347465"/>
                      <a:pt x="2554617" y="1346563"/>
                    </a:cubicBezTo>
                    <a:cubicBezTo>
                      <a:pt x="2554617" y="1342952"/>
                      <a:pt x="2548073" y="1335055"/>
                      <a:pt x="2545139" y="1334378"/>
                    </a:cubicBezTo>
                    <a:lnTo>
                      <a:pt x="2544011" y="1334152"/>
                    </a:lnTo>
                    <a:cubicBezTo>
                      <a:pt x="2540626" y="1333249"/>
                      <a:pt x="2537242" y="1332573"/>
                      <a:pt x="2535888" y="1330316"/>
                    </a:cubicBezTo>
                    <a:cubicBezTo>
                      <a:pt x="2535437" y="1329414"/>
                      <a:pt x="2535211" y="1328285"/>
                      <a:pt x="2535662" y="1327383"/>
                    </a:cubicBezTo>
                    <a:cubicBezTo>
                      <a:pt x="2536339" y="1325352"/>
                      <a:pt x="2539724" y="1321290"/>
                      <a:pt x="2544237" y="1315649"/>
                    </a:cubicBezTo>
                    <a:cubicBezTo>
                      <a:pt x="2545816" y="1313844"/>
                      <a:pt x="2547170" y="1312039"/>
                      <a:pt x="2548073" y="1310911"/>
                    </a:cubicBezTo>
                    <a:cubicBezTo>
                      <a:pt x="2549652" y="1308880"/>
                      <a:pt x="2551006" y="1306849"/>
                      <a:pt x="2550781" y="1305495"/>
                    </a:cubicBezTo>
                    <a:cubicBezTo>
                      <a:pt x="2550555" y="1304367"/>
                      <a:pt x="2548975" y="1303464"/>
                      <a:pt x="2547847" y="1302787"/>
                    </a:cubicBezTo>
                    <a:cubicBezTo>
                      <a:pt x="2543109" y="1300531"/>
                      <a:pt x="2542206" y="1298726"/>
                      <a:pt x="2541078" y="1296469"/>
                    </a:cubicBezTo>
                    <a:cubicBezTo>
                      <a:pt x="2540626" y="1295567"/>
                      <a:pt x="2540401" y="1294890"/>
                      <a:pt x="2539498" y="1293761"/>
                    </a:cubicBezTo>
                    <a:cubicBezTo>
                      <a:pt x="2536565" y="1289700"/>
                      <a:pt x="2536114" y="1284059"/>
                      <a:pt x="2538370" y="1277515"/>
                    </a:cubicBezTo>
                    <a:cubicBezTo>
                      <a:pt x="2539273" y="1274581"/>
                      <a:pt x="2540852" y="1273002"/>
                      <a:pt x="2542206" y="1271422"/>
                    </a:cubicBezTo>
                    <a:cubicBezTo>
                      <a:pt x="2543785" y="1269617"/>
                      <a:pt x="2545139" y="1268263"/>
                      <a:pt x="2545365" y="1265330"/>
                    </a:cubicBezTo>
                    <a:lnTo>
                      <a:pt x="2545591" y="1263074"/>
                    </a:lnTo>
                    <a:cubicBezTo>
                      <a:pt x="2546042" y="1257207"/>
                      <a:pt x="2546268" y="1250663"/>
                      <a:pt x="2549878" y="1240960"/>
                    </a:cubicBezTo>
                    <a:cubicBezTo>
                      <a:pt x="2553263" y="1231483"/>
                      <a:pt x="2549427" y="1226970"/>
                      <a:pt x="2545365" y="1222232"/>
                    </a:cubicBezTo>
                    <a:lnTo>
                      <a:pt x="2544914" y="1221780"/>
                    </a:lnTo>
                    <a:cubicBezTo>
                      <a:pt x="2541078" y="1217042"/>
                      <a:pt x="2536790" y="1213883"/>
                      <a:pt x="2522575" y="1208693"/>
                    </a:cubicBezTo>
                    <a:cubicBezTo>
                      <a:pt x="2516934" y="1206662"/>
                      <a:pt x="2515128" y="1206211"/>
                      <a:pt x="2514677" y="1206436"/>
                    </a:cubicBezTo>
                    <a:cubicBezTo>
                      <a:pt x="2513775" y="1207565"/>
                      <a:pt x="2512646" y="1208918"/>
                      <a:pt x="2509262" y="1209370"/>
                    </a:cubicBezTo>
                    <a:cubicBezTo>
                      <a:pt x="2504974" y="1209821"/>
                      <a:pt x="2504297" y="1211175"/>
                      <a:pt x="2502718" y="1213883"/>
                    </a:cubicBezTo>
                    <a:cubicBezTo>
                      <a:pt x="2502041" y="1215237"/>
                      <a:pt x="2501138" y="1216590"/>
                      <a:pt x="2499559" y="1218170"/>
                    </a:cubicBezTo>
                    <a:cubicBezTo>
                      <a:pt x="2495272" y="1222909"/>
                      <a:pt x="2492790" y="1224939"/>
                      <a:pt x="2487148" y="1229227"/>
                    </a:cubicBezTo>
                    <a:cubicBezTo>
                      <a:pt x="2482861" y="1232386"/>
                      <a:pt x="2479476" y="1231483"/>
                      <a:pt x="2476092" y="1230580"/>
                    </a:cubicBezTo>
                    <a:cubicBezTo>
                      <a:pt x="2474287" y="1230129"/>
                      <a:pt x="2472481" y="1229678"/>
                      <a:pt x="2469999" y="1229678"/>
                    </a:cubicBezTo>
                    <a:cubicBezTo>
                      <a:pt x="2466389" y="1229678"/>
                      <a:pt x="2458717" y="1229678"/>
                      <a:pt x="2457589" y="1232386"/>
                    </a:cubicBezTo>
                    <a:cubicBezTo>
                      <a:pt x="2457137" y="1233288"/>
                      <a:pt x="2458040" y="1234868"/>
                      <a:pt x="2459845" y="1237124"/>
                    </a:cubicBezTo>
                    <a:cubicBezTo>
                      <a:pt x="2460973" y="1238704"/>
                      <a:pt x="2462327" y="1240509"/>
                      <a:pt x="2463230" y="1242540"/>
                    </a:cubicBezTo>
                    <a:cubicBezTo>
                      <a:pt x="2463907" y="1244119"/>
                      <a:pt x="2465035" y="1245473"/>
                      <a:pt x="2465938" y="1246601"/>
                    </a:cubicBezTo>
                    <a:cubicBezTo>
                      <a:pt x="2467969" y="1249309"/>
                      <a:pt x="2470676" y="1252694"/>
                      <a:pt x="2467743" y="1256981"/>
                    </a:cubicBezTo>
                    <a:cubicBezTo>
                      <a:pt x="2466615" y="1258561"/>
                      <a:pt x="2466163" y="1259914"/>
                      <a:pt x="2465486" y="1261494"/>
                    </a:cubicBezTo>
                    <a:cubicBezTo>
                      <a:pt x="2464584" y="1263750"/>
                      <a:pt x="2463681" y="1266007"/>
                      <a:pt x="2460296" y="1269166"/>
                    </a:cubicBezTo>
                    <a:cubicBezTo>
                      <a:pt x="2458266" y="1270971"/>
                      <a:pt x="2458266" y="1273228"/>
                      <a:pt x="2458717" y="1276612"/>
                    </a:cubicBezTo>
                    <a:cubicBezTo>
                      <a:pt x="2458943" y="1279546"/>
                      <a:pt x="2459168" y="1282930"/>
                      <a:pt x="2457589" y="1286315"/>
                    </a:cubicBezTo>
                    <a:cubicBezTo>
                      <a:pt x="2457137" y="1287443"/>
                      <a:pt x="2456461" y="1288346"/>
                      <a:pt x="2456009" y="1289023"/>
                    </a:cubicBezTo>
                    <a:cubicBezTo>
                      <a:pt x="2453753" y="1293310"/>
                      <a:pt x="2452399" y="1295792"/>
                      <a:pt x="2451947" y="1307526"/>
                    </a:cubicBezTo>
                    <a:cubicBezTo>
                      <a:pt x="2451722" y="1316552"/>
                      <a:pt x="2453301" y="1321290"/>
                      <a:pt x="2454430" y="1323998"/>
                    </a:cubicBezTo>
                    <a:cubicBezTo>
                      <a:pt x="2455107" y="1325803"/>
                      <a:pt x="2455784" y="1327383"/>
                      <a:pt x="2455107" y="1328737"/>
                    </a:cubicBezTo>
                    <a:cubicBezTo>
                      <a:pt x="2454655" y="1329865"/>
                      <a:pt x="2453527" y="1331219"/>
                      <a:pt x="2451947" y="1332798"/>
                    </a:cubicBezTo>
                    <a:cubicBezTo>
                      <a:pt x="2450142" y="1335055"/>
                      <a:pt x="2447209" y="1338214"/>
                      <a:pt x="2447209" y="1340245"/>
                    </a:cubicBezTo>
                    <a:cubicBezTo>
                      <a:pt x="2447209" y="1343855"/>
                      <a:pt x="2450819" y="1352204"/>
                      <a:pt x="2460522" y="1358973"/>
                    </a:cubicBezTo>
                    <a:cubicBezTo>
                      <a:pt x="2470676" y="1365743"/>
                      <a:pt x="2472707" y="1372963"/>
                      <a:pt x="2474738" y="1379733"/>
                    </a:cubicBezTo>
                    <a:lnTo>
                      <a:pt x="2475189" y="1381538"/>
                    </a:lnTo>
                    <a:cubicBezTo>
                      <a:pt x="2477446" y="1388758"/>
                      <a:pt x="2476994" y="1402974"/>
                      <a:pt x="2472481" y="1405908"/>
                    </a:cubicBezTo>
                    <a:cubicBezTo>
                      <a:pt x="2471579" y="1406359"/>
                      <a:pt x="2470450" y="1410195"/>
                      <a:pt x="2469774" y="1412451"/>
                    </a:cubicBezTo>
                    <a:cubicBezTo>
                      <a:pt x="2468645" y="1416287"/>
                      <a:pt x="2467743" y="1419898"/>
                      <a:pt x="2465712" y="1421703"/>
                    </a:cubicBezTo>
                    <a:cubicBezTo>
                      <a:pt x="2464358" y="1422831"/>
                      <a:pt x="2462102" y="1430277"/>
                      <a:pt x="2460973" y="1434565"/>
                    </a:cubicBezTo>
                    <a:cubicBezTo>
                      <a:pt x="2458717" y="1442462"/>
                      <a:pt x="2457814" y="1444719"/>
                      <a:pt x="2456009" y="1445170"/>
                    </a:cubicBezTo>
                    <a:cubicBezTo>
                      <a:pt x="2453753" y="1445621"/>
                      <a:pt x="2452173" y="1444719"/>
                      <a:pt x="2450142" y="1443365"/>
                    </a:cubicBezTo>
                    <a:cubicBezTo>
                      <a:pt x="2449466" y="1442914"/>
                      <a:pt x="2448788" y="1442462"/>
                      <a:pt x="2448112" y="1442236"/>
                    </a:cubicBezTo>
                    <a:cubicBezTo>
                      <a:pt x="2444501" y="1440206"/>
                      <a:pt x="2442922" y="1439078"/>
                      <a:pt x="2439988" y="1433436"/>
                    </a:cubicBezTo>
                    <a:cubicBezTo>
                      <a:pt x="2438409" y="1430503"/>
                      <a:pt x="2437055" y="1430503"/>
                      <a:pt x="2431188" y="1431406"/>
                    </a:cubicBezTo>
                    <a:cubicBezTo>
                      <a:pt x="2429834" y="1431631"/>
                      <a:pt x="2428480" y="1431857"/>
                      <a:pt x="2426675" y="1432082"/>
                    </a:cubicBezTo>
                    <a:cubicBezTo>
                      <a:pt x="2424644" y="1432308"/>
                      <a:pt x="2423742" y="1432534"/>
                      <a:pt x="2423516" y="1432759"/>
                    </a:cubicBezTo>
                    <a:cubicBezTo>
                      <a:pt x="2423516" y="1432759"/>
                      <a:pt x="2423516" y="1432985"/>
                      <a:pt x="2423516" y="1432985"/>
                    </a:cubicBezTo>
                    <a:cubicBezTo>
                      <a:pt x="2423742" y="1434113"/>
                      <a:pt x="2424193" y="1435467"/>
                      <a:pt x="2423516" y="1437498"/>
                    </a:cubicBezTo>
                    <a:cubicBezTo>
                      <a:pt x="2421711" y="1442236"/>
                      <a:pt x="2417875" y="1443816"/>
                      <a:pt x="2414265" y="1444719"/>
                    </a:cubicBezTo>
                    <a:cubicBezTo>
                      <a:pt x="2413137" y="1444944"/>
                      <a:pt x="2412459" y="1445396"/>
                      <a:pt x="2411783" y="1445621"/>
                    </a:cubicBezTo>
                    <a:cubicBezTo>
                      <a:pt x="2410203" y="1446524"/>
                      <a:pt x="2408398" y="1447426"/>
                      <a:pt x="2403885" y="1446975"/>
                    </a:cubicBezTo>
                    <a:cubicBezTo>
                      <a:pt x="2400275" y="1446749"/>
                      <a:pt x="2398469" y="1444719"/>
                      <a:pt x="2397341" y="1443365"/>
                    </a:cubicBezTo>
                    <a:cubicBezTo>
                      <a:pt x="2395987" y="1441785"/>
                      <a:pt x="2394859" y="1440657"/>
                      <a:pt x="2391700" y="1440431"/>
                    </a:cubicBezTo>
                    <a:cubicBezTo>
                      <a:pt x="2383126" y="1439980"/>
                      <a:pt x="2379741" y="1442914"/>
                      <a:pt x="2376356" y="1445621"/>
                    </a:cubicBezTo>
                    <a:cubicBezTo>
                      <a:pt x="2370715" y="1450360"/>
                      <a:pt x="2366428" y="1452616"/>
                      <a:pt x="2352889" y="1443590"/>
                    </a:cubicBezTo>
                    <a:cubicBezTo>
                      <a:pt x="2351309" y="1442462"/>
                      <a:pt x="2349730" y="1441560"/>
                      <a:pt x="2348602" y="1440657"/>
                    </a:cubicBezTo>
                    <a:cubicBezTo>
                      <a:pt x="2336417" y="1432308"/>
                      <a:pt x="2335063" y="1431180"/>
                      <a:pt x="2318139" y="1439303"/>
                    </a:cubicBezTo>
                    <a:cubicBezTo>
                      <a:pt x="2301442" y="1447201"/>
                      <a:pt x="2282036" y="1441108"/>
                      <a:pt x="2266918" y="1434790"/>
                    </a:cubicBezTo>
                    <a:lnTo>
                      <a:pt x="2263082" y="1433211"/>
                    </a:lnTo>
                    <a:cubicBezTo>
                      <a:pt x="2248415" y="1427118"/>
                      <a:pt x="2233522" y="1421026"/>
                      <a:pt x="2218404" y="1423508"/>
                    </a:cubicBezTo>
                    <a:cubicBezTo>
                      <a:pt x="2214794" y="1424185"/>
                      <a:pt x="2211183" y="1425313"/>
                      <a:pt x="2207798" y="1426441"/>
                    </a:cubicBezTo>
                    <a:cubicBezTo>
                      <a:pt x="2203962" y="1427795"/>
                      <a:pt x="2199675" y="1428923"/>
                      <a:pt x="2195614" y="1429600"/>
                    </a:cubicBezTo>
                    <a:cubicBezTo>
                      <a:pt x="2187265" y="1430729"/>
                      <a:pt x="2177110" y="1428472"/>
                      <a:pt x="2173049" y="1420575"/>
                    </a:cubicBezTo>
                    <a:cubicBezTo>
                      <a:pt x="2171018" y="1416739"/>
                      <a:pt x="2170792" y="1412451"/>
                      <a:pt x="2170567" y="1408164"/>
                    </a:cubicBezTo>
                    <a:cubicBezTo>
                      <a:pt x="2170341" y="1402974"/>
                      <a:pt x="2170116" y="1398236"/>
                      <a:pt x="2166731" y="1395528"/>
                    </a:cubicBezTo>
                    <a:cubicBezTo>
                      <a:pt x="2161315" y="1391015"/>
                      <a:pt x="2153643" y="1395979"/>
                      <a:pt x="2146423" y="1400718"/>
                    </a:cubicBezTo>
                    <a:cubicBezTo>
                      <a:pt x="2144843" y="1401846"/>
                      <a:pt x="2143264" y="1402748"/>
                      <a:pt x="2141684" y="1403651"/>
                    </a:cubicBezTo>
                    <a:cubicBezTo>
                      <a:pt x="2122279" y="1415159"/>
                      <a:pt x="2108514" y="1404328"/>
                      <a:pt x="2095201" y="1394174"/>
                    </a:cubicBezTo>
                    <a:cubicBezTo>
                      <a:pt x="2093170" y="1392594"/>
                      <a:pt x="2091139" y="1391015"/>
                      <a:pt x="2088883" y="1389435"/>
                    </a:cubicBezTo>
                    <a:cubicBezTo>
                      <a:pt x="2073990" y="1378604"/>
                      <a:pt x="2061580" y="1377025"/>
                      <a:pt x="2043077" y="1375671"/>
                    </a:cubicBezTo>
                    <a:cubicBezTo>
                      <a:pt x="2040820" y="1375445"/>
                      <a:pt x="2039692" y="1374543"/>
                      <a:pt x="2039241" y="1373640"/>
                    </a:cubicBezTo>
                    <a:cubicBezTo>
                      <a:pt x="2037210" y="1370481"/>
                      <a:pt x="2039241" y="1365066"/>
                      <a:pt x="2041046" y="1360327"/>
                    </a:cubicBezTo>
                    <a:cubicBezTo>
                      <a:pt x="2041497" y="1358747"/>
                      <a:pt x="2042174" y="1357394"/>
                      <a:pt x="2042400" y="1356491"/>
                    </a:cubicBezTo>
                    <a:cubicBezTo>
                      <a:pt x="2043528" y="1351978"/>
                      <a:pt x="2040595" y="1342727"/>
                      <a:pt x="2037887" y="1338214"/>
                    </a:cubicBezTo>
                    <a:cubicBezTo>
                      <a:pt x="2035856" y="1334603"/>
                      <a:pt x="2030892" y="1328737"/>
                      <a:pt x="2021189" y="1328737"/>
                    </a:cubicBezTo>
                    <a:cubicBezTo>
                      <a:pt x="2016225" y="1328737"/>
                      <a:pt x="2013743" y="1329639"/>
                      <a:pt x="2011261" y="1330542"/>
                    </a:cubicBezTo>
                    <a:cubicBezTo>
                      <a:pt x="2009004" y="1331219"/>
                      <a:pt x="2006748" y="1332121"/>
                      <a:pt x="2002912" y="1332121"/>
                    </a:cubicBezTo>
                    <a:cubicBezTo>
                      <a:pt x="1997271" y="1332121"/>
                      <a:pt x="1995691" y="1327383"/>
                      <a:pt x="1994337" y="1323321"/>
                    </a:cubicBezTo>
                    <a:cubicBezTo>
                      <a:pt x="1993434" y="1320613"/>
                      <a:pt x="1992532" y="1317906"/>
                      <a:pt x="1990501" y="1316100"/>
                    </a:cubicBezTo>
                    <a:cubicBezTo>
                      <a:pt x="1985311" y="1311813"/>
                      <a:pt x="1978993" y="1312264"/>
                      <a:pt x="1974255" y="1317454"/>
                    </a:cubicBezTo>
                    <a:lnTo>
                      <a:pt x="1973578" y="1318131"/>
                    </a:lnTo>
                    <a:cubicBezTo>
                      <a:pt x="1968388" y="1323772"/>
                      <a:pt x="1967711" y="1323772"/>
                      <a:pt x="1959362" y="1322193"/>
                    </a:cubicBezTo>
                    <a:lnTo>
                      <a:pt x="1956880" y="1321742"/>
                    </a:lnTo>
                    <a:cubicBezTo>
                      <a:pt x="1951916" y="1320839"/>
                      <a:pt x="1949208" y="1327157"/>
                      <a:pt x="1946951" y="1333249"/>
                    </a:cubicBezTo>
                    <a:cubicBezTo>
                      <a:pt x="1945823" y="1336409"/>
                      <a:pt x="1945146" y="1338214"/>
                      <a:pt x="1943341" y="1338214"/>
                    </a:cubicBezTo>
                    <a:cubicBezTo>
                      <a:pt x="1943341" y="1338214"/>
                      <a:pt x="1943341" y="1338214"/>
                      <a:pt x="1943341" y="1338214"/>
                    </a:cubicBezTo>
                    <a:cubicBezTo>
                      <a:pt x="1942213" y="1338214"/>
                      <a:pt x="1941536" y="1337537"/>
                      <a:pt x="1940859" y="1335957"/>
                    </a:cubicBezTo>
                    <a:cubicBezTo>
                      <a:pt x="1939956" y="1333024"/>
                      <a:pt x="1935669" y="1330316"/>
                      <a:pt x="1931382" y="1327383"/>
                    </a:cubicBezTo>
                    <a:cubicBezTo>
                      <a:pt x="1928674" y="1325577"/>
                      <a:pt x="1925966" y="1323772"/>
                      <a:pt x="1923710" y="1321742"/>
                    </a:cubicBezTo>
                    <a:cubicBezTo>
                      <a:pt x="1918069" y="1317003"/>
                      <a:pt x="1900920" y="1318808"/>
                      <a:pt x="1891443" y="1319711"/>
                    </a:cubicBezTo>
                    <a:lnTo>
                      <a:pt x="1889863" y="1319936"/>
                    </a:lnTo>
                    <a:cubicBezTo>
                      <a:pt x="1888509" y="1320162"/>
                      <a:pt x="1887832" y="1320613"/>
                      <a:pt x="1887607" y="1321065"/>
                    </a:cubicBezTo>
                    <a:cubicBezTo>
                      <a:pt x="1886027" y="1323095"/>
                      <a:pt x="1886930" y="1328060"/>
                      <a:pt x="1887381" y="1331670"/>
                    </a:cubicBezTo>
                    <a:cubicBezTo>
                      <a:pt x="1888058" y="1335280"/>
                      <a:pt x="1888509" y="1337762"/>
                      <a:pt x="1887381" y="1339342"/>
                    </a:cubicBezTo>
                    <a:cubicBezTo>
                      <a:pt x="1886704" y="1340245"/>
                      <a:pt x="1885801" y="1340696"/>
                      <a:pt x="1884673" y="1340696"/>
                    </a:cubicBezTo>
                    <a:cubicBezTo>
                      <a:pt x="1884673" y="1340696"/>
                      <a:pt x="1884673" y="1340696"/>
                      <a:pt x="1884673" y="1340696"/>
                    </a:cubicBezTo>
                    <a:cubicBezTo>
                      <a:pt x="1880160" y="1340696"/>
                      <a:pt x="1872714" y="1332121"/>
                      <a:pt x="1868652" y="1326029"/>
                    </a:cubicBezTo>
                    <a:cubicBezTo>
                      <a:pt x="1864365" y="1319485"/>
                      <a:pt x="1862560" y="1320162"/>
                      <a:pt x="1854437" y="1322644"/>
                    </a:cubicBezTo>
                    <a:lnTo>
                      <a:pt x="1853534" y="1322870"/>
                    </a:lnTo>
                    <a:cubicBezTo>
                      <a:pt x="1845411" y="1325577"/>
                      <a:pt x="1837062" y="1325352"/>
                      <a:pt x="1830969" y="1322193"/>
                    </a:cubicBezTo>
                    <a:cubicBezTo>
                      <a:pt x="1802989" y="1308654"/>
                      <a:pt x="1787645" y="1301208"/>
                      <a:pt x="1780425" y="1298274"/>
                    </a:cubicBezTo>
                    <a:cubicBezTo>
                      <a:pt x="1775686" y="1296469"/>
                      <a:pt x="1767337" y="1292182"/>
                      <a:pt x="1758537" y="1287443"/>
                    </a:cubicBezTo>
                    <a:cubicBezTo>
                      <a:pt x="1754024" y="1285187"/>
                      <a:pt x="1749511" y="1282705"/>
                      <a:pt x="1745449" y="1280674"/>
                    </a:cubicBezTo>
                    <a:lnTo>
                      <a:pt x="1744096" y="1279997"/>
                    </a:lnTo>
                    <a:cubicBezTo>
                      <a:pt x="1732588" y="1274356"/>
                      <a:pt x="1726946" y="1271422"/>
                      <a:pt x="1714310" y="1270520"/>
                    </a:cubicBezTo>
                    <a:cubicBezTo>
                      <a:pt x="1700997" y="1269617"/>
                      <a:pt x="1682720" y="1263074"/>
                      <a:pt x="1674822" y="1253822"/>
                    </a:cubicBezTo>
                    <a:cubicBezTo>
                      <a:pt x="1672114" y="1250663"/>
                      <a:pt x="1667602" y="1247730"/>
                      <a:pt x="1662863" y="1244796"/>
                    </a:cubicBezTo>
                    <a:cubicBezTo>
                      <a:pt x="1654965" y="1239832"/>
                      <a:pt x="1646165" y="1234191"/>
                      <a:pt x="1641201" y="1225391"/>
                    </a:cubicBezTo>
                    <a:cubicBezTo>
                      <a:pt x="1636237" y="1216365"/>
                      <a:pt x="1623826" y="1209370"/>
                      <a:pt x="1610513" y="1201923"/>
                    </a:cubicBezTo>
                    <a:cubicBezTo>
                      <a:pt x="1603969" y="1198313"/>
                      <a:pt x="1597426" y="1194703"/>
                      <a:pt x="1591108" y="1190416"/>
                    </a:cubicBezTo>
                    <a:cubicBezTo>
                      <a:pt x="1577569" y="1181390"/>
                      <a:pt x="1561097" y="1175974"/>
                      <a:pt x="1545301" y="1170559"/>
                    </a:cubicBezTo>
                    <a:cubicBezTo>
                      <a:pt x="1538532" y="1168302"/>
                      <a:pt x="1531311" y="1165820"/>
                      <a:pt x="1524768" y="1163338"/>
                    </a:cubicBezTo>
                    <a:cubicBezTo>
                      <a:pt x="1503557" y="1154989"/>
                      <a:pt x="1483926" y="1136937"/>
                      <a:pt x="1485054" y="1126558"/>
                    </a:cubicBezTo>
                    <a:cubicBezTo>
                      <a:pt x="1485505" y="1123173"/>
                      <a:pt x="1487762" y="1117983"/>
                      <a:pt x="1490921" y="1111439"/>
                    </a:cubicBezTo>
                    <a:cubicBezTo>
                      <a:pt x="1495885" y="1100383"/>
                      <a:pt x="1502203" y="1086844"/>
                      <a:pt x="1501075" y="1077141"/>
                    </a:cubicBezTo>
                    <a:cubicBezTo>
                      <a:pt x="1499044" y="1060218"/>
                      <a:pt x="1504459" y="1053900"/>
                      <a:pt x="1516644" y="1041715"/>
                    </a:cubicBezTo>
                    <a:cubicBezTo>
                      <a:pt x="1524091" y="1034268"/>
                      <a:pt x="1525219" y="1027499"/>
                      <a:pt x="1526573" y="1019376"/>
                    </a:cubicBezTo>
                    <a:cubicBezTo>
                      <a:pt x="1527475" y="1014637"/>
                      <a:pt x="1528152" y="1009899"/>
                      <a:pt x="1530409" y="1004709"/>
                    </a:cubicBezTo>
                    <a:cubicBezTo>
                      <a:pt x="1533793" y="995909"/>
                      <a:pt x="1539435" y="992524"/>
                      <a:pt x="1544850" y="989365"/>
                    </a:cubicBezTo>
                    <a:cubicBezTo>
                      <a:pt x="1548686" y="987108"/>
                      <a:pt x="1552296" y="984852"/>
                      <a:pt x="1555230" y="980790"/>
                    </a:cubicBezTo>
                    <a:cubicBezTo>
                      <a:pt x="1556584" y="978759"/>
                      <a:pt x="1558389" y="976503"/>
                      <a:pt x="1560420" y="974021"/>
                    </a:cubicBezTo>
                    <a:cubicBezTo>
                      <a:pt x="1568317" y="964092"/>
                      <a:pt x="1580502" y="949200"/>
                      <a:pt x="1575764" y="940400"/>
                    </a:cubicBezTo>
                    <a:cubicBezTo>
                      <a:pt x="1575087" y="939046"/>
                      <a:pt x="1574184" y="937692"/>
                      <a:pt x="1573507" y="936338"/>
                    </a:cubicBezTo>
                    <a:cubicBezTo>
                      <a:pt x="1568317" y="926410"/>
                      <a:pt x="1564481" y="919189"/>
                      <a:pt x="1555681" y="916481"/>
                    </a:cubicBezTo>
                    <a:cubicBezTo>
                      <a:pt x="1545076" y="913322"/>
                      <a:pt x="1539209" y="911291"/>
                      <a:pt x="1527927" y="904973"/>
                    </a:cubicBezTo>
                    <a:cubicBezTo>
                      <a:pt x="1520029" y="900460"/>
                      <a:pt x="1515967" y="896399"/>
                      <a:pt x="1511454" y="891434"/>
                    </a:cubicBezTo>
                    <a:cubicBezTo>
                      <a:pt x="1509649" y="889629"/>
                      <a:pt x="1507844" y="887598"/>
                      <a:pt x="1505362" y="885342"/>
                    </a:cubicBezTo>
                    <a:cubicBezTo>
                      <a:pt x="1502203" y="882183"/>
                      <a:pt x="1499946" y="879701"/>
                      <a:pt x="1498141" y="877219"/>
                    </a:cubicBezTo>
                    <a:cubicBezTo>
                      <a:pt x="1495208" y="873608"/>
                      <a:pt x="1492726" y="870675"/>
                      <a:pt x="1487310" y="867065"/>
                    </a:cubicBezTo>
                    <a:cubicBezTo>
                      <a:pt x="1484603" y="865259"/>
                      <a:pt x="1481669" y="863229"/>
                      <a:pt x="1478284" y="861198"/>
                    </a:cubicBezTo>
                    <a:cubicBezTo>
                      <a:pt x="1470387" y="856008"/>
                      <a:pt x="1461587" y="849916"/>
                      <a:pt x="1455945" y="846982"/>
                    </a:cubicBezTo>
                    <a:cubicBezTo>
                      <a:pt x="1451658" y="844726"/>
                      <a:pt x="1448725" y="844726"/>
                      <a:pt x="1443760" y="844951"/>
                    </a:cubicBezTo>
                    <a:cubicBezTo>
                      <a:pt x="1440150" y="844951"/>
                      <a:pt x="1435637" y="845177"/>
                      <a:pt x="1429319" y="844274"/>
                    </a:cubicBezTo>
                    <a:cubicBezTo>
                      <a:pt x="1413073" y="842244"/>
                      <a:pt x="1395698" y="820130"/>
                      <a:pt x="1393216" y="815617"/>
                    </a:cubicBezTo>
                    <a:lnTo>
                      <a:pt x="1392313" y="814038"/>
                    </a:lnTo>
                    <a:cubicBezTo>
                      <a:pt x="1389154" y="808397"/>
                      <a:pt x="1382159" y="794858"/>
                      <a:pt x="1376292" y="792601"/>
                    </a:cubicBezTo>
                    <a:cubicBezTo>
                      <a:pt x="1371554" y="790796"/>
                      <a:pt x="1364559" y="794858"/>
                      <a:pt x="1360271" y="797340"/>
                    </a:cubicBezTo>
                    <a:cubicBezTo>
                      <a:pt x="1358918" y="798243"/>
                      <a:pt x="1357789" y="798694"/>
                      <a:pt x="1357112" y="799145"/>
                    </a:cubicBezTo>
                    <a:cubicBezTo>
                      <a:pt x="1353277" y="800725"/>
                      <a:pt x="1343799" y="801627"/>
                      <a:pt x="1338384" y="794181"/>
                    </a:cubicBezTo>
                    <a:cubicBezTo>
                      <a:pt x="1333645" y="787412"/>
                      <a:pt x="1328455" y="778386"/>
                      <a:pt x="1331614" y="766652"/>
                    </a:cubicBezTo>
                    <a:cubicBezTo>
                      <a:pt x="1334322" y="756272"/>
                      <a:pt x="1332968" y="752888"/>
                      <a:pt x="1326425" y="746344"/>
                    </a:cubicBezTo>
                    <a:cubicBezTo>
                      <a:pt x="1321235" y="741154"/>
                      <a:pt x="1322589" y="736416"/>
                      <a:pt x="1324168" y="731677"/>
                    </a:cubicBezTo>
                    <a:cubicBezTo>
                      <a:pt x="1325071" y="728969"/>
                      <a:pt x="1325973" y="726036"/>
                      <a:pt x="1325973" y="722425"/>
                    </a:cubicBezTo>
                    <a:cubicBezTo>
                      <a:pt x="1325973" y="712497"/>
                      <a:pt x="1322363" y="697379"/>
                      <a:pt x="1316045" y="689255"/>
                    </a:cubicBezTo>
                    <a:lnTo>
                      <a:pt x="1313563" y="686096"/>
                    </a:lnTo>
                    <a:cubicBezTo>
                      <a:pt x="1307245" y="678199"/>
                      <a:pt x="1299573" y="668270"/>
                      <a:pt x="1296639" y="660147"/>
                    </a:cubicBezTo>
                    <a:cubicBezTo>
                      <a:pt x="1295060" y="655860"/>
                      <a:pt x="1295060" y="652024"/>
                      <a:pt x="1295060" y="648414"/>
                    </a:cubicBezTo>
                    <a:cubicBezTo>
                      <a:pt x="1295060" y="644352"/>
                      <a:pt x="1295060" y="640742"/>
                      <a:pt x="1292578" y="636454"/>
                    </a:cubicBezTo>
                    <a:cubicBezTo>
                      <a:pt x="1290321" y="632393"/>
                      <a:pt x="1290321" y="627880"/>
                      <a:pt x="1292578" y="624269"/>
                    </a:cubicBezTo>
                    <a:cubicBezTo>
                      <a:pt x="1294383" y="621110"/>
                      <a:pt x="1297767" y="618628"/>
                      <a:pt x="1300475" y="618628"/>
                    </a:cubicBezTo>
                    <a:cubicBezTo>
                      <a:pt x="1301152" y="618628"/>
                      <a:pt x="1303860" y="617726"/>
                      <a:pt x="1306116" y="616823"/>
                    </a:cubicBezTo>
                    <a:cubicBezTo>
                      <a:pt x="1312435" y="614567"/>
                      <a:pt x="1321235" y="611408"/>
                      <a:pt x="1326425" y="613438"/>
                    </a:cubicBezTo>
                    <a:cubicBezTo>
                      <a:pt x="1331389" y="615244"/>
                      <a:pt x="1335225" y="622464"/>
                      <a:pt x="1338384" y="628105"/>
                    </a:cubicBezTo>
                    <a:cubicBezTo>
                      <a:pt x="1339738" y="630587"/>
                      <a:pt x="1341543" y="633747"/>
                      <a:pt x="1342220" y="634198"/>
                    </a:cubicBezTo>
                    <a:cubicBezTo>
                      <a:pt x="1343122" y="634649"/>
                      <a:pt x="1344251" y="635777"/>
                      <a:pt x="1345830" y="637131"/>
                    </a:cubicBezTo>
                    <a:cubicBezTo>
                      <a:pt x="1349666" y="640516"/>
                      <a:pt x="1355533" y="645480"/>
                      <a:pt x="1361400" y="645931"/>
                    </a:cubicBezTo>
                    <a:cubicBezTo>
                      <a:pt x="1368395" y="646383"/>
                      <a:pt x="1372908" y="641193"/>
                      <a:pt x="1381257" y="631941"/>
                    </a:cubicBezTo>
                    <a:lnTo>
                      <a:pt x="1384416" y="628331"/>
                    </a:lnTo>
                    <a:cubicBezTo>
                      <a:pt x="1393893" y="617726"/>
                      <a:pt x="1399760" y="618628"/>
                      <a:pt x="1405175" y="619756"/>
                    </a:cubicBezTo>
                    <a:cubicBezTo>
                      <a:pt x="1406303" y="619982"/>
                      <a:pt x="1407432" y="620208"/>
                      <a:pt x="1408560" y="620208"/>
                    </a:cubicBezTo>
                    <a:cubicBezTo>
                      <a:pt x="1413524" y="620659"/>
                      <a:pt x="1417134" y="619756"/>
                      <a:pt x="1421647" y="603510"/>
                    </a:cubicBezTo>
                    <a:cubicBezTo>
                      <a:pt x="1425258" y="590422"/>
                      <a:pt x="1419165" y="584104"/>
                      <a:pt x="1410591" y="575079"/>
                    </a:cubicBezTo>
                    <a:cubicBezTo>
                      <a:pt x="1409688" y="574176"/>
                      <a:pt x="1408560" y="573048"/>
                      <a:pt x="1407657" y="571920"/>
                    </a:cubicBezTo>
                    <a:cubicBezTo>
                      <a:pt x="1400888" y="564924"/>
                      <a:pt x="1402919" y="554319"/>
                      <a:pt x="1404272" y="545970"/>
                    </a:cubicBezTo>
                    <a:cubicBezTo>
                      <a:pt x="1405175" y="540780"/>
                      <a:pt x="1406078" y="536042"/>
                      <a:pt x="1404724" y="533334"/>
                    </a:cubicBezTo>
                    <a:cubicBezTo>
                      <a:pt x="1401790" y="526790"/>
                      <a:pt x="1380805" y="522954"/>
                      <a:pt x="1368395" y="520698"/>
                    </a:cubicBezTo>
                    <a:lnTo>
                      <a:pt x="1364108" y="519795"/>
                    </a:lnTo>
                    <a:cubicBezTo>
                      <a:pt x="1351471" y="520021"/>
                      <a:pt x="1351471" y="514831"/>
                      <a:pt x="1351471" y="500841"/>
                    </a:cubicBezTo>
                    <a:lnTo>
                      <a:pt x="1351471" y="498810"/>
                    </a:lnTo>
                    <a:cubicBezTo>
                      <a:pt x="1351471" y="487979"/>
                      <a:pt x="1356661" y="484369"/>
                      <a:pt x="1360723" y="481435"/>
                    </a:cubicBezTo>
                    <a:cubicBezTo>
                      <a:pt x="1362979" y="479856"/>
                      <a:pt x="1364559" y="478728"/>
                      <a:pt x="1365236" y="476922"/>
                    </a:cubicBezTo>
                    <a:cubicBezTo>
                      <a:pt x="1366364" y="473763"/>
                      <a:pt x="1361851" y="464738"/>
                      <a:pt x="1358241" y="457291"/>
                    </a:cubicBezTo>
                    <a:cubicBezTo>
                      <a:pt x="1354856" y="450296"/>
                      <a:pt x="1351697" y="443753"/>
                      <a:pt x="1351246" y="439465"/>
                    </a:cubicBezTo>
                    <a:cubicBezTo>
                      <a:pt x="1350569" y="429086"/>
                      <a:pt x="1360723" y="425701"/>
                      <a:pt x="1375164" y="420737"/>
                    </a:cubicBezTo>
                    <a:cubicBezTo>
                      <a:pt x="1382159" y="418254"/>
                      <a:pt x="1389605" y="418029"/>
                      <a:pt x="1396149" y="417803"/>
                    </a:cubicBezTo>
                    <a:cubicBezTo>
                      <a:pt x="1402919" y="417578"/>
                      <a:pt x="1409237" y="417126"/>
                      <a:pt x="1411042" y="414644"/>
                    </a:cubicBezTo>
                    <a:cubicBezTo>
                      <a:pt x="1415329" y="408552"/>
                      <a:pt x="1419391" y="401105"/>
                      <a:pt x="1417586" y="390951"/>
                    </a:cubicBezTo>
                    <a:cubicBezTo>
                      <a:pt x="1415555" y="379443"/>
                      <a:pt x="1419165" y="370643"/>
                      <a:pt x="1427965" y="365228"/>
                    </a:cubicBezTo>
                    <a:cubicBezTo>
                      <a:pt x="1430899" y="363422"/>
                      <a:pt x="1433832" y="362520"/>
                      <a:pt x="1436540" y="361617"/>
                    </a:cubicBezTo>
                    <a:cubicBezTo>
                      <a:pt x="1441278" y="360263"/>
                      <a:pt x="1444889" y="359135"/>
                      <a:pt x="1446694" y="353043"/>
                    </a:cubicBezTo>
                    <a:cubicBezTo>
                      <a:pt x="1449402" y="344017"/>
                      <a:pt x="1453238" y="342212"/>
                      <a:pt x="1458653" y="339504"/>
                    </a:cubicBezTo>
                    <a:cubicBezTo>
                      <a:pt x="1460233" y="338827"/>
                      <a:pt x="1462038" y="337924"/>
                      <a:pt x="1463843" y="336796"/>
                    </a:cubicBezTo>
                    <a:cubicBezTo>
                      <a:pt x="1472418" y="331832"/>
                      <a:pt x="1477607" y="324611"/>
                      <a:pt x="1481895" y="311524"/>
                    </a:cubicBezTo>
                    <a:lnTo>
                      <a:pt x="1482346" y="309944"/>
                    </a:lnTo>
                    <a:cubicBezTo>
                      <a:pt x="1486408" y="297083"/>
                      <a:pt x="1488664" y="290088"/>
                      <a:pt x="1501300" y="258271"/>
                    </a:cubicBezTo>
                    <a:cubicBezTo>
                      <a:pt x="1514388" y="224876"/>
                      <a:pt x="1514614" y="223748"/>
                      <a:pt x="1504234" y="214722"/>
                    </a:cubicBezTo>
                    <a:cubicBezTo>
                      <a:pt x="1502654" y="213368"/>
                      <a:pt x="1501300" y="212014"/>
                      <a:pt x="1499946" y="210886"/>
                    </a:cubicBezTo>
                    <a:cubicBezTo>
                      <a:pt x="1492049" y="203439"/>
                      <a:pt x="1487310" y="199152"/>
                      <a:pt x="1465423" y="193285"/>
                    </a:cubicBezTo>
                    <a:cubicBezTo>
                      <a:pt x="1452561" y="189901"/>
                      <a:pt x="1442181" y="183357"/>
                      <a:pt x="1432704" y="177490"/>
                    </a:cubicBezTo>
                    <a:cubicBezTo>
                      <a:pt x="1423001" y="171623"/>
                      <a:pt x="1414878" y="166433"/>
                      <a:pt x="1406980" y="166433"/>
                    </a:cubicBezTo>
                    <a:cubicBezTo>
                      <a:pt x="1397503" y="166433"/>
                      <a:pt x="1395472" y="168464"/>
                      <a:pt x="1393216" y="170495"/>
                    </a:cubicBezTo>
                    <a:cubicBezTo>
                      <a:pt x="1391636" y="172075"/>
                      <a:pt x="1389831" y="173654"/>
                      <a:pt x="1386221" y="175008"/>
                    </a:cubicBezTo>
                    <a:cubicBezTo>
                      <a:pt x="1381933" y="176588"/>
                      <a:pt x="1371328" y="176362"/>
                      <a:pt x="1358918" y="176136"/>
                    </a:cubicBezTo>
                    <a:cubicBezTo>
                      <a:pt x="1343799" y="175911"/>
                      <a:pt x="1326650" y="175459"/>
                      <a:pt x="1318527" y="178167"/>
                    </a:cubicBezTo>
                    <a:cubicBezTo>
                      <a:pt x="1307470" y="181777"/>
                      <a:pt x="1288742" y="196219"/>
                      <a:pt x="1274977" y="206598"/>
                    </a:cubicBezTo>
                    <a:cubicBezTo>
                      <a:pt x="1270464" y="209983"/>
                      <a:pt x="1266403" y="213142"/>
                      <a:pt x="1263244" y="215399"/>
                    </a:cubicBezTo>
                    <a:cubicBezTo>
                      <a:pt x="1249705" y="225101"/>
                      <a:pt x="1239551" y="225778"/>
                      <a:pt x="1219468" y="225101"/>
                    </a:cubicBezTo>
                    <a:cubicBezTo>
                      <a:pt x="1206381" y="224650"/>
                      <a:pt x="1202094" y="220363"/>
                      <a:pt x="1195324" y="214045"/>
                    </a:cubicBezTo>
                    <a:cubicBezTo>
                      <a:pt x="1191714" y="210434"/>
                      <a:pt x="1186975" y="205921"/>
                      <a:pt x="1179529" y="200957"/>
                    </a:cubicBezTo>
                    <a:cubicBezTo>
                      <a:pt x="1158995" y="187193"/>
                      <a:pt x="1133046" y="181777"/>
                      <a:pt x="1130112" y="181100"/>
                    </a:cubicBezTo>
                    <a:cubicBezTo>
                      <a:pt x="1126953" y="180423"/>
                      <a:pt x="1124923" y="173880"/>
                      <a:pt x="1120861" y="158085"/>
                    </a:cubicBezTo>
                    <a:cubicBezTo>
                      <a:pt x="1120184" y="155151"/>
                      <a:pt x="1119281" y="152218"/>
                      <a:pt x="1118604" y="149736"/>
                    </a:cubicBezTo>
                    <a:cubicBezTo>
                      <a:pt x="1116122" y="140484"/>
                      <a:pt x="1107096" y="133940"/>
                      <a:pt x="1095814" y="125817"/>
                    </a:cubicBezTo>
                    <a:cubicBezTo>
                      <a:pt x="1094235" y="124689"/>
                      <a:pt x="1092655" y="123561"/>
                      <a:pt x="1091076" y="122432"/>
                    </a:cubicBezTo>
                    <a:cubicBezTo>
                      <a:pt x="1084983" y="118145"/>
                      <a:pt x="1081373" y="113858"/>
                      <a:pt x="1077537" y="109345"/>
                    </a:cubicBezTo>
                    <a:cubicBezTo>
                      <a:pt x="1072347" y="103478"/>
                      <a:pt x="1067157" y="97386"/>
                      <a:pt x="1055424" y="89939"/>
                    </a:cubicBezTo>
                    <a:cubicBezTo>
                      <a:pt x="1045269" y="83396"/>
                      <a:pt x="1038500" y="80011"/>
                      <a:pt x="1031956" y="76626"/>
                    </a:cubicBezTo>
                    <a:cubicBezTo>
                      <a:pt x="1025187" y="73242"/>
                      <a:pt x="1018869" y="69857"/>
                      <a:pt x="1008940" y="63539"/>
                    </a:cubicBezTo>
                    <a:cubicBezTo>
                      <a:pt x="995853" y="54964"/>
                      <a:pt x="982991" y="39169"/>
                      <a:pt x="972611" y="26307"/>
                    </a:cubicBezTo>
                    <a:cubicBezTo>
                      <a:pt x="968324" y="20215"/>
                      <a:pt x="964037" y="14799"/>
                      <a:pt x="961103" y="12091"/>
                    </a:cubicBezTo>
                    <a:cubicBezTo>
                      <a:pt x="956591" y="7804"/>
                      <a:pt x="950949" y="9158"/>
                      <a:pt x="943052" y="10963"/>
                    </a:cubicBezTo>
                    <a:cubicBezTo>
                      <a:pt x="936734" y="12317"/>
                      <a:pt x="929739" y="14122"/>
                      <a:pt x="921390" y="13220"/>
                    </a:cubicBezTo>
                    <a:cubicBezTo>
                      <a:pt x="911913" y="12317"/>
                      <a:pt x="906948" y="9609"/>
                      <a:pt x="903112" y="7579"/>
                    </a:cubicBezTo>
                    <a:cubicBezTo>
                      <a:pt x="899276" y="5548"/>
                      <a:pt x="896117" y="3743"/>
                      <a:pt x="889122" y="4420"/>
                    </a:cubicBezTo>
                    <a:cubicBezTo>
                      <a:pt x="883256" y="4871"/>
                      <a:pt x="878968" y="5773"/>
                      <a:pt x="874907" y="6450"/>
                    </a:cubicBezTo>
                    <a:cubicBezTo>
                      <a:pt x="869265" y="7353"/>
                      <a:pt x="864527" y="8256"/>
                      <a:pt x="856178" y="8256"/>
                    </a:cubicBezTo>
                    <a:cubicBezTo>
                      <a:pt x="843316" y="8256"/>
                      <a:pt x="830454" y="15025"/>
                      <a:pt x="817818" y="21569"/>
                    </a:cubicBezTo>
                    <a:lnTo>
                      <a:pt x="816239" y="22246"/>
                    </a:lnTo>
                    <a:cubicBezTo>
                      <a:pt x="813080" y="24051"/>
                      <a:pt x="810146" y="25630"/>
                      <a:pt x="807664" y="26984"/>
                    </a:cubicBezTo>
                    <a:cubicBezTo>
                      <a:pt x="799766" y="31497"/>
                      <a:pt x="793674" y="34882"/>
                      <a:pt x="783971" y="36913"/>
                    </a:cubicBezTo>
                    <a:cubicBezTo>
                      <a:pt x="776299" y="38492"/>
                      <a:pt x="764340" y="37364"/>
                      <a:pt x="751704" y="36010"/>
                    </a:cubicBezTo>
                    <a:cubicBezTo>
                      <a:pt x="742904" y="35107"/>
                      <a:pt x="733878" y="34430"/>
                      <a:pt x="725980" y="34430"/>
                    </a:cubicBezTo>
                    <a:cubicBezTo>
                      <a:pt x="707477" y="34430"/>
                      <a:pt x="704769" y="38266"/>
                      <a:pt x="700031" y="44810"/>
                    </a:cubicBezTo>
                    <a:cubicBezTo>
                      <a:pt x="698226" y="47292"/>
                      <a:pt x="696195" y="52031"/>
                      <a:pt x="693938" y="56769"/>
                    </a:cubicBezTo>
                    <a:cubicBezTo>
                      <a:pt x="690328" y="65118"/>
                      <a:pt x="686492" y="73693"/>
                      <a:pt x="681754" y="76626"/>
                    </a:cubicBezTo>
                    <a:cubicBezTo>
                      <a:pt x="677918" y="79108"/>
                      <a:pt x="670471" y="83170"/>
                      <a:pt x="662122" y="88134"/>
                    </a:cubicBezTo>
                    <a:cubicBezTo>
                      <a:pt x="655804" y="91745"/>
                      <a:pt x="648809" y="95806"/>
                      <a:pt x="642717" y="99191"/>
                    </a:cubicBezTo>
                    <a:cubicBezTo>
                      <a:pt x="638204" y="101899"/>
                      <a:pt x="636850" y="107991"/>
                      <a:pt x="636624" y="112730"/>
                    </a:cubicBezTo>
                    <a:cubicBezTo>
                      <a:pt x="635947" y="125817"/>
                      <a:pt x="641814" y="141838"/>
                      <a:pt x="646101" y="144997"/>
                    </a:cubicBezTo>
                    <a:cubicBezTo>
                      <a:pt x="651968" y="149284"/>
                      <a:pt x="663927" y="149736"/>
                      <a:pt x="675435" y="149961"/>
                    </a:cubicBezTo>
                    <a:cubicBezTo>
                      <a:pt x="677918" y="149961"/>
                      <a:pt x="680174" y="150187"/>
                      <a:pt x="682656" y="150187"/>
                    </a:cubicBezTo>
                    <a:cubicBezTo>
                      <a:pt x="692133" y="150638"/>
                      <a:pt x="703190" y="165756"/>
                      <a:pt x="713118" y="179070"/>
                    </a:cubicBezTo>
                    <a:cubicBezTo>
                      <a:pt x="718759" y="186742"/>
                      <a:pt x="723949" y="193737"/>
                      <a:pt x="727560" y="196219"/>
                    </a:cubicBezTo>
                    <a:cubicBezTo>
                      <a:pt x="732073" y="199378"/>
                      <a:pt x="737939" y="201409"/>
                      <a:pt x="743581" y="203439"/>
                    </a:cubicBezTo>
                    <a:cubicBezTo>
                      <a:pt x="750350" y="205921"/>
                      <a:pt x="757345" y="208404"/>
                      <a:pt x="762309" y="212691"/>
                    </a:cubicBezTo>
                    <a:cubicBezTo>
                      <a:pt x="766597" y="216301"/>
                      <a:pt x="769304" y="221040"/>
                      <a:pt x="772238" y="226004"/>
                    </a:cubicBezTo>
                    <a:cubicBezTo>
                      <a:pt x="775622" y="231871"/>
                      <a:pt x="779007" y="237738"/>
                      <a:pt x="784874" y="242025"/>
                    </a:cubicBezTo>
                    <a:cubicBezTo>
                      <a:pt x="793674" y="248343"/>
                      <a:pt x="802249" y="265041"/>
                      <a:pt x="802474" y="276323"/>
                    </a:cubicBezTo>
                    <a:cubicBezTo>
                      <a:pt x="802474" y="280836"/>
                      <a:pt x="801346" y="284446"/>
                      <a:pt x="798638" y="286477"/>
                    </a:cubicBezTo>
                    <a:cubicBezTo>
                      <a:pt x="795930" y="288508"/>
                      <a:pt x="793674" y="291667"/>
                      <a:pt x="791192" y="295052"/>
                    </a:cubicBezTo>
                    <a:cubicBezTo>
                      <a:pt x="785551" y="302724"/>
                      <a:pt x="779007" y="311298"/>
                      <a:pt x="766371" y="312652"/>
                    </a:cubicBezTo>
                    <a:cubicBezTo>
                      <a:pt x="763437" y="312878"/>
                      <a:pt x="761407" y="313780"/>
                      <a:pt x="760504" y="315134"/>
                    </a:cubicBezTo>
                    <a:cubicBezTo>
                      <a:pt x="758925" y="317391"/>
                      <a:pt x="760278" y="321452"/>
                      <a:pt x="761181" y="324837"/>
                    </a:cubicBezTo>
                    <a:cubicBezTo>
                      <a:pt x="762535" y="329350"/>
                      <a:pt x="763889" y="333863"/>
                      <a:pt x="760278" y="336119"/>
                    </a:cubicBezTo>
                    <a:cubicBezTo>
                      <a:pt x="758925" y="337022"/>
                      <a:pt x="757345" y="337699"/>
                      <a:pt x="755540" y="338601"/>
                    </a:cubicBezTo>
                    <a:cubicBezTo>
                      <a:pt x="749673" y="341760"/>
                      <a:pt x="742227" y="345596"/>
                      <a:pt x="737037" y="353043"/>
                    </a:cubicBezTo>
                    <a:cubicBezTo>
                      <a:pt x="732750" y="359361"/>
                      <a:pt x="735909" y="367710"/>
                      <a:pt x="739068" y="375833"/>
                    </a:cubicBezTo>
                    <a:cubicBezTo>
                      <a:pt x="740421" y="379443"/>
                      <a:pt x="741775" y="382828"/>
                      <a:pt x="742452" y="385987"/>
                    </a:cubicBezTo>
                    <a:cubicBezTo>
                      <a:pt x="744032" y="394110"/>
                      <a:pt x="744709" y="401557"/>
                      <a:pt x="745611" y="410808"/>
                    </a:cubicBezTo>
                    <a:lnTo>
                      <a:pt x="746288" y="417578"/>
                    </a:lnTo>
                    <a:cubicBezTo>
                      <a:pt x="747191" y="427506"/>
                      <a:pt x="748996" y="445783"/>
                      <a:pt x="744483" y="472635"/>
                    </a:cubicBezTo>
                    <a:cubicBezTo>
                      <a:pt x="741098" y="492492"/>
                      <a:pt x="744032" y="504226"/>
                      <a:pt x="746514" y="514605"/>
                    </a:cubicBezTo>
                    <a:cubicBezTo>
                      <a:pt x="747191" y="517087"/>
                      <a:pt x="747642" y="519570"/>
                      <a:pt x="748319" y="522052"/>
                    </a:cubicBezTo>
                    <a:cubicBezTo>
                      <a:pt x="750801" y="534462"/>
                      <a:pt x="756217" y="543714"/>
                      <a:pt x="762986" y="547098"/>
                    </a:cubicBezTo>
                    <a:cubicBezTo>
                      <a:pt x="770432" y="550709"/>
                      <a:pt x="781715" y="554996"/>
                      <a:pt x="781940" y="554996"/>
                    </a:cubicBezTo>
                    <a:cubicBezTo>
                      <a:pt x="790289" y="558155"/>
                      <a:pt x="795930" y="561991"/>
                      <a:pt x="801346" y="565827"/>
                    </a:cubicBezTo>
                    <a:lnTo>
                      <a:pt x="802925" y="566955"/>
                    </a:lnTo>
                    <a:cubicBezTo>
                      <a:pt x="804279" y="567858"/>
                      <a:pt x="805408" y="568986"/>
                      <a:pt x="806761" y="570114"/>
                    </a:cubicBezTo>
                    <a:cubicBezTo>
                      <a:pt x="811951" y="574402"/>
                      <a:pt x="818946" y="580043"/>
                      <a:pt x="834516" y="583653"/>
                    </a:cubicBezTo>
                    <a:cubicBezTo>
                      <a:pt x="844444" y="585910"/>
                      <a:pt x="851891" y="586587"/>
                      <a:pt x="856855" y="587038"/>
                    </a:cubicBezTo>
                    <a:cubicBezTo>
                      <a:pt x="862045" y="587489"/>
                      <a:pt x="864301" y="587715"/>
                      <a:pt x="865204" y="589294"/>
                    </a:cubicBezTo>
                    <a:cubicBezTo>
                      <a:pt x="865655" y="589971"/>
                      <a:pt x="865655" y="590874"/>
                      <a:pt x="865429" y="591551"/>
                    </a:cubicBezTo>
                    <a:cubicBezTo>
                      <a:pt x="864753" y="593807"/>
                      <a:pt x="864527" y="602607"/>
                      <a:pt x="864978" y="612084"/>
                    </a:cubicBezTo>
                    <a:cubicBezTo>
                      <a:pt x="865429" y="618403"/>
                      <a:pt x="865881" y="619305"/>
                      <a:pt x="867235" y="621110"/>
                    </a:cubicBezTo>
                    <a:cubicBezTo>
                      <a:pt x="867686" y="621562"/>
                      <a:pt x="867912" y="622239"/>
                      <a:pt x="868588" y="622915"/>
                    </a:cubicBezTo>
                    <a:cubicBezTo>
                      <a:pt x="869942" y="625172"/>
                      <a:pt x="871973" y="625623"/>
                      <a:pt x="875132" y="626526"/>
                    </a:cubicBezTo>
                    <a:cubicBezTo>
                      <a:pt x="876260" y="626977"/>
                      <a:pt x="877614" y="627203"/>
                      <a:pt x="878968" y="627654"/>
                    </a:cubicBezTo>
                    <a:cubicBezTo>
                      <a:pt x="881902" y="628782"/>
                      <a:pt x="891830" y="628557"/>
                      <a:pt x="899051" y="628557"/>
                    </a:cubicBezTo>
                    <a:cubicBezTo>
                      <a:pt x="903338" y="628557"/>
                      <a:pt x="906948" y="628331"/>
                      <a:pt x="909205" y="628557"/>
                    </a:cubicBezTo>
                    <a:cubicBezTo>
                      <a:pt x="913266" y="629008"/>
                      <a:pt x="919810" y="633747"/>
                      <a:pt x="927933" y="640290"/>
                    </a:cubicBezTo>
                    <a:cubicBezTo>
                      <a:pt x="930641" y="642547"/>
                      <a:pt x="933123" y="644352"/>
                      <a:pt x="934703" y="645254"/>
                    </a:cubicBezTo>
                    <a:cubicBezTo>
                      <a:pt x="940570" y="649090"/>
                      <a:pt x="943277" y="663081"/>
                      <a:pt x="941923" y="666240"/>
                    </a:cubicBezTo>
                    <a:cubicBezTo>
                      <a:pt x="941472" y="667142"/>
                      <a:pt x="940795" y="668722"/>
                      <a:pt x="939667" y="670527"/>
                    </a:cubicBezTo>
                    <a:cubicBezTo>
                      <a:pt x="938539" y="672558"/>
                      <a:pt x="936508" y="676394"/>
                      <a:pt x="936282" y="677296"/>
                    </a:cubicBezTo>
                    <a:cubicBezTo>
                      <a:pt x="936282" y="680907"/>
                      <a:pt x="923195" y="688804"/>
                      <a:pt x="918908" y="689932"/>
                    </a:cubicBezTo>
                    <a:cubicBezTo>
                      <a:pt x="915523" y="690835"/>
                      <a:pt x="913492" y="690835"/>
                      <a:pt x="908754" y="690835"/>
                    </a:cubicBezTo>
                    <a:cubicBezTo>
                      <a:pt x="905820" y="690835"/>
                      <a:pt x="901533" y="690835"/>
                      <a:pt x="894989" y="691061"/>
                    </a:cubicBezTo>
                    <a:cubicBezTo>
                      <a:pt x="883932" y="691286"/>
                      <a:pt x="881676" y="693543"/>
                      <a:pt x="879871" y="695348"/>
                    </a:cubicBezTo>
                    <a:cubicBezTo>
                      <a:pt x="878968" y="696250"/>
                      <a:pt x="877840" y="697153"/>
                      <a:pt x="876035" y="697604"/>
                    </a:cubicBezTo>
                    <a:cubicBezTo>
                      <a:pt x="872425" y="698507"/>
                      <a:pt x="857757" y="707307"/>
                      <a:pt x="853019" y="712497"/>
                    </a:cubicBezTo>
                    <a:cubicBezTo>
                      <a:pt x="850086" y="715656"/>
                      <a:pt x="848280" y="718815"/>
                      <a:pt x="845573" y="723328"/>
                    </a:cubicBezTo>
                    <a:cubicBezTo>
                      <a:pt x="843993" y="725810"/>
                      <a:pt x="842414" y="728744"/>
                      <a:pt x="839932" y="732354"/>
                    </a:cubicBezTo>
                    <a:cubicBezTo>
                      <a:pt x="836095" y="738446"/>
                      <a:pt x="840608" y="743185"/>
                      <a:pt x="845798" y="747923"/>
                    </a:cubicBezTo>
                    <a:cubicBezTo>
                      <a:pt x="847378" y="749277"/>
                      <a:pt x="848506" y="750180"/>
                      <a:pt x="848957" y="751308"/>
                    </a:cubicBezTo>
                    <a:cubicBezTo>
                      <a:pt x="850537" y="754467"/>
                      <a:pt x="854373" y="770714"/>
                      <a:pt x="854373" y="773196"/>
                    </a:cubicBezTo>
                    <a:cubicBezTo>
                      <a:pt x="854373" y="776806"/>
                      <a:pt x="849183" y="780191"/>
                      <a:pt x="845798" y="780642"/>
                    </a:cubicBezTo>
                    <a:cubicBezTo>
                      <a:pt x="844670" y="780868"/>
                      <a:pt x="843091" y="784252"/>
                      <a:pt x="841962" y="787186"/>
                    </a:cubicBezTo>
                    <a:cubicBezTo>
                      <a:pt x="841511" y="788540"/>
                      <a:pt x="840834" y="789894"/>
                      <a:pt x="840157" y="791247"/>
                    </a:cubicBezTo>
                    <a:cubicBezTo>
                      <a:pt x="837901" y="796437"/>
                      <a:pt x="839255" y="800273"/>
                      <a:pt x="840834" y="805238"/>
                    </a:cubicBezTo>
                    <a:lnTo>
                      <a:pt x="841060" y="806140"/>
                    </a:lnTo>
                    <a:cubicBezTo>
                      <a:pt x="842414" y="810202"/>
                      <a:pt x="843993" y="813361"/>
                      <a:pt x="845798" y="816520"/>
                    </a:cubicBezTo>
                    <a:cubicBezTo>
                      <a:pt x="846475" y="817648"/>
                      <a:pt x="846926" y="818776"/>
                      <a:pt x="847603" y="819905"/>
                    </a:cubicBezTo>
                    <a:cubicBezTo>
                      <a:pt x="848280" y="821484"/>
                      <a:pt x="848957" y="823064"/>
                      <a:pt x="848280" y="824643"/>
                    </a:cubicBezTo>
                    <a:cubicBezTo>
                      <a:pt x="847603" y="826223"/>
                      <a:pt x="846024" y="826674"/>
                      <a:pt x="844444" y="827125"/>
                    </a:cubicBezTo>
                    <a:cubicBezTo>
                      <a:pt x="843767" y="827351"/>
                      <a:pt x="842865" y="827577"/>
                      <a:pt x="841737" y="828028"/>
                    </a:cubicBezTo>
                    <a:cubicBezTo>
                      <a:pt x="840383" y="828705"/>
                      <a:pt x="839029" y="829382"/>
                      <a:pt x="837675" y="830510"/>
                    </a:cubicBezTo>
                    <a:cubicBezTo>
                      <a:pt x="834967" y="832315"/>
                      <a:pt x="832034" y="834120"/>
                      <a:pt x="827070" y="835700"/>
                    </a:cubicBezTo>
                    <a:cubicBezTo>
                      <a:pt x="821428" y="837505"/>
                      <a:pt x="820526" y="838408"/>
                      <a:pt x="818495" y="840664"/>
                    </a:cubicBezTo>
                    <a:cubicBezTo>
                      <a:pt x="818044" y="841341"/>
                      <a:pt x="817367" y="842018"/>
                      <a:pt x="816690" y="842695"/>
                    </a:cubicBezTo>
                    <a:cubicBezTo>
                      <a:pt x="815336" y="844049"/>
                      <a:pt x="814885" y="845403"/>
                      <a:pt x="814433" y="847208"/>
                    </a:cubicBezTo>
                    <a:cubicBezTo>
                      <a:pt x="813531" y="849916"/>
                      <a:pt x="812628" y="853075"/>
                      <a:pt x="808341" y="855557"/>
                    </a:cubicBezTo>
                    <a:cubicBezTo>
                      <a:pt x="805408" y="857362"/>
                      <a:pt x="804505" y="860070"/>
                      <a:pt x="803602" y="863003"/>
                    </a:cubicBezTo>
                    <a:cubicBezTo>
                      <a:pt x="802925" y="865485"/>
                      <a:pt x="802023" y="867967"/>
                      <a:pt x="800218" y="869772"/>
                    </a:cubicBezTo>
                    <a:cubicBezTo>
                      <a:pt x="798864" y="871126"/>
                      <a:pt x="797736" y="872029"/>
                      <a:pt x="796833" y="872706"/>
                    </a:cubicBezTo>
                    <a:cubicBezTo>
                      <a:pt x="795479" y="873834"/>
                      <a:pt x="794125" y="874737"/>
                      <a:pt x="791418" y="878573"/>
                    </a:cubicBezTo>
                    <a:cubicBezTo>
                      <a:pt x="789838" y="880603"/>
                      <a:pt x="789161" y="882183"/>
                      <a:pt x="788710" y="883762"/>
                    </a:cubicBezTo>
                    <a:cubicBezTo>
                      <a:pt x="787582" y="886696"/>
                      <a:pt x="786453" y="888501"/>
                      <a:pt x="781715" y="890080"/>
                    </a:cubicBezTo>
                    <a:cubicBezTo>
                      <a:pt x="778556" y="891209"/>
                      <a:pt x="776751" y="892788"/>
                      <a:pt x="774720" y="894593"/>
                    </a:cubicBezTo>
                    <a:cubicBezTo>
                      <a:pt x="772689" y="896399"/>
                      <a:pt x="770658" y="898429"/>
                      <a:pt x="766822" y="900009"/>
                    </a:cubicBezTo>
                    <a:cubicBezTo>
                      <a:pt x="764791" y="900686"/>
                      <a:pt x="764791" y="901363"/>
                      <a:pt x="765468" y="904522"/>
                    </a:cubicBezTo>
                    <a:cubicBezTo>
                      <a:pt x="766145" y="907455"/>
                      <a:pt x="767048" y="911517"/>
                      <a:pt x="763212" y="915579"/>
                    </a:cubicBezTo>
                    <a:cubicBezTo>
                      <a:pt x="759827" y="919414"/>
                      <a:pt x="762986" y="923476"/>
                      <a:pt x="767273" y="927989"/>
                    </a:cubicBezTo>
                    <a:cubicBezTo>
                      <a:pt x="768176" y="928892"/>
                      <a:pt x="768853" y="929794"/>
                      <a:pt x="769530" y="930471"/>
                    </a:cubicBezTo>
                    <a:cubicBezTo>
                      <a:pt x="770884" y="932276"/>
                      <a:pt x="771335" y="934984"/>
                      <a:pt x="770432" y="937466"/>
                    </a:cubicBezTo>
                    <a:cubicBezTo>
                      <a:pt x="769530" y="940400"/>
                      <a:pt x="767048" y="942882"/>
                      <a:pt x="764340" y="943784"/>
                    </a:cubicBezTo>
                    <a:cubicBezTo>
                      <a:pt x="762084" y="944461"/>
                      <a:pt x="761632" y="945138"/>
                      <a:pt x="760955" y="945589"/>
                    </a:cubicBezTo>
                    <a:cubicBezTo>
                      <a:pt x="760504" y="946041"/>
                      <a:pt x="760053" y="946492"/>
                      <a:pt x="759376" y="947169"/>
                    </a:cubicBezTo>
                    <a:cubicBezTo>
                      <a:pt x="755991" y="949877"/>
                      <a:pt x="750801" y="953938"/>
                      <a:pt x="744483" y="959805"/>
                    </a:cubicBezTo>
                    <a:cubicBezTo>
                      <a:pt x="737714" y="965898"/>
                      <a:pt x="734103" y="964995"/>
                      <a:pt x="729816" y="964092"/>
                    </a:cubicBezTo>
                    <a:cubicBezTo>
                      <a:pt x="728011" y="963641"/>
                      <a:pt x="725980" y="963190"/>
                      <a:pt x="723498" y="963190"/>
                    </a:cubicBezTo>
                    <a:cubicBezTo>
                      <a:pt x="714698" y="963190"/>
                      <a:pt x="702287" y="967928"/>
                      <a:pt x="698451" y="971539"/>
                    </a:cubicBezTo>
                    <a:cubicBezTo>
                      <a:pt x="696195" y="973795"/>
                      <a:pt x="695969" y="976277"/>
                      <a:pt x="695969" y="979662"/>
                    </a:cubicBezTo>
                    <a:cubicBezTo>
                      <a:pt x="695969" y="981693"/>
                      <a:pt x="695744" y="983498"/>
                      <a:pt x="695292" y="985754"/>
                    </a:cubicBezTo>
                    <a:cubicBezTo>
                      <a:pt x="694615" y="988011"/>
                      <a:pt x="694390" y="990944"/>
                      <a:pt x="693938" y="993878"/>
                    </a:cubicBezTo>
                    <a:cubicBezTo>
                      <a:pt x="693487" y="998165"/>
                      <a:pt x="692810" y="1002904"/>
                      <a:pt x="691456" y="1007868"/>
                    </a:cubicBezTo>
                    <a:cubicBezTo>
                      <a:pt x="689200" y="1016442"/>
                      <a:pt x="681077" y="1029981"/>
                      <a:pt x="677015" y="1034494"/>
                    </a:cubicBezTo>
                    <a:cubicBezTo>
                      <a:pt x="675887" y="1035848"/>
                      <a:pt x="674758" y="1038330"/>
                      <a:pt x="673405" y="1041263"/>
                    </a:cubicBezTo>
                    <a:cubicBezTo>
                      <a:pt x="670697" y="1046905"/>
                      <a:pt x="667087" y="1054802"/>
                      <a:pt x="660317" y="1060218"/>
                    </a:cubicBezTo>
                    <a:cubicBezTo>
                      <a:pt x="654225" y="1065182"/>
                      <a:pt x="651066" y="1069920"/>
                      <a:pt x="648584" y="1073756"/>
                    </a:cubicBezTo>
                    <a:cubicBezTo>
                      <a:pt x="647004" y="1076013"/>
                      <a:pt x="645650" y="1078044"/>
                      <a:pt x="644071" y="1079849"/>
                    </a:cubicBezTo>
                    <a:cubicBezTo>
                      <a:pt x="642717" y="1081203"/>
                      <a:pt x="641814" y="1084813"/>
                      <a:pt x="641137" y="1088198"/>
                    </a:cubicBezTo>
                    <a:cubicBezTo>
                      <a:pt x="639783" y="1093839"/>
                      <a:pt x="638429" y="1100383"/>
                      <a:pt x="633240" y="1101060"/>
                    </a:cubicBezTo>
                    <a:cubicBezTo>
                      <a:pt x="630081" y="1101511"/>
                      <a:pt x="628727" y="1101285"/>
                      <a:pt x="627598" y="1101285"/>
                    </a:cubicBezTo>
                    <a:cubicBezTo>
                      <a:pt x="626470" y="1101060"/>
                      <a:pt x="625342" y="1101060"/>
                      <a:pt x="621055" y="1101962"/>
                    </a:cubicBezTo>
                    <a:cubicBezTo>
                      <a:pt x="617670" y="1102865"/>
                      <a:pt x="614511" y="1104670"/>
                      <a:pt x="611352" y="1106926"/>
                    </a:cubicBezTo>
                    <a:cubicBezTo>
                      <a:pt x="607742" y="1109409"/>
                      <a:pt x="603454" y="1112116"/>
                      <a:pt x="598039" y="1113244"/>
                    </a:cubicBezTo>
                    <a:cubicBezTo>
                      <a:pt x="588336" y="1115501"/>
                      <a:pt x="577054" y="1123850"/>
                      <a:pt x="569156" y="1130168"/>
                    </a:cubicBezTo>
                    <a:cubicBezTo>
                      <a:pt x="564418" y="1134004"/>
                      <a:pt x="563515" y="1138517"/>
                      <a:pt x="562838" y="1142804"/>
                    </a:cubicBezTo>
                    <a:cubicBezTo>
                      <a:pt x="562387" y="1145512"/>
                      <a:pt x="561710" y="1148445"/>
                      <a:pt x="560130" y="1150927"/>
                    </a:cubicBezTo>
                    <a:cubicBezTo>
                      <a:pt x="558551" y="1153410"/>
                      <a:pt x="557197" y="1157471"/>
                      <a:pt x="555843" y="1161307"/>
                    </a:cubicBezTo>
                    <a:cubicBezTo>
                      <a:pt x="554263" y="1166046"/>
                      <a:pt x="552684" y="1170784"/>
                      <a:pt x="550202" y="1174169"/>
                    </a:cubicBezTo>
                    <a:lnTo>
                      <a:pt x="548622" y="1176425"/>
                    </a:lnTo>
                    <a:cubicBezTo>
                      <a:pt x="544786" y="1181615"/>
                      <a:pt x="540725" y="1187256"/>
                      <a:pt x="535535" y="1188610"/>
                    </a:cubicBezTo>
                    <a:cubicBezTo>
                      <a:pt x="531699" y="1189739"/>
                      <a:pt x="526058" y="1194703"/>
                      <a:pt x="521996" y="1198539"/>
                    </a:cubicBezTo>
                    <a:cubicBezTo>
                      <a:pt x="521319" y="1199216"/>
                      <a:pt x="520417" y="1199893"/>
                      <a:pt x="519740" y="1200570"/>
                    </a:cubicBezTo>
                    <a:cubicBezTo>
                      <a:pt x="515452" y="1204406"/>
                      <a:pt x="512745" y="1206888"/>
                      <a:pt x="511391" y="1212303"/>
                    </a:cubicBezTo>
                    <a:cubicBezTo>
                      <a:pt x="510037" y="1217719"/>
                      <a:pt x="507555" y="1223811"/>
                      <a:pt x="505750" y="1227647"/>
                    </a:cubicBezTo>
                    <a:lnTo>
                      <a:pt x="505073" y="1229227"/>
                    </a:lnTo>
                    <a:cubicBezTo>
                      <a:pt x="503493" y="1232837"/>
                      <a:pt x="499657" y="1235545"/>
                      <a:pt x="493113" y="1237801"/>
                    </a:cubicBezTo>
                    <a:cubicBezTo>
                      <a:pt x="491308" y="1238478"/>
                      <a:pt x="489503" y="1239381"/>
                      <a:pt x="487247" y="1240509"/>
                    </a:cubicBezTo>
                    <a:cubicBezTo>
                      <a:pt x="482734" y="1242765"/>
                      <a:pt x="477318" y="1245699"/>
                      <a:pt x="469646" y="1246827"/>
                    </a:cubicBezTo>
                    <a:cubicBezTo>
                      <a:pt x="462651" y="1247730"/>
                      <a:pt x="459492" y="1247053"/>
                      <a:pt x="456333" y="1246601"/>
                    </a:cubicBezTo>
                    <a:cubicBezTo>
                      <a:pt x="454302" y="1246150"/>
                      <a:pt x="452497" y="1245924"/>
                      <a:pt x="449789" y="1245924"/>
                    </a:cubicBezTo>
                    <a:cubicBezTo>
                      <a:pt x="447758" y="1245924"/>
                      <a:pt x="445502" y="1245924"/>
                      <a:pt x="443246" y="1245699"/>
                    </a:cubicBezTo>
                    <a:cubicBezTo>
                      <a:pt x="436927" y="1245473"/>
                      <a:pt x="428804" y="1245022"/>
                      <a:pt x="424743" y="1246601"/>
                    </a:cubicBezTo>
                    <a:cubicBezTo>
                      <a:pt x="422486" y="1247504"/>
                      <a:pt x="419101" y="1248632"/>
                      <a:pt x="415040" y="1250212"/>
                    </a:cubicBezTo>
                    <a:cubicBezTo>
                      <a:pt x="408045" y="1252694"/>
                      <a:pt x="399470" y="1255853"/>
                      <a:pt x="392926" y="1258335"/>
                    </a:cubicBezTo>
                    <a:cubicBezTo>
                      <a:pt x="383901" y="1261945"/>
                      <a:pt x="371490" y="1264879"/>
                      <a:pt x="366526" y="1260366"/>
                    </a:cubicBezTo>
                    <a:cubicBezTo>
                      <a:pt x="364495" y="1258561"/>
                      <a:pt x="363367" y="1256079"/>
                      <a:pt x="362690" y="1254048"/>
                    </a:cubicBezTo>
                    <a:cubicBezTo>
                      <a:pt x="361787" y="1252017"/>
                      <a:pt x="361336" y="1250437"/>
                      <a:pt x="359756" y="1249760"/>
                    </a:cubicBezTo>
                    <a:cubicBezTo>
                      <a:pt x="355469" y="1247053"/>
                      <a:pt x="354567" y="1238929"/>
                      <a:pt x="354567" y="1232611"/>
                    </a:cubicBezTo>
                    <a:cubicBezTo>
                      <a:pt x="354567" y="1228098"/>
                      <a:pt x="352084" y="1218396"/>
                      <a:pt x="349602" y="1216816"/>
                    </a:cubicBezTo>
                    <a:cubicBezTo>
                      <a:pt x="346669" y="1214785"/>
                      <a:pt x="334484" y="1212078"/>
                      <a:pt x="330197" y="1212529"/>
                    </a:cubicBezTo>
                    <a:cubicBezTo>
                      <a:pt x="327715" y="1212754"/>
                      <a:pt x="324781" y="1215011"/>
                      <a:pt x="321171" y="1217719"/>
                    </a:cubicBezTo>
                    <a:cubicBezTo>
                      <a:pt x="318689" y="1219524"/>
                      <a:pt x="315981" y="1221555"/>
                      <a:pt x="312822" y="1223586"/>
                    </a:cubicBezTo>
                    <a:cubicBezTo>
                      <a:pt x="309663" y="1225616"/>
                      <a:pt x="307181" y="1226970"/>
                      <a:pt x="305376" y="1228324"/>
                    </a:cubicBezTo>
                    <a:cubicBezTo>
                      <a:pt x="302217" y="1230355"/>
                      <a:pt x="299735" y="1231934"/>
                      <a:pt x="295899" y="1233965"/>
                    </a:cubicBezTo>
                    <a:cubicBezTo>
                      <a:pt x="290483" y="1236899"/>
                      <a:pt x="288227" y="1248181"/>
                      <a:pt x="287550" y="1252017"/>
                    </a:cubicBezTo>
                    <a:lnTo>
                      <a:pt x="287324" y="1252694"/>
                    </a:lnTo>
                    <a:cubicBezTo>
                      <a:pt x="285519" y="1261945"/>
                      <a:pt x="283262" y="1270745"/>
                      <a:pt x="278750" y="1272776"/>
                    </a:cubicBezTo>
                    <a:cubicBezTo>
                      <a:pt x="276944" y="1273453"/>
                      <a:pt x="275365" y="1275258"/>
                      <a:pt x="273560" y="1277064"/>
                    </a:cubicBezTo>
                    <a:cubicBezTo>
                      <a:pt x="271529" y="1279094"/>
                      <a:pt x="269724" y="1281351"/>
                      <a:pt x="267016" y="1282479"/>
                    </a:cubicBezTo>
                    <a:cubicBezTo>
                      <a:pt x="265211" y="1283382"/>
                      <a:pt x="263406" y="1284961"/>
                      <a:pt x="261149" y="1286992"/>
                    </a:cubicBezTo>
                    <a:cubicBezTo>
                      <a:pt x="258216" y="1289474"/>
                      <a:pt x="254605" y="1292859"/>
                      <a:pt x="249415" y="1296018"/>
                    </a:cubicBezTo>
                    <a:cubicBezTo>
                      <a:pt x="245354" y="1298500"/>
                      <a:pt x="242195" y="1301208"/>
                      <a:pt x="239261" y="1303915"/>
                    </a:cubicBezTo>
                    <a:cubicBezTo>
                      <a:pt x="235651" y="1307075"/>
                      <a:pt x="232492" y="1310008"/>
                      <a:pt x="228205" y="1311362"/>
                    </a:cubicBezTo>
                    <a:cubicBezTo>
                      <a:pt x="225497" y="1312264"/>
                      <a:pt x="224369" y="1315875"/>
                      <a:pt x="223015" y="1319936"/>
                    </a:cubicBezTo>
                    <a:cubicBezTo>
                      <a:pt x="221661" y="1323998"/>
                      <a:pt x="220081" y="1328737"/>
                      <a:pt x="216020" y="1331444"/>
                    </a:cubicBezTo>
                    <a:cubicBezTo>
                      <a:pt x="209702" y="1335506"/>
                      <a:pt x="207445" y="1342275"/>
                      <a:pt x="207445" y="1355814"/>
                    </a:cubicBezTo>
                    <a:cubicBezTo>
                      <a:pt x="207445" y="1369127"/>
                      <a:pt x="207445" y="1373640"/>
                      <a:pt x="210153" y="1379507"/>
                    </a:cubicBezTo>
                    <a:cubicBezTo>
                      <a:pt x="211507" y="1382440"/>
                      <a:pt x="213312" y="1382892"/>
                      <a:pt x="216471" y="1384020"/>
                    </a:cubicBezTo>
                    <a:cubicBezTo>
                      <a:pt x="218728" y="1384922"/>
                      <a:pt x="221661" y="1385825"/>
                      <a:pt x="225046" y="1388081"/>
                    </a:cubicBezTo>
                    <a:cubicBezTo>
                      <a:pt x="227979" y="1390112"/>
                      <a:pt x="230010" y="1392143"/>
                      <a:pt x="232041" y="1393948"/>
                    </a:cubicBezTo>
                    <a:cubicBezTo>
                      <a:pt x="235425" y="1397107"/>
                      <a:pt x="238133" y="1399589"/>
                      <a:pt x="242646" y="1400492"/>
                    </a:cubicBezTo>
                    <a:cubicBezTo>
                      <a:pt x="249641" y="1401846"/>
                      <a:pt x="254831" y="1401169"/>
                      <a:pt x="261375" y="1400266"/>
                    </a:cubicBezTo>
                    <a:lnTo>
                      <a:pt x="263180" y="1400041"/>
                    </a:lnTo>
                    <a:cubicBezTo>
                      <a:pt x="270175" y="1399138"/>
                      <a:pt x="275365" y="1402748"/>
                      <a:pt x="278298" y="1404554"/>
                    </a:cubicBezTo>
                    <a:cubicBezTo>
                      <a:pt x="278750" y="1404779"/>
                      <a:pt x="279201" y="1405231"/>
                      <a:pt x="279426" y="1405456"/>
                    </a:cubicBezTo>
                    <a:lnTo>
                      <a:pt x="279878" y="1405682"/>
                    </a:lnTo>
                    <a:cubicBezTo>
                      <a:pt x="282360" y="1407036"/>
                      <a:pt x="287775" y="1410420"/>
                      <a:pt x="284391" y="1417415"/>
                    </a:cubicBezTo>
                    <a:cubicBezTo>
                      <a:pt x="283262" y="1419446"/>
                      <a:pt x="283939" y="1421703"/>
                      <a:pt x="284391" y="1424862"/>
                    </a:cubicBezTo>
                    <a:cubicBezTo>
                      <a:pt x="285293" y="1428698"/>
                      <a:pt x="286196" y="1433662"/>
                      <a:pt x="284842" y="1440431"/>
                    </a:cubicBezTo>
                    <a:lnTo>
                      <a:pt x="284391" y="1442914"/>
                    </a:lnTo>
                    <a:cubicBezTo>
                      <a:pt x="282360" y="1453744"/>
                      <a:pt x="280780" y="1462319"/>
                      <a:pt x="270852" y="1468863"/>
                    </a:cubicBezTo>
                    <a:cubicBezTo>
                      <a:pt x="268144" y="1470668"/>
                      <a:pt x="267693" y="1471796"/>
                      <a:pt x="267693" y="1472247"/>
                    </a:cubicBezTo>
                    <a:cubicBezTo>
                      <a:pt x="267693" y="1473376"/>
                      <a:pt x="268821" y="1474504"/>
                      <a:pt x="269949" y="1475632"/>
                    </a:cubicBezTo>
                    <a:cubicBezTo>
                      <a:pt x="271529" y="1476986"/>
                      <a:pt x="273108" y="1478566"/>
                      <a:pt x="272431" y="1480596"/>
                    </a:cubicBezTo>
                    <a:cubicBezTo>
                      <a:pt x="271529" y="1483079"/>
                      <a:pt x="270852" y="1493909"/>
                      <a:pt x="274237" y="1499325"/>
                    </a:cubicBezTo>
                    <a:cubicBezTo>
                      <a:pt x="276042" y="1502258"/>
                      <a:pt x="278073" y="1504289"/>
                      <a:pt x="280329" y="1506546"/>
                    </a:cubicBezTo>
                    <a:cubicBezTo>
                      <a:pt x="282360" y="1508576"/>
                      <a:pt x="284391" y="1510607"/>
                      <a:pt x="286421" y="1513315"/>
                    </a:cubicBezTo>
                    <a:cubicBezTo>
                      <a:pt x="287098" y="1514443"/>
                      <a:pt x="287775" y="1515346"/>
                      <a:pt x="288452" y="1516474"/>
                    </a:cubicBezTo>
                    <a:cubicBezTo>
                      <a:pt x="291386" y="1520987"/>
                      <a:pt x="294319" y="1525726"/>
                      <a:pt x="298832" y="1528208"/>
                    </a:cubicBezTo>
                    <a:cubicBezTo>
                      <a:pt x="302442" y="1530238"/>
                      <a:pt x="306955" y="1529110"/>
                      <a:pt x="313499" y="1527305"/>
                    </a:cubicBezTo>
                    <a:cubicBezTo>
                      <a:pt x="316207" y="1526628"/>
                      <a:pt x="319366" y="1525726"/>
                      <a:pt x="322976" y="1525049"/>
                    </a:cubicBezTo>
                    <a:cubicBezTo>
                      <a:pt x="330874" y="1523469"/>
                      <a:pt x="335387" y="1523920"/>
                      <a:pt x="337192" y="1526628"/>
                    </a:cubicBezTo>
                    <a:cubicBezTo>
                      <a:pt x="339223" y="1529562"/>
                      <a:pt x="336966" y="1533623"/>
                      <a:pt x="336289" y="1534752"/>
                    </a:cubicBezTo>
                    <a:cubicBezTo>
                      <a:pt x="334033" y="1538813"/>
                      <a:pt x="334935" y="1543326"/>
                      <a:pt x="335838" y="1546711"/>
                    </a:cubicBezTo>
                    <a:cubicBezTo>
                      <a:pt x="336289" y="1548290"/>
                      <a:pt x="336515" y="1549870"/>
                      <a:pt x="336515" y="1551224"/>
                    </a:cubicBezTo>
                    <a:cubicBezTo>
                      <a:pt x="336515" y="1555737"/>
                      <a:pt x="338997" y="1581911"/>
                      <a:pt x="342833" y="1587778"/>
                    </a:cubicBezTo>
                    <a:cubicBezTo>
                      <a:pt x="344638" y="1590712"/>
                      <a:pt x="348700" y="1593419"/>
                      <a:pt x="352761" y="1595902"/>
                    </a:cubicBezTo>
                    <a:cubicBezTo>
                      <a:pt x="357274" y="1598835"/>
                      <a:pt x="361110" y="1601317"/>
                      <a:pt x="362464" y="1604702"/>
                    </a:cubicBezTo>
                    <a:cubicBezTo>
                      <a:pt x="363367" y="1606958"/>
                      <a:pt x="362916" y="1610117"/>
                      <a:pt x="362690" y="1613728"/>
                    </a:cubicBezTo>
                    <a:cubicBezTo>
                      <a:pt x="362013" y="1619369"/>
                      <a:pt x="361336" y="1626364"/>
                      <a:pt x="365172" y="1631554"/>
                    </a:cubicBezTo>
                    <a:cubicBezTo>
                      <a:pt x="369008" y="1636743"/>
                      <a:pt x="370362" y="1642159"/>
                      <a:pt x="371716" y="1646897"/>
                    </a:cubicBezTo>
                    <a:cubicBezTo>
                      <a:pt x="372844" y="1650734"/>
                      <a:pt x="373747" y="1654118"/>
                      <a:pt x="375552" y="1656826"/>
                    </a:cubicBezTo>
                    <a:cubicBezTo>
                      <a:pt x="376680" y="1658180"/>
                      <a:pt x="377808" y="1659759"/>
                      <a:pt x="379162" y="1661339"/>
                    </a:cubicBezTo>
                    <a:cubicBezTo>
                      <a:pt x="383224" y="1666078"/>
                      <a:pt x="386834" y="1670816"/>
                      <a:pt x="385931" y="1674426"/>
                    </a:cubicBezTo>
                    <a:cubicBezTo>
                      <a:pt x="385706" y="1675555"/>
                      <a:pt x="384803" y="1676908"/>
                      <a:pt x="382772" y="1677811"/>
                    </a:cubicBezTo>
                    <a:cubicBezTo>
                      <a:pt x="380742" y="1678714"/>
                      <a:pt x="379613" y="1678939"/>
                      <a:pt x="378936" y="1679165"/>
                    </a:cubicBezTo>
                    <a:cubicBezTo>
                      <a:pt x="378259" y="1679391"/>
                      <a:pt x="378259" y="1679391"/>
                      <a:pt x="376906" y="1680744"/>
                    </a:cubicBezTo>
                    <a:cubicBezTo>
                      <a:pt x="376454" y="1681421"/>
                      <a:pt x="375777" y="1682098"/>
                      <a:pt x="375100" y="1683001"/>
                    </a:cubicBezTo>
                    <a:cubicBezTo>
                      <a:pt x="370813" y="1688191"/>
                      <a:pt x="370813" y="1690222"/>
                      <a:pt x="370813" y="1692929"/>
                    </a:cubicBezTo>
                    <a:lnTo>
                      <a:pt x="370813" y="1693381"/>
                    </a:lnTo>
                    <a:cubicBezTo>
                      <a:pt x="370813" y="1695411"/>
                      <a:pt x="373295" y="1697894"/>
                      <a:pt x="378259" y="1700601"/>
                    </a:cubicBezTo>
                    <a:cubicBezTo>
                      <a:pt x="381644" y="1702407"/>
                      <a:pt x="383675" y="1704889"/>
                      <a:pt x="383901" y="1707596"/>
                    </a:cubicBezTo>
                    <a:cubicBezTo>
                      <a:pt x="384126" y="1709853"/>
                      <a:pt x="383224" y="1712109"/>
                      <a:pt x="381418" y="1713689"/>
                    </a:cubicBezTo>
                    <a:cubicBezTo>
                      <a:pt x="380742" y="1714366"/>
                      <a:pt x="380290" y="1715043"/>
                      <a:pt x="379839" y="1715720"/>
                    </a:cubicBezTo>
                    <a:cubicBezTo>
                      <a:pt x="378259" y="1718202"/>
                      <a:pt x="376906" y="1720007"/>
                      <a:pt x="370813" y="1720007"/>
                    </a:cubicBezTo>
                    <a:cubicBezTo>
                      <a:pt x="365398" y="1720007"/>
                      <a:pt x="365398" y="1720007"/>
                      <a:pt x="364269" y="1720458"/>
                    </a:cubicBezTo>
                    <a:cubicBezTo>
                      <a:pt x="363592" y="1720684"/>
                      <a:pt x="362690" y="1720910"/>
                      <a:pt x="361110" y="1721361"/>
                    </a:cubicBezTo>
                    <a:cubicBezTo>
                      <a:pt x="359080" y="1721812"/>
                      <a:pt x="357951" y="1723392"/>
                      <a:pt x="356597" y="1725874"/>
                    </a:cubicBezTo>
                    <a:cubicBezTo>
                      <a:pt x="355469" y="1727905"/>
                      <a:pt x="354341" y="1729935"/>
                      <a:pt x="352084" y="1731515"/>
                    </a:cubicBezTo>
                    <a:cubicBezTo>
                      <a:pt x="347120" y="1734899"/>
                      <a:pt x="337418" y="1736253"/>
                      <a:pt x="331776" y="1736253"/>
                    </a:cubicBezTo>
                    <a:cubicBezTo>
                      <a:pt x="325684" y="1736253"/>
                      <a:pt x="313048" y="1730838"/>
                      <a:pt x="308084" y="1723617"/>
                    </a:cubicBezTo>
                    <a:cubicBezTo>
                      <a:pt x="304924" y="1719104"/>
                      <a:pt x="308084" y="1714591"/>
                      <a:pt x="310114" y="1711207"/>
                    </a:cubicBezTo>
                    <a:cubicBezTo>
                      <a:pt x="311017" y="1709853"/>
                      <a:pt x="312371" y="1708048"/>
                      <a:pt x="312145" y="1707145"/>
                    </a:cubicBezTo>
                    <a:cubicBezTo>
                      <a:pt x="312145" y="1706919"/>
                      <a:pt x="311919" y="1706694"/>
                      <a:pt x="311694" y="1706468"/>
                    </a:cubicBezTo>
                    <a:cubicBezTo>
                      <a:pt x="308986" y="1704663"/>
                      <a:pt x="307407" y="1705340"/>
                      <a:pt x="303571" y="1707822"/>
                    </a:cubicBezTo>
                    <a:cubicBezTo>
                      <a:pt x="301765" y="1708950"/>
                      <a:pt x="299735" y="1710078"/>
                      <a:pt x="297252" y="1711207"/>
                    </a:cubicBezTo>
                    <a:cubicBezTo>
                      <a:pt x="294770" y="1712335"/>
                      <a:pt x="293416" y="1713237"/>
                      <a:pt x="292063" y="1714140"/>
                    </a:cubicBezTo>
                    <a:cubicBezTo>
                      <a:pt x="289355" y="1716171"/>
                      <a:pt x="287324" y="1717299"/>
                      <a:pt x="280329" y="1716848"/>
                    </a:cubicBezTo>
                    <a:cubicBezTo>
                      <a:pt x="270175" y="1716171"/>
                      <a:pt x="266339" y="1717976"/>
                      <a:pt x="260021" y="1721361"/>
                    </a:cubicBezTo>
                    <a:cubicBezTo>
                      <a:pt x="257087" y="1722940"/>
                      <a:pt x="255057" y="1725197"/>
                      <a:pt x="253026" y="1727453"/>
                    </a:cubicBezTo>
                    <a:cubicBezTo>
                      <a:pt x="250544" y="1730161"/>
                      <a:pt x="248287" y="1732643"/>
                      <a:pt x="244903" y="1733546"/>
                    </a:cubicBezTo>
                    <a:cubicBezTo>
                      <a:pt x="240841" y="1734448"/>
                      <a:pt x="235425" y="1734674"/>
                      <a:pt x="228656" y="1734674"/>
                    </a:cubicBezTo>
                    <a:cubicBezTo>
                      <a:pt x="226174" y="1734674"/>
                      <a:pt x="223466" y="1734674"/>
                      <a:pt x="220758" y="1734899"/>
                    </a:cubicBezTo>
                    <a:cubicBezTo>
                      <a:pt x="209702" y="1735125"/>
                      <a:pt x="202030" y="1731966"/>
                      <a:pt x="196614" y="1724520"/>
                    </a:cubicBezTo>
                    <a:cubicBezTo>
                      <a:pt x="192553" y="1719104"/>
                      <a:pt x="191650" y="1718879"/>
                      <a:pt x="189168" y="1718427"/>
                    </a:cubicBezTo>
                    <a:cubicBezTo>
                      <a:pt x="188717" y="1718427"/>
                      <a:pt x="188265" y="1718202"/>
                      <a:pt x="187814" y="1718202"/>
                    </a:cubicBezTo>
                    <a:cubicBezTo>
                      <a:pt x="184429" y="1717525"/>
                      <a:pt x="175629" y="1715494"/>
                      <a:pt x="164121" y="1717073"/>
                    </a:cubicBezTo>
                    <a:cubicBezTo>
                      <a:pt x="159608" y="1717751"/>
                      <a:pt x="157352" y="1718427"/>
                      <a:pt x="155547" y="1719104"/>
                    </a:cubicBezTo>
                    <a:cubicBezTo>
                      <a:pt x="152613" y="1720007"/>
                      <a:pt x="150808" y="1720458"/>
                      <a:pt x="144264" y="1720007"/>
                    </a:cubicBezTo>
                    <a:cubicBezTo>
                      <a:pt x="141331" y="1719781"/>
                      <a:pt x="138849" y="1719330"/>
                      <a:pt x="136818" y="1719104"/>
                    </a:cubicBezTo>
                    <a:cubicBezTo>
                      <a:pt x="131628" y="1718427"/>
                      <a:pt x="129372" y="1718202"/>
                      <a:pt x="125761" y="1719781"/>
                    </a:cubicBezTo>
                    <a:cubicBezTo>
                      <a:pt x="119669" y="1722489"/>
                      <a:pt x="113802" y="1724069"/>
                      <a:pt x="109289" y="1713463"/>
                    </a:cubicBezTo>
                    <a:cubicBezTo>
                      <a:pt x="107935" y="1713012"/>
                      <a:pt x="107484" y="1712561"/>
                      <a:pt x="107258" y="1712109"/>
                    </a:cubicBezTo>
                    <a:cubicBezTo>
                      <a:pt x="107258" y="1712109"/>
                      <a:pt x="107258" y="1712109"/>
                      <a:pt x="107033" y="1712335"/>
                    </a:cubicBezTo>
                    <a:cubicBezTo>
                      <a:pt x="105905" y="1713914"/>
                      <a:pt x="103197" y="1717525"/>
                      <a:pt x="98233" y="1713914"/>
                    </a:cubicBezTo>
                    <a:cubicBezTo>
                      <a:pt x="95299" y="1711658"/>
                      <a:pt x="93945" y="1709402"/>
                      <a:pt x="93268" y="1708048"/>
                    </a:cubicBezTo>
                    <a:cubicBezTo>
                      <a:pt x="92140" y="1706243"/>
                      <a:pt x="92140" y="1706017"/>
                      <a:pt x="88304" y="1707596"/>
                    </a:cubicBezTo>
                    <a:cubicBezTo>
                      <a:pt x="83114" y="1709853"/>
                      <a:pt x="83566" y="1713914"/>
                      <a:pt x="85145" y="1720458"/>
                    </a:cubicBezTo>
                    <a:cubicBezTo>
                      <a:pt x="85371" y="1721812"/>
                      <a:pt x="85822" y="1723166"/>
                      <a:pt x="86048" y="1724520"/>
                    </a:cubicBezTo>
                    <a:cubicBezTo>
                      <a:pt x="86725" y="1728807"/>
                      <a:pt x="85596" y="1730387"/>
                      <a:pt x="84243" y="1731966"/>
                    </a:cubicBezTo>
                    <a:cubicBezTo>
                      <a:pt x="83566" y="1732643"/>
                      <a:pt x="83114" y="1733320"/>
                      <a:pt x="82889" y="1734448"/>
                    </a:cubicBezTo>
                    <a:cubicBezTo>
                      <a:pt x="82663" y="1735351"/>
                      <a:pt x="82663" y="1736705"/>
                      <a:pt x="82663" y="1737833"/>
                    </a:cubicBezTo>
                    <a:cubicBezTo>
                      <a:pt x="82437" y="1741895"/>
                      <a:pt x="82212" y="1747084"/>
                      <a:pt x="78150" y="1749115"/>
                    </a:cubicBezTo>
                    <a:cubicBezTo>
                      <a:pt x="73863" y="1751146"/>
                      <a:pt x="68447" y="1752951"/>
                      <a:pt x="55811" y="1752951"/>
                    </a:cubicBezTo>
                    <a:cubicBezTo>
                      <a:pt x="46108" y="1752951"/>
                      <a:pt x="44529" y="1752274"/>
                      <a:pt x="40467" y="1750695"/>
                    </a:cubicBezTo>
                    <a:cubicBezTo>
                      <a:pt x="39113" y="1750243"/>
                      <a:pt x="37308" y="1749567"/>
                      <a:pt x="34600" y="1748664"/>
                    </a:cubicBezTo>
                    <a:cubicBezTo>
                      <a:pt x="28734" y="1746859"/>
                      <a:pt x="21062" y="1749115"/>
                      <a:pt x="16549" y="1752500"/>
                    </a:cubicBezTo>
                    <a:cubicBezTo>
                      <a:pt x="14292" y="1754305"/>
                      <a:pt x="12713" y="1756110"/>
                      <a:pt x="12713" y="1757690"/>
                    </a:cubicBezTo>
                    <a:cubicBezTo>
                      <a:pt x="12713" y="1761977"/>
                      <a:pt x="13841" y="1766264"/>
                      <a:pt x="14518" y="1769875"/>
                    </a:cubicBezTo>
                    <a:cubicBezTo>
                      <a:pt x="14969" y="1771454"/>
                      <a:pt x="15195" y="1772808"/>
                      <a:pt x="15420" y="1773936"/>
                    </a:cubicBezTo>
                    <a:cubicBezTo>
                      <a:pt x="15646" y="1775290"/>
                      <a:pt x="16097" y="1775516"/>
                      <a:pt x="16774" y="1776193"/>
                    </a:cubicBezTo>
                    <a:cubicBezTo>
                      <a:pt x="17677" y="1776870"/>
                      <a:pt x="18805" y="1777772"/>
                      <a:pt x="18805" y="1779803"/>
                    </a:cubicBezTo>
                    <a:cubicBezTo>
                      <a:pt x="18805" y="1784090"/>
                      <a:pt x="7974" y="1790634"/>
                      <a:pt x="5266" y="1791537"/>
                    </a:cubicBezTo>
                    <a:cubicBezTo>
                      <a:pt x="4364" y="1791988"/>
                      <a:pt x="3687" y="1793116"/>
                      <a:pt x="3912" y="1794019"/>
                    </a:cubicBezTo>
                    <a:cubicBezTo>
                      <a:pt x="4138" y="1795147"/>
                      <a:pt x="5492" y="1795373"/>
                      <a:pt x="6395" y="1795373"/>
                    </a:cubicBezTo>
                    <a:lnTo>
                      <a:pt x="8425" y="1795373"/>
                    </a:lnTo>
                    <a:cubicBezTo>
                      <a:pt x="12713" y="1795373"/>
                      <a:pt x="19031" y="1795373"/>
                      <a:pt x="20385" y="1794019"/>
                    </a:cubicBezTo>
                    <a:cubicBezTo>
                      <a:pt x="22415" y="1791988"/>
                      <a:pt x="28508" y="1784993"/>
                      <a:pt x="30313" y="1781157"/>
                    </a:cubicBezTo>
                    <a:cubicBezTo>
                      <a:pt x="32570" y="1776193"/>
                      <a:pt x="39565" y="1775742"/>
                      <a:pt x="44303" y="1775516"/>
                    </a:cubicBezTo>
                    <a:lnTo>
                      <a:pt x="44754" y="1775516"/>
                    </a:lnTo>
                    <a:cubicBezTo>
                      <a:pt x="46785" y="1775290"/>
                      <a:pt x="48365" y="1773034"/>
                      <a:pt x="50170" y="1770100"/>
                    </a:cubicBezTo>
                    <a:cubicBezTo>
                      <a:pt x="51073" y="1768746"/>
                      <a:pt x="51975" y="1767167"/>
                      <a:pt x="53103" y="1765813"/>
                    </a:cubicBezTo>
                    <a:cubicBezTo>
                      <a:pt x="55585" y="1762880"/>
                      <a:pt x="60775" y="1762203"/>
                      <a:pt x="65740" y="1761526"/>
                    </a:cubicBezTo>
                    <a:cubicBezTo>
                      <a:pt x="68673" y="1761075"/>
                      <a:pt x="71832" y="1760623"/>
                      <a:pt x="73863" y="1759721"/>
                    </a:cubicBezTo>
                    <a:cubicBezTo>
                      <a:pt x="78827" y="1757464"/>
                      <a:pt x="86048" y="1758141"/>
                      <a:pt x="87853" y="1760849"/>
                    </a:cubicBezTo>
                    <a:cubicBezTo>
                      <a:pt x="88530" y="1761751"/>
                      <a:pt x="88530" y="1763331"/>
                      <a:pt x="87176" y="1764459"/>
                    </a:cubicBezTo>
                    <a:cubicBezTo>
                      <a:pt x="86725" y="1764685"/>
                      <a:pt x="86499" y="1765136"/>
                      <a:pt x="85822" y="1765587"/>
                    </a:cubicBezTo>
                    <a:cubicBezTo>
                      <a:pt x="82663" y="1768521"/>
                      <a:pt x="77022" y="1773936"/>
                      <a:pt x="69801" y="1774613"/>
                    </a:cubicBezTo>
                    <a:cubicBezTo>
                      <a:pt x="65965" y="1774839"/>
                      <a:pt x="65514" y="1775742"/>
                      <a:pt x="64386" y="1777998"/>
                    </a:cubicBezTo>
                    <a:cubicBezTo>
                      <a:pt x="63709" y="1779577"/>
                      <a:pt x="62806" y="1781383"/>
                      <a:pt x="60550" y="1783413"/>
                    </a:cubicBezTo>
                    <a:cubicBezTo>
                      <a:pt x="56488" y="1787249"/>
                      <a:pt x="51298" y="1788378"/>
                      <a:pt x="47011" y="1789280"/>
                    </a:cubicBezTo>
                    <a:cubicBezTo>
                      <a:pt x="45883" y="1789506"/>
                      <a:pt x="44754" y="1789731"/>
                      <a:pt x="43852" y="1789957"/>
                    </a:cubicBezTo>
                    <a:cubicBezTo>
                      <a:pt x="40918" y="1790860"/>
                      <a:pt x="40918" y="1790860"/>
                      <a:pt x="39339" y="1792891"/>
                    </a:cubicBezTo>
                    <a:lnTo>
                      <a:pt x="38211" y="1794245"/>
                    </a:lnTo>
                    <a:cubicBezTo>
                      <a:pt x="36180" y="1796727"/>
                      <a:pt x="35954" y="1800111"/>
                      <a:pt x="37985" y="1806204"/>
                    </a:cubicBezTo>
                    <a:cubicBezTo>
                      <a:pt x="39113" y="1809588"/>
                      <a:pt x="38211" y="1811845"/>
                      <a:pt x="37534" y="1813424"/>
                    </a:cubicBezTo>
                    <a:cubicBezTo>
                      <a:pt x="36857" y="1815230"/>
                      <a:pt x="36631" y="1815907"/>
                      <a:pt x="38211" y="1817937"/>
                    </a:cubicBezTo>
                    <a:cubicBezTo>
                      <a:pt x="40693" y="1820419"/>
                      <a:pt x="43626" y="1823127"/>
                      <a:pt x="45883" y="1825384"/>
                    </a:cubicBezTo>
                    <a:cubicBezTo>
                      <a:pt x="49493" y="1828768"/>
                      <a:pt x="50621" y="1829896"/>
                      <a:pt x="50621" y="1831025"/>
                    </a:cubicBezTo>
                    <a:cubicBezTo>
                      <a:pt x="50621" y="1831702"/>
                      <a:pt x="50396" y="1833056"/>
                      <a:pt x="50396" y="1834410"/>
                    </a:cubicBezTo>
                    <a:cubicBezTo>
                      <a:pt x="50170" y="1835763"/>
                      <a:pt x="50170" y="1837117"/>
                      <a:pt x="50170" y="1837569"/>
                    </a:cubicBezTo>
                    <a:cubicBezTo>
                      <a:pt x="50170" y="1838020"/>
                      <a:pt x="51073" y="1839599"/>
                      <a:pt x="51524" y="1841179"/>
                    </a:cubicBezTo>
                    <a:cubicBezTo>
                      <a:pt x="52426" y="1843661"/>
                      <a:pt x="53780" y="1846594"/>
                      <a:pt x="54457" y="1849302"/>
                    </a:cubicBezTo>
                    <a:cubicBezTo>
                      <a:pt x="55585" y="1853589"/>
                      <a:pt x="60550" y="1860584"/>
                      <a:pt x="64837" y="1863292"/>
                    </a:cubicBezTo>
                    <a:cubicBezTo>
                      <a:pt x="66868" y="1864646"/>
                      <a:pt x="69124" y="1866451"/>
                      <a:pt x="71832" y="1868708"/>
                    </a:cubicBezTo>
                    <a:cubicBezTo>
                      <a:pt x="75442" y="1871641"/>
                      <a:pt x="79730" y="1875251"/>
                      <a:pt x="85822" y="1879313"/>
                    </a:cubicBezTo>
                    <a:cubicBezTo>
                      <a:pt x="88079" y="1880667"/>
                      <a:pt x="90335" y="1882246"/>
                      <a:pt x="92817" y="1883826"/>
                    </a:cubicBezTo>
                    <a:cubicBezTo>
                      <a:pt x="102971" y="1890370"/>
                      <a:pt x="114479" y="1897816"/>
                      <a:pt x="121925" y="1903909"/>
                    </a:cubicBezTo>
                    <a:cubicBezTo>
                      <a:pt x="130500" y="1910904"/>
                      <a:pt x="130726" y="1910904"/>
                      <a:pt x="138172" y="1909324"/>
                    </a:cubicBezTo>
                    <a:cubicBezTo>
                      <a:pt x="143362" y="1908196"/>
                      <a:pt x="150582" y="1909324"/>
                      <a:pt x="157803" y="1910227"/>
                    </a:cubicBezTo>
                    <a:cubicBezTo>
                      <a:pt x="162542" y="1910904"/>
                      <a:pt x="166829" y="1911580"/>
                      <a:pt x="170439" y="1911580"/>
                    </a:cubicBezTo>
                    <a:cubicBezTo>
                      <a:pt x="174275" y="1911580"/>
                      <a:pt x="177434" y="1912257"/>
                      <a:pt x="179916" y="1912934"/>
                    </a:cubicBezTo>
                    <a:cubicBezTo>
                      <a:pt x="183752" y="1913837"/>
                      <a:pt x="184881" y="1914063"/>
                      <a:pt x="186009" y="1912709"/>
                    </a:cubicBezTo>
                    <a:cubicBezTo>
                      <a:pt x="188491" y="1909775"/>
                      <a:pt x="191199" y="1909550"/>
                      <a:pt x="193907" y="1909098"/>
                    </a:cubicBezTo>
                    <a:cubicBezTo>
                      <a:pt x="195712" y="1908873"/>
                      <a:pt x="197743" y="1908647"/>
                      <a:pt x="199999" y="1907744"/>
                    </a:cubicBezTo>
                    <a:cubicBezTo>
                      <a:pt x="206091" y="1905037"/>
                      <a:pt x="211733" y="1903231"/>
                      <a:pt x="222564" y="1903231"/>
                    </a:cubicBezTo>
                    <a:cubicBezTo>
                      <a:pt x="229784" y="1903231"/>
                      <a:pt x="230687" y="1901426"/>
                      <a:pt x="232041" y="1898719"/>
                    </a:cubicBezTo>
                    <a:cubicBezTo>
                      <a:pt x="232492" y="1898042"/>
                      <a:pt x="232718" y="1897365"/>
                      <a:pt x="233169" y="1896462"/>
                    </a:cubicBezTo>
                    <a:cubicBezTo>
                      <a:pt x="235200" y="1893077"/>
                      <a:pt x="238584" y="1893303"/>
                      <a:pt x="241744" y="1893303"/>
                    </a:cubicBezTo>
                    <a:cubicBezTo>
                      <a:pt x="243323" y="1893303"/>
                      <a:pt x="245128" y="1893529"/>
                      <a:pt x="247159" y="1893077"/>
                    </a:cubicBezTo>
                    <a:cubicBezTo>
                      <a:pt x="247836" y="1893303"/>
                      <a:pt x="248062" y="1893077"/>
                      <a:pt x="248062" y="1893077"/>
                    </a:cubicBezTo>
                    <a:cubicBezTo>
                      <a:pt x="248739" y="1892175"/>
                      <a:pt x="248062" y="1889467"/>
                      <a:pt x="247610" y="1887211"/>
                    </a:cubicBezTo>
                    <a:cubicBezTo>
                      <a:pt x="247159" y="1884954"/>
                      <a:pt x="246482" y="1882698"/>
                      <a:pt x="246708" y="1880667"/>
                    </a:cubicBezTo>
                    <a:cubicBezTo>
                      <a:pt x="247159" y="1875251"/>
                      <a:pt x="252123" y="1870287"/>
                      <a:pt x="263180" y="1864195"/>
                    </a:cubicBezTo>
                    <a:cubicBezTo>
                      <a:pt x="271078" y="1859907"/>
                      <a:pt x="274462" y="1862390"/>
                      <a:pt x="277621" y="1864646"/>
                    </a:cubicBezTo>
                    <a:cubicBezTo>
                      <a:pt x="278750" y="1865549"/>
                      <a:pt x="279878" y="1866226"/>
                      <a:pt x="281232" y="1866902"/>
                    </a:cubicBezTo>
                    <a:cubicBezTo>
                      <a:pt x="286873" y="1869159"/>
                      <a:pt x="292288" y="1870964"/>
                      <a:pt x="296350" y="1871867"/>
                    </a:cubicBezTo>
                    <a:cubicBezTo>
                      <a:pt x="299735" y="1872544"/>
                      <a:pt x="302217" y="1871641"/>
                      <a:pt x="309437" y="1866902"/>
                    </a:cubicBezTo>
                    <a:cubicBezTo>
                      <a:pt x="313273" y="1864420"/>
                      <a:pt x="315755" y="1865097"/>
                      <a:pt x="317335" y="1866226"/>
                    </a:cubicBezTo>
                    <a:cubicBezTo>
                      <a:pt x="320720" y="1868482"/>
                      <a:pt x="321171" y="1873898"/>
                      <a:pt x="320720" y="1876380"/>
                    </a:cubicBezTo>
                    <a:cubicBezTo>
                      <a:pt x="320268" y="1879539"/>
                      <a:pt x="315079" y="1883826"/>
                      <a:pt x="304699" y="1891047"/>
                    </a:cubicBezTo>
                    <a:lnTo>
                      <a:pt x="302442" y="1892626"/>
                    </a:lnTo>
                    <a:cubicBezTo>
                      <a:pt x="299735" y="1894657"/>
                      <a:pt x="297704" y="1895108"/>
                      <a:pt x="296124" y="1895560"/>
                    </a:cubicBezTo>
                    <a:cubicBezTo>
                      <a:pt x="294770" y="1896011"/>
                      <a:pt x="294093" y="1896011"/>
                      <a:pt x="293642" y="1897139"/>
                    </a:cubicBezTo>
                    <a:cubicBezTo>
                      <a:pt x="293191" y="1897816"/>
                      <a:pt x="292965" y="1899396"/>
                      <a:pt x="292514" y="1900975"/>
                    </a:cubicBezTo>
                    <a:cubicBezTo>
                      <a:pt x="291837" y="1904811"/>
                      <a:pt x="290709" y="1910227"/>
                      <a:pt x="285519" y="1912032"/>
                    </a:cubicBezTo>
                    <a:cubicBezTo>
                      <a:pt x="283262" y="1912934"/>
                      <a:pt x="281232" y="1915191"/>
                      <a:pt x="279426" y="1917222"/>
                    </a:cubicBezTo>
                    <a:cubicBezTo>
                      <a:pt x="276944" y="1920155"/>
                      <a:pt x="274011" y="1923314"/>
                      <a:pt x="270175" y="1921283"/>
                    </a:cubicBezTo>
                    <a:cubicBezTo>
                      <a:pt x="268144" y="1920155"/>
                      <a:pt x="267467" y="1918124"/>
                      <a:pt x="267242" y="1916093"/>
                    </a:cubicBezTo>
                    <a:cubicBezTo>
                      <a:pt x="265436" y="1919478"/>
                      <a:pt x="262954" y="1924217"/>
                      <a:pt x="260247" y="1929181"/>
                    </a:cubicBezTo>
                    <a:cubicBezTo>
                      <a:pt x="255959" y="1937304"/>
                      <a:pt x="251221" y="1946330"/>
                      <a:pt x="247159" y="1953099"/>
                    </a:cubicBezTo>
                    <a:cubicBezTo>
                      <a:pt x="243549" y="1959192"/>
                      <a:pt x="239938" y="1962351"/>
                      <a:pt x="236102" y="1962576"/>
                    </a:cubicBezTo>
                    <a:cubicBezTo>
                      <a:pt x="231364" y="1962802"/>
                      <a:pt x="227302" y="1958741"/>
                      <a:pt x="224820" y="1955581"/>
                    </a:cubicBezTo>
                    <a:cubicBezTo>
                      <a:pt x="222112" y="1952197"/>
                      <a:pt x="220984" y="1951745"/>
                      <a:pt x="220758" y="1951520"/>
                    </a:cubicBezTo>
                    <a:cubicBezTo>
                      <a:pt x="220758" y="1951520"/>
                      <a:pt x="220307" y="1951971"/>
                      <a:pt x="219856" y="1952197"/>
                    </a:cubicBezTo>
                    <a:cubicBezTo>
                      <a:pt x="219179" y="1952874"/>
                      <a:pt x="218051" y="1953776"/>
                      <a:pt x="216697" y="1954453"/>
                    </a:cubicBezTo>
                    <a:cubicBezTo>
                      <a:pt x="215569" y="1955130"/>
                      <a:pt x="214666" y="1956935"/>
                      <a:pt x="213989" y="1958966"/>
                    </a:cubicBezTo>
                    <a:cubicBezTo>
                      <a:pt x="212635" y="1962576"/>
                      <a:pt x="210604" y="1967766"/>
                      <a:pt x="204061" y="1967315"/>
                    </a:cubicBezTo>
                    <a:cubicBezTo>
                      <a:pt x="201127" y="1967541"/>
                      <a:pt x="200676" y="1968443"/>
                      <a:pt x="200225" y="1969571"/>
                    </a:cubicBezTo>
                    <a:cubicBezTo>
                      <a:pt x="199548" y="1970700"/>
                      <a:pt x="198645" y="1972505"/>
                      <a:pt x="195486" y="1972956"/>
                    </a:cubicBezTo>
                    <a:cubicBezTo>
                      <a:pt x="192327" y="1973633"/>
                      <a:pt x="190296" y="1971828"/>
                      <a:pt x="188491" y="1970248"/>
                    </a:cubicBezTo>
                    <a:cubicBezTo>
                      <a:pt x="186460" y="1968669"/>
                      <a:pt x="184655" y="1967089"/>
                      <a:pt x="180819" y="1967315"/>
                    </a:cubicBezTo>
                    <a:cubicBezTo>
                      <a:pt x="179691" y="1967315"/>
                      <a:pt x="179240" y="1967766"/>
                      <a:pt x="179014" y="1967766"/>
                    </a:cubicBezTo>
                    <a:cubicBezTo>
                      <a:pt x="178788" y="1968218"/>
                      <a:pt x="179465" y="1970248"/>
                      <a:pt x="179916" y="1971151"/>
                    </a:cubicBezTo>
                    <a:cubicBezTo>
                      <a:pt x="180593" y="1973182"/>
                      <a:pt x="181270" y="1974987"/>
                      <a:pt x="180593" y="1976566"/>
                    </a:cubicBezTo>
                    <a:cubicBezTo>
                      <a:pt x="180368" y="1977244"/>
                      <a:pt x="179691" y="1977920"/>
                      <a:pt x="178337" y="1978146"/>
                    </a:cubicBezTo>
                    <a:cubicBezTo>
                      <a:pt x="176080" y="1978597"/>
                      <a:pt x="174275" y="1978372"/>
                      <a:pt x="172245" y="1977920"/>
                    </a:cubicBezTo>
                    <a:cubicBezTo>
                      <a:pt x="169988" y="1977469"/>
                      <a:pt x="166829" y="1977018"/>
                      <a:pt x="161188" y="1977244"/>
                    </a:cubicBezTo>
                    <a:cubicBezTo>
                      <a:pt x="157803" y="1977469"/>
                      <a:pt x="156901" y="1977920"/>
                      <a:pt x="156675" y="1977920"/>
                    </a:cubicBezTo>
                    <a:cubicBezTo>
                      <a:pt x="156675" y="1977695"/>
                      <a:pt x="156675" y="1978146"/>
                      <a:pt x="156675" y="1978372"/>
                    </a:cubicBezTo>
                    <a:cubicBezTo>
                      <a:pt x="156675" y="1979725"/>
                      <a:pt x="156901" y="1981982"/>
                      <a:pt x="153290" y="1983787"/>
                    </a:cubicBezTo>
                    <a:cubicBezTo>
                      <a:pt x="150582" y="1985141"/>
                      <a:pt x="148326" y="1985367"/>
                      <a:pt x="146747" y="1984464"/>
                    </a:cubicBezTo>
                    <a:cubicBezTo>
                      <a:pt x="146070" y="1984013"/>
                      <a:pt x="145618" y="1983562"/>
                      <a:pt x="145393" y="1983110"/>
                    </a:cubicBezTo>
                    <a:cubicBezTo>
                      <a:pt x="142459" y="1983336"/>
                      <a:pt x="136141" y="1984239"/>
                      <a:pt x="132080" y="1984239"/>
                    </a:cubicBezTo>
                    <a:cubicBezTo>
                      <a:pt x="128695" y="1984239"/>
                      <a:pt x="125761" y="1986044"/>
                      <a:pt x="122828" y="1987849"/>
                    </a:cubicBezTo>
                    <a:cubicBezTo>
                      <a:pt x="121925" y="1988526"/>
                      <a:pt x="120797" y="1988977"/>
                      <a:pt x="119895" y="1989654"/>
                    </a:cubicBezTo>
                    <a:cubicBezTo>
                      <a:pt x="116961" y="1991233"/>
                      <a:pt x="113802" y="1991233"/>
                      <a:pt x="111546" y="1989880"/>
                    </a:cubicBezTo>
                    <a:cubicBezTo>
                      <a:pt x="109515" y="1988751"/>
                      <a:pt x="108161" y="1986495"/>
                      <a:pt x="108161" y="1983787"/>
                    </a:cubicBezTo>
                    <a:cubicBezTo>
                      <a:pt x="108161" y="1981305"/>
                      <a:pt x="109289" y="1978597"/>
                      <a:pt x="110643" y="1975664"/>
                    </a:cubicBezTo>
                    <a:cubicBezTo>
                      <a:pt x="111997" y="1972731"/>
                      <a:pt x="113577" y="1969346"/>
                      <a:pt x="112900" y="1967315"/>
                    </a:cubicBezTo>
                    <a:cubicBezTo>
                      <a:pt x="112674" y="1966638"/>
                      <a:pt x="112448" y="1966412"/>
                      <a:pt x="112448" y="1966412"/>
                    </a:cubicBezTo>
                    <a:cubicBezTo>
                      <a:pt x="112448" y="1966412"/>
                      <a:pt x="111546" y="1966864"/>
                      <a:pt x="111094" y="1967089"/>
                    </a:cubicBezTo>
                    <a:cubicBezTo>
                      <a:pt x="109966" y="1967541"/>
                      <a:pt x="108387" y="1968218"/>
                      <a:pt x="106581" y="1968218"/>
                    </a:cubicBezTo>
                    <a:cubicBezTo>
                      <a:pt x="105679" y="1968218"/>
                      <a:pt x="105002" y="1967992"/>
                      <a:pt x="104551" y="1967315"/>
                    </a:cubicBezTo>
                    <a:cubicBezTo>
                      <a:pt x="102971" y="1965736"/>
                      <a:pt x="102971" y="1962802"/>
                      <a:pt x="102971" y="1959192"/>
                    </a:cubicBezTo>
                    <a:cubicBezTo>
                      <a:pt x="102971" y="1958063"/>
                      <a:pt x="102971" y="1956258"/>
                      <a:pt x="102745" y="1955130"/>
                    </a:cubicBezTo>
                    <a:cubicBezTo>
                      <a:pt x="97556" y="1958966"/>
                      <a:pt x="90786" y="1966638"/>
                      <a:pt x="90109" y="1972279"/>
                    </a:cubicBezTo>
                    <a:cubicBezTo>
                      <a:pt x="89207" y="1979049"/>
                      <a:pt x="89658" y="1983562"/>
                      <a:pt x="94171" y="1992362"/>
                    </a:cubicBezTo>
                    <a:cubicBezTo>
                      <a:pt x="98910" y="2001388"/>
                      <a:pt x="119669" y="2028239"/>
                      <a:pt x="146521" y="2054866"/>
                    </a:cubicBezTo>
                    <a:cubicBezTo>
                      <a:pt x="165926" y="2074271"/>
                      <a:pt x="174050" y="2085328"/>
                      <a:pt x="181947" y="2095933"/>
                    </a:cubicBezTo>
                    <a:cubicBezTo>
                      <a:pt x="185106" y="2100221"/>
                      <a:pt x="188040" y="2104282"/>
                      <a:pt x="191650" y="2108795"/>
                    </a:cubicBezTo>
                    <a:cubicBezTo>
                      <a:pt x="197291" y="2115790"/>
                      <a:pt x="201353" y="2121431"/>
                      <a:pt x="205189" y="2126621"/>
                    </a:cubicBezTo>
                    <a:cubicBezTo>
                      <a:pt x="209927" y="2132939"/>
                      <a:pt x="214215" y="2139032"/>
                      <a:pt x="220758" y="2146252"/>
                    </a:cubicBezTo>
                    <a:cubicBezTo>
                      <a:pt x="232041" y="2158889"/>
                      <a:pt x="248964" y="2176940"/>
                      <a:pt x="264534" y="2185741"/>
                    </a:cubicBezTo>
                    <a:cubicBezTo>
                      <a:pt x="270626" y="2189125"/>
                      <a:pt x="273334" y="2191833"/>
                      <a:pt x="275590" y="2193864"/>
                    </a:cubicBezTo>
                    <a:cubicBezTo>
                      <a:pt x="279201" y="2197023"/>
                      <a:pt x="281457" y="2199054"/>
                      <a:pt x="294545" y="2202664"/>
                    </a:cubicBezTo>
                    <a:cubicBezTo>
                      <a:pt x="298155" y="2203567"/>
                      <a:pt x="301088" y="2204469"/>
                      <a:pt x="303571" y="2205146"/>
                    </a:cubicBezTo>
                    <a:cubicBezTo>
                      <a:pt x="308760" y="2206500"/>
                      <a:pt x="313048" y="2207628"/>
                      <a:pt x="314402" y="2207628"/>
                    </a:cubicBezTo>
                    <a:cubicBezTo>
                      <a:pt x="314402" y="2207177"/>
                      <a:pt x="314402" y="2206049"/>
                      <a:pt x="314402" y="2205597"/>
                    </a:cubicBezTo>
                    <a:cubicBezTo>
                      <a:pt x="314176" y="2204018"/>
                      <a:pt x="314853" y="2202890"/>
                      <a:pt x="315530" y="2202438"/>
                    </a:cubicBezTo>
                    <a:cubicBezTo>
                      <a:pt x="317335" y="2200408"/>
                      <a:pt x="320945" y="2200633"/>
                      <a:pt x="325910" y="2201084"/>
                    </a:cubicBezTo>
                    <a:cubicBezTo>
                      <a:pt x="330648" y="2201310"/>
                      <a:pt x="336741" y="2201761"/>
                      <a:pt x="341028" y="2199730"/>
                    </a:cubicBezTo>
                    <a:cubicBezTo>
                      <a:pt x="346218" y="2197249"/>
                      <a:pt x="350731" y="2196571"/>
                      <a:pt x="354341" y="2196120"/>
                    </a:cubicBezTo>
                    <a:cubicBezTo>
                      <a:pt x="357951" y="2195669"/>
                      <a:pt x="361110" y="2195218"/>
                      <a:pt x="364721" y="2193187"/>
                    </a:cubicBezTo>
                    <a:cubicBezTo>
                      <a:pt x="367654" y="2191607"/>
                      <a:pt x="371716" y="2190253"/>
                      <a:pt x="376003" y="2188674"/>
                    </a:cubicBezTo>
                    <a:cubicBezTo>
                      <a:pt x="383224" y="2186192"/>
                      <a:pt x="391573" y="2183258"/>
                      <a:pt x="397891" y="2178294"/>
                    </a:cubicBezTo>
                    <a:cubicBezTo>
                      <a:pt x="404209" y="2173330"/>
                      <a:pt x="407368" y="2173781"/>
                      <a:pt x="410978" y="2174909"/>
                    </a:cubicBezTo>
                    <a:cubicBezTo>
                      <a:pt x="412783" y="2175361"/>
                      <a:pt x="414363" y="2175812"/>
                      <a:pt x="417071" y="2174684"/>
                    </a:cubicBezTo>
                    <a:cubicBezTo>
                      <a:pt x="419778" y="2173556"/>
                      <a:pt x="425194" y="2171074"/>
                      <a:pt x="431512" y="2168140"/>
                    </a:cubicBezTo>
                    <a:cubicBezTo>
                      <a:pt x="443471" y="2162725"/>
                      <a:pt x="458364" y="2155730"/>
                      <a:pt x="464908" y="2153699"/>
                    </a:cubicBezTo>
                    <a:cubicBezTo>
                      <a:pt x="469420" y="2152345"/>
                      <a:pt x="471903" y="2150765"/>
                      <a:pt x="472580" y="2149186"/>
                    </a:cubicBezTo>
                    <a:cubicBezTo>
                      <a:pt x="472805" y="2148509"/>
                      <a:pt x="473031" y="2147381"/>
                      <a:pt x="471677" y="2144447"/>
                    </a:cubicBezTo>
                    <a:cubicBezTo>
                      <a:pt x="468744" y="2139032"/>
                      <a:pt x="473031" y="2135647"/>
                      <a:pt x="476867" y="2132714"/>
                    </a:cubicBezTo>
                    <a:cubicBezTo>
                      <a:pt x="477995" y="2131811"/>
                      <a:pt x="479349" y="2130909"/>
                      <a:pt x="480477" y="2129780"/>
                    </a:cubicBezTo>
                    <a:cubicBezTo>
                      <a:pt x="481380" y="2129103"/>
                      <a:pt x="482282" y="2128201"/>
                      <a:pt x="483185" y="2127298"/>
                    </a:cubicBezTo>
                    <a:cubicBezTo>
                      <a:pt x="487923" y="2123236"/>
                      <a:pt x="493565" y="2118047"/>
                      <a:pt x="497852" y="2107667"/>
                    </a:cubicBezTo>
                    <a:cubicBezTo>
                      <a:pt x="503042" y="2095031"/>
                      <a:pt x="500108" y="2092549"/>
                      <a:pt x="494693" y="2090067"/>
                    </a:cubicBezTo>
                    <a:cubicBezTo>
                      <a:pt x="489954" y="2087810"/>
                      <a:pt x="489277" y="2085779"/>
                      <a:pt x="489052" y="2082620"/>
                    </a:cubicBezTo>
                    <a:cubicBezTo>
                      <a:pt x="488826" y="2081041"/>
                      <a:pt x="488826" y="2079461"/>
                      <a:pt x="487472" y="2076979"/>
                    </a:cubicBezTo>
                    <a:cubicBezTo>
                      <a:pt x="485667" y="2073369"/>
                      <a:pt x="484539" y="2073820"/>
                      <a:pt x="481154" y="2074271"/>
                    </a:cubicBezTo>
                    <a:cubicBezTo>
                      <a:pt x="479575" y="2074497"/>
                      <a:pt x="477769" y="2074948"/>
                      <a:pt x="475739" y="2074723"/>
                    </a:cubicBezTo>
                    <a:cubicBezTo>
                      <a:pt x="471903" y="2074497"/>
                      <a:pt x="468518" y="2071112"/>
                      <a:pt x="466938" y="2067953"/>
                    </a:cubicBezTo>
                    <a:cubicBezTo>
                      <a:pt x="466261" y="2066599"/>
                      <a:pt x="465133" y="2063666"/>
                      <a:pt x="466487" y="2061861"/>
                    </a:cubicBezTo>
                    <a:cubicBezTo>
                      <a:pt x="466938" y="2061184"/>
                      <a:pt x="467841" y="2060281"/>
                      <a:pt x="469646" y="2060507"/>
                    </a:cubicBezTo>
                    <a:cubicBezTo>
                      <a:pt x="475287" y="2060958"/>
                      <a:pt x="481831" y="2059830"/>
                      <a:pt x="483185" y="2058250"/>
                    </a:cubicBezTo>
                    <a:cubicBezTo>
                      <a:pt x="483185" y="2057799"/>
                      <a:pt x="482508" y="2056671"/>
                      <a:pt x="482057" y="2055994"/>
                    </a:cubicBezTo>
                    <a:cubicBezTo>
                      <a:pt x="480928" y="2053963"/>
                      <a:pt x="479123" y="2051255"/>
                      <a:pt x="479123" y="2047645"/>
                    </a:cubicBezTo>
                    <a:cubicBezTo>
                      <a:pt x="479123" y="2042455"/>
                      <a:pt x="482734" y="2041553"/>
                      <a:pt x="484990" y="2041101"/>
                    </a:cubicBezTo>
                    <a:cubicBezTo>
                      <a:pt x="486570" y="2040650"/>
                      <a:pt x="487698" y="2040424"/>
                      <a:pt x="488149" y="2039522"/>
                    </a:cubicBezTo>
                    <a:cubicBezTo>
                      <a:pt x="491083" y="2035009"/>
                      <a:pt x="493565" y="2032076"/>
                      <a:pt x="496498" y="2030045"/>
                    </a:cubicBezTo>
                    <a:cubicBezTo>
                      <a:pt x="498754" y="2028239"/>
                      <a:pt x="501688" y="2025983"/>
                      <a:pt x="501688" y="2017409"/>
                    </a:cubicBezTo>
                    <a:cubicBezTo>
                      <a:pt x="501688" y="2007029"/>
                      <a:pt x="511616" y="1999131"/>
                      <a:pt x="516806" y="1999131"/>
                    </a:cubicBezTo>
                    <a:cubicBezTo>
                      <a:pt x="519288" y="1999131"/>
                      <a:pt x="521319" y="2000259"/>
                      <a:pt x="522447" y="2002516"/>
                    </a:cubicBezTo>
                    <a:cubicBezTo>
                      <a:pt x="523350" y="2004547"/>
                      <a:pt x="523350" y="2006803"/>
                      <a:pt x="522222" y="2008157"/>
                    </a:cubicBezTo>
                    <a:cubicBezTo>
                      <a:pt x="521996" y="2008608"/>
                      <a:pt x="521319" y="2010639"/>
                      <a:pt x="521770" y="2012219"/>
                    </a:cubicBezTo>
                    <a:cubicBezTo>
                      <a:pt x="522222" y="2013347"/>
                      <a:pt x="522899" y="2013798"/>
                      <a:pt x="524027" y="2014249"/>
                    </a:cubicBezTo>
                    <a:cubicBezTo>
                      <a:pt x="525155" y="2014475"/>
                      <a:pt x="525832" y="2014701"/>
                      <a:pt x="526509" y="2014926"/>
                    </a:cubicBezTo>
                    <a:cubicBezTo>
                      <a:pt x="526735" y="2014701"/>
                      <a:pt x="526735" y="2014475"/>
                      <a:pt x="526960" y="2014024"/>
                    </a:cubicBezTo>
                    <a:lnTo>
                      <a:pt x="527186" y="2013572"/>
                    </a:lnTo>
                    <a:cubicBezTo>
                      <a:pt x="529217" y="2009962"/>
                      <a:pt x="530119" y="2009060"/>
                      <a:pt x="536663" y="2008608"/>
                    </a:cubicBezTo>
                    <a:cubicBezTo>
                      <a:pt x="540048" y="2008383"/>
                      <a:pt x="544786" y="2008608"/>
                      <a:pt x="550202" y="2008834"/>
                    </a:cubicBezTo>
                    <a:cubicBezTo>
                      <a:pt x="554715" y="2009060"/>
                      <a:pt x="559679" y="2009285"/>
                      <a:pt x="564418" y="2009285"/>
                    </a:cubicBezTo>
                    <a:cubicBezTo>
                      <a:pt x="583146" y="2009285"/>
                      <a:pt x="584049" y="2011542"/>
                      <a:pt x="584274" y="2012670"/>
                    </a:cubicBezTo>
                    <a:cubicBezTo>
                      <a:pt x="584500" y="2013121"/>
                      <a:pt x="584726" y="2014249"/>
                      <a:pt x="583372" y="2015378"/>
                    </a:cubicBezTo>
                    <a:cubicBezTo>
                      <a:pt x="582921" y="2015829"/>
                      <a:pt x="582018" y="2017634"/>
                      <a:pt x="581115" y="2018988"/>
                    </a:cubicBezTo>
                    <a:cubicBezTo>
                      <a:pt x="579310" y="2023275"/>
                      <a:pt x="576602" y="2028465"/>
                      <a:pt x="572089" y="2028465"/>
                    </a:cubicBezTo>
                    <a:cubicBezTo>
                      <a:pt x="569156" y="2028465"/>
                      <a:pt x="564643" y="2026886"/>
                      <a:pt x="560130" y="2025306"/>
                    </a:cubicBezTo>
                    <a:cubicBezTo>
                      <a:pt x="556294" y="2023952"/>
                      <a:pt x="552458" y="2022598"/>
                      <a:pt x="549976" y="2022373"/>
                    </a:cubicBezTo>
                    <a:cubicBezTo>
                      <a:pt x="549074" y="2022373"/>
                      <a:pt x="548397" y="2022598"/>
                      <a:pt x="547494" y="2023501"/>
                    </a:cubicBezTo>
                    <a:cubicBezTo>
                      <a:pt x="544786" y="2025983"/>
                      <a:pt x="542530" y="2032527"/>
                      <a:pt x="542530" y="2038394"/>
                    </a:cubicBezTo>
                    <a:cubicBezTo>
                      <a:pt x="542530" y="2043358"/>
                      <a:pt x="543432" y="2047419"/>
                      <a:pt x="544335" y="2048999"/>
                    </a:cubicBezTo>
                    <a:cubicBezTo>
                      <a:pt x="547494" y="2046517"/>
                      <a:pt x="554489" y="2045389"/>
                      <a:pt x="562161" y="2046291"/>
                    </a:cubicBezTo>
                    <a:cubicBezTo>
                      <a:pt x="565771" y="2046742"/>
                      <a:pt x="567802" y="2047871"/>
                      <a:pt x="568479" y="2050127"/>
                    </a:cubicBezTo>
                    <a:cubicBezTo>
                      <a:pt x="569156" y="2052609"/>
                      <a:pt x="567351" y="2055768"/>
                      <a:pt x="563064" y="2059153"/>
                    </a:cubicBezTo>
                    <a:cubicBezTo>
                      <a:pt x="558551" y="2062763"/>
                      <a:pt x="556069" y="2062538"/>
                      <a:pt x="553135" y="2062538"/>
                    </a:cubicBezTo>
                    <a:cubicBezTo>
                      <a:pt x="552458" y="2062538"/>
                      <a:pt x="551781" y="2062538"/>
                      <a:pt x="551104" y="2062538"/>
                    </a:cubicBezTo>
                    <a:cubicBezTo>
                      <a:pt x="549525" y="2063215"/>
                      <a:pt x="547268" y="2071338"/>
                      <a:pt x="545915" y="2075851"/>
                    </a:cubicBezTo>
                    <a:cubicBezTo>
                      <a:pt x="544786" y="2079461"/>
                      <a:pt x="543884" y="2082846"/>
                      <a:pt x="542981" y="2085102"/>
                    </a:cubicBezTo>
                    <a:cubicBezTo>
                      <a:pt x="542079" y="2087133"/>
                      <a:pt x="542304" y="2087810"/>
                      <a:pt x="542304" y="2088036"/>
                    </a:cubicBezTo>
                    <a:cubicBezTo>
                      <a:pt x="543207" y="2089615"/>
                      <a:pt x="552007" y="2089841"/>
                      <a:pt x="556746" y="2090067"/>
                    </a:cubicBezTo>
                    <a:cubicBezTo>
                      <a:pt x="564418" y="2090292"/>
                      <a:pt x="567802" y="2091195"/>
                      <a:pt x="569156" y="2093451"/>
                    </a:cubicBezTo>
                    <a:cubicBezTo>
                      <a:pt x="570510" y="2095256"/>
                      <a:pt x="569607" y="2097513"/>
                      <a:pt x="568930" y="2099318"/>
                    </a:cubicBezTo>
                    <a:cubicBezTo>
                      <a:pt x="568705" y="2099769"/>
                      <a:pt x="568479" y="2100446"/>
                      <a:pt x="568254" y="2101123"/>
                    </a:cubicBezTo>
                    <a:cubicBezTo>
                      <a:pt x="566900" y="2105862"/>
                      <a:pt x="560807" y="2109247"/>
                      <a:pt x="555843" y="2111954"/>
                    </a:cubicBezTo>
                    <a:cubicBezTo>
                      <a:pt x="554940" y="2112406"/>
                      <a:pt x="554038" y="2112857"/>
                      <a:pt x="553361" y="2113308"/>
                    </a:cubicBezTo>
                    <a:cubicBezTo>
                      <a:pt x="552684" y="2113759"/>
                      <a:pt x="553586" y="2115339"/>
                      <a:pt x="554489" y="2117595"/>
                    </a:cubicBezTo>
                    <a:cubicBezTo>
                      <a:pt x="555617" y="2120077"/>
                      <a:pt x="556971" y="2123011"/>
                      <a:pt x="556069" y="2125719"/>
                    </a:cubicBezTo>
                    <a:cubicBezTo>
                      <a:pt x="555617" y="2127073"/>
                      <a:pt x="554489" y="2128201"/>
                      <a:pt x="552684" y="2128878"/>
                    </a:cubicBezTo>
                    <a:cubicBezTo>
                      <a:pt x="549074" y="2130457"/>
                      <a:pt x="548171" y="2133842"/>
                      <a:pt x="546817" y="2139709"/>
                    </a:cubicBezTo>
                    <a:cubicBezTo>
                      <a:pt x="546140" y="2143093"/>
                      <a:pt x="545238" y="2146929"/>
                      <a:pt x="543432" y="2150991"/>
                    </a:cubicBezTo>
                    <a:cubicBezTo>
                      <a:pt x="542530" y="2153022"/>
                      <a:pt x="542304" y="2154376"/>
                      <a:pt x="542755" y="2155504"/>
                    </a:cubicBezTo>
                    <a:cubicBezTo>
                      <a:pt x="543658" y="2157535"/>
                      <a:pt x="547494" y="2158889"/>
                      <a:pt x="551781" y="2160468"/>
                    </a:cubicBezTo>
                    <a:cubicBezTo>
                      <a:pt x="554715" y="2161371"/>
                      <a:pt x="558099" y="2162499"/>
                      <a:pt x="561258" y="2164304"/>
                    </a:cubicBezTo>
                    <a:cubicBezTo>
                      <a:pt x="573669" y="2170397"/>
                      <a:pt x="570059" y="2182130"/>
                      <a:pt x="568479" y="2187094"/>
                    </a:cubicBezTo>
                    <a:lnTo>
                      <a:pt x="568254" y="2187546"/>
                    </a:lnTo>
                    <a:cubicBezTo>
                      <a:pt x="567125" y="2191382"/>
                      <a:pt x="568028" y="2192961"/>
                      <a:pt x="574120" y="2201987"/>
                    </a:cubicBezTo>
                    <a:cubicBezTo>
                      <a:pt x="580890" y="2211915"/>
                      <a:pt x="577054" y="2218008"/>
                      <a:pt x="572992" y="2222972"/>
                    </a:cubicBezTo>
                    <a:cubicBezTo>
                      <a:pt x="570736" y="2225680"/>
                      <a:pt x="571413" y="2231547"/>
                      <a:pt x="571864" y="2236962"/>
                    </a:cubicBezTo>
                    <a:cubicBezTo>
                      <a:pt x="572089" y="2239670"/>
                      <a:pt x="572315" y="2242378"/>
                      <a:pt x="572315" y="2244860"/>
                    </a:cubicBezTo>
                    <a:cubicBezTo>
                      <a:pt x="572315" y="2250727"/>
                      <a:pt x="568254" y="2257270"/>
                      <a:pt x="564643" y="2263137"/>
                    </a:cubicBezTo>
                    <a:cubicBezTo>
                      <a:pt x="562838" y="2265845"/>
                      <a:pt x="561258" y="2268553"/>
                      <a:pt x="560356" y="2270584"/>
                    </a:cubicBezTo>
                    <a:cubicBezTo>
                      <a:pt x="559228" y="2273291"/>
                      <a:pt x="559453" y="2279384"/>
                      <a:pt x="559679" y="2285025"/>
                    </a:cubicBezTo>
                    <a:cubicBezTo>
                      <a:pt x="560130" y="2293825"/>
                      <a:pt x="560130" y="2299015"/>
                      <a:pt x="557422" y="2300820"/>
                    </a:cubicBezTo>
                    <a:cubicBezTo>
                      <a:pt x="556520" y="2301271"/>
                      <a:pt x="556520" y="2303753"/>
                      <a:pt x="556294" y="2306010"/>
                    </a:cubicBezTo>
                    <a:cubicBezTo>
                      <a:pt x="556069" y="2310297"/>
                      <a:pt x="555843" y="2315938"/>
                      <a:pt x="551330" y="2320000"/>
                    </a:cubicBezTo>
                    <a:cubicBezTo>
                      <a:pt x="545012" y="2325867"/>
                      <a:pt x="541853" y="2338277"/>
                      <a:pt x="541853" y="2344821"/>
                    </a:cubicBezTo>
                    <a:cubicBezTo>
                      <a:pt x="541853" y="2348883"/>
                      <a:pt x="544335" y="2355201"/>
                      <a:pt x="546817" y="2361970"/>
                    </a:cubicBezTo>
                    <a:cubicBezTo>
                      <a:pt x="548397" y="2366032"/>
                      <a:pt x="549976" y="2370319"/>
                      <a:pt x="551104" y="2374381"/>
                    </a:cubicBezTo>
                    <a:cubicBezTo>
                      <a:pt x="553812" y="2383407"/>
                      <a:pt x="556069" y="2399202"/>
                      <a:pt x="552684" y="2404166"/>
                    </a:cubicBezTo>
                    <a:cubicBezTo>
                      <a:pt x="551104" y="2406648"/>
                      <a:pt x="551556" y="2416576"/>
                      <a:pt x="554263" y="2434177"/>
                    </a:cubicBezTo>
                    <a:cubicBezTo>
                      <a:pt x="556069" y="2446587"/>
                      <a:pt x="556746" y="2450423"/>
                      <a:pt x="558099" y="2457870"/>
                    </a:cubicBezTo>
                    <a:cubicBezTo>
                      <a:pt x="559453" y="2465767"/>
                      <a:pt x="559453" y="2474342"/>
                      <a:pt x="559453" y="2474567"/>
                    </a:cubicBezTo>
                    <a:lnTo>
                      <a:pt x="559228" y="2475470"/>
                    </a:lnTo>
                    <a:cubicBezTo>
                      <a:pt x="558099" y="2477727"/>
                      <a:pt x="555843" y="2484722"/>
                      <a:pt x="558551" y="2488783"/>
                    </a:cubicBezTo>
                    <a:cubicBezTo>
                      <a:pt x="562612" y="2494876"/>
                      <a:pt x="562612" y="2506384"/>
                      <a:pt x="561935" y="2514958"/>
                    </a:cubicBezTo>
                    <a:cubicBezTo>
                      <a:pt x="561710" y="2518343"/>
                      <a:pt x="562387" y="2521953"/>
                      <a:pt x="563289" y="2525789"/>
                    </a:cubicBezTo>
                    <a:cubicBezTo>
                      <a:pt x="564418" y="2530979"/>
                      <a:pt x="565320" y="2535943"/>
                      <a:pt x="563741" y="2540005"/>
                    </a:cubicBezTo>
                    <a:cubicBezTo>
                      <a:pt x="562612" y="2542938"/>
                      <a:pt x="564192" y="2548128"/>
                      <a:pt x="565771" y="2552641"/>
                    </a:cubicBezTo>
                    <a:cubicBezTo>
                      <a:pt x="567125" y="2556928"/>
                      <a:pt x="568254" y="2560764"/>
                      <a:pt x="567577" y="2563472"/>
                    </a:cubicBezTo>
                    <a:cubicBezTo>
                      <a:pt x="566448" y="2567534"/>
                      <a:pt x="568705" y="2580621"/>
                      <a:pt x="572541" y="2589196"/>
                    </a:cubicBezTo>
                    <a:cubicBezTo>
                      <a:pt x="573669" y="2591678"/>
                      <a:pt x="575023" y="2594160"/>
                      <a:pt x="576377" y="2596416"/>
                    </a:cubicBezTo>
                    <a:cubicBezTo>
                      <a:pt x="579536" y="2601832"/>
                      <a:pt x="582921" y="2607699"/>
                      <a:pt x="582921" y="2615371"/>
                    </a:cubicBezTo>
                    <a:cubicBezTo>
                      <a:pt x="582921" y="2621012"/>
                      <a:pt x="585628" y="2626879"/>
                      <a:pt x="587885" y="2632069"/>
                    </a:cubicBezTo>
                    <a:cubicBezTo>
                      <a:pt x="589690" y="2636130"/>
                      <a:pt x="591269" y="2639740"/>
                      <a:pt x="591269" y="2642674"/>
                    </a:cubicBezTo>
                    <a:cubicBezTo>
                      <a:pt x="591269" y="2644705"/>
                      <a:pt x="591946" y="2649669"/>
                      <a:pt x="592849" y="2654633"/>
                    </a:cubicBezTo>
                    <a:cubicBezTo>
                      <a:pt x="594203" y="2662531"/>
                      <a:pt x="595557" y="2671557"/>
                      <a:pt x="595105" y="2675844"/>
                    </a:cubicBezTo>
                    <a:cubicBezTo>
                      <a:pt x="594654" y="2678777"/>
                      <a:pt x="596911" y="2685321"/>
                      <a:pt x="598716" y="2691188"/>
                    </a:cubicBezTo>
                    <a:cubicBezTo>
                      <a:pt x="600747" y="2697055"/>
                      <a:pt x="602552" y="2702696"/>
                      <a:pt x="602552" y="2706757"/>
                    </a:cubicBezTo>
                    <a:cubicBezTo>
                      <a:pt x="602552" y="2710368"/>
                      <a:pt x="601875" y="2711947"/>
                      <a:pt x="600747" y="2713301"/>
                    </a:cubicBezTo>
                    <a:cubicBezTo>
                      <a:pt x="600070" y="2714429"/>
                      <a:pt x="599167" y="2715557"/>
                      <a:pt x="599167" y="2720747"/>
                    </a:cubicBezTo>
                    <a:cubicBezTo>
                      <a:pt x="599167" y="2726840"/>
                      <a:pt x="600295" y="2735189"/>
                      <a:pt x="601649" y="2743989"/>
                    </a:cubicBezTo>
                    <a:cubicBezTo>
                      <a:pt x="602552" y="2750758"/>
                      <a:pt x="603680" y="2757528"/>
                      <a:pt x="604357" y="2764297"/>
                    </a:cubicBezTo>
                    <a:cubicBezTo>
                      <a:pt x="604583" y="2767682"/>
                      <a:pt x="605034" y="2771067"/>
                      <a:pt x="605485" y="2774451"/>
                    </a:cubicBezTo>
                    <a:cubicBezTo>
                      <a:pt x="606613" y="2785733"/>
                      <a:pt x="607967" y="2797693"/>
                      <a:pt x="607290" y="2814842"/>
                    </a:cubicBezTo>
                    <a:cubicBezTo>
                      <a:pt x="606613" y="2829058"/>
                      <a:pt x="608644" y="2831991"/>
                      <a:pt x="610675" y="2835376"/>
                    </a:cubicBezTo>
                    <a:cubicBezTo>
                      <a:pt x="611803" y="2837181"/>
                      <a:pt x="613157" y="2839212"/>
                      <a:pt x="614285" y="2843048"/>
                    </a:cubicBezTo>
                    <a:cubicBezTo>
                      <a:pt x="614962" y="2845304"/>
                      <a:pt x="615414" y="2847561"/>
                      <a:pt x="616090" y="2850043"/>
                    </a:cubicBezTo>
                    <a:cubicBezTo>
                      <a:pt x="618347" y="2858843"/>
                      <a:pt x="621055" y="2868771"/>
                      <a:pt x="623537" y="2874864"/>
                    </a:cubicBezTo>
                    <a:cubicBezTo>
                      <a:pt x="626019" y="2880956"/>
                      <a:pt x="629404" y="2884115"/>
                      <a:pt x="633691" y="2888177"/>
                    </a:cubicBezTo>
                    <a:cubicBezTo>
                      <a:pt x="634819" y="2889305"/>
                      <a:pt x="635947" y="2890433"/>
                      <a:pt x="637076" y="2891562"/>
                    </a:cubicBezTo>
                    <a:cubicBezTo>
                      <a:pt x="642265" y="2896751"/>
                      <a:pt x="643845" y="2901039"/>
                      <a:pt x="644973" y="2903746"/>
                    </a:cubicBezTo>
                    <a:cubicBezTo>
                      <a:pt x="645199" y="2904424"/>
                      <a:pt x="645424" y="2905100"/>
                      <a:pt x="645876" y="2905551"/>
                    </a:cubicBezTo>
                    <a:cubicBezTo>
                      <a:pt x="647004" y="2908034"/>
                      <a:pt x="647004" y="2911418"/>
                      <a:pt x="646778" y="2915254"/>
                    </a:cubicBezTo>
                    <a:cubicBezTo>
                      <a:pt x="646778" y="2916834"/>
                      <a:pt x="646553" y="2918413"/>
                      <a:pt x="646553" y="2919993"/>
                    </a:cubicBezTo>
                    <a:cubicBezTo>
                      <a:pt x="646553" y="2924957"/>
                      <a:pt x="651968" y="2936916"/>
                      <a:pt x="656030" y="2942332"/>
                    </a:cubicBezTo>
                    <a:cubicBezTo>
                      <a:pt x="659415" y="2946845"/>
                      <a:pt x="660994" y="2951132"/>
                      <a:pt x="663251" y="2956999"/>
                    </a:cubicBezTo>
                    <a:cubicBezTo>
                      <a:pt x="663927" y="2959030"/>
                      <a:pt x="664830" y="2961061"/>
                      <a:pt x="665733" y="2963317"/>
                    </a:cubicBezTo>
                    <a:cubicBezTo>
                      <a:pt x="669343" y="2972343"/>
                      <a:pt x="669117" y="2988815"/>
                      <a:pt x="669117" y="2995133"/>
                    </a:cubicBezTo>
                    <a:lnTo>
                      <a:pt x="669117" y="2996487"/>
                    </a:lnTo>
                    <a:cubicBezTo>
                      <a:pt x="669117" y="2998067"/>
                      <a:pt x="671825" y="3000549"/>
                      <a:pt x="674082" y="3002805"/>
                    </a:cubicBezTo>
                    <a:cubicBezTo>
                      <a:pt x="676338" y="3005061"/>
                      <a:pt x="678820" y="3007318"/>
                      <a:pt x="680174" y="3009800"/>
                    </a:cubicBezTo>
                    <a:cubicBezTo>
                      <a:pt x="681979" y="3012959"/>
                      <a:pt x="689651" y="3016795"/>
                      <a:pt x="693713" y="3019051"/>
                    </a:cubicBezTo>
                    <a:cubicBezTo>
                      <a:pt x="696421" y="3020406"/>
                      <a:pt x="697549" y="3021083"/>
                      <a:pt x="698226" y="3021759"/>
                    </a:cubicBezTo>
                    <a:cubicBezTo>
                      <a:pt x="698226" y="3021759"/>
                      <a:pt x="707477" y="3031462"/>
                      <a:pt x="705221" y="3036201"/>
                    </a:cubicBezTo>
                    <a:cubicBezTo>
                      <a:pt x="704544" y="3037555"/>
                      <a:pt x="703190" y="3038683"/>
                      <a:pt x="702287" y="3039360"/>
                    </a:cubicBezTo>
                    <a:cubicBezTo>
                      <a:pt x="702513" y="3038683"/>
                      <a:pt x="702062" y="3039134"/>
                      <a:pt x="701836" y="3039360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xmlns="" id="{55BBCE87-1787-4542-BCA8-3FEE825AB3A1}"/>
                  </a:ext>
                </a:extLst>
              </p:cNvPr>
              <p:cNvSpPr/>
              <p:nvPr/>
            </p:nvSpPr>
            <p:spPr>
              <a:xfrm>
                <a:off x="11197807" y="2432872"/>
                <a:ext cx="203082" cy="248211"/>
              </a:xfrm>
              <a:custGeom>
                <a:avLst/>
                <a:gdLst>
                  <a:gd name="connsiteX0" fmla="*/ 33556 w 203081"/>
                  <a:gd name="connsiteY0" fmla="*/ 265134 h 248210"/>
                  <a:gd name="connsiteX1" fmla="*/ 29269 w 203081"/>
                  <a:gd name="connsiteY1" fmla="*/ 263780 h 248210"/>
                  <a:gd name="connsiteX2" fmla="*/ 28141 w 203081"/>
                  <a:gd name="connsiteY2" fmla="*/ 263103 h 248210"/>
                  <a:gd name="connsiteX3" fmla="*/ 14151 w 203081"/>
                  <a:gd name="connsiteY3" fmla="*/ 263103 h 248210"/>
                  <a:gd name="connsiteX4" fmla="*/ 4222 w 203081"/>
                  <a:gd name="connsiteY4" fmla="*/ 264908 h 248210"/>
                  <a:gd name="connsiteX5" fmla="*/ 161 w 203081"/>
                  <a:gd name="connsiteY5" fmla="*/ 265134 h 248210"/>
                  <a:gd name="connsiteX6" fmla="*/ 3094 w 203081"/>
                  <a:gd name="connsiteY6" fmla="*/ 261073 h 248210"/>
                  <a:gd name="connsiteX7" fmla="*/ 10089 w 203081"/>
                  <a:gd name="connsiteY7" fmla="*/ 249790 h 248210"/>
                  <a:gd name="connsiteX8" fmla="*/ 8284 w 203081"/>
                  <a:gd name="connsiteY8" fmla="*/ 238959 h 248210"/>
                  <a:gd name="connsiteX9" fmla="*/ 3997 w 203081"/>
                  <a:gd name="connsiteY9" fmla="*/ 233995 h 248210"/>
                  <a:gd name="connsiteX10" fmla="*/ 1289 w 203081"/>
                  <a:gd name="connsiteY10" fmla="*/ 216846 h 248210"/>
                  <a:gd name="connsiteX11" fmla="*/ 21823 w 203081"/>
                  <a:gd name="connsiteY11" fmla="*/ 187738 h 248210"/>
                  <a:gd name="connsiteX12" fmla="*/ 24079 w 203081"/>
                  <a:gd name="connsiteY12" fmla="*/ 185030 h 248210"/>
                  <a:gd name="connsiteX13" fmla="*/ 48900 w 203081"/>
                  <a:gd name="connsiteY13" fmla="*/ 174199 h 248210"/>
                  <a:gd name="connsiteX14" fmla="*/ 55218 w 203081"/>
                  <a:gd name="connsiteY14" fmla="*/ 180743 h 248210"/>
                  <a:gd name="connsiteX15" fmla="*/ 55444 w 203081"/>
                  <a:gd name="connsiteY15" fmla="*/ 181871 h 248210"/>
                  <a:gd name="connsiteX16" fmla="*/ 55670 w 203081"/>
                  <a:gd name="connsiteY16" fmla="*/ 181871 h 248210"/>
                  <a:gd name="connsiteX17" fmla="*/ 69885 w 203081"/>
                  <a:gd name="connsiteY17" fmla="*/ 168106 h 248210"/>
                  <a:gd name="connsiteX18" fmla="*/ 65598 w 203081"/>
                  <a:gd name="connsiteY18" fmla="*/ 149378 h 248210"/>
                  <a:gd name="connsiteX19" fmla="*/ 63567 w 203081"/>
                  <a:gd name="connsiteY19" fmla="*/ 145542 h 248210"/>
                  <a:gd name="connsiteX20" fmla="*/ 61536 w 203081"/>
                  <a:gd name="connsiteY20" fmla="*/ 127264 h 248210"/>
                  <a:gd name="connsiteX21" fmla="*/ 62213 w 203081"/>
                  <a:gd name="connsiteY21" fmla="*/ 122977 h 248210"/>
                  <a:gd name="connsiteX22" fmla="*/ 73496 w 203081"/>
                  <a:gd name="connsiteY22" fmla="*/ 107182 h 248210"/>
                  <a:gd name="connsiteX23" fmla="*/ 78009 w 203081"/>
                  <a:gd name="connsiteY23" fmla="*/ 102443 h 248210"/>
                  <a:gd name="connsiteX24" fmla="*/ 90419 w 203081"/>
                  <a:gd name="connsiteY24" fmla="*/ 79879 h 248210"/>
                  <a:gd name="connsiteX25" fmla="*/ 92224 w 203081"/>
                  <a:gd name="connsiteY25" fmla="*/ 77397 h 248210"/>
                  <a:gd name="connsiteX26" fmla="*/ 96963 w 203081"/>
                  <a:gd name="connsiteY26" fmla="*/ 74238 h 248210"/>
                  <a:gd name="connsiteX27" fmla="*/ 99671 w 203081"/>
                  <a:gd name="connsiteY27" fmla="*/ 78525 h 248210"/>
                  <a:gd name="connsiteX28" fmla="*/ 101250 w 203081"/>
                  <a:gd name="connsiteY28" fmla="*/ 82361 h 248210"/>
                  <a:gd name="connsiteX29" fmla="*/ 106214 w 203081"/>
                  <a:gd name="connsiteY29" fmla="*/ 77622 h 248210"/>
                  <a:gd name="connsiteX30" fmla="*/ 107117 w 203081"/>
                  <a:gd name="connsiteY30" fmla="*/ 75817 h 248210"/>
                  <a:gd name="connsiteX31" fmla="*/ 119527 w 203081"/>
                  <a:gd name="connsiteY31" fmla="*/ 57765 h 248210"/>
                  <a:gd name="connsiteX32" fmla="*/ 132389 w 203081"/>
                  <a:gd name="connsiteY32" fmla="*/ 50093 h 248210"/>
                  <a:gd name="connsiteX33" fmla="*/ 145251 w 203081"/>
                  <a:gd name="connsiteY33" fmla="*/ 42647 h 248210"/>
                  <a:gd name="connsiteX34" fmla="*/ 151569 w 203081"/>
                  <a:gd name="connsiteY34" fmla="*/ 38360 h 248210"/>
                  <a:gd name="connsiteX35" fmla="*/ 159692 w 203081"/>
                  <a:gd name="connsiteY35" fmla="*/ 28883 h 248210"/>
                  <a:gd name="connsiteX36" fmla="*/ 178196 w 203081"/>
                  <a:gd name="connsiteY36" fmla="*/ 15795 h 248210"/>
                  <a:gd name="connsiteX37" fmla="*/ 201212 w 203081"/>
                  <a:gd name="connsiteY37" fmla="*/ 1580 h 248210"/>
                  <a:gd name="connsiteX38" fmla="*/ 200986 w 203081"/>
                  <a:gd name="connsiteY38" fmla="*/ 1128 h 248210"/>
                  <a:gd name="connsiteX39" fmla="*/ 203017 w 203081"/>
                  <a:gd name="connsiteY39" fmla="*/ 0 h 248210"/>
                  <a:gd name="connsiteX40" fmla="*/ 203919 w 203081"/>
                  <a:gd name="connsiteY40" fmla="*/ 1580 h 248210"/>
                  <a:gd name="connsiteX41" fmla="*/ 205273 w 203081"/>
                  <a:gd name="connsiteY41" fmla="*/ 451 h 248210"/>
                  <a:gd name="connsiteX42" fmla="*/ 208206 w 203081"/>
                  <a:gd name="connsiteY42" fmla="*/ 23242 h 248210"/>
                  <a:gd name="connsiteX43" fmla="*/ 212268 w 203081"/>
                  <a:gd name="connsiteY43" fmla="*/ 37006 h 248210"/>
                  <a:gd name="connsiteX44" fmla="*/ 217232 w 203081"/>
                  <a:gd name="connsiteY44" fmla="*/ 48288 h 248210"/>
                  <a:gd name="connsiteX45" fmla="*/ 218135 w 203081"/>
                  <a:gd name="connsiteY45" fmla="*/ 51222 h 248210"/>
                  <a:gd name="connsiteX46" fmla="*/ 215201 w 203081"/>
                  <a:gd name="connsiteY46" fmla="*/ 50770 h 248210"/>
                  <a:gd name="connsiteX47" fmla="*/ 209109 w 203081"/>
                  <a:gd name="connsiteY47" fmla="*/ 52801 h 248210"/>
                  <a:gd name="connsiteX48" fmla="*/ 201212 w 203081"/>
                  <a:gd name="connsiteY48" fmla="*/ 81233 h 248210"/>
                  <a:gd name="connsiteX49" fmla="*/ 206401 w 203081"/>
                  <a:gd name="connsiteY49" fmla="*/ 91612 h 248210"/>
                  <a:gd name="connsiteX50" fmla="*/ 209560 w 203081"/>
                  <a:gd name="connsiteY50" fmla="*/ 97028 h 248210"/>
                  <a:gd name="connsiteX51" fmla="*/ 209335 w 203081"/>
                  <a:gd name="connsiteY51" fmla="*/ 110567 h 248210"/>
                  <a:gd name="connsiteX52" fmla="*/ 209109 w 203081"/>
                  <a:gd name="connsiteY52" fmla="*/ 114177 h 248210"/>
                  <a:gd name="connsiteX53" fmla="*/ 212042 w 203081"/>
                  <a:gd name="connsiteY53" fmla="*/ 119818 h 248210"/>
                  <a:gd name="connsiteX54" fmla="*/ 215878 w 203081"/>
                  <a:gd name="connsiteY54" fmla="*/ 126362 h 248210"/>
                  <a:gd name="connsiteX55" fmla="*/ 212945 w 203081"/>
                  <a:gd name="connsiteY55" fmla="*/ 141480 h 248210"/>
                  <a:gd name="connsiteX56" fmla="*/ 209335 w 203081"/>
                  <a:gd name="connsiteY56" fmla="*/ 146670 h 248210"/>
                  <a:gd name="connsiteX57" fmla="*/ 204145 w 203081"/>
                  <a:gd name="connsiteY57" fmla="*/ 162014 h 248210"/>
                  <a:gd name="connsiteX58" fmla="*/ 205047 w 203081"/>
                  <a:gd name="connsiteY58" fmla="*/ 172845 h 248210"/>
                  <a:gd name="connsiteX59" fmla="*/ 202791 w 203081"/>
                  <a:gd name="connsiteY59" fmla="*/ 186158 h 248210"/>
                  <a:gd name="connsiteX60" fmla="*/ 198504 w 203081"/>
                  <a:gd name="connsiteY60" fmla="*/ 192927 h 248210"/>
                  <a:gd name="connsiteX61" fmla="*/ 192862 w 203081"/>
                  <a:gd name="connsiteY61" fmla="*/ 201276 h 248210"/>
                  <a:gd name="connsiteX62" fmla="*/ 178872 w 203081"/>
                  <a:gd name="connsiteY62" fmla="*/ 215041 h 248210"/>
                  <a:gd name="connsiteX63" fmla="*/ 161047 w 203081"/>
                  <a:gd name="connsiteY63" fmla="*/ 224744 h 248210"/>
                  <a:gd name="connsiteX64" fmla="*/ 160595 w 203081"/>
                  <a:gd name="connsiteY64" fmla="*/ 225195 h 248210"/>
                  <a:gd name="connsiteX65" fmla="*/ 160370 w 203081"/>
                  <a:gd name="connsiteY65" fmla="*/ 227677 h 248210"/>
                  <a:gd name="connsiteX66" fmla="*/ 158113 w 203081"/>
                  <a:gd name="connsiteY66" fmla="*/ 226549 h 248210"/>
                  <a:gd name="connsiteX67" fmla="*/ 149538 w 203081"/>
                  <a:gd name="connsiteY67" fmla="*/ 223390 h 248210"/>
                  <a:gd name="connsiteX68" fmla="*/ 142092 w 203081"/>
                  <a:gd name="connsiteY68" fmla="*/ 217523 h 248210"/>
                  <a:gd name="connsiteX69" fmla="*/ 136451 w 203081"/>
                  <a:gd name="connsiteY69" fmla="*/ 211430 h 248210"/>
                  <a:gd name="connsiteX70" fmla="*/ 132164 w 203081"/>
                  <a:gd name="connsiteY70" fmla="*/ 211656 h 248210"/>
                  <a:gd name="connsiteX71" fmla="*/ 95609 w 203081"/>
                  <a:gd name="connsiteY71" fmla="*/ 221810 h 248210"/>
                  <a:gd name="connsiteX72" fmla="*/ 63342 w 203081"/>
                  <a:gd name="connsiteY72" fmla="*/ 220908 h 248210"/>
                  <a:gd name="connsiteX73" fmla="*/ 53413 w 203081"/>
                  <a:gd name="connsiteY73" fmla="*/ 234446 h 248210"/>
                  <a:gd name="connsiteX74" fmla="*/ 45741 w 203081"/>
                  <a:gd name="connsiteY74" fmla="*/ 251144 h 248210"/>
                  <a:gd name="connsiteX75" fmla="*/ 44839 w 203081"/>
                  <a:gd name="connsiteY75" fmla="*/ 252724 h 248210"/>
                  <a:gd name="connsiteX76" fmla="*/ 43259 w 203081"/>
                  <a:gd name="connsiteY76" fmla="*/ 255431 h 248210"/>
                  <a:gd name="connsiteX77" fmla="*/ 35813 w 203081"/>
                  <a:gd name="connsiteY77" fmla="*/ 263780 h 248210"/>
                  <a:gd name="connsiteX78" fmla="*/ 33556 w 203081"/>
                  <a:gd name="connsiteY78" fmla="*/ 265134 h 248210"/>
                  <a:gd name="connsiteX79" fmla="*/ 22274 w 203081"/>
                  <a:gd name="connsiteY79" fmla="*/ 257011 h 248210"/>
                  <a:gd name="connsiteX80" fmla="*/ 29946 w 203081"/>
                  <a:gd name="connsiteY80" fmla="*/ 259944 h 248210"/>
                  <a:gd name="connsiteX81" fmla="*/ 31074 w 203081"/>
                  <a:gd name="connsiteY81" fmla="*/ 260621 h 248210"/>
                  <a:gd name="connsiteX82" fmla="*/ 34008 w 203081"/>
                  <a:gd name="connsiteY82" fmla="*/ 261298 h 248210"/>
                  <a:gd name="connsiteX83" fmla="*/ 38972 w 203081"/>
                  <a:gd name="connsiteY83" fmla="*/ 254754 h 248210"/>
                  <a:gd name="connsiteX84" fmla="*/ 40551 w 203081"/>
                  <a:gd name="connsiteY84" fmla="*/ 251821 h 248210"/>
                  <a:gd name="connsiteX85" fmla="*/ 41454 w 203081"/>
                  <a:gd name="connsiteY85" fmla="*/ 250241 h 248210"/>
                  <a:gd name="connsiteX86" fmla="*/ 48674 w 203081"/>
                  <a:gd name="connsiteY86" fmla="*/ 235575 h 248210"/>
                  <a:gd name="connsiteX87" fmla="*/ 62213 w 203081"/>
                  <a:gd name="connsiteY87" fmla="*/ 218200 h 248210"/>
                  <a:gd name="connsiteX88" fmla="*/ 94932 w 203081"/>
                  <a:gd name="connsiteY88" fmla="*/ 219102 h 248210"/>
                  <a:gd name="connsiteX89" fmla="*/ 129005 w 203081"/>
                  <a:gd name="connsiteY89" fmla="*/ 209625 h 248210"/>
                  <a:gd name="connsiteX90" fmla="*/ 136677 w 203081"/>
                  <a:gd name="connsiteY90" fmla="*/ 208948 h 248210"/>
                  <a:gd name="connsiteX91" fmla="*/ 144574 w 203081"/>
                  <a:gd name="connsiteY91" fmla="*/ 217749 h 248210"/>
                  <a:gd name="connsiteX92" fmla="*/ 149313 w 203081"/>
                  <a:gd name="connsiteY92" fmla="*/ 220682 h 248210"/>
                  <a:gd name="connsiteX93" fmla="*/ 156759 w 203081"/>
                  <a:gd name="connsiteY93" fmla="*/ 223164 h 248210"/>
                  <a:gd name="connsiteX94" fmla="*/ 159015 w 203081"/>
                  <a:gd name="connsiteY94" fmla="*/ 221810 h 248210"/>
                  <a:gd name="connsiteX95" fmla="*/ 175713 w 203081"/>
                  <a:gd name="connsiteY95" fmla="*/ 212784 h 248210"/>
                  <a:gd name="connsiteX96" fmla="*/ 189252 w 203081"/>
                  <a:gd name="connsiteY96" fmla="*/ 199471 h 248210"/>
                  <a:gd name="connsiteX97" fmla="*/ 194217 w 203081"/>
                  <a:gd name="connsiteY97" fmla="*/ 191799 h 248210"/>
                  <a:gd name="connsiteX98" fmla="*/ 198729 w 203081"/>
                  <a:gd name="connsiteY98" fmla="*/ 184353 h 248210"/>
                  <a:gd name="connsiteX99" fmla="*/ 200309 w 203081"/>
                  <a:gd name="connsiteY99" fmla="*/ 173973 h 248210"/>
                  <a:gd name="connsiteX100" fmla="*/ 199180 w 203081"/>
                  <a:gd name="connsiteY100" fmla="*/ 162691 h 248210"/>
                  <a:gd name="connsiteX101" fmla="*/ 205273 w 203081"/>
                  <a:gd name="connsiteY101" fmla="*/ 145090 h 248210"/>
                  <a:gd name="connsiteX102" fmla="*/ 208658 w 203081"/>
                  <a:gd name="connsiteY102" fmla="*/ 140126 h 248210"/>
                  <a:gd name="connsiteX103" fmla="*/ 211366 w 203081"/>
                  <a:gd name="connsiteY103" fmla="*/ 127716 h 248210"/>
                  <a:gd name="connsiteX104" fmla="*/ 208206 w 203081"/>
                  <a:gd name="connsiteY104" fmla="*/ 122526 h 248210"/>
                  <a:gd name="connsiteX105" fmla="*/ 204371 w 203081"/>
                  <a:gd name="connsiteY105" fmla="*/ 114177 h 248210"/>
                  <a:gd name="connsiteX106" fmla="*/ 204822 w 203081"/>
                  <a:gd name="connsiteY106" fmla="*/ 110341 h 248210"/>
                  <a:gd name="connsiteX107" fmla="*/ 205047 w 203081"/>
                  <a:gd name="connsiteY107" fmla="*/ 97930 h 248210"/>
                  <a:gd name="connsiteX108" fmla="*/ 202565 w 203081"/>
                  <a:gd name="connsiteY108" fmla="*/ 94094 h 248210"/>
                  <a:gd name="connsiteX109" fmla="*/ 196473 w 203081"/>
                  <a:gd name="connsiteY109" fmla="*/ 81910 h 248210"/>
                  <a:gd name="connsiteX110" fmla="*/ 204822 w 203081"/>
                  <a:gd name="connsiteY110" fmla="*/ 50770 h 248210"/>
                  <a:gd name="connsiteX111" fmla="*/ 211591 w 203081"/>
                  <a:gd name="connsiteY111" fmla="*/ 46709 h 248210"/>
                  <a:gd name="connsiteX112" fmla="*/ 211591 w 203081"/>
                  <a:gd name="connsiteY112" fmla="*/ 46709 h 248210"/>
                  <a:gd name="connsiteX113" fmla="*/ 207755 w 203081"/>
                  <a:gd name="connsiteY113" fmla="*/ 39037 h 248210"/>
                  <a:gd name="connsiteX114" fmla="*/ 203468 w 203081"/>
                  <a:gd name="connsiteY114" fmla="*/ 22113 h 248210"/>
                  <a:gd name="connsiteX115" fmla="*/ 202114 w 203081"/>
                  <a:gd name="connsiteY115" fmla="*/ 4513 h 248210"/>
                  <a:gd name="connsiteX116" fmla="*/ 177293 w 203081"/>
                  <a:gd name="connsiteY116" fmla="*/ 19631 h 248210"/>
                  <a:gd name="connsiteX117" fmla="*/ 161949 w 203081"/>
                  <a:gd name="connsiteY117" fmla="*/ 30237 h 248210"/>
                  <a:gd name="connsiteX118" fmla="*/ 152020 w 203081"/>
                  <a:gd name="connsiteY118" fmla="*/ 41744 h 248210"/>
                  <a:gd name="connsiteX119" fmla="*/ 146154 w 203081"/>
                  <a:gd name="connsiteY119" fmla="*/ 45581 h 248210"/>
                  <a:gd name="connsiteX120" fmla="*/ 132389 w 203081"/>
                  <a:gd name="connsiteY120" fmla="*/ 53478 h 248210"/>
                  <a:gd name="connsiteX121" fmla="*/ 120430 w 203081"/>
                  <a:gd name="connsiteY121" fmla="*/ 60473 h 248210"/>
                  <a:gd name="connsiteX122" fmla="*/ 108922 w 203081"/>
                  <a:gd name="connsiteY122" fmla="*/ 77397 h 248210"/>
                  <a:gd name="connsiteX123" fmla="*/ 108020 w 203081"/>
                  <a:gd name="connsiteY123" fmla="*/ 79202 h 248210"/>
                  <a:gd name="connsiteX124" fmla="*/ 98542 w 203081"/>
                  <a:gd name="connsiteY124" fmla="*/ 85746 h 248210"/>
                  <a:gd name="connsiteX125" fmla="*/ 94481 w 203081"/>
                  <a:gd name="connsiteY125" fmla="*/ 79202 h 248210"/>
                  <a:gd name="connsiteX126" fmla="*/ 94481 w 203081"/>
                  <a:gd name="connsiteY126" fmla="*/ 78751 h 248210"/>
                  <a:gd name="connsiteX127" fmla="*/ 93804 w 203081"/>
                  <a:gd name="connsiteY127" fmla="*/ 79653 h 248210"/>
                  <a:gd name="connsiteX128" fmla="*/ 91999 w 203081"/>
                  <a:gd name="connsiteY128" fmla="*/ 82135 h 248210"/>
                  <a:gd name="connsiteX129" fmla="*/ 80491 w 203081"/>
                  <a:gd name="connsiteY129" fmla="*/ 102443 h 248210"/>
                  <a:gd name="connsiteX130" fmla="*/ 74398 w 203081"/>
                  <a:gd name="connsiteY130" fmla="*/ 110115 h 248210"/>
                  <a:gd name="connsiteX131" fmla="*/ 64696 w 203081"/>
                  <a:gd name="connsiteY131" fmla="*/ 123203 h 248210"/>
                  <a:gd name="connsiteX132" fmla="*/ 64019 w 203081"/>
                  <a:gd name="connsiteY132" fmla="*/ 127490 h 248210"/>
                  <a:gd name="connsiteX133" fmla="*/ 65598 w 203081"/>
                  <a:gd name="connsiteY133" fmla="*/ 143511 h 248210"/>
                  <a:gd name="connsiteX134" fmla="*/ 67629 w 203081"/>
                  <a:gd name="connsiteY134" fmla="*/ 147121 h 248210"/>
                  <a:gd name="connsiteX135" fmla="*/ 71916 w 203081"/>
                  <a:gd name="connsiteY135" fmla="*/ 169686 h 248210"/>
                  <a:gd name="connsiteX136" fmla="*/ 55895 w 203081"/>
                  <a:gd name="connsiteY136" fmla="*/ 184804 h 248210"/>
                  <a:gd name="connsiteX137" fmla="*/ 52510 w 203081"/>
                  <a:gd name="connsiteY137" fmla="*/ 184804 h 248210"/>
                  <a:gd name="connsiteX138" fmla="*/ 50480 w 203081"/>
                  <a:gd name="connsiteY138" fmla="*/ 180968 h 248210"/>
                  <a:gd name="connsiteX139" fmla="*/ 47547 w 203081"/>
                  <a:gd name="connsiteY139" fmla="*/ 177358 h 248210"/>
                  <a:gd name="connsiteX140" fmla="*/ 25884 w 203081"/>
                  <a:gd name="connsiteY140" fmla="*/ 186609 h 248210"/>
                  <a:gd name="connsiteX141" fmla="*/ 23628 w 203081"/>
                  <a:gd name="connsiteY141" fmla="*/ 189543 h 248210"/>
                  <a:gd name="connsiteX142" fmla="*/ 3771 w 203081"/>
                  <a:gd name="connsiteY142" fmla="*/ 217523 h 248210"/>
                  <a:gd name="connsiteX143" fmla="*/ 6027 w 203081"/>
                  <a:gd name="connsiteY143" fmla="*/ 231738 h 248210"/>
                  <a:gd name="connsiteX144" fmla="*/ 9863 w 203081"/>
                  <a:gd name="connsiteY144" fmla="*/ 236026 h 248210"/>
                  <a:gd name="connsiteX145" fmla="*/ 12571 w 203081"/>
                  <a:gd name="connsiteY145" fmla="*/ 250919 h 248210"/>
                  <a:gd name="connsiteX146" fmla="*/ 7156 w 203081"/>
                  <a:gd name="connsiteY146" fmla="*/ 260396 h 248210"/>
                  <a:gd name="connsiteX147" fmla="*/ 11894 w 203081"/>
                  <a:gd name="connsiteY147" fmla="*/ 259267 h 248210"/>
                  <a:gd name="connsiteX148" fmla="*/ 22274 w 203081"/>
                  <a:gd name="connsiteY148" fmla="*/ 257011 h 248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</a:cxnLst>
                <a:rect l="l" t="t" r="r" b="b"/>
                <a:pathLst>
                  <a:path w="203081" h="248210">
                    <a:moveTo>
                      <a:pt x="33556" y="265134"/>
                    </a:moveTo>
                    <a:cubicBezTo>
                      <a:pt x="32202" y="265134"/>
                      <a:pt x="30849" y="264683"/>
                      <a:pt x="29269" y="263780"/>
                    </a:cubicBezTo>
                    <a:lnTo>
                      <a:pt x="28141" y="263103"/>
                    </a:lnTo>
                    <a:cubicBezTo>
                      <a:pt x="22951" y="260170"/>
                      <a:pt x="22500" y="259719"/>
                      <a:pt x="14151" y="263103"/>
                    </a:cubicBezTo>
                    <a:cubicBezTo>
                      <a:pt x="11669" y="264006"/>
                      <a:pt x="8284" y="264683"/>
                      <a:pt x="4222" y="264908"/>
                    </a:cubicBezTo>
                    <a:lnTo>
                      <a:pt x="161" y="265134"/>
                    </a:lnTo>
                    <a:lnTo>
                      <a:pt x="3094" y="261073"/>
                    </a:lnTo>
                    <a:cubicBezTo>
                      <a:pt x="5350" y="258139"/>
                      <a:pt x="7833" y="254754"/>
                      <a:pt x="10089" y="249790"/>
                    </a:cubicBezTo>
                    <a:cubicBezTo>
                      <a:pt x="12797" y="243472"/>
                      <a:pt x="11218" y="241893"/>
                      <a:pt x="8284" y="238959"/>
                    </a:cubicBezTo>
                    <a:cubicBezTo>
                      <a:pt x="6930" y="237605"/>
                      <a:pt x="5350" y="236026"/>
                      <a:pt x="3997" y="233995"/>
                    </a:cubicBezTo>
                    <a:cubicBezTo>
                      <a:pt x="-742" y="226774"/>
                      <a:pt x="-742" y="223615"/>
                      <a:pt x="1289" y="216846"/>
                    </a:cubicBezTo>
                    <a:cubicBezTo>
                      <a:pt x="2868" y="211430"/>
                      <a:pt x="12797" y="199020"/>
                      <a:pt x="21823" y="187738"/>
                    </a:cubicBezTo>
                    <a:lnTo>
                      <a:pt x="24079" y="185030"/>
                    </a:lnTo>
                    <a:cubicBezTo>
                      <a:pt x="29720" y="177809"/>
                      <a:pt x="41680" y="173747"/>
                      <a:pt x="48900" y="174199"/>
                    </a:cubicBezTo>
                    <a:cubicBezTo>
                      <a:pt x="53865" y="174650"/>
                      <a:pt x="54767" y="178712"/>
                      <a:pt x="55218" y="180743"/>
                    </a:cubicBezTo>
                    <a:cubicBezTo>
                      <a:pt x="55218" y="181194"/>
                      <a:pt x="55444" y="181645"/>
                      <a:pt x="55444" y="181871"/>
                    </a:cubicBezTo>
                    <a:cubicBezTo>
                      <a:pt x="55444" y="181871"/>
                      <a:pt x="55670" y="181871"/>
                      <a:pt x="55670" y="181871"/>
                    </a:cubicBezTo>
                    <a:cubicBezTo>
                      <a:pt x="59957" y="180291"/>
                      <a:pt x="65372" y="174876"/>
                      <a:pt x="69885" y="168106"/>
                    </a:cubicBezTo>
                    <a:cubicBezTo>
                      <a:pt x="73044" y="163142"/>
                      <a:pt x="68983" y="155921"/>
                      <a:pt x="65598" y="149378"/>
                    </a:cubicBezTo>
                    <a:cubicBezTo>
                      <a:pt x="64921" y="148024"/>
                      <a:pt x="64244" y="146896"/>
                      <a:pt x="63567" y="145542"/>
                    </a:cubicBezTo>
                    <a:cubicBezTo>
                      <a:pt x="59957" y="138321"/>
                      <a:pt x="60183" y="137193"/>
                      <a:pt x="61536" y="127264"/>
                    </a:cubicBezTo>
                    <a:lnTo>
                      <a:pt x="62213" y="122977"/>
                    </a:lnTo>
                    <a:cubicBezTo>
                      <a:pt x="63342" y="114177"/>
                      <a:pt x="69208" y="110115"/>
                      <a:pt x="73496" y="107182"/>
                    </a:cubicBezTo>
                    <a:cubicBezTo>
                      <a:pt x="76203" y="105377"/>
                      <a:pt x="78009" y="104023"/>
                      <a:pt x="78009" y="102443"/>
                    </a:cubicBezTo>
                    <a:cubicBezTo>
                      <a:pt x="78009" y="96125"/>
                      <a:pt x="84552" y="87551"/>
                      <a:pt x="90419" y="79879"/>
                    </a:cubicBezTo>
                    <a:lnTo>
                      <a:pt x="92224" y="77397"/>
                    </a:lnTo>
                    <a:cubicBezTo>
                      <a:pt x="93578" y="75591"/>
                      <a:pt x="95158" y="73786"/>
                      <a:pt x="96963" y="74238"/>
                    </a:cubicBezTo>
                    <a:cubicBezTo>
                      <a:pt x="98768" y="74689"/>
                      <a:pt x="99219" y="76720"/>
                      <a:pt x="99671" y="78525"/>
                    </a:cubicBezTo>
                    <a:cubicBezTo>
                      <a:pt x="99896" y="79879"/>
                      <a:pt x="100348" y="82135"/>
                      <a:pt x="101250" y="82361"/>
                    </a:cubicBezTo>
                    <a:cubicBezTo>
                      <a:pt x="103507" y="83038"/>
                      <a:pt x="103732" y="82812"/>
                      <a:pt x="106214" y="77622"/>
                    </a:cubicBezTo>
                    <a:lnTo>
                      <a:pt x="107117" y="75817"/>
                    </a:lnTo>
                    <a:cubicBezTo>
                      <a:pt x="110276" y="69499"/>
                      <a:pt x="113661" y="62955"/>
                      <a:pt x="119527" y="57765"/>
                    </a:cubicBezTo>
                    <a:cubicBezTo>
                      <a:pt x="122461" y="55058"/>
                      <a:pt x="127200" y="52801"/>
                      <a:pt x="132389" y="50093"/>
                    </a:cubicBezTo>
                    <a:cubicBezTo>
                      <a:pt x="137128" y="47611"/>
                      <a:pt x="142092" y="45355"/>
                      <a:pt x="145251" y="42647"/>
                    </a:cubicBezTo>
                    <a:cubicBezTo>
                      <a:pt x="147508" y="40842"/>
                      <a:pt x="149764" y="39488"/>
                      <a:pt x="151569" y="38360"/>
                    </a:cubicBezTo>
                    <a:cubicBezTo>
                      <a:pt x="155405" y="36103"/>
                      <a:pt x="157887" y="34750"/>
                      <a:pt x="159692" y="28883"/>
                    </a:cubicBezTo>
                    <a:cubicBezTo>
                      <a:pt x="163077" y="18503"/>
                      <a:pt x="170975" y="16247"/>
                      <a:pt x="178196" y="15795"/>
                    </a:cubicBezTo>
                    <a:cubicBezTo>
                      <a:pt x="181580" y="15570"/>
                      <a:pt x="191960" y="9026"/>
                      <a:pt x="201212" y="1580"/>
                    </a:cubicBezTo>
                    <a:lnTo>
                      <a:pt x="200986" y="1128"/>
                    </a:lnTo>
                    <a:lnTo>
                      <a:pt x="203017" y="0"/>
                    </a:lnTo>
                    <a:lnTo>
                      <a:pt x="203919" y="1580"/>
                    </a:lnTo>
                    <a:lnTo>
                      <a:pt x="205273" y="451"/>
                    </a:lnTo>
                    <a:cubicBezTo>
                      <a:pt x="209786" y="6318"/>
                      <a:pt x="211140" y="15570"/>
                      <a:pt x="208206" y="23242"/>
                    </a:cubicBezTo>
                    <a:cubicBezTo>
                      <a:pt x="206853" y="26852"/>
                      <a:pt x="209335" y="31590"/>
                      <a:pt x="212268" y="37006"/>
                    </a:cubicBezTo>
                    <a:cubicBezTo>
                      <a:pt x="214073" y="40616"/>
                      <a:pt x="216104" y="44227"/>
                      <a:pt x="217232" y="48288"/>
                    </a:cubicBezTo>
                    <a:lnTo>
                      <a:pt x="218135" y="51222"/>
                    </a:lnTo>
                    <a:lnTo>
                      <a:pt x="215201" y="50770"/>
                    </a:lnTo>
                    <a:cubicBezTo>
                      <a:pt x="212494" y="50319"/>
                      <a:pt x="210914" y="49868"/>
                      <a:pt x="209109" y="52801"/>
                    </a:cubicBezTo>
                    <a:cubicBezTo>
                      <a:pt x="205724" y="57991"/>
                      <a:pt x="199858" y="72884"/>
                      <a:pt x="201212" y="81233"/>
                    </a:cubicBezTo>
                    <a:cubicBezTo>
                      <a:pt x="202114" y="86197"/>
                      <a:pt x="204371" y="89130"/>
                      <a:pt x="206401" y="91612"/>
                    </a:cubicBezTo>
                    <a:cubicBezTo>
                      <a:pt x="207755" y="93417"/>
                      <a:pt x="209109" y="94997"/>
                      <a:pt x="209560" y="97028"/>
                    </a:cubicBezTo>
                    <a:cubicBezTo>
                      <a:pt x="210237" y="100413"/>
                      <a:pt x="209786" y="106054"/>
                      <a:pt x="209335" y="110567"/>
                    </a:cubicBezTo>
                    <a:cubicBezTo>
                      <a:pt x="209109" y="111920"/>
                      <a:pt x="209109" y="113274"/>
                      <a:pt x="209109" y="114177"/>
                    </a:cubicBezTo>
                    <a:cubicBezTo>
                      <a:pt x="208883" y="115982"/>
                      <a:pt x="210463" y="117787"/>
                      <a:pt x="212042" y="119818"/>
                    </a:cubicBezTo>
                    <a:cubicBezTo>
                      <a:pt x="213622" y="121849"/>
                      <a:pt x="215201" y="123880"/>
                      <a:pt x="215878" y="126362"/>
                    </a:cubicBezTo>
                    <a:cubicBezTo>
                      <a:pt x="217232" y="131777"/>
                      <a:pt x="217007" y="134034"/>
                      <a:pt x="212945" y="141480"/>
                    </a:cubicBezTo>
                    <a:cubicBezTo>
                      <a:pt x="211817" y="143511"/>
                      <a:pt x="210463" y="145316"/>
                      <a:pt x="209335" y="146670"/>
                    </a:cubicBezTo>
                    <a:cubicBezTo>
                      <a:pt x="206401" y="150506"/>
                      <a:pt x="204145" y="153439"/>
                      <a:pt x="204145" y="162014"/>
                    </a:cubicBezTo>
                    <a:cubicBezTo>
                      <a:pt x="204145" y="166527"/>
                      <a:pt x="204596" y="169911"/>
                      <a:pt x="205047" y="172845"/>
                    </a:cubicBezTo>
                    <a:cubicBezTo>
                      <a:pt x="205950" y="177809"/>
                      <a:pt x="206401" y="181419"/>
                      <a:pt x="202791" y="186158"/>
                    </a:cubicBezTo>
                    <a:cubicBezTo>
                      <a:pt x="200535" y="188866"/>
                      <a:pt x="199632" y="190897"/>
                      <a:pt x="198504" y="192927"/>
                    </a:cubicBezTo>
                    <a:cubicBezTo>
                      <a:pt x="197376" y="195410"/>
                      <a:pt x="196021" y="197892"/>
                      <a:pt x="192862" y="201276"/>
                    </a:cubicBezTo>
                    <a:cubicBezTo>
                      <a:pt x="187898" y="206692"/>
                      <a:pt x="183385" y="211205"/>
                      <a:pt x="178872" y="215041"/>
                    </a:cubicBezTo>
                    <a:cubicBezTo>
                      <a:pt x="174811" y="218425"/>
                      <a:pt x="164882" y="223390"/>
                      <a:pt x="161047" y="224744"/>
                    </a:cubicBezTo>
                    <a:cubicBezTo>
                      <a:pt x="160595" y="224969"/>
                      <a:pt x="160595" y="224969"/>
                      <a:pt x="160595" y="225195"/>
                    </a:cubicBezTo>
                    <a:lnTo>
                      <a:pt x="160370" y="227677"/>
                    </a:lnTo>
                    <a:lnTo>
                      <a:pt x="158113" y="226549"/>
                    </a:lnTo>
                    <a:cubicBezTo>
                      <a:pt x="154503" y="224969"/>
                      <a:pt x="151795" y="224067"/>
                      <a:pt x="149538" y="223390"/>
                    </a:cubicBezTo>
                    <a:cubicBezTo>
                      <a:pt x="145702" y="222261"/>
                      <a:pt x="142995" y="221359"/>
                      <a:pt x="142092" y="217523"/>
                    </a:cubicBezTo>
                    <a:cubicBezTo>
                      <a:pt x="141641" y="215266"/>
                      <a:pt x="139159" y="212559"/>
                      <a:pt x="136451" y="211430"/>
                    </a:cubicBezTo>
                    <a:cubicBezTo>
                      <a:pt x="135323" y="210979"/>
                      <a:pt x="133743" y="210528"/>
                      <a:pt x="132164" y="211656"/>
                    </a:cubicBezTo>
                    <a:cubicBezTo>
                      <a:pt x="127200" y="215041"/>
                      <a:pt x="108471" y="222938"/>
                      <a:pt x="95609" y="221810"/>
                    </a:cubicBezTo>
                    <a:cubicBezTo>
                      <a:pt x="81845" y="220682"/>
                      <a:pt x="71691" y="220456"/>
                      <a:pt x="63342" y="220908"/>
                    </a:cubicBezTo>
                    <a:cubicBezTo>
                      <a:pt x="55218" y="221359"/>
                      <a:pt x="53413" y="232416"/>
                      <a:pt x="53413" y="234446"/>
                    </a:cubicBezTo>
                    <a:cubicBezTo>
                      <a:pt x="53413" y="237605"/>
                      <a:pt x="50029" y="243698"/>
                      <a:pt x="45741" y="251144"/>
                    </a:cubicBezTo>
                    <a:lnTo>
                      <a:pt x="44839" y="252724"/>
                    </a:lnTo>
                    <a:cubicBezTo>
                      <a:pt x="44388" y="253626"/>
                      <a:pt x="43936" y="254529"/>
                      <a:pt x="43259" y="255431"/>
                    </a:cubicBezTo>
                    <a:cubicBezTo>
                      <a:pt x="41228" y="259042"/>
                      <a:pt x="39423" y="262878"/>
                      <a:pt x="35813" y="263780"/>
                    </a:cubicBezTo>
                    <a:cubicBezTo>
                      <a:pt x="34685" y="265134"/>
                      <a:pt x="34008" y="265134"/>
                      <a:pt x="33556" y="265134"/>
                    </a:cubicBezTo>
                    <a:close/>
                    <a:moveTo>
                      <a:pt x="22274" y="257011"/>
                    </a:moveTo>
                    <a:cubicBezTo>
                      <a:pt x="24982" y="257011"/>
                      <a:pt x="26787" y="258139"/>
                      <a:pt x="29946" y="259944"/>
                    </a:cubicBezTo>
                    <a:lnTo>
                      <a:pt x="31074" y="260621"/>
                    </a:lnTo>
                    <a:cubicBezTo>
                      <a:pt x="32202" y="261298"/>
                      <a:pt x="33331" y="261524"/>
                      <a:pt x="34008" y="261298"/>
                    </a:cubicBezTo>
                    <a:cubicBezTo>
                      <a:pt x="35813" y="260847"/>
                      <a:pt x="37618" y="257688"/>
                      <a:pt x="38972" y="254754"/>
                    </a:cubicBezTo>
                    <a:cubicBezTo>
                      <a:pt x="39423" y="253852"/>
                      <a:pt x="40100" y="252724"/>
                      <a:pt x="40551" y="251821"/>
                    </a:cubicBezTo>
                    <a:lnTo>
                      <a:pt x="41454" y="250241"/>
                    </a:lnTo>
                    <a:cubicBezTo>
                      <a:pt x="44162" y="245729"/>
                      <a:pt x="48674" y="238057"/>
                      <a:pt x="48674" y="235575"/>
                    </a:cubicBezTo>
                    <a:cubicBezTo>
                      <a:pt x="48674" y="232190"/>
                      <a:pt x="51157" y="218651"/>
                      <a:pt x="62213" y="218200"/>
                    </a:cubicBezTo>
                    <a:cubicBezTo>
                      <a:pt x="70788" y="217749"/>
                      <a:pt x="80942" y="217974"/>
                      <a:pt x="94932" y="219102"/>
                    </a:cubicBezTo>
                    <a:cubicBezTo>
                      <a:pt x="106440" y="220005"/>
                      <a:pt x="124266" y="213010"/>
                      <a:pt x="129005" y="209625"/>
                    </a:cubicBezTo>
                    <a:cubicBezTo>
                      <a:pt x="131261" y="208046"/>
                      <a:pt x="133969" y="207820"/>
                      <a:pt x="136677" y="208948"/>
                    </a:cubicBezTo>
                    <a:cubicBezTo>
                      <a:pt x="140513" y="210528"/>
                      <a:pt x="143897" y="214364"/>
                      <a:pt x="144574" y="217749"/>
                    </a:cubicBezTo>
                    <a:cubicBezTo>
                      <a:pt x="144800" y="219328"/>
                      <a:pt x="145477" y="219554"/>
                      <a:pt x="149313" y="220682"/>
                    </a:cubicBezTo>
                    <a:cubicBezTo>
                      <a:pt x="151118" y="221133"/>
                      <a:pt x="153600" y="222036"/>
                      <a:pt x="156759" y="223164"/>
                    </a:cubicBezTo>
                    <a:cubicBezTo>
                      <a:pt x="157211" y="222487"/>
                      <a:pt x="158113" y="222036"/>
                      <a:pt x="159015" y="221810"/>
                    </a:cubicBezTo>
                    <a:cubicBezTo>
                      <a:pt x="162626" y="220682"/>
                      <a:pt x="172103" y="215718"/>
                      <a:pt x="175713" y="212784"/>
                    </a:cubicBezTo>
                    <a:cubicBezTo>
                      <a:pt x="180226" y="209174"/>
                      <a:pt x="184514" y="204887"/>
                      <a:pt x="189252" y="199471"/>
                    </a:cubicBezTo>
                    <a:cubicBezTo>
                      <a:pt x="192185" y="196312"/>
                      <a:pt x="193088" y="194056"/>
                      <a:pt x="194217" y="191799"/>
                    </a:cubicBezTo>
                    <a:cubicBezTo>
                      <a:pt x="195344" y="189768"/>
                      <a:pt x="196473" y="187512"/>
                      <a:pt x="198729" y="184353"/>
                    </a:cubicBezTo>
                    <a:cubicBezTo>
                      <a:pt x="201437" y="180968"/>
                      <a:pt x="200986" y="178937"/>
                      <a:pt x="200309" y="173973"/>
                    </a:cubicBezTo>
                    <a:cubicBezTo>
                      <a:pt x="199858" y="171040"/>
                      <a:pt x="199180" y="167429"/>
                      <a:pt x="199180" y="162691"/>
                    </a:cubicBezTo>
                    <a:cubicBezTo>
                      <a:pt x="199180" y="152762"/>
                      <a:pt x="202114" y="148926"/>
                      <a:pt x="205273" y="145090"/>
                    </a:cubicBezTo>
                    <a:cubicBezTo>
                      <a:pt x="206401" y="143737"/>
                      <a:pt x="207530" y="142157"/>
                      <a:pt x="208658" y="140126"/>
                    </a:cubicBezTo>
                    <a:cubicBezTo>
                      <a:pt x="212494" y="133357"/>
                      <a:pt x="212494" y="132003"/>
                      <a:pt x="211366" y="127716"/>
                    </a:cubicBezTo>
                    <a:cubicBezTo>
                      <a:pt x="210914" y="125911"/>
                      <a:pt x="209560" y="124331"/>
                      <a:pt x="208206" y="122526"/>
                    </a:cubicBezTo>
                    <a:cubicBezTo>
                      <a:pt x="206176" y="120044"/>
                      <a:pt x="204145" y="117336"/>
                      <a:pt x="204371" y="114177"/>
                    </a:cubicBezTo>
                    <a:cubicBezTo>
                      <a:pt x="204371" y="113049"/>
                      <a:pt x="204596" y="111920"/>
                      <a:pt x="204822" y="110341"/>
                    </a:cubicBezTo>
                    <a:cubicBezTo>
                      <a:pt x="205273" y="106279"/>
                      <a:pt x="205724" y="100864"/>
                      <a:pt x="205047" y="97930"/>
                    </a:cubicBezTo>
                    <a:cubicBezTo>
                      <a:pt x="204822" y="96802"/>
                      <a:pt x="203919" y="95674"/>
                      <a:pt x="202565" y="94094"/>
                    </a:cubicBezTo>
                    <a:cubicBezTo>
                      <a:pt x="200535" y="91387"/>
                      <a:pt x="197601" y="88002"/>
                      <a:pt x="196473" y="81910"/>
                    </a:cubicBezTo>
                    <a:cubicBezTo>
                      <a:pt x="194668" y="71755"/>
                      <a:pt x="201663" y="55735"/>
                      <a:pt x="204822" y="50770"/>
                    </a:cubicBezTo>
                    <a:cubicBezTo>
                      <a:pt x="207078" y="47386"/>
                      <a:pt x="209335" y="46709"/>
                      <a:pt x="211591" y="46709"/>
                    </a:cubicBezTo>
                    <a:cubicBezTo>
                      <a:pt x="211591" y="46709"/>
                      <a:pt x="211591" y="46709"/>
                      <a:pt x="211591" y="46709"/>
                    </a:cubicBezTo>
                    <a:cubicBezTo>
                      <a:pt x="210463" y="44001"/>
                      <a:pt x="209109" y="41519"/>
                      <a:pt x="207755" y="39037"/>
                    </a:cubicBezTo>
                    <a:cubicBezTo>
                      <a:pt x="204596" y="32944"/>
                      <a:pt x="201437" y="27303"/>
                      <a:pt x="203468" y="22113"/>
                    </a:cubicBezTo>
                    <a:cubicBezTo>
                      <a:pt x="205499" y="16472"/>
                      <a:pt x="205047" y="9477"/>
                      <a:pt x="202114" y="4513"/>
                    </a:cubicBezTo>
                    <a:cubicBezTo>
                      <a:pt x="194442" y="10831"/>
                      <a:pt x="182483" y="18954"/>
                      <a:pt x="177293" y="19631"/>
                    </a:cubicBezTo>
                    <a:cubicBezTo>
                      <a:pt x="170072" y="20308"/>
                      <a:pt x="164657" y="22339"/>
                      <a:pt x="161949" y="30237"/>
                    </a:cubicBezTo>
                    <a:cubicBezTo>
                      <a:pt x="159692" y="37232"/>
                      <a:pt x="156082" y="39262"/>
                      <a:pt x="152020" y="41744"/>
                    </a:cubicBezTo>
                    <a:cubicBezTo>
                      <a:pt x="150215" y="42873"/>
                      <a:pt x="148410" y="43775"/>
                      <a:pt x="146154" y="45581"/>
                    </a:cubicBezTo>
                    <a:cubicBezTo>
                      <a:pt x="142543" y="48514"/>
                      <a:pt x="137354" y="50996"/>
                      <a:pt x="132389" y="53478"/>
                    </a:cubicBezTo>
                    <a:cubicBezTo>
                      <a:pt x="127651" y="55960"/>
                      <a:pt x="123138" y="58217"/>
                      <a:pt x="120430" y="60473"/>
                    </a:cubicBezTo>
                    <a:cubicBezTo>
                      <a:pt x="115015" y="65212"/>
                      <a:pt x="112081" y="71079"/>
                      <a:pt x="108922" y="77397"/>
                    </a:cubicBezTo>
                    <a:lnTo>
                      <a:pt x="108020" y="79202"/>
                    </a:lnTo>
                    <a:cubicBezTo>
                      <a:pt x="105537" y="84166"/>
                      <a:pt x="103958" y="87325"/>
                      <a:pt x="98542" y="85746"/>
                    </a:cubicBezTo>
                    <a:cubicBezTo>
                      <a:pt x="95609" y="84843"/>
                      <a:pt x="94932" y="81458"/>
                      <a:pt x="94481" y="79202"/>
                    </a:cubicBezTo>
                    <a:cubicBezTo>
                      <a:pt x="94481" y="78976"/>
                      <a:pt x="94481" y="78976"/>
                      <a:pt x="94481" y="78751"/>
                    </a:cubicBezTo>
                    <a:cubicBezTo>
                      <a:pt x="94255" y="78976"/>
                      <a:pt x="94030" y="79202"/>
                      <a:pt x="93804" y="79653"/>
                    </a:cubicBezTo>
                    <a:lnTo>
                      <a:pt x="91999" y="82135"/>
                    </a:lnTo>
                    <a:cubicBezTo>
                      <a:pt x="87035" y="88679"/>
                      <a:pt x="80491" y="97479"/>
                      <a:pt x="80491" y="102443"/>
                    </a:cubicBezTo>
                    <a:cubicBezTo>
                      <a:pt x="80491" y="106054"/>
                      <a:pt x="77557" y="108085"/>
                      <a:pt x="74398" y="110115"/>
                    </a:cubicBezTo>
                    <a:cubicBezTo>
                      <a:pt x="70337" y="112823"/>
                      <a:pt x="65824" y="115982"/>
                      <a:pt x="64696" y="123203"/>
                    </a:cubicBezTo>
                    <a:lnTo>
                      <a:pt x="64019" y="127490"/>
                    </a:lnTo>
                    <a:cubicBezTo>
                      <a:pt x="62665" y="136967"/>
                      <a:pt x="62665" y="137418"/>
                      <a:pt x="65598" y="143511"/>
                    </a:cubicBezTo>
                    <a:cubicBezTo>
                      <a:pt x="66275" y="144639"/>
                      <a:pt x="66952" y="145993"/>
                      <a:pt x="67629" y="147121"/>
                    </a:cubicBezTo>
                    <a:cubicBezTo>
                      <a:pt x="71465" y="154116"/>
                      <a:pt x="76203" y="162917"/>
                      <a:pt x="71916" y="169686"/>
                    </a:cubicBezTo>
                    <a:cubicBezTo>
                      <a:pt x="67178" y="177132"/>
                      <a:pt x="61085" y="182999"/>
                      <a:pt x="55895" y="184804"/>
                    </a:cubicBezTo>
                    <a:cubicBezTo>
                      <a:pt x="54542" y="185255"/>
                      <a:pt x="53413" y="185255"/>
                      <a:pt x="52510" y="184804"/>
                    </a:cubicBezTo>
                    <a:cubicBezTo>
                      <a:pt x="51157" y="183902"/>
                      <a:pt x="50706" y="182322"/>
                      <a:pt x="50480" y="180968"/>
                    </a:cubicBezTo>
                    <a:cubicBezTo>
                      <a:pt x="50029" y="178486"/>
                      <a:pt x="49577" y="177584"/>
                      <a:pt x="47547" y="177358"/>
                    </a:cubicBezTo>
                    <a:cubicBezTo>
                      <a:pt x="41454" y="176906"/>
                      <a:pt x="30623" y="180743"/>
                      <a:pt x="25884" y="186609"/>
                    </a:cubicBezTo>
                    <a:lnTo>
                      <a:pt x="23628" y="189543"/>
                    </a:lnTo>
                    <a:cubicBezTo>
                      <a:pt x="17761" y="196989"/>
                      <a:pt x="5125" y="212333"/>
                      <a:pt x="3771" y="217523"/>
                    </a:cubicBezTo>
                    <a:cubicBezTo>
                      <a:pt x="1966" y="223390"/>
                      <a:pt x="1966" y="225420"/>
                      <a:pt x="6027" y="231738"/>
                    </a:cubicBezTo>
                    <a:cubicBezTo>
                      <a:pt x="7156" y="233544"/>
                      <a:pt x="8510" y="234898"/>
                      <a:pt x="9863" y="236026"/>
                    </a:cubicBezTo>
                    <a:cubicBezTo>
                      <a:pt x="13022" y="239185"/>
                      <a:pt x="16182" y="242118"/>
                      <a:pt x="12571" y="250919"/>
                    </a:cubicBezTo>
                    <a:cubicBezTo>
                      <a:pt x="10992" y="254980"/>
                      <a:pt x="8961" y="257914"/>
                      <a:pt x="7156" y="260396"/>
                    </a:cubicBezTo>
                    <a:cubicBezTo>
                      <a:pt x="8961" y="260170"/>
                      <a:pt x="10541" y="259719"/>
                      <a:pt x="11894" y="259267"/>
                    </a:cubicBezTo>
                    <a:cubicBezTo>
                      <a:pt x="17084" y="257914"/>
                      <a:pt x="20018" y="257011"/>
                      <a:pt x="22274" y="257011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xmlns="" id="{C511719B-E49F-4BAD-9816-19D2E41DBCB3}"/>
                  </a:ext>
                </a:extLst>
              </p:cNvPr>
              <p:cNvSpPr/>
              <p:nvPr/>
            </p:nvSpPr>
            <p:spPr>
              <a:xfrm>
                <a:off x="10951579" y="2090792"/>
                <a:ext cx="676938" cy="383598"/>
              </a:xfrm>
              <a:custGeom>
                <a:avLst/>
                <a:gdLst>
                  <a:gd name="connsiteX0" fmla="*/ 73544 w 676938"/>
                  <a:gd name="connsiteY0" fmla="*/ 405486 h 383598"/>
                  <a:gd name="connsiteX1" fmla="*/ 72416 w 676938"/>
                  <a:gd name="connsiteY1" fmla="*/ 405486 h 383598"/>
                  <a:gd name="connsiteX2" fmla="*/ 63616 w 676938"/>
                  <a:gd name="connsiteY2" fmla="*/ 404132 h 383598"/>
                  <a:gd name="connsiteX3" fmla="*/ 72867 w 676938"/>
                  <a:gd name="connsiteY3" fmla="*/ 401650 h 383598"/>
                  <a:gd name="connsiteX4" fmla="*/ 74221 w 676938"/>
                  <a:gd name="connsiteY4" fmla="*/ 388563 h 383598"/>
                  <a:gd name="connsiteX5" fmla="*/ 68580 w 676938"/>
                  <a:gd name="connsiteY5" fmla="*/ 374573 h 383598"/>
                  <a:gd name="connsiteX6" fmla="*/ 63616 w 676938"/>
                  <a:gd name="connsiteY6" fmla="*/ 357875 h 383598"/>
                  <a:gd name="connsiteX7" fmla="*/ 67677 w 676938"/>
                  <a:gd name="connsiteY7" fmla="*/ 342756 h 383598"/>
                  <a:gd name="connsiteX8" fmla="*/ 60457 w 676938"/>
                  <a:gd name="connsiteY8" fmla="*/ 327864 h 383598"/>
                  <a:gd name="connsiteX9" fmla="*/ 58877 w 676938"/>
                  <a:gd name="connsiteY9" fmla="*/ 325382 h 383598"/>
                  <a:gd name="connsiteX10" fmla="*/ 49174 w 676938"/>
                  <a:gd name="connsiteY10" fmla="*/ 318838 h 383598"/>
                  <a:gd name="connsiteX11" fmla="*/ 48046 w 676938"/>
                  <a:gd name="connsiteY11" fmla="*/ 319064 h 383598"/>
                  <a:gd name="connsiteX12" fmla="*/ 27738 w 676938"/>
                  <a:gd name="connsiteY12" fmla="*/ 321546 h 383598"/>
                  <a:gd name="connsiteX13" fmla="*/ 26159 w 676938"/>
                  <a:gd name="connsiteY13" fmla="*/ 322223 h 383598"/>
                  <a:gd name="connsiteX14" fmla="*/ 24128 w 676938"/>
                  <a:gd name="connsiteY14" fmla="*/ 324028 h 383598"/>
                  <a:gd name="connsiteX15" fmla="*/ 21194 w 676938"/>
                  <a:gd name="connsiteY15" fmla="*/ 322674 h 383598"/>
                  <a:gd name="connsiteX16" fmla="*/ 12169 w 676938"/>
                  <a:gd name="connsiteY16" fmla="*/ 318612 h 383598"/>
                  <a:gd name="connsiteX17" fmla="*/ 886 w 676938"/>
                  <a:gd name="connsiteY17" fmla="*/ 305525 h 383598"/>
                  <a:gd name="connsiteX18" fmla="*/ 435 w 676938"/>
                  <a:gd name="connsiteY18" fmla="*/ 302140 h 383598"/>
                  <a:gd name="connsiteX19" fmla="*/ 3594 w 676938"/>
                  <a:gd name="connsiteY19" fmla="*/ 291986 h 383598"/>
                  <a:gd name="connsiteX20" fmla="*/ 6076 w 676938"/>
                  <a:gd name="connsiteY20" fmla="*/ 287473 h 383598"/>
                  <a:gd name="connsiteX21" fmla="*/ 7881 w 676938"/>
                  <a:gd name="connsiteY21" fmla="*/ 282509 h 383598"/>
                  <a:gd name="connsiteX22" fmla="*/ 6753 w 676938"/>
                  <a:gd name="connsiteY22" fmla="*/ 279350 h 383598"/>
                  <a:gd name="connsiteX23" fmla="*/ 5625 w 676938"/>
                  <a:gd name="connsiteY23" fmla="*/ 272806 h 383598"/>
                  <a:gd name="connsiteX24" fmla="*/ 9009 w 676938"/>
                  <a:gd name="connsiteY24" fmla="*/ 270550 h 383598"/>
                  <a:gd name="connsiteX25" fmla="*/ 29543 w 676938"/>
                  <a:gd name="connsiteY25" fmla="*/ 278447 h 383598"/>
                  <a:gd name="connsiteX26" fmla="*/ 34282 w 676938"/>
                  <a:gd name="connsiteY26" fmla="*/ 284765 h 383598"/>
                  <a:gd name="connsiteX27" fmla="*/ 39020 w 676938"/>
                  <a:gd name="connsiteY27" fmla="*/ 286345 h 383598"/>
                  <a:gd name="connsiteX28" fmla="*/ 49851 w 676938"/>
                  <a:gd name="connsiteY28" fmla="*/ 280704 h 383598"/>
                  <a:gd name="connsiteX29" fmla="*/ 58426 w 676938"/>
                  <a:gd name="connsiteY29" fmla="*/ 275965 h 383598"/>
                  <a:gd name="connsiteX30" fmla="*/ 62036 w 676938"/>
                  <a:gd name="connsiteY30" fmla="*/ 272580 h 383598"/>
                  <a:gd name="connsiteX31" fmla="*/ 69257 w 676938"/>
                  <a:gd name="connsiteY31" fmla="*/ 264909 h 383598"/>
                  <a:gd name="connsiteX32" fmla="*/ 71965 w 676938"/>
                  <a:gd name="connsiteY32" fmla="*/ 263103 h 383598"/>
                  <a:gd name="connsiteX33" fmla="*/ 76703 w 676938"/>
                  <a:gd name="connsiteY33" fmla="*/ 260847 h 383598"/>
                  <a:gd name="connsiteX34" fmla="*/ 86180 w 676938"/>
                  <a:gd name="connsiteY34" fmla="*/ 265585 h 383598"/>
                  <a:gd name="connsiteX35" fmla="*/ 89114 w 676938"/>
                  <a:gd name="connsiteY35" fmla="*/ 268293 h 383598"/>
                  <a:gd name="connsiteX36" fmla="*/ 108068 w 676938"/>
                  <a:gd name="connsiteY36" fmla="*/ 262878 h 383598"/>
                  <a:gd name="connsiteX37" fmla="*/ 117545 w 676938"/>
                  <a:gd name="connsiteY37" fmla="*/ 259493 h 383598"/>
                  <a:gd name="connsiteX38" fmla="*/ 129504 w 676938"/>
                  <a:gd name="connsiteY38" fmla="*/ 247083 h 383598"/>
                  <a:gd name="connsiteX39" fmla="*/ 189752 w 676938"/>
                  <a:gd name="connsiteY39" fmla="*/ 189317 h 383598"/>
                  <a:gd name="connsiteX40" fmla="*/ 209158 w 676938"/>
                  <a:gd name="connsiteY40" fmla="*/ 142383 h 383598"/>
                  <a:gd name="connsiteX41" fmla="*/ 233076 w 676938"/>
                  <a:gd name="connsiteY41" fmla="*/ 136065 h 383598"/>
                  <a:gd name="connsiteX42" fmla="*/ 246841 w 676938"/>
                  <a:gd name="connsiteY42" fmla="*/ 134034 h 383598"/>
                  <a:gd name="connsiteX43" fmla="*/ 296031 w 676938"/>
                  <a:gd name="connsiteY43" fmla="*/ 87551 h 383598"/>
                  <a:gd name="connsiteX44" fmla="*/ 312955 w 676938"/>
                  <a:gd name="connsiteY44" fmla="*/ 63407 h 383598"/>
                  <a:gd name="connsiteX45" fmla="*/ 339130 w 676938"/>
                  <a:gd name="connsiteY45" fmla="*/ 43775 h 383598"/>
                  <a:gd name="connsiteX46" fmla="*/ 368915 w 676938"/>
                  <a:gd name="connsiteY46" fmla="*/ 47837 h 383598"/>
                  <a:gd name="connsiteX47" fmla="*/ 394864 w 676938"/>
                  <a:gd name="connsiteY47" fmla="*/ 53027 h 383598"/>
                  <a:gd name="connsiteX48" fmla="*/ 417654 w 676938"/>
                  <a:gd name="connsiteY48" fmla="*/ 57991 h 383598"/>
                  <a:gd name="connsiteX49" fmla="*/ 423296 w 676938"/>
                  <a:gd name="connsiteY49" fmla="*/ 61376 h 383598"/>
                  <a:gd name="connsiteX50" fmla="*/ 428711 w 676938"/>
                  <a:gd name="connsiteY50" fmla="*/ 64083 h 383598"/>
                  <a:gd name="connsiteX51" fmla="*/ 432547 w 676938"/>
                  <a:gd name="connsiteY51" fmla="*/ 66114 h 383598"/>
                  <a:gd name="connsiteX52" fmla="*/ 438414 w 676938"/>
                  <a:gd name="connsiteY52" fmla="*/ 67243 h 383598"/>
                  <a:gd name="connsiteX53" fmla="*/ 439542 w 676938"/>
                  <a:gd name="connsiteY53" fmla="*/ 63858 h 383598"/>
                  <a:gd name="connsiteX54" fmla="*/ 446086 w 676938"/>
                  <a:gd name="connsiteY54" fmla="*/ 53704 h 383598"/>
                  <a:gd name="connsiteX55" fmla="*/ 452855 w 676938"/>
                  <a:gd name="connsiteY55" fmla="*/ 46257 h 383598"/>
                  <a:gd name="connsiteX56" fmla="*/ 456466 w 676938"/>
                  <a:gd name="connsiteY56" fmla="*/ 38811 h 383598"/>
                  <a:gd name="connsiteX57" fmla="*/ 488959 w 676938"/>
                  <a:gd name="connsiteY57" fmla="*/ 18503 h 383598"/>
                  <a:gd name="connsiteX58" fmla="*/ 498887 w 676938"/>
                  <a:gd name="connsiteY58" fmla="*/ 11734 h 383598"/>
                  <a:gd name="connsiteX59" fmla="*/ 519195 w 676938"/>
                  <a:gd name="connsiteY59" fmla="*/ 0 h 383598"/>
                  <a:gd name="connsiteX60" fmla="*/ 520324 w 676938"/>
                  <a:gd name="connsiteY60" fmla="*/ 0 h 383598"/>
                  <a:gd name="connsiteX61" fmla="*/ 533862 w 676938"/>
                  <a:gd name="connsiteY61" fmla="*/ 8800 h 383598"/>
                  <a:gd name="connsiteX62" fmla="*/ 535667 w 676938"/>
                  <a:gd name="connsiteY62" fmla="*/ 18052 h 383598"/>
                  <a:gd name="connsiteX63" fmla="*/ 535442 w 676938"/>
                  <a:gd name="connsiteY63" fmla="*/ 19406 h 383598"/>
                  <a:gd name="connsiteX64" fmla="*/ 540181 w 676938"/>
                  <a:gd name="connsiteY64" fmla="*/ 20082 h 383598"/>
                  <a:gd name="connsiteX65" fmla="*/ 547852 w 676938"/>
                  <a:gd name="connsiteY65" fmla="*/ 23919 h 383598"/>
                  <a:gd name="connsiteX66" fmla="*/ 540406 w 676938"/>
                  <a:gd name="connsiteY66" fmla="*/ 40616 h 383598"/>
                  <a:gd name="connsiteX67" fmla="*/ 535442 w 676938"/>
                  <a:gd name="connsiteY67" fmla="*/ 45129 h 383598"/>
                  <a:gd name="connsiteX68" fmla="*/ 533637 w 676938"/>
                  <a:gd name="connsiteY68" fmla="*/ 50770 h 383598"/>
                  <a:gd name="connsiteX69" fmla="*/ 534765 w 676938"/>
                  <a:gd name="connsiteY69" fmla="*/ 57540 h 383598"/>
                  <a:gd name="connsiteX70" fmla="*/ 536796 w 676938"/>
                  <a:gd name="connsiteY70" fmla="*/ 64083 h 383598"/>
                  <a:gd name="connsiteX71" fmla="*/ 537473 w 676938"/>
                  <a:gd name="connsiteY71" fmla="*/ 64986 h 383598"/>
                  <a:gd name="connsiteX72" fmla="*/ 546273 w 676938"/>
                  <a:gd name="connsiteY72" fmla="*/ 57540 h 383598"/>
                  <a:gd name="connsiteX73" fmla="*/ 547852 w 676938"/>
                  <a:gd name="connsiteY73" fmla="*/ 55735 h 383598"/>
                  <a:gd name="connsiteX74" fmla="*/ 550560 w 676938"/>
                  <a:gd name="connsiteY74" fmla="*/ 51899 h 383598"/>
                  <a:gd name="connsiteX75" fmla="*/ 560714 w 676938"/>
                  <a:gd name="connsiteY75" fmla="*/ 47611 h 383598"/>
                  <a:gd name="connsiteX76" fmla="*/ 569514 w 676938"/>
                  <a:gd name="connsiteY76" fmla="*/ 57088 h 383598"/>
                  <a:gd name="connsiteX77" fmla="*/ 574253 w 676938"/>
                  <a:gd name="connsiteY77" fmla="*/ 64760 h 383598"/>
                  <a:gd name="connsiteX78" fmla="*/ 587792 w 676938"/>
                  <a:gd name="connsiteY78" fmla="*/ 85520 h 383598"/>
                  <a:gd name="connsiteX79" fmla="*/ 581248 w 676938"/>
                  <a:gd name="connsiteY79" fmla="*/ 102895 h 383598"/>
                  <a:gd name="connsiteX80" fmla="*/ 576510 w 676938"/>
                  <a:gd name="connsiteY80" fmla="*/ 109213 h 383598"/>
                  <a:gd name="connsiteX81" fmla="*/ 568837 w 676938"/>
                  <a:gd name="connsiteY81" fmla="*/ 118464 h 383598"/>
                  <a:gd name="connsiteX82" fmla="*/ 564324 w 676938"/>
                  <a:gd name="connsiteY82" fmla="*/ 129747 h 383598"/>
                  <a:gd name="connsiteX83" fmla="*/ 564324 w 676938"/>
                  <a:gd name="connsiteY83" fmla="*/ 133808 h 383598"/>
                  <a:gd name="connsiteX84" fmla="*/ 565453 w 676938"/>
                  <a:gd name="connsiteY84" fmla="*/ 139675 h 383598"/>
                  <a:gd name="connsiteX85" fmla="*/ 568612 w 676938"/>
                  <a:gd name="connsiteY85" fmla="*/ 140803 h 383598"/>
                  <a:gd name="connsiteX86" fmla="*/ 581248 w 676938"/>
                  <a:gd name="connsiteY86" fmla="*/ 135388 h 383598"/>
                  <a:gd name="connsiteX87" fmla="*/ 585987 w 676938"/>
                  <a:gd name="connsiteY87" fmla="*/ 131100 h 383598"/>
                  <a:gd name="connsiteX88" fmla="*/ 598397 w 676938"/>
                  <a:gd name="connsiteY88" fmla="*/ 126813 h 383598"/>
                  <a:gd name="connsiteX89" fmla="*/ 611936 w 676938"/>
                  <a:gd name="connsiteY89" fmla="*/ 133131 h 383598"/>
                  <a:gd name="connsiteX90" fmla="*/ 624798 w 676938"/>
                  <a:gd name="connsiteY90" fmla="*/ 138547 h 383598"/>
                  <a:gd name="connsiteX91" fmla="*/ 630213 w 676938"/>
                  <a:gd name="connsiteY91" fmla="*/ 138547 h 383598"/>
                  <a:gd name="connsiteX92" fmla="*/ 643527 w 676938"/>
                  <a:gd name="connsiteY92" fmla="*/ 135388 h 383598"/>
                  <a:gd name="connsiteX93" fmla="*/ 659096 w 676938"/>
                  <a:gd name="connsiteY93" fmla="*/ 134711 h 383598"/>
                  <a:gd name="connsiteX94" fmla="*/ 663609 w 676938"/>
                  <a:gd name="connsiteY94" fmla="*/ 136516 h 383598"/>
                  <a:gd name="connsiteX95" fmla="*/ 678953 w 676938"/>
                  <a:gd name="connsiteY95" fmla="*/ 139224 h 383598"/>
                  <a:gd name="connsiteX96" fmla="*/ 693846 w 676938"/>
                  <a:gd name="connsiteY96" fmla="*/ 145993 h 383598"/>
                  <a:gd name="connsiteX97" fmla="*/ 693620 w 676938"/>
                  <a:gd name="connsiteY97" fmla="*/ 155921 h 383598"/>
                  <a:gd name="connsiteX98" fmla="*/ 690912 w 676938"/>
                  <a:gd name="connsiteY98" fmla="*/ 161563 h 383598"/>
                  <a:gd name="connsiteX99" fmla="*/ 691363 w 676938"/>
                  <a:gd name="connsiteY99" fmla="*/ 166752 h 383598"/>
                  <a:gd name="connsiteX100" fmla="*/ 692943 w 676938"/>
                  <a:gd name="connsiteY100" fmla="*/ 169911 h 383598"/>
                  <a:gd name="connsiteX101" fmla="*/ 689558 w 676938"/>
                  <a:gd name="connsiteY101" fmla="*/ 185481 h 383598"/>
                  <a:gd name="connsiteX102" fmla="*/ 685045 w 676938"/>
                  <a:gd name="connsiteY102" fmla="*/ 192025 h 383598"/>
                  <a:gd name="connsiteX103" fmla="*/ 679404 w 676938"/>
                  <a:gd name="connsiteY103" fmla="*/ 200825 h 383598"/>
                  <a:gd name="connsiteX104" fmla="*/ 673537 w 676938"/>
                  <a:gd name="connsiteY104" fmla="*/ 207820 h 383598"/>
                  <a:gd name="connsiteX105" fmla="*/ 667896 w 676938"/>
                  <a:gd name="connsiteY105" fmla="*/ 216620 h 383598"/>
                  <a:gd name="connsiteX106" fmla="*/ 659547 w 676938"/>
                  <a:gd name="connsiteY106" fmla="*/ 226549 h 383598"/>
                  <a:gd name="connsiteX107" fmla="*/ 652552 w 676938"/>
                  <a:gd name="connsiteY107" fmla="*/ 235800 h 383598"/>
                  <a:gd name="connsiteX108" fmla="*/ 650973 w 676938"/>
                  <a:gd name="connsiteY108" fmla="*/ 239636 h 383598"/>
                  <a:gd name="connsiteX109" fmla="*/ 649619 w 676938"/>
                  <a:gd name="connsiteY109" fmla="*/ 250242 h 383598"/>
                  <a:gd name="connsiteX110" fmla="*/ 649845 w 676938"/>
                  <a:gd name="connsiteY110" fmla="*/ 252498 h 383598"/>
                  <a:gd name="connsiteX111" fmla="*/ 649845 w 676938"/>
                  <a:gd name="connsiteY111" fmla="*/ 257462 h 383598"/>
                  <a:gd name="connsiteX112" fmla="*/ 656840 w 676938"/>
                  <a:gd name="connsiteY112" fmla="*/ 271227 h 383598"/>
                  <a:gd name="connsiteX113" fmla="*/ 672635 w 676938"/>
                  <a:gd name="connsiteY113" fmla="*/ 287022 h 383598"/>
                  <a:gd name="connsiteX114" fmla="*/ 673312 w 676938"/>
                  <a:gd name="connsiteY114" fmla="*/ 288601 h 383598"/>
                  <a:gd name="connsiteX115" fmla="*/ 673537 w 676938"/>
                  <a:gd name="connsiteY115" fmla="*/ 301689 h 383598"/>
                  <a:gd name="connsiteX116" fmla="*/ 662932 w 676938"/>
                  <a:gd name="connsiteY116" fmla="*/ 305299 h 383598"/>
                  <a:gd name="connsiteX117" fmla="*/ 648039 w 676938"/>
                  <a:gd name="connsiteY117" fmla="*/ 297627 h 383598"/>
                  <a:gd name="connsiteX118" fmla="*/ 644429 w 676938"/>
                  <a:gd name="connsiteY118" fmla="*/ 293566 h 383598"/>
                  <a:gd name="connsiteX119" fmla="*/ 643301 w 676938"/>
                  <a:gd name="connsiteY119" fmla="*/ 292437 h 383598"/>
                  <a:gd name="connsiteX120" fmla="*/ 627054 w 676938"/>
                  <a:gd name="connsiteY120" fmla="*/ 281832 h 383598"/>
                  <a:gd name="connsiteX121" fmla="*/ 602684 w 676938"/>
                  <a:gd name="connsiteY121" fmla="*/ 287699 h 383598"/>
                  <a:gd name="connsiteX122" fmla="*/ 580346 w 676938"/>
                  <a:gd name="connsiteY122" fmla="*/ 293791 h 383598"/>
                  <a:gd name="connsiteX123" fmla="*/ 555750 w 676938"/>
                  <a:gd name="connsiteY123" fmla="*/ 308684 h 383598"/>
                  <a:gd name="connsiteX124" fmla="*/ 508364 w 676938"/>
                  <a:gd name="connsiteY124" fmla="*/ 355618 h 383598"/>
                  <a:gd name="connsiteX125" fmla="*/ 496631 w 676938"/>
                  <a:gd name="connsiteY125" fmla="*/ 367126 h 383598"/>
                  <a:gd name="connsiteX126" fmla="*/ 489410 w 676938"/>
                  <a:gd name="connsiteY126" fmla="*/ 374798 h 383598"/>
                  <a:gd name="connsiteX127" fmla="*/ 469102 w 676938"/>
                  <a:gd name="connsiteY127" fmla="*/ 392850 h 383598"/>
                  <a:gd name="connsiteX128" fmla="*/ 460979 w 676938"/>
                  <a:gd name="connsiteY128" fmla="*/ 393527 h 383598"/>
                  <a:gd name="connsiteX129" fmla="*/ 459851 w 676938"/>
                  <a:gd name="connsiteY129" fmla="*/ 393301 h 383598"/>
                  <a:gd name="connsiteX130" fmla="*/ 459399 w 676938"/>
                  <a:gd name="connsiteY130" fmla="*/ 392173 h 383598"/>
                  <a:gd name="connsiteX131" fmla="*/ 454660 w 676938"/>
                  <a:gd name="connsiteY131" fmla="*/ 381568 h 383598"/>
                  <a:gd name="connsiteX132" fmla="*/ 450373 w 676938"/>
                  <a:gd name="connsiteY132" fmla="*/ 364644 h 383598"/>
                  <a:gd name="connsiteX133" fmla="*/ 447891 w 676938"/>
                  <a:gd name="connsiteY133" fmla="*/ 345464 h 383598"/>
                  <a:gd name="connsiteX134" fmla="*/ 446763 w 676938"/>
                  <a:gd name="connsiteY134" fmla="*/ 344110 h 383598"/>
                  <a:gd name="connsiteX135" fmla="*/ 448117 w 676938"/>
                  <a:gd name="connsiteY135" fmla="*/ 342982 h 383598"/>
                  <a:gd name="connsiteX136" fmla="*/ 458496 w 676938"/>
                  <a:gd name="connsiteY136" fmla="*/ 332377 h 383598"/>
                  <a:gd name="connsiteX137" fmla="*/ 468876 w 676938"/>
                  <a:gd name="connsiteY137" fmla="*/ 326961 h 383598"/>
                  <a:gd name="connsiteX138" fmla="*/ 474969 w 676938"/>
                  <a:gd name="connsiteY138" fmla="*/ 324705 h 383598"/>
                  <a:gd name="connsiteX139" fmla="*/ 475646 w 676938"/>
                  <a:gd name="connsiteY139" fmla="*/ 323802 h 383598"/>
                  <a:gd name="connsiteX140" fmla="*/ 480159 w 676938"/>
                  <a:gd name="connsiteY140" fmla="*/ 313648 h 383598"/>
                  <a:gd name="connsiteX141" fmla="*/ 480835 w 676938"/>
                  <a:gd name="connsiteY141" fmla="*/ 310940 h 383598"/>
                  <a:gd name="connsiteX142" fmla="*/ 484220 w 676938"/>
                  <a:gd name="connsiteY142" fmla="*/ 305525 h 383598"/>
                  <a:gd name="connsiteX143" fmla="*/ 488959 w 676938"/>
                  <a:gd name="connsiteY143" fmla="*/ 308233 h 383598"/>
                  <a:gd name="connsiteX144" fmla="*/ 493697 w 676938"/>
                  <a:gd name="connsiteY144" fmla="*/ 312069 h 383598"/>
                  <a:gd name="connsiteX145" fmla="*/ 494600 w 676938"/>
                  <a:gd name="connsiteY145" fmla="*/ 312294 h 383598"/>
                  <a:gd name="connsiteX146" fmla="*/ 506334 w 676938"/>
                  <a:gd name="connsiteY146" fmla="*/ 307556 h 383598"/>
                  <a:gd name="connsiteX147" fmla="*/ 515134 w 676938"/>
                  <a:gd name="connsiteY147" fmla="*/ 303494 h 383598"/>
                  <a:gd name="connsiteX148" fmla="*/ 515811 w 676938"/>
                  <a:gd name="connsiteY148" fmla="*/ 303494 h 383598"/>
                  <a:gd name="connsiteX149" fmla="*/ 516939 w 676938"/>
                  <a:gd name="connsiteY149" fmla="*/ 302140 h 383598"/>
                  <a:gd name="connsiteX150" fmla="*/ 524611 w 676938"/>
                  <a:gd name="connsiteY150" fmla="*/ 298304 h 383598"/>
                  <a:gd name="connsiteX151" fmla="*/ 529575 w 676938"/>
                  <a:gd name="connsiteY151" fmla="*/ 298078 h 383598"/>
                  <a:gd name="connsiteX152" fmla="*/ 539955 w 676938"/>
                  <a:gd name="connsiteY152" fmla="*/ 290632 h 383598"/>
                  <a:gd name="connsiteX153" fmla="*/ 540406 w 676938"/>
                  <a:gd name="connsiteY153" fmla="*/ 289955 h 383598"/>
                  <a:gd name="connsiteX154" fmla="*/ 541534 w 676938"/>
                  <a:gd name="connsiteY154" fmla="*/ 286119 h 383598"/>
                  <a:gd name="connsiteX155" fmla="*/ 534539 w 676938"/>
                  <a:gd name="connsiteY155" fmla="*/ 279801 h 383598"/>
                  <a:gd name="connsiteX156" fmla="*/ 532734 w 676938"/>
                  <a:gd name="connsiteY156" fmla="*/ 283186 h 383598"/>
                  <a:gd name="connsiteX157" fmla="*/ 525739 w 676938"/>
                  <a:gd name="connsiteY157" fmla="*/ 287473 h 383598"/>
                  <a:gd name="connsiteX158" fmla="*/ 522354 w 676938"/>
                  <a:gd name="connsiteY158" fmla="*/ 284765 h 383598"/>
                  <a:gd name="connsiteX159" fmla="*/ 519872 w 676938"/>
                  <a:gd name="connsiteY159" fmla="*/ 273483 h 383598"/>
                  <a:gd name="connsiteX160" fmla="*/ 519647 w 676938"/>
                  <a:gd name="connsiteY160" fmla="*/ 270098 h 383598"/>
                  <a:gd name="connsiteX161" fmla="*/ 517616 w 676938"/>
                  <a:gd name="connsiteY161" fmla="*/ 266939 h 383598"/>
                  <a:gd name="connsiteX162" fmla="*/ 512426 w 676938"/>
                  <a:gd name="connsiteY162" fmla="*/ 263103 h 383598"/>
                  <a:gd name="connsiteX163" fmla="*/ 510395 w 676938"/>
                  <a:gd name="connsiteY163" fmla="*/ 260621 h 383598"/>
                  <a:gd name="connsiteX164" fmla="*/ 508364 w 676938"/>
                  <a:gd name="connsiteY164" fmla="*/ 251144 h 383598"/>
                  <a:gd name="connsiteX165" fmla="*/ 507687 w 676938"/>
                  <a:gd name="connsiteY165" fmla="*/ 243698 h 383598"/>
                  <a:gd name="connsiteX166" fmla="*/ 506334 w 676938"/>
                  <a:gd name="connsiteY166" fmla="*/ 236928 h 383598"/>
                  <a:gd name="connsiteX167" fmla="*/ 512200 w 676938"/>
                  <a:gd name="connsiteY167" fmla="*/ 225646 h 383598"/>
                  <a:gd name="connsiteX168" fmla="*/ 516488 w 676938"/>
                  <a:gd name="connsiteY168" fmla="*/ 220682 h 383598"/>
                  <a:gd name="connsiteX169" fmla="*/ 519872 w 676938"/>
                  <a:gd name="connsiteY169" fmla="*/ 216169 h 383598"/>
                  <a:gd name="connsiteX170" fmla="*/ 525739 w 676938"/>
                  <a:gd name="connsiteY170" fmla="*/ 206917 h 383598"/>
                  <a:gd name="connsiteX171" fmla="*/ 525739 w 676938"/>
                  <a:gd name="connsiteY171" fmla="*/ 206917 h 383598"/>
                  <a:gd name="connsiteX172" fmla="*/ 523031 w 676938"/>
                  <a:gd name="connsiteY172" fmla="*/ 206692 h 383598"/>
                  <a:gd name="connsiteX173" fmla="*/ 519872 w 676938"/>
                  <a:gd name="connsiteY173" fmla="*/ 206917 h 383598"/>
                  <a:gd name="connsiteX174" fmla="*/ 515585 w 676938"/>
                  <a:gd name="connsiteY174" fmla="*/ 210302 h 383598"/>
                  <a:gd name="connsiteX175" fmla="*/ 502949 w 676938"/>
                  <a:gd name="connsiteY175" fmla="*/ 211656 h 383598"/>
                  <a:gd name="connsiteX176" fmla="*/ 489861 w 676938"/>
                  <a:gd name="connsiteY176" fmla="*/ 210979 h 383598"/>
                  <a:gd name="connsiteX177" fmla="*/ 485123 w 676938"/>
                  <a:gd name="connsiteY177" fmla="*/ 211205 h 383598"/>
                  <a:gd name="connsiteX178" fmla="*/ 485123 w 676938"/>
                  <a:gd name="connsiteY178" fmla="*/ 217523 h 383598"/>
                  <a:gd name="connsiteX179" fmla="*/ 472712 w 676938"/>
                  <a:gd name="connsiteY179" fmla="*/ 229256 h 383598"/>
                  <a:gd name="connsiteX180" fmla="*/ 464589 w 676938"/>
                  <a:gd name="connsiteY180" fmla="*/ 230610 h 383598"/>
                  <a:gd name="connsiteX181" fmla="*/ 456014 w 676938"/>
                  <a:gd name="connsiteY181" fmla="*/ 229031 h 383598"/>
                  <a:gd name="connsiteX182" fmla="*/ 446989 w 676938"/>
                  <a:gd name="connsiteY182" fmla="*/ 230385 h 383598"/>
                  <a:gd name="connsiteX183" fmla="*/ 439768 w 676938"/>
                  <a:gd name="connsiteY183" fmla="*/ 233995 h 383598"/>
                  <a:gd name="connsiteX184" fmla="*/ 430968 w 676938"/>
                  <a:gd name="connsiteY184" fmla="*/ 240990 h 383598"/>
                  <a:gd name="connsiteX185" fmla="*/ 411336 w 676938"/>
                  <a:gd name="connsiteY185" fmla="*/ 252949 h 383598"/>
                  <a:gd name="connsiteX186" fmla="*/ 396670 w 676938"/>
                  <a:gd name="connsiteY186" fmla="*/ 258816 h 383598"/>
                  <a:gd name="connsiteX187" fmla="*/ 382905 w 676938"/>
                  <a:gd name="connsiteY187" fmla="*/ 267165 h 383598"/>
                  <a:gd name="connsiteX188" fmla="*/ 376136 w 676938"/>
                  <a:gd name="connsiteY188" fmla="*/ 270324 h 383598"/>
                  <a:gd name="connsiteX189" fmla="*/ 350863 w 676938"/>
                  <a:gd name="connsiteY189" fmla="*/ 281606 h 383598"/>
                  <a:gd name="connsiteX190" fmla="*/ 325591 w 676938"/>
                  <a:gd name="connsiteY190" fmla="*/ 277996 h 383598"/>
                  <a:gd name="connsiteX191" fmla="*/ 322206 w 676938"/>
                  <a:gd name="connsiteY191" fmla="*/ 275514 h 383598"/>
                  <a:gd name="connsiteX192" fmla="*/ 321755 w 676938"/>
                  <a:gd name="connsiteY192" fmla="*/ 282283 h 383598"/>
                  <a:gd name="connsiteX193" fmla="*/ 324011 w 676938"/>
                  <a:gd name="connsiteY193" fmla="*/ 285442 h 383598"/>
                  <a:gd name="connsiteX194" fmla="*/ 326042 w 676938"/>
                  <a:gd name="connsiteY194" fmla="*/ 292663 h 383598"/>
                  <a:gd name="connsiteX195" fmla="*/ 325365 w 676938"/>
                  <a:gd name="connsiteY195" fmla="*/ 293791 h 383598"/>
                  <a:gd name="connsiteX196" fmla="*/ 313857 w 676938"/>
                  <a:gd name="connsiteY196" fmla="*/ 308684 h 383598"/>
                  <a:gd name="connsiteX197" fmla="*/ 305057 w 676938"/>
                  <a:gd name="connsiteY197" fmla="*/ 318612 h 383598"/>
                  <a:gd name="connsiteX198" fmla="*/ 293098 w 676938"/>
                  <a:gd name="connsiteY198" fmla="*/ 331925 h 383598"/>
                  <a:gd name="connsiteX199" fmla="*/ 286554 w 676938"/>
                  <a:gd name="connsiteY199" fmla="*/ 349075 h 383598"/>
                  <a:gd name="connsiteX200" fmla="*/ 286103 w 676938"/>
                  <a:gd name="connsiteY200" fmla="*/ 355167 h 383598"/>
                  <a:gd name="connsiteX201" fmla="*/ 276400 w 676938"/>
                  <a:gd name="connsiteY201" fmla="*/ 364644 h 383598"/>
                  <a:gd name="connsiteX202" fmla="*/ 270759 w 676938"/>
                  <a:gd name="connsiteY202" fmla="*/ 367126 h 383598"/>
                  <a:gd name="connsiteX203" fmla="*/ 269179 w 676938"/>
                  <a:gd name="connsiteY203" fmla="*/ 368029 h 383598"/>
                  <a:gd name="connsiteX204" fmla="*/ 242102 w 676938"/>
                  <a:gd name="connsiteY204" fmla="*/ 376829 h 383598"/>
                  <a:gd name="connsiteX205" fmla="*/ 225404 w 676938"/>
                  <a:gd name="connsiteY205" fmla="*/ 378183 h 383598"/>
                  <a:gd name="connsiteX206" fmla="*/ 217281 w 676938"/>
                  <a:gd name="connsiteY206" fmla="*/ 379311 h 383598"/>
                  <a:gd name="connsiteX207" fmla="*/ 204419 w 676938"/>
                  <a:gd name="connsiteY207" fmla="*/ 383147 h 383598"/>
                  <a:gd name="connsiteX208" fmla="*/ 189978 w 676938"/>
                  <a:gd name="connsiteY208" fmla="*/ 386757 h 383598"/>
                  <a:gd name="connsiteX209" fmla="*/ 178244 w 676938"/>
                  <a:gd name="connsiteY209" fmla="*/ 383824 h 383598"/>
                  <a:gd name="connsiteX210" fmla="*/ 168992 w 676938"/>
                  <a:gd name="connsiteY210" fmla="*/ 380439 h 383598"/>
                  <a:gd name="connsiteX211" fmla="*/ 161546 w 676938"/>
                  <a:gd name="connsiteY211" fmla="*/ 378409 h 383598"/>
                  <a:gd name="connsiteX212" fmla="*/ 138982 w 676938"/>
                  <a:gd name="connsiteY212" fmla="*/ 376378 h 383598"/>
                  <a:gd name="connsiteX213" fmla="*/ 133341 w 676938"/>
                  <a:gd name="connsiteY213" fmla="*/ 380214 h 383598"/>
                  <a:gd name="connsiteX214" fmla="*/ 112130 w 676938"/>
                  <a:gd name="connsiteY214" fmla="*/ 390368 h 383598"/>
                  <a:gd name="connsiteX215" fmla="*/ 94980 w 676938"/>
                  <a:gd name="connsiteY215" fmla="*/ 396686 h 383598"/>
                  <a:gd name="connsiteX216" fmla="*/ 78057 w 676938"/>
                  <a:gd name="connsiteY216" fmla="*/ 403455 h 383598"/>
                  <a:gd name="connsiteX217" fmla="*/ 73544 w 676938"/>
                  <a:gd name="connsiteY217" fmla="*/ 405486 h 383598"/>
                  <a:gd name="connsiteX218" fmla="*/ 49851 w 676938"/>
                  <a:gd name="connsiteY218" fmla="*/ 314776 h 383598"/>
                  <a:gd name="connsiteX219" fmla="*/ 62488 w 676938"/>
                  <a:gd name="connsiteY219" fmla="*/ 323351 h 383598"/>
                  <a:gd name="connsiteX220" fmla="*/ 63841 w 676938"/>
                  <a:gd name="connsiteY220" fmla="*/ 325607 h 383598"/>
                  <a:gd name="connsiteX221" fmla="*/ 71739 w 676938"/>
                  <a:gd name="connsiteY221" fmla="*/ 342531 h 383598"/>
                  <a:gd name="connsiteX222" fmla="*/ 67226 w 676938"/>
                  <a:gd name="connsiteY222" fmla="*/ 359454 h 383598"/>
                  <a:gd name="connsiteX223" fmla="*/ 70611 w 676938"/>
                  <a:gd name="connsiteY223" fmla="*/ 370962 h 383598"/>
                  <a:gd name="connsiteX224" fmla="*/ 78057 w 676938"/>
                  <a:gd name="connsiteY224" fmla="*/ 388111 h 383598"/>
                  <a:gd name="connsiteX225" fmla="*/ 77155 w 676938"/>
                  <a:gd name="connsiteY225" fmla="*/ 400296 h 383598"/>
                  <a:gd name="connsiteX226" fmla="*/ 93401 w 676938"/>
                  <a:gd name="connsiteY226" fmla="*/ 393752 h 383598"/>
                  <a:gd name="connsiteX227" fmla="*/ 111227 w 676938"/>
                  <a:gd name="connsiteY227" fmla="*/ 387209 h 383598"/>
                  <a:gd name="connsiteX228" fmla="*/ 131084 w 676938"/>
                  <a:gd name="connsiteY228" fmla="*/ 377732 h 383598"/>
                  <a:gd name="connsiteX229" fmla="*/ 137176 w 676938"/>
                  <a:gd name="connsiteY229" fmla="*/ 373670 h 383598"/>
                  <a:gd name="connsiteX230" fmla="*/ 162674 w 676938"/>
                  <a:gd name="connsiteY230" fmla="*/ 375250 h 383598"/>
                  <a:gd name="connsiteX231" fmla="*/ 169895 w 676938"/>
                  <a:gd name="connsiteY231" fmla="*/ 377280 h 383598"/>
                  <a:gd name="connsiteX232" fmla="*/ 180049 w 676938"/>
                  <a:gd name="connsiteY232" fmla="*/ 380891 h 383598"/>
                  <a:gd name="connsiteX233" fmla="*/ 190203 w 676938"/>
                  <a:gd name="connsiteY233" fmla="*/ 383373 h 383598"/>
                  <a:gd name="connsiteX234" fmla="*/ 203291 w 676938"/>
                  <a:gd name="connsiteY234" fmla="*/ 379988 h 383598"/>
                  <a:gd name="connsiteX235" fmla="*/ 217055 w 676938"/>
                  <a:gd name="connsiteY235" fmla="*/ 375926 h 383598"/>
                  <a:gd name="connsiteX236" fmla="*/ 225178 w 676938"/>
                  <a:gd name="connsiteY236" fmla="*/ 374798 h 383598"/>
                  <a:gd name="connsiteX237" fmla="*/ 242327 w 676938"/>
                  <a:gd name="connsiteY237" fmla="*/ 373444 h 383598"/>
                  <a:gd name="connsiteX238" fmla="*/ 267374 w 676938"/>
                  <a:gd name="connsiteY238" fmla="*/ 365321 h 383598"/>
                  <a:gd name="connsiteX239" fmla="*/ 268954 w 676938"/>
                  <a:gd name="connsiteY239" fmla="*/ 364419 h 383598"/>
                  <a:gd name="connsiteX240" fmla="*/ 275046 w 676938"/>
                  <a:gd name="connsiteY240" fmla="*/ 361711 h 383598"/>
                  <a:gd name="connsiteX241" fmla="*/ 282493 w 676938"/>
                  <a:gd name="connsiteY241" fmla="*/ 355167 h 383598"/>
                  <a:gd name="connsiteX242" fmla="*/ 282944 w 676938"/>
                  <a:gd name="connsiteY242" fmla="*/ 349526 h 383598"/>
                  <a:gd name="connsiteX243" fmla="*/ 290616 w 676938"/>
                  <a:gd name="connsiteY243" fmla="*/ 329669 h 383598"/>
                  <a:gd name="connsiteX244" fmla="*/ 302124 w 676938"/>
                  <a:gd name="connsiteY244" fmla="*/ 316807 h 383598"/>
                  <a:gd name="connsiteX245" fmla="*/ 311149 w 676938"/>
                  <a:gd name="connsiteY245" fmla="*/ 306427 h 383598"/>
                  <a:gd name="connsiteX246" fmla="*/ 321981 w 676938"/>
                  <a:gd name="connsiteY246" fmla="*/ 292212 h 383598"/>
                  <a:gd name="connsiteX247" fmla="*/ 322658 w 676938"/>
                  <a:gd name="connsiteY247" fmla="*/ 291084 h 383598"/>
                  <a:gd name="connsiteX248" fmla="*/ 321078 w 676938"/>
                  <a:gd name="connsiteY248" fmla="*/ 288376 h 383598"/>
                  <a:gd name="connsiteX249" fmla="*/ 317919 w 676938"/>
                  <a:gd name="connsiteY249" fmla="*/ 283863 h 383598"/>
                  <a:gd name="connsiteX250" fmla="*/ 319950 w 676938"/>
                  <a:gd name="connsiteY250" fmla="*/ 272580 h 383598"/>
                  <a:gd name="connsiteX251" fmla="*/ 327847 w 676938"/>
                  <a:gd name="connsiteY251" fmla="*/ 275740 h 383598"/>
                  <a:gd name="connsiteX252" fmla="*/ 348832 w 676938"/>
                  <a:gd name="connsiteY252" fmla="*/ 278447 h 383598"/>
                  <a:gd name="connsiteX253" fmla="*/ 374105 w 676938"/>
                  <a:gd name="connsiteY253" fmla="*/ 267165 h 383598"/>
                  <a:gd name="connsiteX254" fmla="*/ 380874 w 676938"/>
                  <a:gd name="connsiteY254" fmla="*/ 264006 h 383598"/>
                  <a:gd name="connsiteX255" fmla="*/ 393962 w 676938"/>
                  <a:gd name="connsiteY255" fmla="*/ 256108 h 383598"/>
                  <a:gd name="connsiteX256" fmla="*/ 410208 w 676938"/>
                  <a:gd name="connsiteY256" fmla="*/ 249339 h 383598"/>
                  <a:gd name="connsiteX257" fmla="*/ 427808 w 676938"/>
                  <a:gd name="connsiteY257" fmla="*/ 238508 h 383598"/>
                  <a:gd name="connsiteX258" fmla="*/ 437963 w 676938"/>
                  <a:gd name="connsiteY258" fmla="*/ 230610 h 383598"/>
                  <a:gd name="connsiteX259" fmla="*/ 444281 w 676938"/>
                  <a:gd name="connsiteY259" fmla="*/ 227451 h 383598"/>
                  <a:gd name="connsiteX260" fmla="*/ 455563 w 676938"/>
                  <a:gd name="connsiteY260" fmla="*/ 225421 h 383598"/>
                  <a:gd name="connsiteX261" fmla="*/ 465040 w 676938"/>
                  <a:gd name="connsiteY261" fmla="*/ 227226 h 383598"/>
                  <a:gd name="connsiteX262" fmla="*/ 470005 w 676938"/>
                  <a:gd name="connsiteY262" fmla="*/ 226323 h 383598"/>
                  <a:gd name="connsiteX263" fmla="*/ 481287 w 676938"/>
                  <a:gd name="connsiteY263" fmla="*/ 215492 h 383598"/>
                  <a:gd name="connsiteX264" fmla="*/ 480835 w 676938"/>
                  <a:gd name="connsiteY264" fmla="*/ 212559 h 383598"/>
                  <a:gd name="connsiteX265" fmla="*/ 479933 w 676938"/>
                  <a:gd name="connsiteY265" fmla="*/ 209400 h 383598"/>
                  <a:gd name="connsiteX266" fmla="*/ 489184 w 676938"/>
                  <a:gd name="connsiteY266" fmla="*/ 207143 h 383598"/>
                  <a:gd name="connsiteX267" fmla="*/ 502949 w 676938"/>
                  <a:gd name="connsiteY267" fmla="*/ 207820 h 383598"/>
                  <a:gd name="connsiteX268" fmla="*/ 513554 w 676938"/>
                  <a:gd name="connsiteY268" fmla="*/ 206692 h 383598"/>
                  <a:gd name="connsiteX269" fmla="*/ 515359 w 676938"/>
                  <a:gd name="connsiteY269" fmla="*/ 205789 h 383598"/>
                  <a:gd name="connsiteX270" fmla="*/ 515359 w 676938"/>
                  <a:gd name="connsiteY270" fmla="*/ 204435 h 383598"/>
                  <a:gd name="connsiteX271" fmla="*/ 522354 w 676938"/>
                  <a:gd name="connsiteY271" fmla="*/ 202856 h 383598"/>
                  <a:gd name="connsiteX272" fmla="*/ 528447 w 676938"/>
                  <a:gd name="connsiteY272" fmla="*/ 205112 h 383598"/>
                  <a:gd name="connsiteX273" fmla="*/ 522129 w 676938"/>
                  <a:gd name="connsiteY273" fmla="*/ 218425 h 383598"/>
                  <a:gd name="connsiteX274" fmla="*/ 518970 w 676938"/>
                  <a:gd name="connsiteY274" fmla="*/ 222487 h 383598"/>
                  <a:gd name="connsiteX275" fmla="*/ 514231 w 676938"/>
                  <a:gd name="connsiteY275" fmla="*/ 227903 h 383598"/>
                  <a:gd name="connsiteX276" fmla="*/ 509267 w 676938"/>
                  <a:gd name="connsiteY276" fmla="*/ 236252 h 383598"/>
                  <a:gd name="connsiteX277" fmla="*/ 510621 w 676938"/>
                  <a:gd name="connsiteY277" fmla="*/ 242344 h 383598"/>
                  <a:gd name="connsiteX278" fmla="*/ 511072 w 676938"/>
                  <a:gd name="connsiteY278" fmla="*/ 252272 h 383598"/>
                  <a:gd name="connsiteX279" fmla="*/ 512652 w 676938"/>
                  <a:gd name="connsiteY279" fmla="*/ 257914 h 383598"/>
                  <a:gd name="connsiteX280" fmla="*/ 514682 w 676938"/>
                  <a:gd name="connsiteY280" fmla="*/ 260621 h 383598"/>
                  <a:gd name="connsiteX281" fmla="*/ 518293 w 676938"/>
                  <a:gd name="connsiteY281" fmla="*/ 263329 h 383598"/>
                  <a:gd name="connsiteX282" fmla="*/ 522580 w 676938"/>
                  <a:gd name="connsiteY282" fmla="*/ 269647 h 383598"/>
                  <a:gd name="connsiteX283" fmla="*/ 522806 w 676938"/>
                  <a:gd name="connsiteY283" fmla="*/ 273032 h 383598"/>
                  <a:gd name="connsiteX284" fmla="*/ 524836 w 676938"/>
                  <a:gd name="connsiteY284" fmla="*/ 282735 h 383598"/>
                  <a:gd name="connsiteX285" fmla="*/ 525513 w 676938"/>
                  <a:gd name="connsiteY285" fmla="*/ 283637 h 383598"/>
                  <a:gd name="connsiteX286" fmla="*/ 529349 w 676938"/>
                  <a:gd name="connsiteY286" fmla="*/ 280478 h 383598"/>
                  <a:gd name="connsiteX287" fmla="*/ 530026 w 676938"/>
                  <a:gd name="connsiteY287" fmla="*/ 278222 h 383598"/>
                  <a:gd name="connsiteX288" fmla="*/ 530478 w 676938"/>
                  <a:gd name="connsiteY288" fmla="*/ 275740 h 383598"/>
                  <a:gd name="connsiteX289" fmla="*/ 535216 w 676938"/>
                  <a:gd name="connsiteY289" fmla="*/ 276416 h 383598"/>
                  <a:gd name="connsiteX290" fmla="*/ 544468 w 676938"/>
                  <a:gd name="connsiteY290" fmla="*/ 285442 h 383598"/>
                  <a:gd name="connsiteX291" fmla="*/ 542663 w 676938"/>
                  <a:gd name="connsiteY291" fmla="*/ 292437 h 383598"/>
                  <a:gd name="connsiteX292" fmla="*/ 542211 w 676938"/>
                  <a:gd name="connsiteY292" fmla="*/ 293114 h 383598"/>
                  <a:gd name="connsiteX293" fmla="*/ 529575 w 676938"/>
                  <a:gd name="connsiteY293" fmla="*/ 301915 h 383598"/>
                  <a:gd name="connsiteX294" fmla="*/ 523708 w 676938"/>
                  <a:gd name="connsiteY294" fmla="*/ 302140 h 383598"/>
                  <a:gd name="connsiteX295" fmla="*/ 519421 w 676938"/>
                  <a:gd name="connsiteY295" fmla="*/ 304171 h 383598"/>
                  <a:gd name="connsiteX296" fmla="*/ 514231 w 676938"/>
                  <a:gd name="connsiteY296" fmla="*/ 307104 h 383598"/>
                  <a:gd name="connsiteX297" fmla="*/ 508364 w 676938"/>
                  <a:gd name="connsiteY297" fmla="*/ 310038 h 383598"/>
                  <a:gd name="connsiteX298" fmla="*/ 493246 w 676938"/>
                  <a:gd name="connsiteY298" fmla="*/ 315679 h 383598"/>
                  <a:gd name="connsiteX299" fmla="*/ 492343 w 676938"/>
                  <a:gd name="connsiteY299" fmla="*/ 315453 h 383598"/>
                  <a:gd name="connsiteX300" fmla="*/ 485348 w 676938"/>
                  <a:gd name="connsiteY300" fmla="*/ 310489 h 383598"/>
                  <a:gd name="connsiteX301" fmla="*/ 484446 w 676938"/>
                  <a:gd name="connsiteY301" fmla="*/ 309361 h 383598"/>
                  <a:gd name="connsiteX302" fmla="*/ 483769 w 676938"/>
                  <a:gd name="connsiteY302" fmla="*/ 311617 h 383598"/>
                  <a:gd name="connsiteX303" fmla="*/ 483092 w 676938"/>
                  <a:gd name="connsiteY303" fmla="*/ 314099 h 383598"/>
                  <a:gd name="connsiteX304" fmla="*/ 477902 w 676938"/>
                  <a:gd name="connsiteY304" fmla="*/ 325607 h 383598"/>
                  <a:gd name="connsiteX305" fmla="*/ 477225 w 676938"/>
                  <a:gd name="connsiteY305" fmla="*/ 326510 h 383598"/>
                  <a:gd name="connsiteX306" fmla="*/ 468425 w 676938"/>
                  <a:gd name="connsiteY306" fmla="*/ 330346 h 383598"/>
                  <a:gd name="connsiteX307" fmla="*/ 460979 w 676938"/>
                  <a:gd name="connsiteY307" fmla="*/ 333956 h 383598"/>
                  <a:gd name="connsiteX308" fmla="*/ 451050 w 676938"/>
                  <a:gd name="connsiteY308" fmla="*/ 344336 h 383598"/>
                  <a:gd name="connsiteX309" fmla="*/ 453081 w 676938"/>
                  <a:gd name="connsiteY309" fmla="*/ 365547 h 383598"/>
                  <a:gd name="connsiteX310" fmla="*/ 457143 w 676938"/>
                  <a:gd name="connsiteY310" fmla="*/ 379311 h 383598"/>
                  <a:gd name="connsiteX311" fmla="*/ 461881 w 676938"/>
                  <a:gd name="connsiteY311" fmla="*/ 389465 h 383598"/>
                  <a:gd name="connsiteX312" fmla="*/ 466394 w 676938"/>
                  <a:gd name="connsiteY312" fmla="*/ 389014 h 383598"/>
                  <a:gd name="connsiteX313" fmla="*/ 485800 w 676938"/>
                  <a:gd name="connsiteY313" fmla="*/ 371639 h 383598"/>
                  <a:gd name="connsiteX314" fmla="*/ 493020 w 676938"/>
                  <a:gd name="connsiteY314" fmla="*/ 363742 h 383598"/>
                  <a:gd name="connsiteX315" fmla="*/ 504754 w 676938"/>
                  <a:gd name="connsiteY315" fmla="*/ 352234 h 383598"/>
                  <a:gd name="connsiteX316" fmla="*/ 552140 w 676938"/>
                  <a:gd name="connsiteY316" fmla="*/ 305299 h 383598"/>
                  <a:gd name="connsiteX317" fmla="*/ 579443 w 676938"/>
                  <a:gd name="connsiteY317" fmla="*/ 289278 h 383598"/>
                  <a:gd name="connsiteX318" fmla="*/ 599525 w 676938"/>
                  <a:gd name="connsiteY318" fmla="*/ 284088 h 383598"/>
                  <a:gd name="connsiteX319" fmla="*/ 626829 w 676938"/>
                  <a:gd name="connsiteY319" fmla="*/ 277545 h 383598"/>
                  <a:gd name="connsiteX320" fmla="*/ 645106 w 676938"/>
                  <a:gd name="connsiteY320" fmla="*/ 289053 h 383598"/>
                  <a:gd name="connsiteX321" fmla="*/ 646234 w 676938"/>
                  <a:gd name="connsiteY321" fmla="*/ 290181 h 383598"/>
                  <a:gd name="connsiteX322" fmla="*/ 650070 w 676938"/>
                  <a:gd name="connsiteY322" fmla="*/ 294694 h 383598"/>
                  <a:gd name="connsiteX323" fmla="*/ 662481 w 676938"/>
                  <a:gd name="connsiteY323" fmla="*/ 301012 h 383598"/>
                  <a:gd name="connsiteX324" fmla="*/ 669701 w 676938"/>
                  <a:gd name="connsiteY324" fmla="*/ 298981 h 383598"/>
                  <a:gd name="connsiteX325" fmla="*/ 669024 w 676938"/>
                  <a:gd name="connsiteY325" fmla="*/ 289504 h 383598"/>
                  <a:gd name="connsiteX326" fmla="*/ 668347 w 676938"/>
                  <a:gd name="connsiteY326" fmla="*/ 287924 h 383598"/>
                  <a:gd name="connsiteX327" fmla="*/ 654583 w 676938"/>
                  <a:gd name="connsiteY327" fmla="*/ 274160 h 383598"/>
                  <a:gd name="connsiteX328" fmla="*/ 645331 w 676938"/>
                  <a:gd name="connsiteY328" fmla="*/ 256785 h 383598"/>
                  <a:gd name="connsiteX329" fmla="*/ 645331 w 676938"/>
                  <a:gd name="connsiteY329" fmla="*/ 252272 h 383598"/>
                  <a:gd name="connsiteX330" fmla="*/ 645106 w 676938"/>
                  <a:gd name="connsiteY330" fmla="*/ 250242 h 383598"/>
                  <a:gd name="connsiteX331" fmla="*/ 646911 w 676938"/>
                  <a:gd name="connsiteY331" fmla="*/ 237831 h 383598"/>
                  <a:gd name="connsiteX332" fmla="*/ 648265 w 676938"/>
                  <a:gd name="connsiteY332" fmla="*/ 234446 h 383598"/>
                  <a:gd name="connsiteX333" fmla="*/ 656388 w 676938"/>
                  <a:gd name="connsiteY333" fmla="*/ 223390 h 383598"/>
                  <a:gd name="connsiteX334" fmla="*/ 663835 w 676938"/>
                  <a:gd name="connsiteY334" fmla="*/ 214589 h 383598"/>
                  <a:gd name="connsiteX335" fmla="*/ 669701 w 676938"/>
                  <a:gd name="connsiteY335" fmla="*/ 205338 h 383598"/>
                  <a:gd name="connsiteX336" fmla="*/ 675794 w 676938"/>
                  <a:gd name="connsiteY336" fmla="*/ 198117 h 383598"/>
                  <a:gd name="connsiteX337" fmla="*/ 680758 w 676938"/>
                  <a:gd name="connsiteY337" fmla="*/ 190220 h 383598"/>
                  <a:gd name="connsiteX338" fmla="*/ 685948 w 676938"/>
                  <a:gd name="connsiteY338" fmla="*/ 182773 h 383598"/>
                  <a:gd name="connsiteX339" fmla="*/ 688656 w 676938"/>
                  <a:gd name="connsiteY339" fmla="*/ 171265 h 383598"/>
                  <a:gd name="connsiteX340" fmla="*/ 687076 w 676938"/>
                  <a:gd name="connsiteY340" fmla="*/ 168106 h 383598"/>
                  <a:gd name="connsiteX341" fmla="*/ 686625 w 676938"/>
                  <a:gd name="connsiteY341" fmla="*/ 159532 h 383598"/>
                  <a:gd name="connsiteX342" fmla="*/ 689107 w 676938"/>
                  <a:gd name="connsiteY342" fmla="*/ 154116 h 383598"/>
                  <a:gd name="connsiteX343" fmla="*/ 689558 w 676938"/>
                  <a:gd name="connsiteY343" fmla="*/ 147573 h 383598"/>
                  <a:gd name="connsiteX344" fmla="*/ 677373 w 676938"/>
                  <a:gd name="connsiteY344" fmla="*/ 142608 h 383598"/>
                  <a:gd name="connsiteX345" fmla="*/ 661804 w 676938"/>
                  <a:gd name="connsiteY345" fmla="*/ 139675 h 383598"/>
                  <a:gd name="connsiteX346" fmla="*/ 656388 w 676938"/>
                  <a:gd name="connsiteY346" fmla="*/ 137418 h 383598"/>
                  <a:gd name="connsiteX347" fmla="*/ 644203 w 676938"/>
                  <a:gd name="connsiteY347" fmla="*/ 138095 h 383598"/>
                  <a:gd name="connsiteX348" fmla="*/ 628859 w 676938"/>
                  <a:gd name="connsiteY348" fmla="*/ 141480 h 383598"/>
                  <a:gd name="connsiteX349" fmla="*/ 624572 w 676938"/>
                  <a:gd name="connsiteY349" fmla="*/ 141480 h 383598"/>
                  <a:gd name="connsiteX350" fmla="*/ 609228 w 676938"/>
                  <a:gd name="connsiteY350" fmla="*/ 135613 h 383598"/>
                  <a:gd name="connsiteX351" fmla="*/ 596366 w 676938"/>
                  <a:gd name="connsiteY351" fmla="*/ 129521 h 383598"/>
                  <a:gd name="connsiteX352" fmla="*/ 587792 w 676938"/>
                  <a:gd name="connsiteY352" fmla="*/ 132680 h 383598"/>
                  <a:gd name="connsiteX353" fmla="*/ 582376 w 676938"/>
                  <a:gd name="connsiteY353" fmla="*/ 137644 h 383598"/>
                  <a:gd name="connsiteX354" fmla="*/ 567709 w 676938"/>
                  <a:gd name="connsiteY354" fmla="*/ 143511 h 383598"/>
                  <a:gd name="connsiteX355" fmla="*/ 561842 w 676938"/>
                  <a:gd name="connsiteY355" fmla="*/ 141254 h 383598"/>
                  <a:gd name="connsiteX356" fmla="*/ 559812 w 676938"/>
                  <a:gd name="connsiteY356" fmla="*/ 132454 h 383598"/>
                  <a:gd name="connsiteX357" fmla="*/ 559812 w 676938"/>
                  <a:gd name="connsiteY357" fmla="*/ 128844 h 383598"/>
                  <a:gd name="connsiteX358" fmla="*/ 565453 w 676938"/>
                  <a:gd name="connsiteY358" fmla="*/ 114854 h 383598"/>
                  <a:gd name="connsiteX359" fmla="*/ 572448 w 676938"/>
                  <a:gd name="connsiteY359" fmla="*/ 106279 h 383598"/>
                  <a:gd name="connsiteX360" fmla="*/ 577412 w 676938"/>
                  <a:gd name="connsiteY360" fmla="*/ 99510 h 383598"/>
                  <a:gd name="connsiteX361" fmla="*/ 583053 w 676938"/>
                  <a:gd name="connsiteY361" fmla="*/ 84843 h 383598"/>
                  <a:gd name="connsiteX362" fmla="*/ 571094 w 676938"/>
                  <a:gd name="connsiteY362" fmla="*/ 67017 h 383598"/>
                  <a:gd name="connsiteX363" fmla="*/ 565001 w 676938"/>
                  <a:gd name="connsiteY363" fmla="*/ 57540 h 383598"/>
                  <a:gd name="connsiteX364" fmla="*/ 559135 w 676938"/>
                  <a:gd name="connsiteY364" fmla="*/ 50319 h 383598"/>
                  <a:gd name="connsiteX365" fmla="*/ 552817 w 676938"/>
                  <a:gd name="connsiteY365" fmla="*/ 52801 h 383598"/>
                  <a:gd name="connsiteX366" fmla="*/ 549658 w 676938"/>
                  <a:gd name="connsiteY366" fmla="*/ 57088 h 383598"/>
                  <a:gd name="connsiteX367" fmla="*/ 548078 w 676938"/>
                  <a:gd name="connsiteY367" fmla="*/ 58894 h 383598"/>
                  <a:gd name="connsiteX368" fmla="*/ 536119 w 676938"/>
                  <a:gd name="connsiteY368" fmla="*/ 67694 h 383598"/>
                  <a:gd name="connsiteX369" fmla="*/ 532508 w 676938"/>
                  <a:gd name="connsiteY369" fmla="*/ 64760 h 383598"/>
                  <a:gd name="connsiteX370" fmla="*/ 530252 w 676938"/>
                  <a:gd name="connsiteY370" fmla="*/ 57088 h 383598"/>
                  <a:gd name="connsiteX371" fmla="*/ 529124 w 676938"/>
                  <a:gd name="connsiteY371" fmla="*/ 50770 h 383598"/>
                  <a:gd name="connsiteX372" fmla="*/ 532283 w 676938"/>
                  <a:gd name="connsiteY372" fmla="*/ 41293 h 383598"/>
                  <a:gd name="connsiteX373" fmla="*/ 536570 w 676938"/>
                  <a:gd name="connsiteY373" fmla="*/ 37457 h 383598"/>
                  <a:gd name="connsiteX374" fmla="*/ 543340 w 676938"/>
                  <a:gd name="connsiteY374" fmla="*/ 24821 h 383598"/>
                  <a:gd name="connsiteX375" fmla="*/ 538827 w 676938"/>
                  <a:gd name="connsiteY375" fmla="*/ 23242 h 383598"/>
                  <a:gd name="connsiteX376" fmla="*/ 531154 w 676938"/>
                  <a:gd name="connsiteY376" fmla="*/ 21211 h 383598"/>
                  <a:gd name="connsiteX377" fmla="*/ 530478 w 676938"/>
                  <a:gd name="connsiteY377" fmla="*/ 16923 h 383598"/>
                  <a:gd name="connsiteX378" fmla="*/ 529349 w 676938"/>
                  <a:gd name="connsiteY378" fmla="*/ 10154 h 383598"/>
                  <a:gd name="connsiteX379" fmla="*/ 518970 w 676938"/>
                  <a:gd name="connsiteY379" fmla="*/ 3159 h 383598"/>
                  <a:gd name="connsiteX380" fmla="*/ 517841 w 676938"/>
                  <a:gd name="connsiteY380" fmla="*/ 3159 h 383598"/>
                  <a:gd name="connsiteX381" fmla="*/ 499790 w 676938"/>
                  <a:gd name="connsiteY381" fmla="*/ 13990 h 383598"/>
                  <a:gd name="connsiteX382" fmla="*/ 488733 w 676938"/>
                  <a:gd name="connsiteY382" fmla="*/ 21436 h 383598"/>
                  <a:gd name="connsiteX383" fmla="*/ 458271 w 676938"/>
                  <a:gd name="connsiteY383" fmla="*/ 40616 h 383598"/>
                  <a:gd name="connsiteX384" fmla="*/ 455337 w 676938"/>
                  <a:gd name="connsiteY384" fmla="*/ 46934 h 383598"/>
                  <a:gd name="connsiteX385" fmla="*/ 445860 w 676938"/>
                  <a:gd name="connsiteY385" fmla="*/ 56863 h 383598"/>
                  <a:gd name="connsiteX386" fmla="*/ 442250 w 676938"/>
                  <a:gd name="connsiteY386" fmla="*/ 63407 h 383598"/>
                  <a:gd name="connsiteX387" fmla="*/ 437511 w 676938"/>
                  <a:gd name="connsiteY387" fmla="*/ 70402 h 383598"/>
                  <a:gd name="connsiteX388" fmla="*/ 429388 w 676938"/>
                  <a:gd name="connsiteY388" fmla="*/ 68596 h 383598"/>
                  <a:gd name="connsiteX389" fmla="*/ 426229 w 676938"/>
                  <a:gd name="connsiteY389" fmla="*/ 67017 h 383598"/>
                  <a:gd name="connsiteX390" fmla="*/ 420362 w 676938"/>
                  <a:gd name="connsiteY390" fmla="*/ 64083 h 383598"/>
                  <a:gd name="connsiteX391" fmla="*/ 414721 w 676938"/>
                  <a:gd name="connsiteY391" fmla="*/ 60924 h 383598"/>
                  <a:gd name="connsiteX392" fmla="*/ 394187 w 676938"/>
                  <a:gd name="connsiteY392" fmla="*/ 56412 h 383598"/>
                  <a:gd name="connsiteX393" fmla="*/ 366433 w 676938"/>
                  <a:gd name="connsiteY393" fmla="*/ 50996 h 383598"/>
                  <a:gd name="connsiteX394" fmla="*/ 339130 w 676938"/>
                  <a:gd name="connsiteY394" fmla="*/ 46934 h 383598"/>
                  <a:gd name="connsiteX395" fmla="*/ 314760 w 676938"/>
                  <a:gd name="connsiteY395" fmla="*/ 65212 h 383598"/>
                  <a:gd name="connsiteX396" fmla="*/ 298062 w 676938"/>
                  <a:gd name="connsiteY396" fmla="*/ 88905 h 383598"/>
                  <a:gd name="connsiteX397" fmla="*/ 246841 w 676938"/>
                  <a:gd name="connsiteY397" fmla="*/ 136967 h 383598"/>
                  <a:gd name="connsiteX398" fmla="*/ 232625 w 676938"/>
                  <a:gd name="connsiteY398" fmla="*/ 139224 h 383598"/>
                  <a:gd name="connsiteX399" fmla="*/ 210286 w 676938"/>
                  <a:gd name="connsiteY399" fmla="*/ 144865 h 383598"/>
                  <a:gd name="connsiteX400" fmla="*/ 192685 w 676938"/>
                  <a:gd name="connsiteY400" fmla="*/ 190671 h 383598"/>
                  <a:gd name="connsiteX401" fmla="*/ 192685 w 676938"/>
                  <a:gd name="connsiteY401" fmla="*/ 192476 h 383598"/>
                  <a:gd name="connsiteX402" fmla="*/ 190880 w 676938"/>
                  <a:gd name="connsiteY402" fmla="*/ 192476 h 383598"/>
                  <a:gd name="connsiteX403" fmla="*/ 132664 w 676938"/>
                  <a:gd name="connsiteY403" fmla="*/ 248211 h 383598"/>
                  <a:gd name="connsiteX404" fmla="*/ 132664 w 676938"/>
                  <a:gd name="connsiteY404" fmla="*/ 249790 h 383598"/>
                  <a:gd name="connsiteX405" fmla="*/ 131084 w 676938"/>
                  <a:gd name="connsiteY405" fmla="*/ 250016 h 383598"/>
                  <a:gd name="connsiteX406" fmla="*/ 120704 w 676938"/>
                  <a:gd name="connsiteY406" fmla="*/ 260621 h 383598"/>
                  <a:gd name="connsiteX407" fmla="*/ 120479 w 676938"/>
                  <a:gd name="connsiteY407" fmla="*/ 261975 h 383598"/>
                  <a:gd name="connsiteX408" fmla="*/ 119125 w 676938"/>
                  <a:gd name="connsiteY408" fmla="*/ 262201 h 383598"/>
                  <a:gd name="connsiteX409" fmla="*/ 108971 w 676938"/>
                  <a:gd name="connsiteY409" fmla="*/ 265585 h 383598"/>
                  <a:gd name="connsiteX410" fmla="*/ 87760 w 676938"/>
                  <a:gd name="connsiteY410" fmla="*/ 271227 h 383598"/>
                  <a:gd name="connsiteX411" fmla="*/ 82570 w 676938"/>
                  <a:gd name="connsiteY411" fmla="*/ 266939 h 383598"/>
                  <a:gd name="connsiteX412" fmla="*/ 76703 w 676938"/>
                  <a:gd name="connsiteY412" fmla="*/ 263555 h 383598"/>
                  <a:gd name="connsiteX413" fmla="*/ 74447 w 676938"/>
                  <a:gd name="connsiteY413" fmla="*/ 264006 h 383598"/>
                  <a:gd name="connsiteX414" fmla="*/ 70160 w 676938"/>
                  <a:gd name="connsiteY414" fmla="*/ 267165 h 383598"/>
                  <a:gd name="connsiteX415" fmla="*/ 64293 w 676938"/>
                  <a:gd name="connsiteY415" fmla="*/ 273483 h 383598"/>
                  <a:gd name="connsiteX416" fmla="*/ 57523 w 676938"/>
                  <a:gd name="connsiteY416" fmla="*/ 278673 h 383598"/>
                  <a:gd name="connsiteX417" fmla="*/ 51431 w 676938"/>
                  <a:gd name="connsiteY417" fmla="*/ 282509 h 383598"/>
                  <a:gd name="connsiteX418" fmla="*/ 38118 w 676938"/>
                  <a:gd name="connsiteY418" fmla="*/ 289053 h 383598"/>
                  <a:gd name="connsiteX419" fmla="*/ 29995 w 676938"/>
                  <a:gd name="connsiteY419" fmla="*/ 285442 h 383598"/>
                  <a:gd name="connsiteX420" fmla="*/ 25933 w 676938"/>
                  <a:gd name="connsiteY420" fmla="*/ 280252 h 383598"/>
                  <a:gd name="connsiteX421" fmla="*/ 8784 w 676938"/>
                  <a:gd name="connsiteY421" fmla="*/ 273257 h 383598"/>
                  <a:gd name="connsiteX422" fmla="*/ 7881 w 676938"/>
                  <a:gd name="connsiteY422" fmla="*/ 273483 h 383598"/>
                  <a:gd name="connsiteX423" fmla="*/ 9009 w 676938"/>
                  <a:gd name="connsiteY423" fmla="*/ 276642 h 383598"/>
                  <a:gd name="connsiteX424" fmla="*/ 9686 w 676938"/>
                  <a:gd name="connsiteY424" fmla="*/ 283863 h 383598"/>
                  <a:gd name="connsiteX425" fmla="*/ 8558 w 676938"/>
                  <a:gd name="connsiteY425" fmla="*/ 287022 h 383598"/>
                  <a:gd name="connsiteX426" fmla="*/ 4496 w 676938"/>
                  <a:gd name="connsiteY426" fmla="*/ 294017 h 383598"/>
                  <a:gd name="connsiteX427" fmla="*/ 2917 w 676938"/>
                  <a:gd name="connsiteY427" fmla="*/ 300335 h 383598"/>
                  <a:gd name="connsiteX428" fmla="*/ 3368 w 676938"/>
                  <a:gd name="connsiteY428" fmla="*/ 303945 h 383598"/>
                  <a:gd name="connsiteX429" fmla="*/ 10815 w 676938"/>
                  <a:gd name="connsiteY429" fmla="*/ 313422 h 383598"/>
                  <a:gd name="connsiteX430" fmla="*/ 22097 w 676938"/>
                  <a:gd name="connsiteY430" fmla="*/ 318161 h 383598"/>
                  <a:gd name="connsiteX431" fmla="*/ 27287 w 676938"/>
                  <a:gd name="connsiteY431" fmla="*/ 316130 h 383598"/>
                  <a:gd name="connsiteX432" fmla="*/ 46015 w 676938"/>
                  <a:gd name="connsiteY432" fmla="*/ 313648 h 383598"/>
                  <a:gd name="connsiteX433" fmla="*/ 47144 w 676938"/>
                  <a:gd name="connsiteY433" fmla="*/ 313422 h 383598"/>
                  <a:gd name="connsiteX434" fmla="*/ 49851 w 676938"/>
                  <a:gd name="connsiteY434" fmla="*/ 314776 h 383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</a:cxnLst>
                <a:rect l="l" t="t" r="r" b="b"/>
                <a:pathLst>
                  <a:path w="676938" h="383598">
                    <a:moveTo>
                      <a:pt x="73544" y="405486"/>
                    </a:moveTo>
                    <a:cubicBezTo>
                      <a:pt x="73093" y="405486"/>
                      <a:pt x="72867" y="405486"/>
                      <a:pt x="72416" y="405486"/>
                    </a:cubicBezTo>
                    <a:lnTo>
                      <a:pt x="63616" y="404132"/>
                    </a:lnTo>
                    <a:lnTo>
                      <a:pt x="72867" y="401650"/>
                    </a:lnTo>
                    <a:cubicBezTo>
                      <a:pt x="73319" y="399394"/>
                      <a:pt x="74672" y="393978"/>
                      <a:pt x="74221" y="388563"/>
                    </a:cubicBezTo>
                    <a:cubicBezTo>
                      <a:pt x="73770" y="381116"/>
                      <a:pt x="71965" y="376378"/>
                      <a:pt x="68580" y="374573"/>
                    </a:cubicBezTo>
                    <a:cubicBezTo>
                      <a:pt x="63390" y="371639"/>
                      <a:pt x="59780" y="364870"/>
                      <a:pt x="63616" y="357875"/>
                    </a:cubicBezTo>
                    <a:cubicBezTo>
                      <a:pt x="67001" y="351782"/>
                      <a:pt x="67677" y="346367"/>
                      <a:pt x="67677" y="342756"/>
                    </a:cubicBezTo>
                    <a:cubicBezTo>
                      <a:pt x="67677" y="340049"/>
                      <a:pt x="62488" y="331023"/>
                      <a:pt x="60457" y="327864"/>
                    </a:cubicBezTo>
                    <a:cubicBezTo>
                      <a:pt x="59780" y="326736"/>
                      <a:pt x="59103" y="325833"/>
                      <a:pt x="58877" y="325382"/>
                    </a:cubicBezTo>
                    <a:cubicBezTo>
                      <a:pt x="57974" y="323577"/>
                      <a:pt x="52108" y="318161"/>
                      <a:pt x="49174" y="318838"/>
                    </a:cubicBezTo>
                    <a:lnTo>
                      <a:pt x="48046" y="319064"/>
                    </a:lnTo>
                    <a:cubicBezTo>
                      <a:pt x="39923" y="320869"/>
                      <a:pt x="31800" y="322448"/>
                      <a:pt x="27738" y="321546"/>
                    </a:cubicBezTo>
                    <a:cubicBezTo>
                      <a:pt x="26610" y="321320"/>
                      <a:pt x="26610" y="321546"/>
                      <a:pt x="26159" y="322223"/>
                    </a:cubicBezTo>
                    <a:cubicBezTo>
                      <a:pt x="25933" y="322900"/>
                      <a:pt x="25256" y="324028"/>
                      <a:pt x="24128" y="324028"/>
                    </a:cubicBezTo>
                    <a:cubicBezTo>
                      <a:pt x="22774" y="324253"/>
                      <a:pt x="21645" y="323125"/>
                      <a:pt x="21194" y="322674"/>
                    </a:cubicBezTo>
                    <a:cubicBezTo>
                      <a:pt x="18712" y="320192"/>
                      <a:pt x="13974" y="318612"/>
                      <a:pt x="12169" y="318612"/>
                    </a:cubicBezTo>
                    <a:cubicBezTo>
                      <a:pt x="8558" y="318612"/>
                      <a:pt x="1337" y="311843"/>
                      <a:pt x="886" y="305525"/>
                    </a:cubicBezTo>
                    <a:cubicBezTo>
                      <a:pt x="886" y="304397"/>
                      <a:pt x="661" y="303268"/>
                      <a:pt x="435" y="302140"/>
                    </a:cubicBezTo>
                    <a:cubicBezTo>
                      <a:pt x="-242" y="298304"/>
                      <a:pt x="-693" y="294919"/>
                      <a:pt x="3594" y="291986"/>
                    </a:cubicBezTo>
                    <a:cubicBezTo>
                      <a:pt x="5399" y="290858"/>
                      <a:pt x="5625" y="289278"/>
                      <a:pt x="6076" y="287473"/>
                    </a:cubicBezTo>
                    <a:cubicBezTo>
                      <a:pt x="6302" y="285894"/>
                      <a:pt x="6753" y="284088"/>
                      <a:pt x="7881" y="282509"/>
                    </a:cubicBezTo>
                    <a:cubicBezTo>
                      <a:pt x="8107" y="282058"/>
                      <a:pt x="7204" y="280252"/>
                      <a:pt x="6753" y="279350"/>
                    </a:cubicBezTo>
                    <a:cubicBezTo>
                      <a:pt x="5850" y="277319"/>
                      <a:pt x="4722" y="274837"/>
                      <a:pt x="5625" y="272806"/>
                    </a:cubicBezTo>
                    <a:cubicBezTo>
                      <a:pt x="6076" y="271678"/>
                      <a:pt x="7204" y="270775"/>
                      <a:pt x="9009" y="270550"/>
                    </a:cubicBezTo>
                    <a:cubicBezTo>
                      <a:pt x="15779" y="268970"/>
                      <a:pt x="21871" y="271452"/>
                      <a:pt x="29543" y="278447"/>
                    </a:cubicBezTo>
                    <a:cubicBezTo>
                      <a:pt x="32702" y="281381"/>
                      <a:pt x="33605" y="283412"/>
                      <a:pt x="34282" y="284765"/>
                    </a:cubicBezTo>
                    <a:cubicBezTo>
                      <a:pt x="34959" y="286119"/>
                      <a:pt x="35184" y="286345"/>
                      <a:pt x="39020" y="286345"/>
                    </a:cubicBezTo>
                    <a:cubicBezTo>
                      <a:pt x="43082" y="286345"/>
                      <a:pt x="46692" y="283412"/>
                      <a:pt x="49851" y="280704"/>
                    </a:cubicBezTo>
                    <a:cubicBezTo>
                      <a:pt x="52785" y="278222"/>
                      <a:pt x="55492" y="275965"/>
                      <a:pt x="58426" y="275965"/>
                    </a:cubicBezTo>
                    <a:cubicBezTo>
                      <a:pt x="59780" y="275965"/>
                      <a:pt x="60457" y="275063"/>
                      <a:pt x="62036" y="272580"/>
                    </a:cubicBezTo>
                    <a:cubicBezTo>
                      <a:pt x="63616" y="270098"/>
                      <a:pt x="65421" y="267165"/>
                      <a:pt x="69257" y="264909"/>
                    </a:cubicBezTo>
                    <a:cubicBezTo>
                      <a:pt x="71062" y="264006"/>
                      <a:pt x="71739" y="263329"/>
                      <a:pt x="71965" y="263103"/>
                    </a:cubicBezTo>
                    <a:cubicBezTo>
                      <a:pt x="72190" y="261749"/>
                      <a:pt x="73093" y="261749"/>
                      <a:pt x="76703" y="260847"/>
                    </a:cubicBezTo>
                    <a:cubicBezTo>
                      <a:pt x="81893" y="259719"/>
                      <a:pt x="84375" y="263103"/>
                      <a:pt x="86180" y="265585"/>
                    </a:cubicBezTo>
                    <a:cubicBezTo>
                      <a:pt x="87083" y="266939"/>
                      <a:pt x="88211" y="268068"/>
                      <a:pt x="89114" y="268293"/>
                    </a:cubicBezTo>
                    <a:cubicBezTo>
                      <a:pt x="91821" y="268970"/>
                      <a:pt x="101524" y="265134"/>
                      <a:pt x="108068" y="262878"/>
                    </a:cubicBezTo>
                    <a:cubicBezTo>
                      <a:pt x="111904" y="261524"/>
                      <a:pt x="115063" y="260170"/>
                      <a:pt x="117545" y="259493"/>
                    </a:cubicBezTo>
                    <a:cubicBezTo>
                      <a:pt x="118673" y="253626"/>
                      <a:pt x="123638" y="248436"/>
                      <a:pt x="129504" y="247083"/>
                    </a:cubicBezTo>
                    <a:cubicBezTo>
                      <a:pt x="131084" y="216620"/>
                      <a:pt x="159290" y="189768"/>
                      <a:pt x="189752" y="189317"/>
                    </a:cubicBezTo>
                    <a:cubicBezTo>
                      <a:pt x="190880" y="170137"/>
                      <a:pt x="194265" y="151409"/>
                      <a:pt x="209158" y="142383"/>
                    </a:cubicBezTo>
                    <a:cubicBezTo>
                      <a:pt x="216378" y="137870"/>
                      <a:pt x="224953" y="136967"/>
                      <a:pt x="233076" y="136065"/>
                    </a:cubicBezTo>
                    <a:cubicBezTo>
                      <a:pt x="237589" y="135613"/>
                      <a:pt x="242327" y="135162"/>
                      <a:pt x="246841" y="134034"/>
                    </a:cubicBezTo>
                    <a:cubicBezTo>
                      <a:pt x="269179" y="128393"/>
                      <a:pt x="282267" y="108536"/>
                      <a:pt x="296031" y="87551"/>
                    </a:cubicBezTo>
                    <a:cubicBezTo>
                      <a:pt x="301447" y="79427"/>
                      <a:pt x="306862" y="70853"/>
                      <a:pt x="312955" y="63407"/>
                    </a:cubicBezTo>
                    <a:cubicBezTo>
                      <a:pt x="321529" y="53027"/>
                      <a:pt x="330104" y="46709"/>
                      <a:pt x="339130" y="43775"/>
                    </a:cubicBezTo>
                    <a:cubicBezTo>
                      <a:pt x="349961" y="40391"/>
                      <a:pt x="359664" y="44227"/>
                      <a:pt x="368915" y="47837"/>
                    </a:cubicBezTo>
                    <a:cubicBezTo>
                      <a:pt x="377038" y="50996"/>
                      <a:pt x="385387" y="54155"/>
                      <a:pt x="394864" y="53027"/>
                    </a:cubicBezTo>
                    <a:cubicBezTo>
                      <a:pt x="402762" y="52124"/>
                      <a:pt x="409757" y="53478"/>
                      <a:pt x="417654" y="57991"/>
                    </a:cubicBezTo>
                    <a:cubicBezTo>
                      <a:pt x="420362" y="59571"/>
                      <a:pt x="422167" y="60473"/>
                      <a:pt x="423296" y="61376"/>
                    </a:cubicBezTo>
                    <a:cubicBezTo>
                      <a:pt x="425326" y="62504"/>
                      <a:pt x="426004" y="62955"/>
                      <a:pt x="428711" y="64083"/>
                    </a:cubicBezTo>
                    <a:cubicBezTo>
                      <a:pt x="430516" y="64760"/>
                      <a:pt x="431645" y="65437"/>
                      <a:pt x="432547" y="66114"/>
                    </a:cubicBezTo>
                    <a:cubicBezTo>
                      <a:pt x="434127" y="67017"/>
                      <a:pt x="434804" y="67468"/>
                      <a:pt x="438414" y="67243"/>
                    </a:cubicBezTo>
                    <a:cubicBezTo>
                      <a:pt x="439091" y="67243"/>
                      <a:pt x="439542" y="67243"/>
                      <a:pt x="439542" y="63858"/>
                    </a:cubicBezTo>
                    <a:cubicBezTo>
                      <a:pt x="439542" y="60473"/>
                      <a:pt x="439768" y="55283"/>
                      <a:pt x="446086" y="53704"/>
                    </a:cubicBezTo>
                    <a:cubicBezTo>
                      <a:pt x="450825" y="52575"/>
                      <a:pt x="451501" y="49868"/>
                      <a:pt x="452855" y="46257"/>
                    </a:cubicBezTo>
                    <a:cubicBezTo>
                      <a:pt x="453532" y="44001"/>
                      <a:pt x="454435" y="41293"/>
                      <a:pt x="456466" y="38811"/>
                    </a:cubicBezTo>
                    <a:cubicBezTo>
                      <a:pt x="461430" y="32493"/>
                      <a:pt x="483318" y="19857"/>
                      <a:pt x="488959" y="18503"/>
                    </a:cubicBezTo>
                    <a:cubicBezTo>
                      <a:pt x="490764" y="18052"/>
                      <a:pt x="494825" y="14893"/>
                      <a:pt x="498887" y="11734"/>
                    </a:cubicBezTo>
                    <a:cubicBezTo>
                      <a:pt x="506334" y="6092"/>
                      <a:pt x="514005" y="0"/>
                      <a:pt x="519195" y="0"/>
                    </a:cubicBezTo>
                    <a:lnTo>
                      <a:pt x="520324" y="0"/>
                    </a:lnTo>
                    <a:cubicBezTo>
                      <a:pt x="527544" y="0"/>
                      <a:pt x="528898" y="451"/>
                      <a:pt x="533862" y="8800"/>
                    </a:cubicBezTo>
                    <a:cubicBezTo>
                      <a:pt x="536345" y="12862"/>
                      <a:pt x="535893" y="16021"/>
                      <a:pt x="535667" y="18052"/>
                    </a:cubicBezTo>
                    <a:cubicBezTo>
                      <a:pt x="535667" y="18503"/>
                      <a:pt x="535442" y="19180"/>
                      <a:pt x="535442" y="19406"/>
                    </a:cubicBezTo>
                    <a:cubicBezTo>
                      <a:pt x="535442" y="19406"/>
                      <a:pt x="536345" y="19857"/>
                      <a:pt x="540181" y="20082"/>
                    </a:cubicBezTo>
                    <a:cubicBezTo>
                      <a:pt x="544242" y="20308"/>
                      <a:pt x="546950" y="21436"/>
                      <a:pt x="547852" y="23919"/>
                    </a:cubicBezTo>
                    <a:cubicBezTo>
                      <a:pt x="549432" y="27529"/>
                      <a:pt x="547176" y="32719"/>
                      <a:pt x="540406" y="40616"/>
                    </a:cubicBezTo>
                    <a:cubicBezTo>
                      <a:pt x="538601" y="42873"/>
                      <a:pt x="536796" y="44227"/>
                      <a:pt x="535442" y="45129"/>
                    </a:cubicBezTo>
                    <a:cubicBezTo>
                      <a:pt x="533186" y="46709"/>
                      <a:pt x="532734" y="46934"/>
                      <a:pt x="533637" y="50770"/>
                    </a:cubicBezTo>
                    <a:cubicBezTo>
                      <a:pt x="534314" y="53929"/>
                      <a:pt x="534765" y="55960"/>
                      <a:pt x="534765" y="57540"/>
                    </a:cubicBezTo>
                    <a:cubicBezTo>
                      <a:pt x="534990" y="59796"/>
                      <a:pt x="535216" y="60924"/>
                      <a:pt x="536796" y="64083"/>
                    </a:cubicBezTo>
                    <a:cubicBezTo>
                      <a:pt x="537022" y="64535"/>
                      <a:pt x="537247" y="64760"/>
                      <a:pt x="537473" y="64986"/>
                    </a:cubicBezTo>
                    <a:cubicBezTo>
                      <a:pt x="539278" y="65212"/>
                      <a:pt x="543791" y="60247"/>
                      <a:pt x="546273" y="57540"/>
                    </a:cubicBezTo>
                    <a:lnTo>
                      <a:pt x="547852" y="55735"/>
                    </a:lnTo>
                    <a:cubicBezTo>
                      <a:pt x="549206" y="54381"/>
                      <a:pt x="549883" y="53027"/>
                      <a:pt x="550560" y="51899"/>
                    </a:cubicBezTo>
                    <a:cubicBezTo>
                      <a:pt x="552591" y="48514"/>
                      <a:pt x="554396" y="46483"/>
                      <a:pt x="560714" y="47611"/>
                    </a:cubicBezTo>
                    <a:cubicBezTo>
                      <a:pt x="566130" y="48514"/>
                      <a:pt x="567935" y="53252"/>
                      <a:pt x="569514" y="57088"/>
                    </a:cubicBezTo>
                    <a:cubicBezTo>
                      <a:pt x="570643" y="60022"/>
                      <a:pt x="571771" y="62955"/>
                      <a:pt x="574253" y="64760"/>
                    </a:cubicBezTo>
                    <a:cubicBezTo>
                      <a:pt x="582151" y="70402"/>
                      <a:pt x="587341" y="78299"/>
                      <a:pt x="587792" y="85520"/>
                    </a:cubicBezTo>
                    <a:cubicBezTo>
                      <a:pt x="588243" y="93643"/>
                      <a:pt x="586664" y="97028"/>
                      <a:pt x="581248" y="102895"/>
                    </a:cubicBezTo>
                    <a:cubicBezTo>
                      <a:pt x="579217" y="105151"/>
                      <a:pt x="577863" y="107182"/>
                      <a:pt x="576510" y="109213"/>
                    </a:cubicBezTo>
                    <a:cubicBezTo>
                      <a:pt x="574704" y="112146"/>
                      <a:pt x="572899" y="115079"/>
                      <a:pt x="568837" y="118464"/>
                    </a:cubicBezTo>
                    <a:cubicBezTo>
                      <a:pt x="564324" y="122300"/>
                      <a:pt x="564324" y="125459"/>
                      <a:pt x="564324" y="129747"/>
                    </a:cubicBezTo>
                    <a:cubicBezTo>
                      <a:pt x="564324" y="131100"/>
                      <a:pt x="564324" y="132229"/>
                      <a:pt x="564324" y="133808"/>
                    </a:cubicBezTo>
                    <a:cubicBezTo>
                      <a:pt x="564099" y="136742"/>
                      <a:pt x="564550" y="138772"/>
                      <a:pt x="565453" y="139675"/>
                    </a:cubicBezTo>
                    <a:cubicBezTo>
                      <a:pt x="566130" y="140352"/>
                      <a:pt x="567032" y="140803"/>
                      <a:pt x="568612" y="140803"/>
                    </a:cubicBezTo>
                    <a:cubicBezTo>
                      <a:pt x="572674" y="140803"/>
                      <a:pt x="574704" y="139675"/>
                      <a:pt x="581248" y="135388"/>
                    </a:cubicBezTo>
                    <a:cubicBezTo>
                      <a:pt x="583279" y="134034"/>
                      <a:pt x="584633" y="132454"/>
                      <a:pt x="585987" y="131100"/>
                    </a:cubicBezTo>
                    <a:cubicBezTo>
                      <a:pt x="588694" y="127941"/>
                      <a:pt x="591402" y="125008"/>
                      <a:pt x="598397" y="126813"/>
                    </a:cubicBezTo>
                    <a:cubicBezTo>
                      <a:pt x="602684" y="127941"/>
                      <a:pt x="607423" y="130649"/>
                      <a:pt x="611936" y="133131"/>
                    </a:cubicBezTo>
                    <a:cubicBezTo>
                      <a:pt x="616900" y="135839"/>
                      <a:pt x="622316" y="138772"/>
                      <a:pt x="624798" y="138547"/>
                    </a:cubicBezTo>
                    <a:cubicBezTo>
                      <a:pt x="626829" y="138321"/>
                      <a:pt x="628408" y="138321"/>
                      <a:pt x="630213" y="138547"/>
                    </a:cubicBezTo>
                    <a:cubicBezTo>
                      <a:pt x="633372" y="138772"/>
                      <a:pt x="636757" y="138998"/>
                      <a:pt x="643527" y="135388"/>
                    </a:cubicBezTo>
                    <a:cubicBezTo>
                      <a:pt x="651875" y="130875"/>
                      <a:pt x="655711" y="132906"/>
                      <a:pt x="659096" y="134711"/>
                    </a:cubicBezTo>
                    <a:cubicBezTo>
                      <a:pt x="660450" y="135388"/>
                      <a:pt x="661804" y="136065"/>
                      <a:pt x="663609" y="136516"/>
                    </a:cubicBezTo>
                    <a:cubicBezTo>
                      <a:pt x="670153" y="137870"/>
                      <a:pt x="670153" y="137870"/>
                      <a:pt x="678953" y="139224"/>
                    </a:cubicBezTo>
                    <a:cubicBezTo>
                      <a:pt x="684819" y="140126"/>
                      <a:pt x="691138" y="141480"/>
                      <a:pt x="693846" y="145993"/>
                    </a:cubicBezTo>
                    <a:cubicBezTo>
                      <a:pt x="695425" y="148701"/>
                      <a:pt x="695199" y="151860"/>
                      <a:pt x="693620" y="155921"/>
                    </a:cubicBezTo>
                    <a:cubicBezTo>
                      <a:pt x="692492" y="158629"/>
                      <a:pt x="691589" y="160434"/>
                      <a:pt x="690912" y="161563"/>
                    </a:cubicBezTo>
                    <a:cubicBezTo>
                      <a:pt x="689784" y="163593"/>
                      <a:pt x="689784" y="163593"/>
                      <a:pt x="691363" y="166752"/>
                    </a:cubicBezTo>
                    <a:cubicBezTo>
                      <a:pt x="691815" y="167655"/>
                      <a:pt x="692266" y="168558"/>
                      <a:pt x="692943" y="169911"/>
                    </a:cubicBezTo>
                    <a:cubicBezTo>
                      <a:pt x="696553" y="177583"/>
                      <a:pt x="692943" y="181645"/>
                      <a:pt x="689558" y="185481"/>
                    </a:cubicBezTo>
                    <a:cubicBezTo>
                      <a:pt x="687753" y="187512"/>
                      <a:pt x="686174" y="189543"/>
                      <a:pt x="685045" y="192025"/>
                    </a:cubicBezTo>
                    <a:cubicBezTo>
                      <a:pt x="682789" y="197215"/>
                      <a:pt x="681660" y="198569"/>
                      <a:pt x="679404" y="200825"/>
                    </a:cubicBezTo>
                    <a:cubicBezTo>
                      <a:pt x="678050" y="202179"/>
                      <a:pt x="676471" y="203984"/>
                      <a:pt x="673537" y="207820"/>
                    </a:cubicBezTo>
                    <a:cubicBezTo>
                      <a:pt x="670604" y="211656"/>
                      <a:pt x="669250" y="214364"/>
                      <a:pt x="667896" y="216620"/>
                    </a:cubicBezTo>
                    <a:cubicBezTo>
                      <a:pt x="666091" y="220005"/>
                      <a:pt x="664511" y="222713"/>
                      <a:pt x="659547" y="226549"/>
                    </a:cubicBezTo>
                    <a:cubicBezTo>
                      <a:pt x="654132" y="230610"/>
                      <a:pt x="653455" y="232867"/>
                      <a:pt x="652552" y="235800"/>
                    </a:cubicBezTo>
                    <a:cubicBezTo>
                      <a:pt x="652101" y="236928"/>
                      <a:pt x="651875" y="238282"/>
                      <a:pt x="650973" y="239636"/>
                    </a:cubicBezTo>
                    <a:cubicBezTo>
                      <a:pt x="649168" y="243246"/>
                      <a:pt x="649168" y="244826"/>
                      <a:pt x="649619" y="250242"/>
                    </a:cubicBezTo>
                    <a:lnTo>
                      <a:pt x="649845" y="252498"/>
                    </a:lnTo>
                    <a:cubicBezTo>
                      <a:pt x="649845" y="254077"/>
                      <a:pt x="649845" y="255883"/>
                      <a:pt x="649845" y="257462"/>
                    </a:cubicBezTo>
                    <a:cubicBezTo>
                      <a:pt x="649393" y="263103"/>
                      <a:pt x="649168" y="267616"/>
                      <a:pt x="656840" y="271227"/>
                    </a:cubicBezTo>
                    <a:cubicBezTo>
                      <a:pt x="667670" y="276191"/>
                      <a:pt x="670153" y="281381"/>
                      <a:pt x="672635" y="287022"/>
                    </a:cubicBezTo>
                    <a:lnTo>
                      <a:pt x="673312" y="288601"/>
                    </a:lnTo>
                    <a:cubicBezTo>
                      <a:pt x="675568" y="293791"/>
                      <a:pt x="675794" y="298530"/>
                      <a:pt x="673537" y="301689"/>
                    </a:cubicBezTo>
                    <a:cubicBezTo>
                      <a:pt x="671506" y="304622"/>
                      <a:pt x="667896" y="305750"/>
                      <a:pt x="662932" y="305299"/>
                    </a:cubicBezTo>
                    <a:cubicBezTo>
                      <a:pt x="653455" y="304622"/>
                      <a:pt x="650973" y="301463"/>
                      <a:pt x="648039" y="297627"/>
                    </a:cubicBezTo>
                    <a:cubicBezTo>
                      <a:pt x="646911" y="296273"/>
                      <a:pt x="646009" y="294919"/>
                      <a:pt x="644429" y="293566"/>
                    </a:cubicBezTo>
                    <a:lnTo>
                      <a:pt x="643301" y="292437"/>
                    </a:lnTo>
                    <a:cubicBezTo>
                      <a:pt x="637885" y="287022"/>
                      <a:pt x="634049" y="283186"/>
                      <a:pt x="627054" y="281832"/>
                    </a:cubicBezTo>
                    <a:cubicBezTo>
                      <a:pt x="619834" y="280478"/>
                      <a:pt x="609002" y="283186"/>
                      <a:pt x="602684" y="287699"/>
                    </a:cubicBezTo>
                    <a:cubicBezTo>
                      <a:pt x="595464" y="292889"/>
                      <a:pt x="589823" y="293791"/>
                      <a:pt x="580346" y="293791"/>
                    </a:cubicBezTo>
                    <a:cubicBezTo>
                      <a:pt x="571771" y="293791"/>
                      <a:pt x="563422" y="301012"/>
                      <a:pt x="555750" y="308684"/>
                    </a:cubicBezTo>
                    <a:cubicBezTo>
                      <a:pt x="539955" y="324479"/>
                      <a:pt x="523934" y="340274"/>
                      <a:pt x="508364" y="355618"/>
                    </a:cubicBezTo>
                    <a:lnTo>
                      <a:pt x="496631" y="367126"/>
                    </a:lnTo>
                    <a:cubicBezTo>
                      <a:pt x="494374" y="369383"/>
                      <a:pt x="491892" y="372090"/>
                      <a:pt x="489410" y="374798"/>
                    </a:cubicBezTo>
                    <a:cubicBezTo>
                      <a:pt x="483092" y="381793"/>
                      <a:pt x="476548" y="389014"/>
                      <a:pt x="469102" y="392850"/>
                    </a:cubicBezTo>
                    <a:cubicBezTo>
                      <a:pt x="466169" y="394429"/>
                      <a:pt x="463235" y="393752"/>
                      <a:pt x="460979" y="393527"/>
                    </a:cubicBezTo>
                    <a:lnTo>
                      <a:pt x="459851" y="393301"/>
                    </a:lnTo>
                    <a:lnTo>
                      <a:pt x="459399" y="392173"/>
                    </a:lnTo>
                    <a:cubicBezTo>
                      <a:pt x="458271" y="388563"/>
                      <a:pt x="456466" y="384952"/>
                      <a:pt x="454660" y="381568"/>
                    </a:cubicBezTo>
                    <a:cubicBezTo>
                      <a:pt x="451501" y="375475"/>
                      <a:pt x="448342" y="369834"/>
                      <a:pt x="450373" y="364644"/>
                    </a:cubicBezTo>
                    <a:cubicBezTo>
                      <a:pt x="452630" y="358326"/>
                      <a:pt x="451727" y="350428"/>
                      <a:pt x="447891" y="345464"/>
                    </a:cubicBezTo>
                    <a:lnTo>
                      <a:pt x="446763" y="344110"/>
                    </a:lnTo>
                    <a:lnTo>
                      <a:pt x="448117" y="342982"/>
                    </a:lnTo>
                    <a:cubicBezTo>
                      <a:pt x="453532" y="338469"/>
                      <a:pt x="457143" y="334633"/>
                      <a:pt x="458496" y="332377"/>
                    </a:cubicBezTo>
                    <a:cubicBezTo>
                      <a:pt x="461430" y="327412"/>
                      <a:pt x="465492" y="327187"/>
                      <a:pt x="468876" y="326961"/>
                    </a:cubicBezTo>
                    <a:cubicBezTo>
                      <a:pt x="471810" y="326736"/>
                      <a:pt x="473615" y="326510"/>
                      <a:pt x="474969" y="324705"/>
                    </a:cubicBezTo>
                    <a:lnTo>
                      <a:pt x="475646" y="323802"/>
                    </a:lnTo>
                    <a:cubicBezTo>
                      <a:pt x="478579" y="319966"/>
                      <a:pt x="478579" y="319966"/>
                      <a:pt x="480159" y="313648"/>
                    </a:cubicBezTo>
                    <a:lnTo>
                      <a:pt x="480835" y="310940"/>
                    </a:lnTo>
                    <a:cubicBezTo>
                      <a:pt x="481512" y="308007"/>
                      <a:pt x="482415" y="305976"/>
                      <a:pt x="484220" y="305525"/>
                    </a:cubicBezTo>
                    <a:cubicBezTo>
                      <a:pt x="486251" y="305074"/>
                      <a:pt x="487379" y="306653"/>
                      <a:pt x="488959" y="308233"/>
                    </a:cubicBezTo>
                    <a:cubicBezTo>
                      <a:pt x="490313" y="309812"/>
                      <a:pt x="491892" y="311617"/>
                      <a:pt x="493697" y="312069"/>
                    </a:cubicBezTo>
                    <a:lnTo>
                      <a:pt x="494600" y="312294"/>
                    </a:lnTo>
                    <a:cubicBezTo>
                      <a:pt x="499564" y="313422"/>
                      <a:pt x="500016" y="313422"/>
                      <a:pt x="506334" y="307556"/>
                    </a:cubicBezTo>
                    <a:cubicBezTo>
                      <a:pt x="510621" y="303494"/>
                      <a:pt x="513103" y="303494"/>
                      <a:pt x="515134" y="303494"/>
                    </a:cubicBezTo>
                    <a:cubicBezTo>
                      <a:pt x="515359" y="303494"/>
                      <a:pt x="515585" y="303494"/>
                      <a:pt x="515811" y="303494"/>
                    </a:cubicBezTo>
                    <a:cubicBezTo>
                      <a:pt x="515811" y="303494"/>
                      <a:pt x="516036" y="303268"/>
                      <a:pt x="516939" y="302140"/>
                    </a:cubicBezTo>
                    <a:cubicBezTo>
                      <a:pt x="519421" y="298078"/>
                      <a:pt x="521903" y="298078"/>
                      <a:pt x="524611" y="298304"/>
                    </a:cubicBezTo>
                    <a:cubicBezTo>
                      <a:pt x="525965" y="298304"/>
                      <a:pt x="527544" y="298530"/>
                      <a:pt x="529575" y="298078"/>
                    </a:cubicBezTo>
                    <a:cubicBezTo>
                      <a:pt x="534990" y="296950"/>
                      <a:pt x="535893" y="295596"/>
                      <a:pt x="539955" y="290632"/>
                    </a:cubicBezTo>
                    <a:lnTo>
                      <a:pt x="540406" y="289955"/>
                    </a:lnTo>
                    <a:cubicBezTo>
                      <a:pt x="541534" y="288601"/>
                      <a:pt x="541760" y="287473"/>
                      <a:pt x="541534" y="286119"/>
                    </a:cubicBezTo>
                    <a:cubicBezTo>
                      <a:pt x="541083" y="283863"/>
                      <a:pt x="538375" y="281381"/>
                      <a:pt x="534539" y="279801"/>
                    </a:cubicBezTo>
                    <a:cubicBezTo>
                      <a:pt x="534314" y="280704"/>
                      <a:pt x="533862" y="281832"/>
                      <a:pt x="532734" y="283186"/>
                    </a:cubicBezTo>
                    <a:cubicBezTo>
                      <a:pt x="530252" y="285668"/>
                      <a:pt x="527995" y="287699"/>
                      <a:pt x="525739" y="287473"/>
                    </a:cubicBezTo>
                    <a:cubicBezTo>
                      <a:pt x="523708" y="287247"/>
                      <a:pt x="522580" y="285442"/>
                      <a:pt x="522354" y="284765"/>
                    </a:cubicBezTo>
                    <a:cubicBezTo>
                      <a:pt x="520549" y="281832"/>
                      <a:pt x="520324" y="278222"/>
                      <a:pt x="519872" y="273483"/>
                    </a:cubicBezTo>
                    <a:cubicBezTo>
                      <a:pt x="519872" y="272355"/>
                      <a:pt x="519647" y="271227"/>
                      <a:pt x="519647" y="270098"/>
                    </a:cubicBezTo>
                    <a:cubicBezTo>
                      <a:pt x="519421" y="267616"/>
                      <a:pt x="518970" y="267391"/>
                      <a:pt x="517616" y="266939"/>
                    </a:cubicBezTo>
                    <a:cubicBezTo>
                      <a:pt x="516262" y="266262"/>
                      <a:pt x="514457" y="265585"/>
                      <a:pt x="512426" y="263103"/>
                    </a:cubicBezTo>
                    <a:cubicBezTo>
                      <a:pt x="511749" y="262201"/>
                      <a:pt x="511072" y="261298"/>
                      <a:pt x="510395" y="260621"/>
                    </a:cubicBezTo>
                    <a:cubicBezTo>
                      <a:pt x="507913" y="257688"/>
                      <a:pt x="506334" y="255657"/>
                      <a:pt x="508364" y="251144"/>
                    </a:cubicBezTo>
                    <a:cubicBezTo>
                      <a:pt x="509267" y="249113"/>
                      <a:pt x="508590" y="246631"/>
                      <a:pt x="507687" y="243698"/>
                    </a:cubicBezTo>
                    <a:cubicBezTo>
                      <a:pt x="507236" y="241667"/>
                      <a:pt x="506559" y="239411"/>
                      <a:pt x="506334" y="236928"/>
                    </a:cubicBezTo>
                    <a:cubicBezTo>
                      <a:pt x="505882" y="231964"/>
                      <a:pt x="509041" y="228805"/>
                      <a:pt x="512200" y="225646"/>
                    </a:cubicBezTo>
                    <a:cubicBezTo>
                      <a:pt x="513780" y="224067"/>
                      <a:pt x="515359" y="222487"/>
                      <a:pt x="516488" y="220682"/>
                    </a:cubicBezTo>
                    <a:cubicBezTo>
                      <a:pt x="517390" y="219328"/>
                      <a:pt x="518518" y="217974"/>
                      <a:pt x="519872" y="216169"/>
                    </a:cubicBezTo>
                    <a:cubicBezTo>
                      <a:pt x="521677" y="213913"/>
                      <a:pt x="526190" y="208271"/>
                      <a:pt x="525739" y="206917"/>
                    </a:cubicBezTo>
                    <a:lnTo>
                      <a:pt x="525739" y="206917"/>
                    </a:lnTo>
                    <a:cubicBezTo>
                      <a:pt x="525739" y="206917"/>
                      <a:pt x="525288" y="206466"/>
                      <a:pt x="523031" y="206692"/>
                    </a:cubicBezTo>
                    <a:cubicBezTo>
                      <a:pt x="521677" y="206692"/>
                      <a:pt x="520549" y="206917"/>
                      <a:pt x="519872" y="206917"/>
                    </a:cubicBezTo>
                    <a:cubicBezTo>
                      <a:pt x="519421" y="208046"/>
                      <a:pt x="518293" y="209174"/>
                      <a:pt x="515585" y="210302"/>
                    </a:cubicBezTo>
                    <a:cubicBezTo>
                      <a:pt x="510395" y="212784"/>
                      <a:pt x="507236" y="212333"/>
                      <a:pt x="502949" y="211656"/>
                    </a:cubicBezTo>
                    <a:cubicBezTo>
                      <a:pt x="499790" y="211205"/>
                      <a:pt x="495954" y="210753"/>
                      <a:pt x="489861" y="210979"/>
                    </a:cubicBezTo>
                    <a:cubicBezTo>
                      <a:pt x="487605" y="210979"/>
                      <a:pt x="486025" y="211205"/>
                      <a:pt x="485123" y="211205"/>
                    </a:cubicBezTo>
                    <a:cubicBezTo>
                      <a:pt x="486025" y="212559"/>
                      <a:pt x="486928" y="214815"/>
                      <a:pt x="485123" y="217523"/>
                    </a:cubicBezTo>
                    <a:cubicBezTo>
                      <a:pt x="481061" y="223615"/>
                      <a:pt x="478128" y="225646"/>
                      <a:pt x="472712" y="229256"/>
                    </a:cubicBezTo>
                    <a:cubicBezTo>
                      <a:pt x="468876" y="231739"/>
                      <a:pt x="467297" y="231513"/>
                      <a:pt x="464589" y="230610"/>
                    </a:cubicBezTo>
                    <a:cubicBezTo>
                      <a:pt x="462784" y="229933"/>
                      <a:pt x="460527" y="229256"/>
                      <a:pt x="456014" y="229031"/>
                    </a:cubicBezTo>
                    <a:cubicBezTo>
                      <a:pt x="449471" y="228580"/>
                      <a:pt x="448794" y="229031"/>
                      <a:pt x="446989" y="230385"/>
                    </a:cubicBezTo>
                    <a:cubicBezTo>
                      <a:pt x="445635" y="231287"/>
                      <a:pt x="443830" y="232415"/>
                      <a:pt x="439768" y="233995"/>
                    </a:cubicBezTo>
                    <a:cubicBezTo>
                      <a:pt x="436158" y="235349"/>
                      <a:pt x="433676" y="238057"/>
                      <a:pt x="430968" y="240990"/>
                    </a:cubicBezTo>
                    <a:cubicBezTo>
                      <a:pt x="426681" y="245729"/>
                      <a:pt x="421942" y="250918"/>
                      <a:pt x="411336" y="252949"/>
                    </a:cubicBezTo>
                    <a:cubicBezTo>
                      <a:pt x="402085" y="254754"/>
                      <a:pt x="400054" y="256334"/>
                      <a:pt x="396670" y="258816"/>
                    </a:cubicBezTo>
                    <a:cubicBezTo>
                      <a:pt x="393962" y="260847"/>
                      <a:pt x="390577" y="263555"/>
                      <a:pt x="382905" y="267165"/>
                    </a:cubicBezTo>
                    <a:lnTo>
                      <a:pt x="376136" y="270324"/>
                    </a:lnTo>
                    <a:cubicBezTo>
                      <a:pt x="364176" y="275965"/>
                      <a:pt x="361017" y="277319"/>
                      <a:pt x="350863" y="281606"/>
                    </a:cubicBezTo>
                    <a:cubicBezTo>
                      <a:pt x="338678" y="286796"/>
                      <a:pt x="333714" y="287022"/>
                      <a:pt x="325591" y="277996"/>
                    </a:cubicBezTo>
                    <a:cubicBezTo>
                      <a:pt x="323335" y="275514"/>
                      <a:pt x="322432" y="275514"/>
                      <a:pt x="322206" y="275514"/>
                    </a:cubicBezTo>
                    <a:cubicBezTo>
                      <a:pt x="321529" y="275740"/>
                      <a:pt x="320852" y="279801"/>
                      <a:pt x="321755" y="282283"/>
                    </a:cubicBezTo>
                    <a:cubicBezTo>
                      <a:pt x="322206" y="283412"/>
                      <a:pt x="323109" y="284540"/>
                      <a:pt x="324011" y="285442"/>
                    </a:cubicBezTo>
                    <a:cubicBezTo>
                      <a:pt x="325591" y="287247"/>
                      <a:pt x="327847" y="289504"/>
                      <a:pt x="326042" y="292663"/>
                    </a:cubicBezTo>
                    <a:lnTo>
                      <a:pt x="325365" y="293791"/>
                    </a:lnTo>
                    <a:cubicBezTo>
                      <a:pt x="323560" y="296950"/>
                      <a:pt x="320627" y="301915"/>
                      <a:pt x="313857" y="308684"/>
                    </a:cubicBezTo>
                    <a:cubicBezTo>
                      <a:pt x="310473" y="312069"/>
                      <a:pt x="307990" y="315228"/>
                      <a:pt x="305057" y="318612"/>
                    </a:cubicBezTo>
                    <a:cubicBezTo>
                      <a:pt x="301672" y="322900"/>
                      <a:pt x="298062" y="327187"/>
                      <a:pt x="293098" y="331925"/>
                    </a:cubicBezTo>
                    <a:cubicBezTo>
                      <a:pt x="287006" y="337567"/>
                      <a:pt x="286780" y="343208"/>
                      <a:pt x="286554" y="349075"/>
                    </a:cubicBezTo>
                    <a:cubicBezTo>
                      <a:pt x="286554" y="351105"/>
                      <a:pt x="286329" y="353136"/>
                      <a:pt x="286103" y="355167"/>
                    </a:cubicBezTo>
                    <a:cubicBezTo>
                      <a:pt x="284975" y="361485"/>
                      <a:pt x="280687" y="363065"/>
                      <a:pt x="276400" y="364644"/>
                    </a:cubicBezTo>
                    <a:cubicBezTo>
                      <a:pt x="274595" y="365321"/>
                      <a:pt x="272564" y="365998"/>
                      <a:pt x="270759" y="367126"/>
                    </a:cubicBezTo>
                    <a:lnTo>
                      <a:pt x="269179" y="368029"/>
                    </a:lnTo>
                    <a:cubicBezTo>
                      <a:pt x="263087" y="371639"/>
                      <a:pt x="254738" y="376829"/>
                      <a:pt x="242102" y="376829"/>
                    </a:cubicBezTo>
                    <a:cubicBezTo>
                      <a:pt x="233302" y="376829"/>
                      <a:pt x="230143" y="377280"/>
                      <a:pt x="225404" y="378183"/>
                    </a:cubicBezTo>
                    <a:cubicBezTo>
                      <a:pt x="223148" y="378634"/>
                      <a:pt x="220666" y="378860"/>
                      <a:pt x="217281" y="379311"/>
                    </a:cubicBezTo>
                    <a:cubicBezTo>
                      <a:pt x="212542" y="379762"/>
                      <a:pt x="208480" y="381568"/>
                      <a:pt x="204419" y="383147"/>
                    </a:cubicBezTo>
                    <a:cubicBezTo>
                      <a:pt x="199680" y="384952"/>
                      <a:pt x="195393" y="386757"/>
                      <a:pt x="189978" y="386757"/>
                    </a:cubicBezTo>
                    <a:cubicBezTo>
                      <a:pt x="184111" y="386757"/>
                      <a:pt x="181403" y="385404"/>
                      <a:pt x="178244" y="383824"/>
                    </a:cubicBezTo>
                    <a:cubicBezTo>
                      <a:pt x="175988" y="382696"/>
                      <a:pt x="173280" y="381342"/>
                      <a:pt x="168992" y="380439"/>
                    </a:cubicBezTo>
                    <a:cubicBezTo>
                      <a:pt x="166511" y="379762"/>
                      <a:pt x="164028" y="379085"/>
                      <a:pt x="161546" y="378409"/>
                    </a:cubicBezTo>
                    <a:cubicBezTo>
                      <a:pt x="152972" y="375926"/>
                      <a:pt x="144171" y="373444"/>
                      <a:pt x="138982" y="376378"/>
                    </a:cubicBezTo>
                    <a:cubicBezTo>
                      <a:pt x="136951" y="377506"/>
                      <a:pt x="135145" y="378860"/>
                      <a:pt x="133341" y="380214"/>
                    </a:cubicBezTo>
                    <a:cubicBezTo>
                      <a:pt x="128602" y="383598"/>
                      <a:pt x="123412" y="387660"/>
                      <a:pt x="112130" y="390368"/>
                    </a:cubicBezTo>
                    <a:cubicBezTo>
                      <a:pt x="104458" y="392399"/>
                      <a:pt x="99719" y="394429"/>
                      <a:pt x="94980" y="396686"/>
                    </a:cubicBezTo>
                    <a:cubicBezTo>
                      <a:pt x="90468" y="398717"/>
                      <a:pt x="85729" y="400973"/>
                      <a:pt x="78057" y="403455"/>
                    </a:cubicBezTo>
                    <a:cubicBezTo>
                      <a:pt x="77155" y="404583"/>
                      <a:pt x="75575" y="405486"/>
                      <a:pt x="73544" y="405486"/>
                    </a:cubicBezTo>
                    <a:close/>
                    <a:moveTo>
                      <a:pt x="49851" y="314776"/>
                    </a:moveTo>
                    <a:cubicBezTo>
                      <a:pt x="55041" y="314776"/>
                      <a:pt x="61359" y="321320"/>
                      <a:pt x="62488" y="323351"/>
                    </a:cubicBezTo>
                    <a:cubicBezTo>
                      <a:pt x="62713" y="323802"/>
                      <a:pt x="63165" y="324479"/>
                      <a:pt x="63841" y="325607"/>
                    </a:cubicBezTo>
                    <a:cubicBezTo>
                      <a:pt x="67677" y="331925"/>
                      <a:pt x="71739" y="338920"/>
                      <a:pt x="71739" y="342531"/>
                    </a:cubicBezTo>
                    <a:cubicBezTo>
                      <a:pt x="71739" y="346367"/>
                      <a:pt x="71062" y="352459"/>
                      <a:pt x="67226" y="359454"/>
                    </a:cubicBezTo>
                    <a:cubicBezTo>
                      <a:pt x="64293" y="364870"/>
                      <a:pt x="67677" y="369383"/>
                      <a:pt x="70611" y="370962"/>
                    </a:cubicBezTo>
                    <a:cubicBezTo>
                      <a:pt x="75124" y="373444"/>
                      <a:pt x="77606" y="379085"/>
                      <a:pt x="78057" y="388111"/>
                    </a:cubicBezTo>
                    <a:cubicBezTo>
                      <a:pt x="78283" y="392850"/>
                      <a:pt x="77606" y="397363"/>
                      <a:pt x="77155" y="400296"/>
                    </a:cubicBezTo>
                    <a:cubicBezTo>
                      <a:pt x="84601" y="398040"/>
                      <a:pt x="89114" y="395783"/>
                      <a:pt x="93401" y="393752"/>
                    </a:cubicBezTo>
                    <a:cubicBezTo>
                      <a:pt x="98365" y="391496"/>
                      <a:pt x="103104" y="389240"/>
                      <a:pt x="111227" y="387209"/>
                    </a:cubicBezTo>
                    <a:cubicBezTo>
                      <a:pt x="121607" y="384501"/>
                      <a:pt x="126345" y="381116"/>
                      <a:pt x="131084" y="377732"/>
                    </a:cubicBezTo>
                    <a:cubicBezTo>
                      <a:pt x="132889" y="376378"/>
                      <a:pt x="134920" y="375024"/>
                      <a:pt x="137176" y="373670"/>
                    </a:cubicBezTo>
                    <a:cubicBezTo>
                      <a:pt x="143720" y="369834"/>
                      <a:pt x="153197" y="372542"/>
                      <a:pt x="162674" y="375250"/>
                    </a:cubicBezTo>
                    <a:cubicBezTo>
                      <a:pt x="165156" y="375926"/>
                      <a:pt x="167639" y="376603"/>
                      <a:pt x="169895" y="377280"/>
                    </a:cubicBezTo>
                    <a:cubicBezTo>
                      <a:pt x="174633" y="378409"/>
                      <a:pt x="177567" y="379762"/>
                      <a:pt x="180049" y="380891"/>
                    </a:cubicBezTo>
                    <a:cubicBezTo>
                      <a:pt x="182983" y="382470"/>
                      <a:pt x="185239" y="383373"/>
                      <a:pt x="190203" y="383373"/>
                    </a:cubicBezTo>
                    <a:cubicBezTo>
                      <a:pt x="194716" y="383373"/>
                      <a:pt x="198778" y="381793"/>
                      <a:pt x="203291" y="379988"/>
                    </a:cubicBezTo>
                    <a:cubicBezTo>
                      <a:pt x="207352" y="378183"/>
                      <a:pt x="211640" y="376603"/>
                      <a:pt x="217055" y="375926"/>
                    </a:cubicBezTo>
                    <a:cubicBezTo>
                      <a:pt x="220440" y="375475"/>
                      <a:pt x="222922" y="375024"/>
                      <a:pt x="225178" y="374798"/>
                    </a:cubicBezTo>
                    <a:cubicBezTo>
                      <a:pt x="229691" y="374121"/>
                      <a:pt x="233302" y="373444"/>
                      <a:pt x="242327" y="373444"/>
                    </a:cubicBezTo>
                    <a:cubicBezTo>
                      <a:pt x="253836" y="373444"/>
                      <a:pt x="261507" y="368931"/>
                      <a:pt x="267374" y="365321"/>
                    </a:cubicBezTo>
                    <a:lnTo>
                      <a:pt x="268954" y="364419"/>
                    </a:lnTo>
                    <a:cubicBezTo>
                      <a:pt x="270985" y="363065"/>
                      <a:pt x="273241" y="362388"/>
                      <a:pt x="275046" y="361711"/>
                    </a:cubicBezTo>
                    <a:cubicBezTo>
                      <a:pt x="279334" y="360131"/>
                      <a:pt x="281815" y="359003"/>
                      <a:pt x="282493" y="355167"/>
                    </a:cubicBezTo>
                    <a:cubicBezTo>
                      <a:pt x="282718" y="353362"/>
                      <a:pt x="282944" y="351557"/>
                      <a:pt x="282944" y="349526"/>
                    </a:cubicBezTo>
                    <a:cubicBezTo>
                      <a:pt x="283170" y="343433"/>
                      <a:pt x="283395" y="336213"/>
                      <a:pt x="290616" y="329669"/>
                    </a:cubicBezTo>
                    <a:cubicBezTo>
                      <a:pt x="295354" y="325156"/>
                      <a:pt x="298965" y="320869"/>
                      <a:pt x="302124" y="316807"/>
                    </a:cubicBezTo>
                    <a:cubicBezTo>
                      <a:pt x="304831" y="313422"/>
                      <a:pt x="307765" y="310038"/>
                      <a:pt x="311149" y="306427"/>
                    </a:cubicBezTo>
                    <a:cubicBezTo>
                      <a:pt x="317693" y="299884"/>
                      <a:pt x="320401" y="295371"/>
                      <a:pt x="321981" y="292212"/>
                    </a:cubicBezTo>
                    <a:lnTo>
                      <a:pt x="322658" y="291084"/>
                    </a:lnTo>
                    <a:cubicBezTo>
                      <a:pt x="322883" y="290632"/>
                      <a:pt x="322883" y="290181"/>
                      <a:pt x="321078" y="288376"/>
                    </a:cubicBezTo>
                    <a:cubicBezTo>
                      <a:pt x="319950" y="287247"/>
                      <a:pt x="318596" y="285668"/>
                      <a:pt x="317919" y="283863"/>
                    </a:cubicBezTo>
                    <a:cubicBezTo>
                      <a:pt x="317017" y="280929"/>
                      <a:pt x="316791" y="274611"/>
                      <a:pt x="319950" y="272580"/>
                    </a:cubicBezTo>
                    <a:cubicBezTo>
                      <a:pt x="322206" y="271227"/>
                      <a:pt x="324914" y="272355"/>
                      <a:pt x="327847" y="275740"/>
                    </a:cubicBezTo>
                    <a:cubicBezTo>
                      <a:pt x="334617" y="282960"/>
                      <a:pt x="337325" y="283412"/>
                      <a:pt x="348832" y="278447"/>
                    </a:cubicBezTo>
                    <a:cubicBezTo>
                      <a:pt x="358987" y="274160"/>
                      <a:pt x="362146" y="272580"/>
                      <a:pt x="374105" y="267165"/>
                    </a:cubicBezTo>
                    <a:lnTo>
                      <a:pt x="380874" y="264006"/>
                    </a:lnTo>
                    <a:cubicBezTo>
                      <a:pt x="388095" y="260621"/>
                      <a:pt x="391254" y="258139"/>
                      <a:pt x="393962" y="256108"/>
                    </a:cubicBezTo>
                    <a:cubicBezTo>
                      <a:pt x="397572" y="253401"/>
                      <a:pt x="400054" y="251370"/>
                      <a:pt x="410208" y="249339"/>
                    </a:cubicBezTo>
                    <a:cubicBezTo>
                      <a:pt x="419685" y="247534"/>
                      <a:pt x="423747" y="243021"/>
                      <a:pt x="427808" y="238508"/>
                    </a:cubicBezTo>
                    <a:cubicBezTo>
                      <a:pt x="430742" y="235349"/>
                      <a:pt x="433450" y="232190"/>
                      <a:pt x="437963" y="230610"/>
                    </a:cubicBezTo>
                    <a:cubicBezTo>
                      <a:pt x="441573" y="229256"/>
                      <a:pt x="443153" y="228354"/>
                      <a:pt x="444281" y="227451"/>
                    </a:cubicBezTo>
                    <a:cubicBezTo>
                      <a:pt x="446763" y="225872"/>
                      <a:pt x="448117" y="225195"/>
                      <a:pt x="455563" y="225421"/>
                    </a:cubicBezTo>
                    <a:cubicBezTo>
                      <a:pt x="460527" y="225646"/>
                      <a:pt x="463235" y="226549"/>
                      <a:pt x="465040" y="227226"/>
                    </a:cubicBezTo>
                    <a:cubicBezTo>
                      <a:pt x="467071" y="227903"/>
                      <a:pt x="467522" y="228128"/>
                      <a:pt x="470005" y="226323"/>
                    </a:cubicBezTo>
                    <a:cubicBezTo>
                      <a:pt x="475646" y="222487"/>
                      <a:pt x="477902" y="220908"/>
                      <a:pt x="481287" y="215492"/>
                    </a:cubicBezTo>
                    <a:cubicBezTo>
                      <a:pt x="481964" y="214364"/>
                      <a:pt x="481738" y="213913"/>
                      <a:pt x="480835" y="212559"/>
                    </a:cubicBezTo>
                    <a:cubicBezTo>
                      <a:pt x="480159" y="211882"/>
                      <a:pt x="479256" y="210753"/>
                      <a:pt x="479933" y="209400"/>
                    </a:cubicBezTo>
                    <a:cubicBezTo>
                      <a:pt x="480610" y="207820"/>
                      <a:pt x="482641" y="207369"/>
                      <a:pt x="489184" y="207143"/>
                    </a:cubicBezTo>
                    <a:cubicBezTo>
                      <a:pt x="495728" y="206917"/>
                      <a:pt x="500016" y="207369"/>
                      <a:pt x="502949" y="207820"/>
                    </a:cubicBezTo>
                    <a:cubicBezTo>
                      <a:pt x="507236" y="208271"/>
                      <a:pt x="509267" y="208723"/>
                      <a:pt x="513554" y="206692"/>
                    </a:cubicBezTo>
                    <a:cubicBezTo>
                      <a:pt x="514457" y="206241"/>
                      <a:pt x="514908" y="206015"/>
                      <a:pt x="515359" y="205789"/>
                    </a:cubicBezTo>
                    <a:cubicBezTo>
                      <a:pt x="515134" y="205338"/>
                      <a:pt x="515359" y="204661"/>
                      <a:pt x="515359" y="204435"/>
                    </a:cubicBezTo>
                    <a:cubicBezTo>
                      <a:pt x="515811" y="203081"/>
                      <a:pt x="516036" y="203081"/>
                      <a:pt x="522354" y="202856"/>
                    </a:cubicBezTo>
                    <a:cubicBezTo>
                      <a:pt x="523483" y="202856"/>
                      <a:pt x="527093" y="202630"/>
                      <a:pt x="528447" y="205112"/>
                    </a:cubicBezTo>
                    <a:cubicBezTo>
                      <a:pt x="530252" y="208497"/>
                      <a:pt x="526190" y="213461"/>
                      <a:pt x="522129" y="218425"/>
                    </a:cubicBezTo>
                    <a:cubicBezTo>
                      <a:pt x="520775" y="220005"/>
                      <a:pt x="519647" y="221359"/>
                      <a:pt x="518970" y="222487"/>
                    </a:cubicBezTo>
                    <a:cubicBezTo>
                      <a:pt x="517616" y="224518"/>
                      <a:pt x="515811" y="226323"/>
                      <a:pt x="514231" y="227903"/>
                    </a:cubicBezTo>
                    <a:cubicBezTo>
                      <a:pt x="511072" y="231062"/>
                      <a:pt x="509041" y="233092"/>
                      <a:pt x="509267" y="236252"/>
                    </a:cubicBezTo>
                    <a:cubicBezTo>
                      <a:pt x="509493" y="238508"/>
                      <a:pt x="509944" y="240313"/>
                      <a:pt x="510621" y="242344"/>
                    </a:cubicBezTo>
                    <a:cubicBezTo>
                      <a:pt x="511523" y="245729"/>
                      <a:pt x="512426" y="248888"/>
                      <a:pt x="511072" y="252272"/>
                    </a:cubicBezTo>
                    <a:cubicBezTo>
                      <a:pt x="509944" y="254754"/>
                      <a:pt x="510170" y="254980"/>
                      <a:pt x="512652" y="257914"/>
                    </a:cubicBezTo>
                    <a:cubicBezTo>
                      <a:pt x="513329" y="258590"/>
                      <a:pt x="514005" y="259493"/>
                      <a:pt x="514682" y="260621"/>
                    </a:cubicBezTo>
                    <a:cubicBezTo>
                      <a:pt x="516036" y="262426"/>
                      <a:pt x="517165" y="262878"/>
                      <a:pt x="518293" y="263329"/>
                    </a:cubicBezTo>
                    <a:cubicBezTo>
                      <a:pt x="520549" y="264232"/>
                      <a:pt x="522129" y="265360"/>
                      <a:pt x="522580" y="269647"/>
                    </a:cubicBezTo>
                    <a:cubicBezTo>
                      <a:pt x="522806" y="270775"/>
                      <a:pt x="522806" y="271904"/>
                      <a:pt x="522806" y="273032"/>
                    </a:cubicBezTo>
                    <a:cubicBezTo>
                      <a:pt x="523257" y="277319"/>
                      <a:pt x="523483" y="280478"/>
                      <a:pt x="524836" y="282735"/>
                    </a:cubicBezTo>
                    <a:cubicBezTo>
                      <a:pt x="525739" y="284314"/>
                      <a:pt x="525513" y="283637"/>
                      <a:pt x="525513" y="283637"/>
                    </a:cubicBezTo>
                    <a:cubicBezTo>
                      <a:pt x="525739" y="283637"/>
                      <a:pt x="526867" y="283186"/>
                      <a:pt x="529349" y="280478"/>
                    </a:cubicBezTo>
                    <a:cubicBezTo>
                      <a:pt x="530478" y="279350"/>
                      <a:pt x="530252" y="278673"/>
                      <a:pt x="530026" y="278222"/>
                    </a:cubicBezTo>
                    <a:cubicBezTo>
                      <a:pt x="529801" y="277770"/>
                      <a:pt x="529575" y="276642"/>
                      <a:pt x="530478" y="275740"/>
                    </a:cubicBezTo>
                    <a:cubicBezTo>
                      <a:pt x="531606" y="274837"/>
                      <a:pt x="532283" y="275288"/>
                      <a:pt x="535216" y="276416"/>
                    </a:cubicBezTo>
                    <a:cubicBezTo>
                      <a:pt x="537698" y="277545"/>
                      <a:pt x="543340" y="280478"/>
                      <a:pt x="544468" y="285442"/>
                    </a:cubicBezTo>
                    <a:cubicBezTo>
                      <a:pt x="544919" y="287022"/>
                      <a:pt x="544919" y="289730"/>
                      <a:pt x="542663" y="292437"/>
                    </a:cubicBezTo>
                    <a:lnTo>
                      <a:pt x="542211" y="293114"/>
                    </a:lnTo>
                    <a:cubicBezTo>
                      <a:pt x="538149" y="298530"/>
                      <a:pt x="536345" y="300561"/>
                      <a:pt x="529575" y="301915"/>
                    </a:cubicBezTo>
                    <a:cubicBezTo>
                      <a:pt x="527093" y="302366"/>
                      <a:pt x="525062" y="302366"/>
                      <a:pt x="523708" y="302140"/>
                    </a:cubicBezTo>
                    <a:cubicBezTo>
                      <a:pt x="521452" y="301915"/>
                      <a:pt x="521000" y="301915"/>
                      <a:pt x="519421" y="304171"/>
                    </a:cubicBezTo>
                    <a:cubicBezTo>
                      <a:pt x="517616" y="306879"/>
                      <a:pt x="516262" y="307330"/>
                      <a:pt x="514231" y="307104"/>
                    </a:cubicBezTo>
                    <a:cubicBezTo>
                      <a:pt x="513103" y="307104"/>
                      <a:pt x="511749" y="306879"/>
                      <a:pt x="508364" y="310038"/>
                    </a:cubicBezTo>
                    <a:cubicBezTo>
                      <a:pt x="501143" y="316807"/>
                      <a:pt x="499564" y="317033"/>
                      <a:pt x="493246" y="315679"/>
                    </a:cubicBezTo>
                    <a:lnTo>
                      <a:pt x="492343" y="315453"/>
                    </a:lnTo>
                    <a:cubicBezTo>
                      <a:pt x="489184" y="314776"/>
                      <a:pt x="486928" y="312294"/>
                      <a:pt x="485348" y="310489"/>
                    </a:cubicBezTo>
                    <a:cubicBezTo>
                      <a:pt x="485123" y="310263"/>
                      <a:pt x="484671" y="309812"/>
                      <a:pt x="484446" y="309361"/>
                    </a:cubicBezTo>
                    <a:cubicBezTo>
                      <a:pt x="484220" y="309812"/>
                      <a:pt x="483995" y="310489"/>
                      <a:pt x="483769" y="311617"/>
                    </a:cubicBezTo>
                    <a:lnTo>
                      <a:pt x="483092" y="314099"/>
                    </a:lnTo>
                    <a:cubicBezTo>
                      <a:pt x="481287" y="321094"/>
                      <a:pt x="481287" y="321320"/>
                      <a:pt x="477902" y="325607"/>
                    </a:cubicBezTo>
                    <a:lnTo>
                      <a:pt x="477225" y="326510"/>
                    </a:lnTo>
                    <a:cubicBezTo>
                      <a:pt x="474743" y="329669"/>
                      <a:pt x="471358" y="330120"/>
                      <a:pt x="468425" y="330346"/>
                    </a:cubicBezTo>
                    <a:cubicBezTo>
                      <a:pt x="465266" y="330572"/>
                      <a:pt x="463010" y="330797"/>
                      <a:pt x="460979" y="333956"/>
                    </a:cubicBezTo>
                    <a:cubicBezTo>
                      <a:pt x="459173" y="337115"/>
                      <a:pt x="454435" y="341403"/>
                      <a:pt x="451050" y="344336"/>
                    </a:cubicBezTo>
                    <a:cubicBezTo>
                      <a:pt x="454660" y="350203"/>
                      <a:pt x="455563" y="358552"/>
                      <a:pt x="453081" y="365547"/>
                    </a:cubicBezTo>
                    <a:cubicBezTo>
                      <a:pt x="451727" y="369157"/>
                      <a:pt x="454209" y="373896"/>
                      <a:pt x="457143" y="379311"/>
                    </a:cubicBezTo>
                    <a:cubicBezTo>
                      <a:pt x="458948" y="382470"/>
                      <a:pt x="460527" y="385855"/>
                      <a:pt x="461881" y="389465"/>
                    </a:cubicBezTo>
                    <a:cubicBezTo>
                      <a:pt x="463461" y="389691"/>
                      <a:pt x="465040" y="389691"/>
                      <a:pt x="466394" y="389014"/>
                    </a:cubicBezTo>
                    <a:cubicBezTo>
                      <a:pt x="473389" y="385404"/>
                      <a:pt x="479707" y="378409"/>
                      <a:pt x="485800" y="371639"/>
                    </a:cubicBezTo>
                    <a:cubicBezTo>
                      <a:pt x="488282" y="368931"/>
                      <a:pt x="490764" y="366224"/>
                      <a:pt x="493020" y="363742"/>
                    </a:cubicBezTo>
                    <a:lnTo>
                      <a:pt x="504754" y="352234"/>
                    </a:lnTo>
                    <a:cubicBezTo>
                      <a:pt x="520324" y="336890"/>
                      <a:pt x="536345" y="321094"/>
                      <a:pt x="552140" y="305299"/>
                    </a:cubicBezTo>
                    <a:cubicBezTo>
                      <a:pt x="560489" y="296950"/>
                      <a:pt x="569514" y="289278"/>
                      <a:pt x="579443" y="289278"/>
                    </a:cubicBezTo>
                    <a:cubicBezTo>
                      <a:pt x="588243" y="289278"/>
                      <a:pt x="593207" y="288601"/>
                      <a:pt x="599525" y="284088"/>
                    </a:cubicBezTo>
                    <a:cubicBezTo>
                      <a:pt x="606746" y="278899"/>
                      <a:pt x="618480" y="276191"/>
                      <a:pt x="626829" y="277545"/>
                    </a:cubicBezTo>
                    <a:cubicBezTo>
                      <a:pt x="634952" y="278899"/>
                      <a:pt x="639465" y="283412"/>
                      <a:pt x="645106" y="289053"/>
                    </a:cubicBezTo>
                    <a:lnTo>
                      <a:pt x="646234" y="290181"/>
                    </a:lnTo>
                    <a:cubicBezTo>
                      <a:pt x="647814" y="291760"/>
                      <a:pt x="649168" y="293340"/>
                      <a:pt x="650070" y="294694"/>
                    </a:cubicBezTo>
                    <a:cubicBezTo>
                      <a:pt x="653004" y="298304"/>
                      <a:pt x="654583" y="300335"/>
                      <a:pt x="662481" y="301012"/>
                    </a:cubicBezTo>
                    <a:cubicBezTo>
                      <a:pt x="666091" y="301238"/>
                      <a:pt x="668573" y="300561"/>
                      <a:pt x="669701" y="298981"/>
                    </a:cubicBezTo>
                    <a:cubicBezTo>
                      <a:pt x="671281" y="296725"/>
                      <a:pt x="670378" y="292437"/>
                      <a:pt x="669024" y="289504"/>
                    </a:cubicBezTo>
                    <a:lnTo>
                      <a:pt x="668347" y="287924"/>
                    </a:lnTo>
                    <a:cubicBezTo>
                      <a:pt x="666091" y="282735"/>
                      <a:pt x="664060" y="278447"/>
                      <a:pt x="654583" y="274160"/>
                    </a:cubicBezTo>
                    <a:cubicBezTo>
                      <a:pt x="644654" y="269647"/>
                      <a:pt x="645106" y="262426"/>
                      <a:pt x="645331" y="256785"/>
                    </a:cubicBezTo>
                    <a:cubicBezTo>
                      <a:pt x="645331" y="255206"/>
                      <a:pt x="645557" y="253626"/>
                      <a:pt x="645331" y="252272"/>
                    </a:cubicBezTo>
                    <a:lnTo>
                      <a:pt x="645106" y="250242"/>
                    </a:lnTo>
                    <a:cubicBezTo>
                      <a:pt x="644654" y="244826"/>
                      <a:pt x="644429" y="242344"/>
                      <a:pt x="646911" y="237831"/>
                    </a:cubicBezTo>
                    <a:cubicBezTo>
                      <a:pt x="647588" y="236703"/>
                      <a:pt x="647814" y="235575"/>
                      <a:pt x="648265" y="234446"/>
                    </a:cubicBezTo>
                    <a:cubicBezTo>
                      <a:pt x="649168" y="231287"/>
                      <a:pt x="650296" y="228128"/>
                      <a:pt x="656388" y="223390"/>
                    </a:cubicBezTo>
                    <a:cubicBezTo>
                      <a:pt x="660901" y="220005"/>
                      <a:pt x="662029" y="217974"/>
                      <a:pt x="663835" y="214589"/>
                    </a:cubicBezTo>
                    <a:cubicBezTo>
                      <a:pt x="665188" y="212333"/>
                      <a:pt x="666542" y="209400"/>
                      <a:pt x="669701" y="205338"/>
                    </a:cubicBezTo>
                    <a:cubicBezTo>
                      <a:pt x="672635" y="201502"/>
                      <a:pt x="674440" y="199471"/>
                      <a:pt x="675794" y="198117"/>
                    </a:cubicBezTo>
                    <a:cubicBezTo>
                      <a:pt x="677824" y="196086"/>
                      <a:pt x="678501" y="195184"/>
                      <a:pt x="680758" y="190220"/>
                    </a:cubicBezTo>
                    <a:cubicBezTo>
                      <a:pt x="682112" y="187061"/>
                      <a:pt x="684143" y="184804"/>
                      <a:pt x="685948" y="182773"/>
                    </a:cubicBezTo>
                    <a:cubicBezTo>
                      <a:pt x="689333" y="178937"/>
                      <a:pt x="691363" y="176681"/>
                      <a:pt x="688656" y="171265"/>
                    </a:cubicBezTo>
                    <a:cubicBezTo>
                      <a:pt x="687978" y="169911"/>
                      <a:pt x="687527" y="169009"/>
                      <a:pt x="687076" y="168106"/>
                    </a:cubicBezTo>
                    <a:cubicBezTo>
                      <a:pt x="684819" y="163819"/>
                      <a:pt x="684819" y="163142"/>
                      <a:pt x="686625" y="159532"/>
                    </a:cubicBezTo>
                    <a:cubicBezTo>
                      <a:pt x="687302" y="158404"/>
                      <a:pt x="687978" y="156824"/>
                      <a:pt x="689107" y="154116"/>
                    </a:cubicBezTo>
                    <a:cubicBezTo>
                      <a:pt x="690235" y="151183"/>
                      <a:pt x="690461" y="149152"/>
                      <a:pt x="689558" y="147573"/>
                    </a:cubicBezTo>
                    <a:cubicBezTo>
                      <a:pt x="687978" y="144639"/>
                      <a:pt x="682789" y="143511"/>
                      <a:pt x="677373" y="142608"/>
                    </a:cubicBezTo>
                    <a:cubicBezTo>
                      <a:pt x="668347" y="141254"/>
                      <a:pt x="668347" y="141254"/>
                      <a:pt x="661804" y="139675"/>
                    </a:cubicBezTo>
                    <a:cubicBezTo>
                      <a:pt x="659547" y="139224"/>
                      <a:pt x="657968" y="138321"/>
                      <a:pt x="656388" y="137418"/>
                    </a:cubicBezTo>
                    <a:cubicBezTo>
                      <a:pt x="653229" y="135839"/>
                      <a:pt x="650973" y="134485"/>
                      <a:pt x="644203" y="138095"/>
                    </a:cubicBezTo>
                    <a:cubicBezTo>
                      <a:pt x="636306" y="142157"/>
                      <a:pt x="632244" y="141931"/>
                      <a:pt x="628859" y="141480"/>
                    </a:cubicBezTo>
                    <a:cubicBezTo>
                      <a:pt x="627280" y="141254"/>
                      <a:pt x="625926" y="141254"/>
                      <a:pt x="624572" y="141480"/>
                    </a:cubicBezTo>
                    <a:cubicBezTo>
                      <a:pt x="620736" y="142157"/>
                      <a:pt x="615546" y="139224"/>
                      <a:pt x="609228" y="135613"/>
                    </a:cubicBezTo>
                    <a:cubicBezTo>
                      <a:pt x="604715" y="133131"/>
                      <a:pt x="600202" y="130649"/>
                      <a:pt x="596366" y="129521"/>
                    </a:cubicBezTo>
                    <a:cubicBezTo>
                      <a:pt x="591628" y="128167"/>
                      <a:pt x="590274" y="129747"/>
                      <a:pt x="587792" y="132680"/>
                    </a:cubicBezTo>
                    <a:cubicBezTo>
                      <a:pt x="586438" y="134259"/>
                      <a:pt x="584858" y="136065"/>
                      <a:pt x="582376" y="137644"/>
                    </a:cubicBezTo>
                    <a:cubicBezTo>
                      <a:pt x="576058" y="141706"/>
                      <a:pt x="573125" y="143511"/>
                      <a:pt x="567709" y="143511"/>
                    </a:cubicBezTo>
                    <a:cubicBezTo>
                      <a:pt x="565227" y="143511"/>
                      <a:pt x="563196" y="142834"/>
                      <a:pt x="561842" y="141254"/>
                    </a:cubicBezTo>
                    <a:cubicBezTo>
                      <a:pt x="560263" y="139449"/>
                      <a:pt x="559586" y="136516"/>
                      <a:pt x="559812" y="132454"/>
                    </a:cubicBezTo>
                    <a:cubicBezTo>
                      <a:pt x="559812" y="131100"/>
                      <a:pt x="559812" y="129972"/>
                      <a:pt x="559812" y="128844"/>
                    </a:cubicBezTo>
                    <a:cubicBezTo>
                      <a:pt x="559812" y="124331"/>
                      <a:pt x="559812" y="119818"/>
                      <a:pt x="565453" y="114854"/>
                    </a:cubicBezTo>
                    <a:cubicBezTo>
                      <a:pt x="569063" y="111695"/>
                      <a:pt x="570643" y="109213"/>
                      <a:pt x="572448" y="106279"/>
                    </a:cubicBezTo>
                    <a:cubicBezTo>
                      <a:pt x="573802" y="104023"/>
                      <a:pt x="575155" y="101992"/>
                      <a:pt x="577412" y="99510"/>
                    </a:cubicBezTo>
                    <a:cubicBezTo>
                      <a:pt x="582376" y="94094"/>
                      <a:pt x="583505" y="91838"/>
                      <a:pt x="583053" y="84843"/>
                    </a:cubicBezTo>
                    <a:cubicBezTo>
                      <a:pt x="582602" y="78751"/>
                      <a:pt x="578315" y="71981"/>
                      <a:pt x="571094" y="67017"/>
                    </a:cubicBezTo>
                    <a:cubicBezTo>
                      <a:pt x="567709" y="64535"/>
                      <a:pt x="566355" y="60924"/>
                      <a:pt x="565001" y="57540"/>
                    </a:cubicBezTo>
                    <a:cubicBezTo>
                      <a:pt x="563422" y="53478"/>
                      <a:pt x="562294" y="50996"/>
                      <a:pt x="559135" y="50319"/>
                    </a:cubicBezTo>
                    <a:cubicBezTo>
                      <a:pt x="554847" y="49642"/>
                      <a:pt x="554396" y="50319"/>
                      <a:pt x="552817" y="52801"/>
                    </a:cubicBezTo>
                    <a:cubicBezTo>
                      <a:pt x="552140" y="53929"/>
                      <a:pt x="551237" y="55509"/>
                      <a:pt x="549658" y="57088"/>
                    </a:cubicBezTo>
                    <a:lnTo>
                      <a:pt x="548078" y="58894"/>
                    </a:lnTo>
                    <a:cubicBezTo>
                      <a:pt x="544016" y="63407"/>
                      <a:pt x="539955" y="68145"/>
                      <a:pt x="536119" y="67694"/>
                    </a:cubicBezTo>
                    <a:cubicBezTo>
                      <a:pt x="534990" y="67468"/>
                      <a:pt x="533637" y="67017"/>
                      <a:pt x="532508" y="64760"/>
                    </a:cubicBezTo>
                    <a:cubicBezTo>
                      <a:pt x="530703" y="61150"/>
                      <a:pt x="530478" y="59345"/>
                      <a:pt x="530252" y="57088"/>
                    </a:cubicBezTo>
                    <a:cubicBezTo>
                      <a:pt x="530026" y="55509"/>
                      <a:pt x="529801" y="53704"/>
                      <a:pt x="529124" y="50770"/>
                    </a:cubicBezTo>
                    <a:cubicBezTo>
                      <a:pt x="527544" y="44904"/>
                      <a:pt x="529349" y="43324"/>
                      <a:pt x="532283" y="41293"/>
                    </a:cubicBezTo>
                    <a:cubicBezTo>
                      <a:pt x="533637" y="40391"/>
                      <a:pt x="534990" y="39262"/>
                      <a:pt x="536570" y="37457"/>
                    </a:cubicBezTo>
                    <a:cubicBezTo>
                      <a:pt x="544016" y="28883"/>
                      <a:pt x="543791" y="25724"/>
                      <a:pt x="543340" y="24821"/>
                    </a:cubicBezTo>
                    <a:cubicBezTo>
                      <a:pt x="542888" y="23467"/>
                      <a:pt x="540406" y="23242"/>
                      <a:pt x="538827" y="23242"/>
                    </a:cubicBezTo>
                    <a:cubicBezTo>
                      <a:pt x="534314" y="23016"/>
                      <a:pt x="532283" y="22565"/>
                      <a:pt x="531154" y="21211"/>
                    </a:cubicBezTo>
                    <a:cubicBezTo>
                      <a:pt x="530026" y="19857"/>
                      <a:pt x="530252" y="18277"/>
                      <a:pt x="530478" y="16923"/>
                    </a:cubicBezTo>
                    <a:cubicBezTo>
                      <a:pt x="530703" y="15118"/>
                      <a:pt x="531154" y="13087"/>
                      <a:pt x="529349" y="10154"/>
                    </a:cubicBezTo>
                    <a:cubicBezTo>
                      <a:pt x="525062" y="2933"/>
                      <a:pt x="525062" y="2933"/>
                      <a:pt x="518970" y="3159"/>
                    </a:cubicBezTo>
                    <a:lnTo>
                      <a:pt x="517841" y="3159"/>
                    </a:lnTo>
                    <a:cubicBezTo>
                      <a:pt x="514005" y="3159"/>
                      <a:pt x="505882" y="9477"/>
                      <a:pt x="499790" y="13990"/>
                    </a:cubicBezTo>
                    <a:cubicBezTo>
                      <a:pt x="494374" y="18052"/>
                      <a:pt x="490989" y="20759"/>
                      <a:pt x="488733" y="21436"/>
                    </a:cubicBezTo>
                    <a:cubicBezTo>
                      <a:pt x="483543" y="22790"/>
                      <a:pt x="462558" y="34975"/>
                      <a:pt x="458271" y="40616"/>
                    </a:cubicBezTo>
                    <a:cubicBezTo>
                      <a:pt x="456691" y="42647"/>
                      <a:pt x="456014" y="44678"/>
                      <a:pt x="455337" y="46934"/>
                    </a:cubicBezTo>
                    <a:cubicBezTo>
                      <a:pt x="453984" y="50996"/>
                      <a:pt x="452630" y="55058"/>
                      <a:pt x="445860" y="56863"/>
                    </a:cubicBezTo>
                    <a:cubicBezTo>
                      <a:pt x="442476" y="57765"/>
                      <a:pt x="442250" y="60022"/>
                      <a:pt x="442250" y="63407"/>
                    </a:cubicBezTo>
                    <a:cubicBezTo>
                      <a:pt x="442250" y="66114"/>
                      <a:pt x="442024" y="70176"/>
                      <a:pt x="437511" y="70402"/>
                    </a:cubicBezTo>
                    <a:cubicBezTo>
                      <a:pt x="433224" y="70627"/>
                      <a:pt x="431645" y="69950"/>
                      <a:pt x="429388" y="68596"/>
                    </a:cubicBezTo>
                    <a:cubicBezTo>
                      <a:pt x="428485" y="68145"/>
                      <a:pt x="427583" y="67468"/>
                      <a:pt x="426229" y="67017"/>
                    </a:cubicBezTo>
                    <a:cubicBezTo>
                      <a:pt x="423070" y="65663"/>
                      <a:pt x="422167" y="65212"/>
                      <a:pt x="420362" y="64083"/>
                    </a:cubicBezTo>
                    <a:cubicBezTo>
                      <a:pt x="419234" y="63407"/>
                      <a:pt x="417654" y="62504"/>
                      <a:pt x="414721" y="60924"/>
                    </a:cubicBezTo>
                    <a:cubicBezTo>
                      <a:pt x="407500" y="56863"/>
                      <a:pt x="401408" y="55509"/>
                      <a:pt x="394187" y="56412"/>
                    </a:cubicBezTo>
                    <a:cubicBezTo>
                      <a:pt x="383808" y="57765"/>
                      <a:pt x="375007" y="54155"/>
                      <a:pt x="366433" y="50996"/>
                    </a:cubicBezTo>
                    <a:cubicBezTo>
                      <a:pt x="357181" y="47386"/>
                      <a:pt x="348607" y="44001"/>
                      <a:pt x="339130" y="46934"/>
                    </a:cubicBezTo>
                    <a:cubicBezTo>
                      <a:pt x="330781" y="49416"/>
                      <a:pt x="322883" y="55509"/>
                      <a:pt x="314760" y="65212"/>
                    </a:cubicBezTo>
                    <a:cubicBezTo>
                      <a:pt x="308893" y="72432"/>
                      <a:pt x="303252" y="80781"/>
                      <a:pt x="298062" y="88905"/>
                    </a:cubicBezTo>
                    <a:cubicBezTo>
                      <a:pt x="284523" y="109664"/>
                      <a:pt x="270533" y="130875"/>
                      <a:pt x="246841" y="136967"/>
                    </a:cubicBezTo>
                    <a:cubicBezTo>
                      <a:pt x="242102" y="138095"/>
                      <a:pt x="237363" y="138772"/>
                      <a:pt x="232625" y="139224"/>
                    </a:cubicBezTo>
                    <a:cubicBezTo>
                      <a:pt x="224501" y="140126"/>
                      <a:pt x="216830" y="140803"/>
                      <a:pt x="210286" y="144865"/>
                    </a:cubicBezTo>
                    <a:cubicBezTo>
                      <a:pt x="196521" y="153214"/>
                      <a:pt x="193588" y="171942"/>
                      <a:pt x="192685" y="190671"/>
                    </a:cubicBezTo>
                    <a:lnTo>
                      <a:pt x="192685" y="192476"/>
                    </a:lnTo>
                    <a:lnTo>
                      <a:pt x="190880" y="192476"/>
                    </a:lnTo>
                    <a:cubicBezTo>
                      <a:pt x="161320" y="191799"/>
                      <a:pt x="133341" y="218425"/>
                      <a:pt x="132664" y="248211"/>
                    </a:cubicBezTo>
                    <a:lnTo>
                      <a:pt x="132664" y="249790"/>
                    </a:lnTo>
                    <a:lnTo>
                      <a:pt x="131084" y="250016"/>
                    </a:lnTo>
                    <a:cubicBezTo>
                      <a:pt x="125668" y="250693"/>
                      <a:pt x="121155" y="255431"/>
                      <a:pt x="120704" y="260621"/>
                    </a:cubicBezTo>
                    <a:lnTo>
                      <a:pt x="120479" y="261975"/>
                    </a:lnTo>
                    <a:lnTo>
                      <a:pt x="119125" y="262201"/>
                    </a:lnTo>
                    <a:cubicBezTo>
                      <a:pt x="117094" y="262652"/>
                      <a:pt x="113032" y="264006"/>
                      <a:pt x="108971" y="265585"/>
                    </a:cubicBezTo>
                    <a:cubicBezTo>
                      <a:pt x="98817" y="269421"/>
                      <a:pt x="91370" y="272129"/>
                      <a:pt x="87760" y="271227"/>
                    </a:cubicBezTo>
                    <a:cubicBezTo>
                      <a:pt x="85503" y="270775"/>
                      <a:pt x="83924" y="268745"/>
                      <a:pt x="82570" y="266939"/>
                    </a:cubicBezTo>
                    <a:cubicBezTo>
                      <a:pt x="80539" y="264457"/>
                      <a:pt x="79411" y="263103"/>
                      <a:pt x="76703" y="263555"/>
                    </a:cubicBezTo>
                    <a:cubicBezTo>
                      <a:pt x="75575" y="263780"/>
                      <a:pt x="74898" y="264006"/>
                      <a:pt x="74447" y="264006"/>
                    </a:cubicBezTo>
                    <a:cubicBezTo>
                      <a:pt x="73996" y="264909"/>
                      <a:pt x="72867" y="265811"/>
                      <a:pt x="70160" y="267165"/>
                    </a:cubicBezTo>
                    <a:cubicBezTo>
                      <a:pt x="67226" y="268745"/>
                      <a:pt x="65647" y="271227"/>
                      <a:pt x="64293" y="273483"/>
                    </a:cubicBezTo>
                    <a:cubicBezTo>
                      <a:pt x="62713" y="275965"/>
                      <a:pt x="61134" y="278673"/>
                      <a:pt x="57523" y="278673"/>
                    </a:cubicBezTo>
                    <a:cubicBezTo>
                      <a:pt x="55944" y="278673"/>
                      <a:pt x="53687" y="280478"/>
                      <a:pt x="51431" y="282509"/>
                    </a:cubicBezTo>
                    <a:cubicBezTo>
                      <a:pt x="48046" y="285442"/>
                      <a:pt x="43759" y="289053"/>
                      <a:pt x="38118" y="289053"/>
                    </a:cubicBezTo>
                    <a:cubicBezTo>
                      <a:pt x="32702" y="289053"/>
                      <a:pt x="31574" y="288150"/>
                      <a:pt x="29995" y="285442"/>
                    </a:cubicBezTo>
                    <a:cubicBezTo>
                      <a:pt x="29318" y="284314"/>
                      <a:pt x="28641" y="282509"/>
                      <a:pt x="25933" y="280252"/>
                    </a:cubicBezTo>
                    <a:cubicBezTo>
                      <a:pt x="19389" y="274160"/>
                      <a:pt x="14199" y="271904"/>
                      <a:pt x="8784" y="273257"/>
                    </a:cubicBezTo>
                    <a:cubicBezTo>
                      <a:pt x="8107" y="273483"/>
                      <a:pt x="7881" y="273483"/>
                      <a:pt x="7881" y="273483"/>
                    </a:cubicBezTo>
                    <a:cubicBezTo>
                      <a:pt x="7655" y="273934"/>
                      <a:pt x="8558" y="275740"/>
                      <a:pt x="9009" y="276642"/>
                    </a:cubicBezTo>
                    <a:cubicBezTo>
                      <a:pt x="10138" y="278899"/>
                      <a:pt x="11491" y="281606"/>
                      <a:pt x="9686" y="283863"/>
                    </a:cubicBezTo>
                    <a:cubicBezTo>
                      <a:pt x="9009" y="284540"/>
                      <a:pt x="8784" y="285668"/>
                      <a:pt x="8558" y="287022"/>
                    </a:cubicBezTo>
                    <a:cubicBezTo>
                      <a:pt x="8107" y="289278"/>
                      <a:pt x="7655" y="291986"/>
                      <a:pt x="4496" y="294017"/>
                    </a:cubicBezTo>
                    <a:cubicBezTo>
                      <a:pt x="2240" y="295371"/>
                      <a:pt x="2466" y="296725"/>
                      <a:pt x="2917" y="300335"/>
                    </a:cubicBezTo>
                    <a:cubicBezTo>
                      <a:pt x="3143" y="301463"/>
                      <a:pt x="3368" y="302591"/>
                      <a:pt x="3368" y="303945"/>
                    </a:cubicBezTo>
                    <a:cubicBezTo>
                      <a:pt x="3820" y="308458"/>
                      <a:pt x="9461" y="313422"/>
                      <a:pt x="10815" y="313422"/>
                    </a:cubicBezTo>
                    <a:cubicBezTo>
                      <a:pt x="13748" y="313422"/>
                      <a:pt x="18938" y="315453"/>
                      <a:pt x="22097" y="318161"/>
                    </a:cubicBezTo>
                    <a:cubicBezTo>
                      <a:pt x="23000" y="317033"/>
                      <a:pt x="24353" y="315679"/>
                      <a:pt x="27287" y="316130"/>
                    </a:cubicBezTo>
                    <a:cubicBezTo>
                      <a:pt x="31123" y="316807"/>
                      <a:pt x="41728" y="314551"/>
                      <a:pt x="46015" y="313648"/>
                    </a:cubicBezTo>
                    <a:lnTo>
                      <a:pt x="47144" y="313422"/>
                    </a:lnTo>
                    <a:cubicBezTo>
                      <a:pt x="48949" y="314776"/>
                      <a:pt x="49400" y="314776"/>
                      <a:pt x="49851" y="314776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xmlns="" id="{FB1A0235-81D3-4DE4-9641-98294BB37B9B}"/>
                  </a:ext>
                </a:extLst>
              </p:cNvPr>
              <p:cNvSpPr/>
              <p:nvPr/>
            </p:nvSpPr>
            <p:spPr>
              <a:xfrm>
                <a:off x="9121955" y="3597206"/>
                <a:ext cx="1037972" cy="970278"/>
              </a:xfrm>
              <a:custGeom>
                <a:avLst/>
                <a:gdLst>
                  <a:gd name="connsiteX0" fmla="*/ 123497 w 1037972"/>
                  <a:gd name="connsiteY0" fmla="*/ 978853 h 970278"/>
                  <a:gd name="connsiteX1" fmla="*/ 119887 w 1037972"/>
                  <a:gd name="connsiteY1" fmla="*/ 978176 h 970278"/>
                  <a:gd name="connsiteX2" fmla="*/ 119887 w 1037972"/>
                  <a:gd name="connsiteY2" fmla="*/ 978176 h 970278"/>
                  <a:gd name="connsiteX3" fmla="*/ 119887 w 1037972"/>
                  <a:gd name="connsiteY3" fmla="*/ 978176 h 970278"/>
                  <a:gd name="connsiteX4" fmla="*/ 120338 w 1037972"/>
                  <a:gd name="connsiteY4" fmla="*/ 973889 h 970278"/>
                  <a:gd name="connsiteX5" fmla="*/ 124174 w 1037972"/>
                  <a:gd name="connsiteY5" fmla="*/ 973889 h 970278"/>
                  <a:gd name="connsiteX6" fmla="*/ 123723 w 1037972"/>
                  <a:gd name="connsiteY6" fmla="*/ 978627 h 970278"/>
                  <a:gd name="connsiteX7" fmla="*/ 123497 w 1037972"/>
                  <a:gd name="connsiteY7" fmla="*/ 978853 h 970278"/>
                  <a:gd name="connsiteX8" fmla="*/ 220074 w 1037972"/>
                  <a:gd name="connsiteY8" fmla="*/ 906421 h 970278"/>
                  <a:gd name="connsiteX9" fmla="*/ 202925 w 1037972"/>
                  <a:gd name="connsiteY9" fmla="*/ 898974 h 970278"/>
                  <a:gd name="connsiteX10" fmla="*/ 192996 w 1037972"/>
                  <a:gd name="connsiteY10" fmla="*/ 885887 h 970278"/>
                  <a:gd name="connsiteX11" fmla="*/ 192319 w 1037972"/>
                  <a:gd name="connsiteY11" fmla="*/ 885661 h 970278"/>
                  <a:gd name="connsiteX12" fmla="*/ 192771 w 1037972"/>
                  <a:gd name="connsiteY12" fmla="*/ 884307 h 970278"/>
                  <a:gd name="connsiteX13" fmla="*/ 206986 w 1037972"/>
                  <a:gd name="connsiteY13" fmla="*/ 862871 h 970278"/>
                  <a:gd name="connsiteX14" fmla="*/ 225941 w 1037972"/>
                  <a:gd name="connsiteY14" fmla="*/ 848881 h 970278"/>
                  <a:gd name="connsiteX15" fmla="*/ 236772 w 1037972"/>
                  <a:gd name="connsiteY15" fmla="*/ 827895 h 970278"/>
                  <a:gd name="connsiteX16" fmla="*/ 235643 w 1037972"/>
                  <a:gd name="connsiteY16" fmla="*/ 820675 h 970278"/>
                  <a:gd name="connsiteX17" fmla="*/ 228874 w 1037972"/>
                  <a:gd name="connsiteY17" fmla="*/ 816613 h 970278"/>
                  <a:gd name="connsiteX18" fmla="*/ 213756 w 1037972"/>
                  <a:gd name="connsiteY18" fmla="*/ 795403 h 970278"/>
                  <a:gd name="connsiteX19" fmla="*/ 213756 w 1037972"/>
                  <a:gd name="connsiteY19" fmla="*/ 794726 h 970278"/>
                  <a:gd name="connsiteX20" fmla="*/ 209468 w 1037972"/>
                  <a:gd name="connsiteY20" fmla="*/ 778253 h 970278"/>
                  <a:gd name="connsiteX21" fmla="*/ 200217 w 1037972"/>
                  <a:gd name="connsiteY21" fmla="*/ 774869 h 970278"/>
                  <a:gd name="connsiteX22" fmla="*/ 193448 w 1037972"/>
                  <a:gd name="connsiteY22" fmla="*/ 772838 h 970278"/>
                  <a:gd name="connsiteX23" fmla="*/ 176298 w 1037972"/>
                  <a:gd name="connsiteY23" fmla="*/ 759299 h 970278"/>
                  <a:gd name="connsiteX24" fmla="*/ 177878 w 1037972"/>
                  <a:gd name="connsiteY24" fmla="*/ 748694 h 970278"/>
                  <a:gd name="connsiteX25" fmla="*/ 179232 w 1037972"/>
                  <a:gd name="connsiteY25" fmla="*/ 740345 h 970278"/>
                  <a:gd name="connsiteX26" fmla="*/ 169529 w 1037972"/>
                  <a:gd name="connsiteY26" fmla="*/ 737186 h 970278"/>
                  <a:gd name="connsiteX27" fmla="*/ 158472 w 1037972"/>
                  <a:gd name="connsiteY27" fmla="*/ 734252 h 970278"/>
                  <a:gd name="connsiteX28" fmla="*/ 150800 w 1037972"/>
                  <a:gd name="connsiteY28" fmla="*/ 728611 h 970278"/>
                  <a:gd name="connsiteX29" fmla="*/ 146062 w 1037972"/>
                  <a:gd name="connsiteY29" fmla="*/ 728611 h 970278"/>
                  <a:gd name="connsiteX30" fmla="*/ 137487 w 1037972"/>
                  <a:gd name="connsiteY30" fmla="*/ 733801 h 970278"/>
                  <a:gd name="connsiteX31" fmla="*/ 130041 w 1037972"/>
                  <a:gd name="connsiteY31" fmla="*/ 739668 h 970278"/>
                  <a:gd name="connsiteX32" fmla="*/ 109958 w 1037972"/>
                  <a:gd name="connsiteY32" fmla="*/ 753433 h 970278"/>
                  <a:gd name="connsiteX33" fmla="*/ 92809 w 1037972"/>
                  <a:gd name="connsiteY33" fmla="*/ 749371 h 970278"/>
                  <a:gd name="connsiteX34" fmla="*/ 85814 w 1037972"/>
                  <a:gd name="connsiteY34" fmla="*/ 741924 h 970278"/>
                  <a:gd name="connsiteX35" fmla="*/ 78142 w 1037972"/>
                  <a:gd name="connsiteY35" fmla="*/ 734478 h 970278"/>
                  <a:gd name="connsiteX36" fmla="*/ 74532 w 1037972"/>
                  <a:gd name="connsiteY36" fmla="*/ 734252 h 970278"/>
                  <a:gd name="connsiteX37" fmla="*/ 56932 w 1037972"/>
                  <a:gd name="connsiteY37" fmla="*/ 735381 h 970278"/>
                  <a:gd name="connsiteX38" fmla="*/ 55803 w 1037972"/>
                  <a:gd name="connsiteY38" fmla="*/ 740345 h 970278"/>
                  <a:gd name="connsiteX39" fmla="*/ 52870 w 1037972"/>
                  <a:gd name="connsiteY39" fmla="*/ 747340 h 970278"/>
                  <a:gd name="connsiteX40" fmla="*/ 30080 w 1037972"/>
                  <a:gd name="connsiteY40" fmla="*/ 748242 h 970278"/>
                  <a:gd name="connsiteX41" fmla="*/ 24890 w 1037972"/>
                  <a:gd name="connsiteY41" fmla="*/ 745083 h 970278"/>
                  <a:gd name="connsiteX42" fmla="*/ 27598 w 1037972"/>
                  <a:gd name="connsiteY42" fmla="*/ 727257 h 970278"/>
                  <a:gd name="connsiteX43" fmla="*/ 23310 w 1037972"/>
                  <a:gd name="connsiteY43" fmla="*/ 708980 h 970278"/>
                  <a:gd name="connsiteX44" fmla="*/ 21280 w 1037972"/>
                  <a:gd name="connsiteY44" fmla="*/ 688446 h 970278"/>
                  <a:gd name="connsiteX45" fmla="*/ 24664 w 1037972"/>
                  <a:gd name="connsiteY45" fmla="*/ 685513 h 970278"/>
                  <a:gd name="connsiteX46" fmla="*/ 37752 w 1037972"/>
                  <a:gd name="connsiteY46" fmla="*/ 695441 h 970278"/>
                  <a:gd name="connsiteX47" fmla="*/ 42039 w 1037972"/>
                  <a:gd name="connsiteY47" fmla="*/ 700180 h 970278"/>
                  <a:gd name="connsiteX48" fmla="*/ 44295 w 1037972"/>
                  <a:gd name="connsiteY48" fmla="*/ 702436 h 970278"/>
                  <a:gd name="connsiteX49" fmla="*/ 56029 w 1037972"/>
                  <a:gd name="connsiteY49" fmla="*/ 706724 h 970278"/>
                  <a:gd name="connsiteX50" fmla="*/ 67537 w 1037972"/>
                  <a:gd name="connsiteY50" fmla="*/ 706949 h 970278"/>
                  <a:gd name="connsiteX51" fmla="*/ 77691 w 1037972"/>
                  <a:gd name="connsiteY51" fmla="*/ 707626 h 970278"/>
                  <a:gd name="connsiteX52" fmla="*/ 78594 w 1037972"/>
                  <a:gd name="connsiteY52" fmla="*/ 707626 h 970278"/>
                  <a:gd name="connsiteX53" fmla="*/ 78594 w 1037972"/>
                  <a:gd name="connsiteY53" fmla="*/ 703339 h 970278"/>
                  <a:gd name="connsiteX54" fmla="*/ 83332 w 1037972"/>
                  <a:gd name="connsiteY54" fmla="*/ 691380 h 970278"/>
                  <a:gd name="connsiteX55" fmla="*/ 91230 w 1037972"/>
                  <a:gd name="connsiteY55" fmla="*/ 680098 h 970278"/>
                  <a:gd name="connsiteX56" fmla="*/ 88296 w 1037972"/>
                  <a:gd name="connsiteY56" fmla="*/ 678066 h 970278"/>
                  <a:gd name="connsiteX57" fmla="*/ 83558 w 1037972"/>
                  <a:gd name="connsiteY57" fmla="*/ 678066 h 970278"/>
                  <a:gd name="connsiteX58" fmla="*/ 68440 w 1037972"/>
                  <a:gd name="connsiteY58" fmla="*/ 675810 h 970278"/>
                  <a:gd name="connsiteX59" fmla="*/ 51967 w 1037972"/>
                  <a:gd name="connsiteY59" fmla="*/ 669943 h 970278"/>
                  <a:gd name="connsiteX60" fmla="*/ 35044 w 1037972"/>
                  <a:gd name="connsiteY60" fmla="*/ 676713 h 970278"/>
                  <a:gd name="connsiteX61" fmla="*/ 16315 w 1037972"/>
                  <a:gd name="connsiteY61" fmla="*/ 660466 h 970278"/>
                  <a:gd name="connsiteX62" fmla="*/ 20151 w 1037972"/>
                  <a:gd name="connsiteY62" fmla="*/ 651666 h 970278"/>
                  <a:gd name="connsiteX63" fmla="*/ 13156 w 1037972"/>
                  <a:gd name="connsiteY63" fmla="*/ 646702 h 970278"/>
                  <a:gd name="connsiteX64" fmla="*/ 69 w 1037972"/>
                  <a:gd name="connsiteY64" fmla="*/ 625491 h 970278"/>
                  <a:gd name="connsiteX65" fmla="*/ 69 w 1037972"/>
                  <a:gd name="connsiteY65" fmla="*/ 623235 h 970278"/>
                  <a:gd name="connsiteX66" fmla="*/ 9095 w 1037972"/>
                  <a:gd name="connsiteY66" fmla="*/ 600444 h 970278"/>
                  <a:gd name="connsiteX67" fmla="*/ 11125 w 1037972"/>
                  <a:gd name="connsiteY67" fmla="*/ 586680 h 970278"/>
                  <a:gd name="connsiteX68" fmla="*/ 10449 w 1037972"/>
                  <a:gd name="connsiteY68" fmla="*/ 583747 h 970278"/>
                  <a:gd name="connsiteX69" fmla="*/ 8192 w 1037972"/>
                  <a:gd name="connsiteY69" fmla="*/ 579459 h 970278"/>
                  <a:gd name="connsiteX70" fmla="*/ 5033 w 1037972"/>
                  <a:gd name="connsiteY70" fmla="*/ 569757 h 970278"/>
                  <a:gd name="connsiteX71" fmla="*/ 8192 w 1037972"/>
                  <a:gd name="connsiteY71" fmla="*/ 566598 h 970278"/>
                  <a:gd name="connsiteX72" fmla="*/ 26695 w 1037972"/>
                  <a:gd name="connsiteY72" fmla="*/ 568628 h 970278"/>
                  <a:gd name="connsiteX73" fmla="*/ 30982 w 1037972"/>
                  <a:gd name="connsiteY73" fmla="*/ 568402 h 970278"/>
                  <a:gd name="connsiteX74" fmla="*/ 38429 w 1037972"/>
                  <a:gd name="connsiteY74" fmla="*/ 569757 h 970278"/>
                  <a:gd name="connsiteX75" fmla="*/ 41588 w 1037972"/>
                  <a:gd name="connsiteY75" fmla="*/ 569757 h 970278"/>
                  <a:gd name="connsiteX76" fmla="*/ 53321 w 1037972"/>
                  <a:gd name="connsiteY76" fmla="*/ 559377 h 970278"/>
                  <a:gd name="connsiteX77" fmla="*/ 46101 w 1037972"/>
                  <a:gd name="connsiteY77" fmla="*/ 531396 h 970278"/>
                  <a:gd name="connsiteX78" fmla="*/ 34593 w 1037972"/>
                  <a:gd name="connsiteY78" fmla="*/ 503868 h 970278"/>
                  <a:gd name="connsiteX79" fmla="*/ 46326 w 1037972"/>
                  <a:gd name="connsiteY79" fmla="*/ 487847 h 970278"/>
                  <a:gd name="connsiteX80" fmla="*/ 45198 w 1037972"/>
                  <a:gd name="connsiteY80" fmla="*/ 481980 h 970278"/>
                  <a:gd name="connsiteX81" fmla="*/ 43167 w 1037972"/>
                  <a:gd name="connsiteY81" fmla="*/ 469570 h 970278"/>
                  <a:gd name="connsiteX82" fmla="*/ 54224 w 1037972"/>
                  <a:gd name="connsiteY82" fmla="*/ 441589 h 970278"/>
                  <a:gd name="connsiteX83" fmla="*/ 77014 w 1037972"/>
                  <a:gd name="connsiteY83" fmla="*/ 440687 h 970278"/>
                  <a:gd name="connsiteX84" fmla="*/ 80173 w 1037972"/>
                  <a:gd name="connsiteY84" fmla="*/ 440913 h 970278"/>
                  <a:gd name="connsiteX85" fmla="*/ 102738 w 1037972"/>
                  <a:gd name="connsiteY85" fmla="*/ 442041 h 970278"/>
                  <a:gd name="connsiteX86" fmla="*/ 104092 w 1037972"/>
                  <a:gd name="connsiteY86" fmla="*/ 441815 h 970278"/>
                  <a:gd name="connsiteX87" fmla="*/ 104769 w 1037972"/>
                  <a:gd name="connsiteY87" fmla="*/ 442943 h 970278"/>
                  <a:gd name="connsiteX88" fmla="*/ 114020 w 1037972"/>
                  <a:gd name="connsiteY88" fmla="*/ 458287 h 970278"/>
                  <a:gd name="connsiteX89" fmla="*/ 139744 w 1037972"/>
                  <a:gd name="connsiteY89" fmla="*/ 467990 h 970278"/>
                  <a:gd name="connsiteX90" fmla="*/ 146062 w 1037972"/>
                  <a:gd name="connsiteY90" fmla="*/ 467539 h 970278"/>
                  <a:gd name="connsiteX91" fmla="*/ 170883 w 1037972"/>
                  <a:gd name="connsiteY91" fmla="*/ 469570 h 970278"/>
                  <a:gd name="connsiteX92" fmla="*/ 189837 w 1037972"/>
                  <a:gd name="connsiteY92" fmla="*/ 466411 h 970278"/>
                  <a:gd name="connsiteX93" fmla="*/ 192545 w 1037972"/>
                  <a:gd name="connsiteY93" fmla="*/ 463929 h 970278"/>
                  <a:gd name="connsiteX94" fmla="*/ 197509 w 1037972"/>
                  <a:gd name="connsiteY94" fmla="*/ 457836 h 970278"/>
                  <a:gd name="connsiteX95" fmla="*/ 223007 w 1037972"/>
                  <a:gd name="connsiteY95" fmla="*/ 441815 h 970278"/>
                  <a:gd name="connsiteX96" fmla="*/ 252116 w 1037972"/>
                  <a:gd name="connsiteY96" fmla="*/ 443620 h 970278"/>
                  <a:gd name="connsiteX97" fmla="*/ 261818 w 1037972"/>
                  <a:gd name="connsiteY97" fmla="*/ 445200 h 970278"/>
                  <a:gd name="connsiteX98" fmla="*/ 282127 w 1037972"/>
                  <a:gd name="connsiteY98" fmla="*/ 433241 h 970278"/>
                  <a:gd name="connsiteX99" fmla="*/ 309881 w 1037972"/>
                  <a:gd name="connsiteY99" fmla="*/ 420830 h 970278"/>
                  <a:gd name="connsiteX100" fmla="*/ 325451 w 1037972"/>
                  <a:gd name="connsiteY100" fmla="*/ 417671 h 970278"/>
                  <a:gd name="connsiteX101" fmla="*/ 330415 w 1037972"/>
                  <a:gd name="connsiteY101" fmla="*/ 396460 h 970278"/>
                  <a:gd name="connsiteX102" fmla="*/ 332446 w 1037972"/>
                  <a:gd name="connsiteY102" fmla="*/ 388337 h 970278"/>
                  <a:gd name="connsiteX103" fmla="*/ 351625 w 1037972"/>
                  <a:gd name="connsiteY103" fmla="*/ 372993 h 970278"/>
                  <a:gd name="connsiteX104" fmla="*/ 358846 w 1037972"/>
                  <a:gd name="connsiteY104" fmla="*/ 371413 h 970278"/>
                  <a:gd name="connsiteX105" fmla="*/ 375093 w 1037972"/>
                  <a:gd name="connsiteY105" fmla="*/ 365321 h 970278"/>
                  <a:gd name="connsiteX106" fmla="*/ 400591 w 1037972"/>
                  <a:gd name="connsiteY106" fmla="*/ 357649 h 970278"/>
                  <a:gd name="connsiteX107" fmla="*/ 423607 w 1037972"/>
                  <a:gd name="connsiteY107" fmla="*/ 359906 h 970278"/>
                  <a:gd name="connsiteX108" fmla="*/ 428797 w 1037972"/>
                  <a:gd name="connsiteY108" fmla="*/ 360583 h 970278"/>
                  <a:gd name="connsiteX109" fmla="*/ 433761 w 1037972"/>
                  <a:gd name="connsiteY109" fmla="*/ 337567 h 970278"/>
                  <a:gd name="connsiteX110" fmla="*/ 448202 w 1037972"/>
                  <a:gd name="connsiteY110" fmla="*/ 316130 h 970278"/>
                  <a:gd name="connsiteX111" fmla="*/ 455648 w 1037972"/>
                  <a:gd name="connsiteY111" fmla="*/ 315228 h 970278"/>
                  <a:gd name="connsiteX112" fmla="*/ 468285 w 1037972"/>
                  <a:gd name="connsiteY112" fmla="*/ 330572 h 970278"/>
                  <a:gd name="connsiteX113" fmla="*/ 471218 w 1037972"/>
                  <a:gd name="connsiteY113" fmla="*/ 335987 h 970278"/>
                  <a:gd name="connsiteX114" fmla="*/ 486336 w 1037972"/>
                  <a:gd name="connsiteY114" fmla="*/ 345013 h 970278"/>
                  <a:gd name="connsiteX115" fmla="*/ 494008 w 1037972"/>
                  <a:gd name="connsiteY115" fmla="*/ 348398 h 970278"/>
                  <a:gd name="connsiteX116" fmla="*/ 503485 w 1037972"/>
                  <a:gd name="connsiteY116" fmla="*/ 347495 h 970278"/>
                  <a:gd name="connsiteX117" fmla="*/ 502357 w 1037972"/>
                  <a:gd name="connsiteY117" fmla="*/ 337567 h 970278"/>
                  <a:gd name="connsiteX118" fmla="*/ 487690 w 1037972"/>
                  <a:gd name="connsiteY118" fmla="*/ 328766 h 970278"/>
                  <a:gd name="connsiteX119" fmla="*/ 477987 w 1037972"/>
                  <a:gd name="connsiteY119" fmla="*/ 321094 h 970278"/>
                  <a:gd name="connsiteX120" fmla="*/ 490624 w 1037972"/>
                  <a:gd name="connsiteY120" fmla="*/ 311617 h 970278"/>
                  <a:gd name="connsiteX121" fmla="*/ 491978 w 1037972"/>
                  <a:gd name="connsiteY121" fmla="*/ 311617 h 970278"/>
                  <a:gd name="connsiteX122" fmla="*/ 491526 w 1037972"/>
                  <a:gd name="connsiteY122" fmla="*/ 311166 h 970278"/>
                  <a:gd name="connsiteX123" fmla="*/ 489495 w 1037972"/>
                  <a:gd name="connsiteY123" fmla="*/ 306653 h 970278"/>
                  <a:gd name="connsiteX124" fmla="*/ 491752 w 1037972"/>
                  <a:gd name="connsiteY124" fmla="*/ 303268 h 970278"/>
                  <a:gd name="connsiteX125" fmla="*/ 511609 w 1037972"/>
                  <a:gd name="connsiteY125" fmla="*/ 303043 h 970278"/>
                  <a:gd name="connsiteX126" fmla="*/ 514993 w 1037972"/>
                  <a:gd name="connsiteY126" fmla="*/ 305299 h 970278"/>
                  <a:gd name="connsiteX127" fmla="*/ 525824 w 1037972"/>
                  <a:gd name="connsiteY127" fmla="*/ 306202 h 970278"/>
                  <a:gd name="connsiteX128" fmla="*/ 541620 w 1037972"/>
                  <a:gd name="connsiteY128" fmla="*/ 298981 h 970278"/>
                  <a:gd name="connsiteX129" fmla="*/ 542522 w 1037972"/>
                  <a:gd name="connsiteY129" fmla="*/ 297176 h 970278"/>
                  <a:gd name="connsiteX130" fmla="*/ 557415 w 1037972"/>
                  <a:gd name="connsiteY130" fmla="*/ 289730 h 970278"/>
                  <a:gd name="connsiteX131" fmla="*/ 572759 w 1037972"/>
                  <a:gd name="connsiteY131" fmla="*/ 285894 h 970278"/>
                  <a:gd name="connsiteX132" fmla="*/ 586523 w 1037972"/>
                  <a:gd name="connsiteY132" fmla="*/ 279124 h 970278"/>
                  <a:gd name="connsiteX133" fmla="*/ 590585 w 1037972"/>
                  <a:gd name="connsiteY133" fmla="*/ 275288 h 970278"/>
                  <a:gd name="connsiteX134" fmla="*/ 594872 w 1037972"/>
                  <a:gd name="connsiteY134" fmla="*/ 271904 h 970278"/>
                  <a:gd name="connsiteX135" fmla="*/ 593970 w 1037972"/>
                  <a:gd name="connsiteY135" fmla="*/ 260621 h 970278"/>
                  <a:gd name="connsiteX136" fmla="*/ 585169 w 1037972"/>
                  <a:gd name="connsiteY136" fmla="*/ 253626 h 970278"/>
                  <a:gd name="connsiteX137" fmla="*/ 573210 w 1037972"/>
                  <a:gd name="connsiteY137" fmla="*/ 247985 h 970278"/>
                  <a:gd name="connsiteX138" fmla="*/ 562605 w 1037972"/>
                  <a:gd name="connsiteY138" fmla="*/ 242344 h 970278"/>
                  <a:gd name="connsiteX139" fmla="*/ 554256 w 1037972"/>
                  <a:gd name="connsiteY139" fmla="*/ 233769 h 970278"/>
                  <a:gd name="connsiteX140" fmla="*/ 549517 w 1037972"/>
                  <a:gd name="connsiteY140" fmla="*/ 228580 h 970278"/>
                  <a:gd name="connsiteX141" fmla="*/ 542522 w 1037972"/>
                  <a:gd name="connsiteY141" fmla="*/ 217749 h 970278"/>
                  <a:gd name="connsiteX142" fmla="*/ 545230 w 1037972"/>
                  <a:gd name="connsiteY142" fmla="*/ 208723 h 970278"/>
                  <a:gd name="connsiteX143" fmla="*/ 556287 w 1037972"/>
                  <a:gd name="connsiteY143" fmla="*/ 205338 h 970278"/>
                  <a:gd name="connsiteX144" fmla="*/ 559897 w 1037972"/>
                  <a:gd name="connsiteY144" fmla="*/ 205112 h 970278"/>
                  <a:gd name="connsiteX145" fmla="*/ 564861 w 1037972"/>
                  <a:gd name="connsiteY145" fmla="*/ 198343 h 970278"/>
                  <a:gd name="connsiteX146" fmla="*/ 565313 w 1037972"/>
                  <a:gd name="connsiteY146" fmla="*/ 197215 h 970278"/>
                  <a:gd name="connsiteX147" fmla="*/ 566666 w 1037972"/>
                  <a:gd name="connsiteY147" fmla="*/ 197215 h 970278"/>
                  <a:gd name="connsiteX148" fmla="*/ 575015 w 1037972"/>
                  <a:gd name="connsiteY148" fmla="*/ 195861 h 970278"/>
                  <a:gd name="connsiteX149" fmla="*/ 575241 w 1037972"/>
                  <a:gd name="connsiteY149" fmla="*/ 195184 h 970278"/>
                  <a:gd name="connsiteX150" fmla="*/ 594646 w 1037972"/>
                  <a:gd name="connsiteY150" fmla="*/ 187963 h 970278"/>
                  <a:gd name="connsiteX151" fmla="*/ 615406 w 1037972"/>
                  <a:gd name="connsiteY151" fmla="*/ 187963 h 970278"/>
                  <a:gd name="connsiteX152" fmla="*/ 626463 w 1037972"/>
                  <a:gd name="connsiteY152" fmla="*/ 186609 h 970278"/>
                  <a:gd name="connsiteX153" fmla="*/ 665048 w 1037972"/>
                  <a:gd name="connsiteY153" fmla="*/ 172845 h 970278"/>
                  <a:gd name="connsiteX154" fmla="*/ 686484 w 1037972"/>
                  <a:gd name="connsiteY154" fmla="*/ 166527 h 970278"/>
                  <a:gd name="connsiteX155" fmla="*/ 689643 w 1037972"/>
                  <a:gd name="connsiteY155" fmla="*/ 166527 h 970278"/>
                  <a:gd name="connsiteX156" fmla="*/ 702505 w 1037972"/>
                  <a:gd name="connsiteY156" fmla="*/ 158404 h 970278"/>
                  <a:gd name="connsiteX157" fmla="*/ 715367 w 1037972"/>
                  <a:gd name="connsiteY157" fmla="*/ 153439 h 970278"/>
                  <a:gd name="connsiteX158" fmla="*/ 731614 w 1037972"/>
                  <a:gd name="connsiteY158" fmla="*/ 152988 h 970278"/>
                  <a:gd name="connsiteX159" fmla="*/ 736127 w 1037972"/>
                  <a:gd name="connsiteY159" fmla="*/ 145542 h 970278"/>
                  <a:gd name="connsiteX160" fmla="*/ 733870 w 1037972"/>
                  <a:gd name="connsiteY160" fmla="*/ 130423 h 970278"/>
                  <a:gd name="connsiteX161" fmla="*/ 732742 w 1037972"/>
                  <a:gd name="connsiteY161" fmla="*/ 104474 h 970278"/>
                  <a:gd name="connsiteX162" fmla="*/ 750117 w 1037972"/>
                  <a:gd name="connsiteY162" fmla="*/ 92741 h 970278"/>
                  <a:gd name="connsiteX163" fmla="*/ 760948 w 1037972"/>
                  <a:gd name="connsiteY163" fmla="*/ 95448 h 970278"/>
                  <a:gd name="connsiteX164" fmla="*/ 766589 w 1037972"/>
                  <a:gd name="connsiteY164" fmla="*/ 111469 h 970278"/>
                  <a:gd name="connsiteX165" fmla="*/ 768168 w 1037972"/>
                  <a:gd name="connsiteY165" fmla="*/ 119367 h 970278"/>
                  <a:gd name="connsiteX166" fmla="*/ 780353 w 1037972"/>
                  <a:gd name="connsiteY166" fmla="*/ 118464 h 970278"/>
                  <a:gd name="connsiteX167" fmla="*/ 791861 w 1037972"/>
                  <a:gd name="connsiteY167" fmla="*/ 115757 h 970278"/>
                  <a:gd name="connsiteX168" fmla="*/ 796600 w 1037972"/>
                  <a:gd name="connsiteY168" fmla="*/ 110115 h 970278"/>
                  <a:gd name="connsiteX169" fmla="*/ 802015 w 1037972"/>
                  <a:gd name="connsiteY169" fmla="*/ 103120 h 970278"/>
                  <a:gd name="connsiteX170" fmla="*/ 810590 w 1037972"/>
                  <a:gd name="connsiteY170" fmla="*/ 105828 h 970278"/>
                  <a:gd name="connsiteX171" fmla="*/ 821646 w 1037972"/>
                  <a:gd name="connsiteY171" fmla="*/ 109438 h 970278"/>
                  <a:gd name="connsiteX172" fmla="*/ 826159 w 1037972"/>
                  <a:gd name="connsiteY172" fmla="*/ 102669 h 970278"/>
                  <a:gd name="connsiteX173" fmla="*/ 827739 w 1037972"/>
                  <a:gd name="connsiteY173" fmla="*/ 94771 h 970278"/>
                  <a:gd name="connsiteX174" fmla="*/ 832703 w 1037972"/>
                  <a:gd name="connsiteY174" fmla="*/ 74689 h 970278"/>
                  <a:gd name="connsiteX175" fmla="*/ 851206 w 1037972"/>
                  <a:gd name="connsiteY175" fmla="*/ 53929 h 970278"/>
                  <a:gd name="connsiteX176" fmla="*/ 860458 w 1037972"/>
                  <a:gd name="connsiteY176" fmla="*/ 57540 h 970278"/>
                  <a:gd name="connsiteX177" fmla="*/ 864971 w 1037972"/>
                  <a:gd name="connsiteY177" fmla="*/ 59345 h 970278"/>
                  <a:gd name="connsiteX178" fmla="*/ 873094 w 1037972"/>
                  <a:gd name="connsiteY178" fmla="*/ 47837 h 970278"/>
                  <a:gd name="connsiteX179" fmla="*/ 876027 w 1037972"/>
                  <a:gd name="connsiteY179" fmla="*/ 42422 h 970278"/>
                  <a:gd name="connsiteX180" fmla="*/ 872642 w 1037972"/>
                  <a:gd name="connsiteY180" fmla="*/ 32719 h 970278"/>
                  <a:gd name="connsiteX181" fmla="*/ 870160 w 1037972"/>
                  <a:gd name="connsiteY181" fmla="*/ 25949 h 970278"/>
                  <a:gd name="connsiteX182" fmla="*/ 875576 w 1037972"/>
                  <a:gd name="connsiteY182" fmla="*/ 23693 h 970278"/>
                  <a:gd name="connsiteX183" fmla="*/ 898141 w 1037972"/>
                  <a:gd name="connsiteY183" fmla="*/ 14893 h 970278"/>
                  <a:gd name="connsiteX184" fmla="*/ 902879 w 1037972"/>
                  <a:gd name="connsiteY184" fmla="*/ 12862 h 970278"/>
                  <a:gd name="connsiteX185" fmla="*/ 916192 w 1037972"/>
                  <a:gd name="connsiteY185" fmla="*/ 25047 h 970278"/>
                  <a:gd name="connsiteX186" fmla="*/ 919351 w 1037972"/>
                  <a:gd name="connsiteY186" fmla="*/ 29108 h 970278"/>
                  <a:gd name="connsiteX187" fmla="*/ 929957 w 1037972"/>
                  <a:gd name="connsiteY187" fmla="*/ 36780 h 970278"/>
                  <a:gd name="connsiteX188" fmla="*/ 939208 w 1037972"/>
                  <a:gd name="connsiteY188" fmla="*/ 44452 h 970278"/>
                  <a:gd name="connsiteX189" fmla="*/ 940562 w 1037972"/>
                  <a:gd name="connsiteY189" fmla="*/ 48288 h 970278"/>
                  <a:gd name="connsiteX190" fmla="*/ 961096 w 1037972"/>
                  <a:gd name="connsiteY190" fmla="*/ 56637 h 970278"/>
                  <a:gd name="connsiteX191" fmla="*/ 986368 w 1037972"/>
                  <a:gd name="connsiteY191" fmla="*/ 54832 h 970278"/>
                  <a:gd name="connsiteX192" fmla="*/ 996071 w 1037972"/>
                  <a:gd name="connsiteY192" fmla="*/ 54381 h 970278"/>
                  <a:gd name="connsiteX193" fmla="*/ 999004 w 1037972"/>
                  <a:gd name="connsiteY193" fmla="*/ 43775 h 970278"/>
                  <a:gd name="connsiteX194" fmla="*/ 1003292 w 1037972"/>
                  <a:gd name="connsiteY194" fmla="*/ 36103 h 970278"/>
                  <a:gd name="connsiteX195" fmla="*/ 1050903 w 1037972"/>
                  <a:gd name="connsiteY195" fmla="*/ 0 h 970278"/>
                  <a:gd name="connsiteX196" fmla="*/ 1053836 w 1037972"/>
                  <a:gd name="connsiteY196" fmla="*/ 0 h 970278"/>
                  <a:gd name="connsiteX197" fmla="*/ 1052708 w 1037972"/>
                  <a:gd name="connsiteY197" fmla="*/ 2708 h 970278"/>
                  <a:gd name="connsiteX198" fmla="*/ 1051806 w 1037972"/>
                  <a:gd name="connsiteY198" fmla="*/ 8349 h 970278"/>
                  <a:gd name="connsiteX199" fmla="*/ 1031046 w 1037972"/>
                  <a:gd name="connsiteY199" fmla="*/ 37909 h 970278"/>
                  <a:gd name="connsiteX200" fmla="*/ 1015702 w 1037972"/>
                  <a:gd name="connsiteY200" fmla="*/ 56637 h 970278"/>
                  <a:gd name="connsiteX201" fmla="*/ 1000358 w 1037972"/>
                  <a:gd name="connsiteY201" fmla="*/ 74689 h 970278"/>
                  <a:gd name="connsiteX202" fmla="*/ 980953 w 1037972"/>
                  <a:gd name="connsiteY202" fmla="*/ 99736 h 970278"/>
                  <a:gd name="connsiteX203" fmla="*/ 978019 w 1037972"/>
                  <a:gd name="connsiteY203" fmla="*/ 108761 h 970278"/>
                  <a:gd name="connsiteX204" fmla="*/ 961096 w 1037972"/>
                  <a:gd name="connsiteY204" fmla="*/ 127039 h 970278"/>
                  <a:gd name="connsiteX205" fmla="*/ 901751 w 1037972"/>
                  <a:gd name="connsiteY205" fmla="*/ 160434 h 970278"/>
                  <a:gd name="connsiteX206" fmla="*/ 888212 w 1037972"/>
                  <a:gd name="connsiteY206" fmla="*/ 173071 h 970278"/>
                  <a:gd name="connsiteX207" fmla="*/ 872868 w 1037972"/>
                  <a:gd name="connsiteY207" fmla="*/ 189317 h 970278"/>
                  <a:gd name="connsiteX208" fmla="*/ 868581 w 1037972"/>
                  <a:gd name="connsiteY208" fmla="*/ 197215 h 970278"/>
                  <a:gd name="connsiteX209" fmla="*/ 853463 w 1037972"/>
                  <a:gd name="connsiteY209" fmla="*/ 216395 h 970278"/>
                  <a:gd name="connsiteX210" fmla="*/ 847821 w 1037972"/>
                  <a:gd name="connsiteY210" fmla="*/ 219779 h 970278"/>
                  <a:gd name="connsiteX211" fmla="*/ 810590 w 1037972"/>
                  <a:gd name="connsiteY211" fmla="*/ 245277 h 970278"/>
                  <a:gd name="connsiteX212" fmla="*/ 787799 w 1037972"/>
                  <a:gd name="connsiteY212" fmla="*/ 258590 h 970278"/>
                  <a:gd name="connsiteX213" fmla="*/ 777871 w 1037972"/>
                  <a:gd name="connsiteY213" fmla="*/ 263329 h 970278"/>
                  <a:gd name="connsiteX214" fmla="*/ 767040 w 1037972"/>
                  <a:gd name="connsiteY214" fmla="*/ 270550 h 970278"/>
                  <a:gd name="connsiteX215" fmla="*/ 742670 w 1037972"/>
                  <a:gd name="connsiteY215" fmla="*/ 288376 h 970278"/>
                  <a:gd name="connsiteX216" fmla="*/ 734096 w 1037972"/>
                  <a:gd name="connsiteY216" fmla="*/ 312971 h 970278"/>
                  <a:gd name="connsiteX217" fmla="*/ 737029 w 1037972"/>
                  <a:gd name="connsiteY217" fmla="*/ 317710 h 970278"/>
                  <a:gd name="connsiteX218" fmla="*/ 742219 w 1037972"/>
                  <a:gd name="connsiteY218" fmla="*/ 312520 h 970278"/>
                  <a:gd name="connsiteX219" fmla="*/ 745604 w 1037972"/>
                  <a:gd name="connsiteY219" fmla="*/ 308910 h 970278"/>
                  <a:gd name="connsiteX220" fmla="*/ 747860 w 1037972"/>
                  <a:gd name="connsiteY220" fmla="*/ 310263 h 970278"/>
                  <a:gd name="connsiteX221" fmla="*/ 745829 w 1037972"/>
                  <a:gd name="connsiteY221" fmla="*/ 331248 h 970278"/>
                  <a:gd name="connsiteX222" fmla="*/ 732065 w 1037972"/>
                  <a:gd name="connsiteY222" fmla="*/ 341177 h 970278"/>
                  <a:gd name="connsiteX223" fmla="*/ 729583 w 1037972"/>
                  <a:gd name="connsiteY223" fmla="*/ 340726 h 970278"/>
                  <a:gd name="connsiteX224" fmla="*/ 719880 w 1037972"/>
                  <a:gd name="connsiteY224" fmla="*/ 340274 h 970278"/>
                  <a:gd name="connsiteX225" fmla="*/ 720783 w 1037972"/>
                  <a:gd name="connsiteY225" fmla="*/ 345239 h 970278"/>
                  <a:gd name="connsiteX226" fmla="*/ 725972 w 1037972"/>
                  <a:gd name="connsiteY226" fmla="*/ 345916 h 970278"/>
                  <a:gd name="connsiteX227" fmla="*/ 735901 w 1037972"/>
                  <a:gd name="connsiteY227" fmla="*/ 341403 h 970278"/>
                  <a:gd name="connsiteX228" fmla="*/ 738609 w 1037972"/>
                  <a:gd name="connsiteY228" fmla="*/ 339597 h 970278"/>
                  <a:gd name="connsiteX229" fmla="*/ 741542 w 1037972"/>
                  <a:gd name="connsiteY229" fmla="*/ 340049 h 970278"/>
                  <a:gd name="connsiteX230" fmla="*/ 721685 w 1037972"/>
                  <a:gd name="connsiteY230" fmla="*/ 367803 h 970278"/>
                  <a:gd name="connsiteX231" fmla="*/ 696864 w 1037972"/>
                  <a:gd name="connsiteY231" fmla="*/ 377957 h 970278"/>
                  <a:gd name="connsiteX232" fmla="*/ 676556 w 1037972"/>
                  <a:gd name="connsiteY232" fmla="*/ 385855 h 970278"/>
                  <a:gd name="connsiteX233" fmla="*/ 642258 w 1037972"/>
                  <a:gd name="connsiteY233" fmla="*/ 392624 h 970278"/>
                  <a:gd name="connsiteX234" fmla="*/ 629396 w 1037972"/>
                  <a:gd name="connsiteY234" fmla="*/ 393301 h 970278"/>
                  <a:gd name="connsiteX235" fmla="*/ 623529 w 1037972"/>
                  <a:gd name="connsiteY235" fmla="*/ 394204 h 970278"/>
                  <a:gd name="connsiteX236" fmla="*/ 606831 w 1037972"/>
                  <a:gd name="connsiteY236" fmla="*/ 403004 h 970278"/>
                  <a:gd name="connsiteX237" fmla="*/ 604801 w 1037972"/>
                  <a:gd name="connsiteY237" fmla="*/ 408871 h 970278"/>
                  <a:gd name="connsiteX238" fmla="*/ 593518 w 1037972"/>
                  <a:gd name="connsiteY238" fmla="*/ 426471 h 970278"/>
                  <a:gd name="connsiteX239" fmla="*/ 580205 w 1037972"/>
                  <a:gd name="connsiteY239" fmla="*/ 440461 h 970278"/>
                  <a:gd name="connsiteX240" fmla="*/ 573887 w 1037972"/>
                  <a:gd name="connsiteY240" fmla="*/ 451518 h 970278"/>
                  <a:gd name="connsiteX241" fmla="*/ 566666 w 1037972"/>
                  <a:gd name="connsiteY241" fmla="*/ 471375 h 970278"/>
                  <a:gd name="connsiteX242" fmla="*/ 542748 w 1037972"/>
                  <a:gd name="connsiteY242" fmla="*/ 474308 h 970278"/>
                  <a:gd name="connsiteX243" fmla="*/ 541620 w 1037972"/>
                  <a:gd name="connsiteY243" fmla="*/ 474083 h 970278"/>
                  <a:gd name="connsiteX244" fmla="*/ 537558 w 1037972"/>
                  <a:gd name="connsiteY244" fmla="*/ 470021 h 970278"/>
                  <a:gd name="connsiteX245" fmla="*/ 524922 w 1037972"/>
                  <a:gd name="connsiteY245" fmla="*/ 461672 h 970278"/>
                  <a:gd name="connsiteX246" fmla="*/ 476408 w 1037972"/>
                  <a:gd name="connsiteY246" fmla="*/ 488749 h 970278"/>
                  <a:gd name="connsiteX247" fmla="*/ 473249 w 1037972"/>
                  <a:gd name="connsiteY247" fmla="*/ 500709 h 970278"/>
                  <a:gd name="connsiteX248" fmla="*/ 462192 w 1037972"/>
                  <a:gd name="connsiteY248" fmla="*/ 522596 h 970278"/>
                  <a:gd name="connsiteX249" fmla="*/ 450684 w 1037972"/>
                  <a:gd name="connsiteY249" fmla="*/ 532525 h 970278"/>
                  <a:gd name="connsiteX250" fmla="*/ 442787 w 1037972"/>
                  <a:gd name="connsiteY250" fmla="*/ 544258 h 970278"/>
                  <a:gd name="connsiteX251" fmla="*/ 442335 w 1037972"/>
                  <a:gd name="connsiteY251" fmla="*/ 553510 h 970278"/>
                  <a:gd name="connsiteX252" fmla="*/ 444140 w 1037972"/>
                  <a:gd name="connsiteY252" fmla="*/ 595254 h 970278"/>
                  <a:gd name="connsiteX253" fmla="*/ 452489 w 1037972"/>
                  <a:gd name="connsiteY253" fmla="*/ 619173 h 970278"/>
                  <a:gd name="connsiteX254" fmla="*/ 459033 w 1037972"/>
                  <a:gd name="connsiteY254" fmla="*/ 639481 h 970278"/>
                  <a:gd name="connsiteX255" fmla="*/ 455648 w 1037972"/>
                  <a:gd name="connsiteY255" fmla="*/ 657307 h 970278"/>
                  <a:gd name="connsiteX256" fmla="*/ 452038 w 1037972"/>
                  <a:gd name="connsiteY256" fmla="*/ 681451 h 970278"/>
                  <a:gd name="connsiteX257" fmla="*/ 453618 w 1037972"/>
                  <a:gd name="connsiteY257" fmla="*/ 700857 h 970278"/>
                  <a:gd name="connsiteX258" fmla="*/ 457228 w 1037972"/>
                  <a:gd name="connsiteY258" fmla="*/ 717555 h 970278"/>
                  <a:gd name="connsiteX259" fmla="*/ 467833 w 1037972"/>
                  <a:gd name="connsiteY259" fmla="*/ 756592 h 970278"/>
                  <a:gd name="connsiteX260" fmla="*/ 473023 w 1037972"/>
                  <a:gd name="connsiteY260" fmla="*/ 796305 h 970278"/>
                  <a:gd name="connsiteX261" fmla="*/ 474377 w 1037972"/>
                  <a:gd name="connsiteY261" fmla="*/ 799013 h 970278"/>
                  <a:gd name="connsiteX262" fmla="*/ 471218 w 1037972"/>
                  <a:gd name="connsiteY262" fmla="*/ 798787 h 970278"/>
                  <a:gd name="connsiteX263" fmla="*/ 452264 w 1037972"/>
                  <a:gd name="connsiteY263" fmla="*/ 789762 h 970278"/>
                  <a:gd name="connsiteX264" fmla="*/ 444817 w 1037972"/>
                  <a:gd name="connsiteY264" fmla="*/ 785474 h 970278"/>
                  <a:gd name="connsiteX265" fmla="*/ 441658 w 1037972"/>
                  <a:gd name="connsiteY265" fmla="*/ 785925 h 970278"/>
                  <a:gd name="connsiteX266" fmla="*/ 441658 w 1037972"/>
                  <a:gd name="connsiteY266" fmla="*/ 786377 h 970278"/>
                  <a:gd name="connsiteX267" fmla="*/ 438725 w 1037972"/>
                  <a:gd name="connsiteY267" fmla="*/ 792695 h 970278"/>
                  <a:gd name="connsiteX268" fmla="*/ 434212 w 1037972"/>
                  <a:gd name="connsiteY268" fmla="*/ 797885 h 970278"/>
                  <a:gd name="connsiteX269" fmla="*/ 415032 w 1037972"/>
                  <a:gd name="connsiteY269" fmla="*/ 812326 h 970278"/>
                  <a:gd name="connsiteX270" fmla="*/ 401493 w 1037972"/>
                  <a:gd name="connsiteY270" fmla="*/ 815485 h 970278"/>
                  <a:gd name="connsiteX271" fmla="*/ 387729 w 1037972"/>
                  <a:gd name="connsiteY271" fmla="*/ 817967 h 970278"/>
                  <a:gd name="connsiteX272" fmla="*/ 383667 w 1037972"/>
                  <a:gd name="connsiteY272" fmla="*/ 817967 h 970278"/>
                  <a:gd name="connsiteX273" fmla="*/ 370805 w 1037972"/>
                  <a:gd name="connsiteY273" fmla="*/ 812777 h 970278"/>
                  <a:gd name="connsiteX274" fmla="*/ 363810 w 1037972"/>
                  <a:gd name="connsiteY274" fmla="*/ 810746 h 970278"/>
                  <a:gd name="connsiteX275" fmla="*/ 357267 w 1037972"/>
                  <a:gd name="connsiteY275" fmla="*/ 815485 h 970278"/>
                  <a:gd name="connsiteX276" fmla="*/ 357492 w 1037972"/>
                  <a:gd name="connsiteY276" fmla="*/ 820675 h 970278"/>
                  <a:gd name="connsiteX277" fmla="*/ 355913 w 1037972"/>
                  <a:gd name="connsiteY277" fmla="*/ 829024 h 970278"/>
                  <a:gd name="connsiteX278" fmla="*/ 334251 w 1037972"/>
                  <a:gd name="connsiteY278" fmla="*/ 838275 h 970278"/>
                  <a:gd name="connsiteX279" fmla="*/ 325676 w 1037972"/>
                  <a:gd name="connsiteY279" fmla="*/ 843014 h 970278"/>
                  <a:gd name="connsiteX280" fmla="*/ 313717 w 1037972"/>
                  <a:gd name="connsiteY280" fmla="*/ 850460 h 970278"/>
                  <a:gd name="connsiteX281" fmla="*/ 300630 w 1037972"/>
                  <a:gd name="connsiteY281" fmla="*/ 847076 h 970278"/>
                  <a:gd name="connsiteX282" fmla="*/ 294537 w 1037972"/>
                  <a:gd name="connsiteY282" fmla="*/ 845722 h 970278"/>
                  <a:gd name="connsiteX283" fmla="*/ 278290 w 1037972"/>
                  <a:gd name="connsiteY283" fmla="*/ 842563 h 970278"/>
                  <a:gd name="connsiteX284" fmla="*/ 256854 w 1037972"/>
                  <a:gd name="connsiteY284" fmla="*/ 849106 h 970278"/>
                  <a:gd name="connsiteX285" fmla="*/ 252116 w 1037972"/>
                  <a:gd name="connsiteY285" fmla="*/ 851363 h 970278"/>
                  <a:gd name="connsiteX286" fmla="*/ 248731 w 1037972"/>
                  <a:gd name="connsiteY286" fmla="*/ 859035 h 970278"/>
                  <a:gd name="connsiteX287" fmla="*/ 244218 w 1037972"/>
                  <a:gd name="connsiteY287" fmla="*/ 869415 h 970278"/>
                  <a:gd name="connsiteX288" fmla="*/ 241059 w 1037972"/>
                  <a:gd name="connsiteY288" fmla="*/ 876635 h 970278"/>
                  <a:gd name="connsiteX289" fmla="*/ 235192 w 1037972"/>
                  <a:gd name="connsiteY289" fmla="*/ 889723 h 970278"/>
                  <a:gd name="connsiteX290" fmla="*/ 229100 w 1037972"/>
                  <a:gd name="connsiteY290" fmla="*/ 898748 h 970278"/>
                  <a:gd name="connsiteX291" fmla="*/ 220074 w 1037972"/>
                  <a:gd name="connsiteY291" fmla="*/ 906421 h 970278"/>
                  <a:gd name="connsiteX292" fmla="*/ 196607 w 1037972"/>
                  <a:gd name="connsiteY292" fmla="*/ 884533 h 970278"/>
                  <a:gd name="connsiteX293" fmla="*/ 205407 w 1037972"/>
                  <a:gd name="connsiteY293" fmla="*/ 895815 h 970278"/>
                  <a:gd name="connsiteX294" fmla="*/ 220299 w 1037972"/>
                  <a:gd name="connsiteY294" fmla="*/ 902359 h 970278"/>
                  <a:gd name="connsiteX295" fmla="*/ 226392 w 1037972"/>
                  <a:gd name="connsiteY295" fmla="*/ 895815 h 970278"/>
                  <a:gd name="connsiteX296" fmla="*/ 232936 w 1037972"/>
                  <a:gd name="connsiteY296" fmla="*/ 886112 h 970278"/>
                  <a:gd name="connsiteX297" fmla="*/ 238126 w 1037972"/>
                  <a:gd name="connsiteY297" fmla="*/ 874604 h 970278"/>
                  <a:gd name="connsiteX298" fmla="*/ 242638 w 1037972"/>
                  <a:gd name="connsiteY298" fmla="*/ 865127 h 970278"/>
                  <a:gd name="connsiteX299" fmla="*/ 246023 w 1037972"/>
                  <a:gd name="connsiteY299" fmla="*/ 856778 h 970278"/>
                  <a:gd name="connsiteX300" fmla="*/ 251664 w 1037972"/>
                  <a:gd name="connsiteY300" fmla="*/ 846399 h 970278"/>
                  <a:gd name="connsiteX301" fmla="*/ 256177 w 1037972"/>
                  <a:gd name="connsiteY301" fmla="*/ 844368 h 970278"/>
                  <a:gd name="connsiteX302" fmla="*/ 281901 w 1037972"/>
                  <a:gd name="connsiteY302" fmla="*/ 838275 h 970278"/>
                  <a:gd name="connsiteX303" fmla="*/ 293860 w 1037972"/>
                  <a:gd name="connsiteY303" fmla="*/ 840757 h 970278"/>
                  <a:gd name="connsiteX304" fmla="*/ 303789 w 1037972"/>
                  <a:gd name="connsiteY304" fmla="*/ 842563 h 970278"/>
                  <a:gd name="connsiteX305" fmla="*/ 314168 w 1037972"/>
                  <a:gd name="connsiteY305" fmla="*/ 845270 h 970278"/>
                  <a:gd name="connsiteX306" fmla="*/ 323871 w 1037972"/>
                  <a:gd name="connsiteY306" fmla="*/ 839178 h 970278"/>
                  <a:gd name="connsiteX307" fmla="*/ 335153 w 1037972"/>
                  <a:gd name="connsiteY307" fmla="*/ 833086 h 970278"/>
                  <a:gd name="connsiteX308" fmla="*/ 353882 w 1037972"/>
                  <a:gd name="connsiteY308" fmla="*/ 825413 h 970278"/>
                  <a:gd name="connsiteX309" fmla="*/ 354785 w 1037972"/>
                  <a:gd name="connsiteY309" fmla="*/ 819998 h 970278"/>
                  <a:gd name="connsiteX310" fmla="*/ 354559 w 1037972"/>
                  <a:gd name="connsiteY310" fmla="*/ 813680 h 970278"/>
                  <a:gd name="connsiteX311" fmla="*/ 364036 w 1037972"/>
                  <a:gd name="connsiteY311" fmla="*/ 806008 h 970278"/>
                  <a:gd name="connsiteX312" fmla="*/ 374867 w 1037972"/>
                  <a:gd name="connsiteY312" fmla="*/ 809844 h 970278"/>
                  <a:gd name="connsiteX313" fmla="*/ 384344 w 1037972"/>
                  <a:gd name="connsiteY313" fmla="*/ 813229 h 970278"/>
                  <a:gd name="connsiteX314" fmla="*/ 388857 w 1037972"/>
                  <a:gd name="connsiteY314" fmla="*/ 813229 h 970278"/>
                  <a:gd name="connsiteX315" fmla="*/ 401268 w 1037972"/>
                  <a:gd name="connsiteY315" fmla="*/ 810746 h 970278"/>
                  <a:gd name="connsiteX316" fmla="*/ 415258 w 1037972"/>
                  <a:gd name="connsiteY316" fmla="*/ 807587 h 970278"/>
                  <a:gd name="connsiteX317" fmla="*/ 431956 w 1037972"/>
                  <a:gd name="connsiteY317" fmla="*/ 794500 h 970278"/>
                  <a:gd name="connsiteX318" fmla="*/ 436920 w 1037972"/>
                  <a:gd name="connsiteY318" fmla="*/ 788859 h 970278"/>
                  <a:gd name="connsiteX319" fmla="*/ 438499 w 1037972"/>
                  <a:gd name="connsiteY319" fmla="*/ 785474 h 970278"/>
                  <a:gd name="connsiteX320" fmla="*/ 445043 w 1037972"/>
                  <a:gd name="connsiteY320" fmla="*/ 780961 h 970278"/>
                  <a:gd name="connsiteX321" fmla="*/ 455197 w 1037972"/>
                  <a:gd name="connsiteY321" fmla="*/ 786151 h 970278"/>
                  <a:gd name="connsiteX322" fmla="*/ 468736 w 1037972"/>
                  <a:gd name="connsiteY322" fmla="*/ 793823 h 970278"/>
                  <a:gd name="connsiteX323" fmla="*/ 464449 w 1037972"/>
                  <a:gd name="connsiteY323" fmla="*/ 755238 h 970278"/>
                  <a:gd name="connsiteX324" fmla="*/ 454971 w 1037972"/>
                  <a:gd name="connsiteY324" fmla="*/ 719134 h 970278"/>
                  <a:gd name="connsiteX325" fmla="*/ 450233 w 1037972"/>
                  <a:gd name="connsiteY325" fmla="*/ 699954 h 970278"/>
                  <a:gd name="connsiteX326" fmla="*/ 448653 w 1037972"/>
                  <a:gd name="connsiteY326" fmla="*/ 681225 h 970278"/>
                  <a:gd name="connsiteX327" fmla="*/ 452489 w 1037972"/>
                  <a:gd name="connsiteY327" fmla="*/ 655051 h 970278"/>
                  <a:gd name="connsiteX328" fmla="*/ 455648 w 1037972"/>
                  <a:gd name="connsiteY328" fmla="*/ 639030 h 970278"/>
                  <a:gd name="connsiteX329" fmla="*/ 449330 w 1037972"/>
                  <a:gd name="connsiteY329" fmla="*/ 619624 h 970278"/>
                  <a:gd name="connsiteX330" fmla="*/ 440756 w 1037972"/>
                  <a:gd name="connsiteY330" fmla="*/ 595254 h 970278"/>
                  <a:gd name="connsiteX331" fmla="*/ 438951 w 1037972"/>
                  <a:gd name="connsiteY331" fmla="*/ 552382 h 970278"/>
                  <a:gd name="connsiteX332" fmla="*/ 439402 w 1037972"/>
                  <a:gd name="connsiteY332" fmla="*/ 543356 h 970278"/>
                  <a:gd name="connsiteX333" fmla="*/ 448653 w 1037972"/>
                  <a:gd name="connsiteY333" fmla="*/ 528689 h 970278"/>
                  <a:gd name="connsiteX334" fmla="*/ 459936 w 1037972"/>
                  <a:gd name="connsiteY334" fmla="*/ 518986 h 970278"/>
                  <a:gd name="connsiteX335" fmla="*/ 469864 w 1037972"/>
                  <a:gd name="connsiteY335" fmla="*/ 499355 h 970278"/>
                  <a:gd name="connsiteX336" fmla="*/ 473474 w 1037972"/>
                  <a:gd name="connsiteY336" fmla="*/ 486267 h 970278"/>
                  <a:gd name="connsiteX337" fmla="*/ 525373 w 1037972"/>
                  <a:gd name="connsiteY337" fmla="*/ 456934 h 970278"/>
                  <a:gd name="connsiteX338" fmla="*/ 541168 w 1037972"/>
                  <a:gd name="connsiteY338" fmla="*/ 467313 h 970278"/>
                  <a:gd name="connsiteX339" fmla="*/ 542748 w 1037972"/>
                  <a:gd name="connsiteY339" fmla="*/ 469570 h 970278"/>
                  <a:gd name="connsiteX340" fmla="*/ 543876 w 1037972"/>
                  <a:gd name="connsiteY340" fmla="*/ 469795 h 970278"/>
                  <a:gd name="connsiteX341" fmla="*/ 563959 w 1037972"/>
                  <a:gd name="connsiteY341" fmla="*/ 468441 h 970278"/>
                  <a:gd name="connsiteX342" fmla="*/ 570502 w 1037972"/>
                  <a:gd name="connsiteY342" fmla="*/ 450841 h 970278"/>
                  <a:gd name="connsiteX343" fmla="*/ 577949 w 1037972"/>
                  <a:gd name="connsiteY343" fmla="*/ 437077 h 970278"/>
                  <a:gd name="connsiteX344" fmla="*/ 591036 w 1037972"/>
                  <a:gd name="connsiteY344" fmla="*/ 423312 h 970278"/>
                  <a:gd name="connsiteX345" fmla="*/ 601416 w 1037972"/>
                  <a:gd name="connsiteY345" fmla="*/ 407743 h 970278"/>
                  <a:gd name="connsiteX346" fmla="*/ 603898 w 1037972"/>
                  <a:gd name="connsiteY346" fmla="*/ 400296 h 970278"/>
                  <a:gd name="connsiteX347" fmla="*/ 623304 w 1037972"/>
                  <a:gd name="connsiteY347" fmla="*/ 389465 h 970278"/>
                  <a:gd name="connsiteX348" fmla="*/ 628945 w 1037972"/>
                  <a:gd name="connsiteY348" fmla="*/ 388563 h 970278"/>
                  <a:gd name="connsiteX349" fmla="*/ 642483 w 1037972"/>
                  <a:gd name="connsiteY349" fmla="*/ 387886 h 970278"/>
                  <a:gd name="connsiteX350" fmla="*/ 674525 w 1037972"/>
                  <a:gd name="connsiteY350" fmla="*/ 382019 h 970278"/>
                  <a:gd name="connsiteX351" fmla="*/ 696413 w 1037972"/>
                  <a:gd name="connsiteY351" fmla="*/ 373219 h 970278"/>
                  <a:gd name="connsiteX352" fmla="*/ 719654 w 1037972"/>
                  <a:gd name="connsiteY352" fmla="*/ 363742 h 970278"/>
                  <a:gd name="connsiteX353" fmla="*/ 735675 w 1037972"/>
                  <a:gd name="connsiteY353" fmla="*/ 345239 h 970278"/>
                  <a:gd name="connsiteX354" fmla="*/ 727326 w 1037972"/>
                  <a:gd name="connsiteY354" fmla="*/ 348398 h 970278"/>
                  <a:gd name="connsiteX355" fmla="*/ 718526 w 1037972"/>
                  <a:gd name="connsiteY355" fmla="*/ 346592 h 970278"/>
                  <a:gd name="connsiteX356" fmla="*/ 716721 w 1037972"/>
                  <a:gd name="connsiteY356" fmla="*/ 338018 h 970278"/>
                  <a:gd name="connsiteX357" fmla="*/ 730711 w 1037972"/>
                  <a:gd name="connsiteY357" fmla="*/ 335762 h 970278"/>
                  <a:gd name="connsiteX358" fmla="*/ 732967 w 1037972"/>
                  <a:gd name="connsiteY358" fmla="*/ 336213 h 970278"/>
                  <a:gd name="connsiteX359" fmla="*/ 742896 w 1037972"/>
                  <a:gd name="connsiteY359" fmla="*/ 328315 h 970278"/>
                  <a:gd name="connsiteX360" fmla="*/ 745378 w 1037972"/>
                  <a:gd name="connsiteY360" fmla="*/ 313874 h 970278"/>
                  <a:gd name="connsiteX361" fmla="*/ 736578 w 1037972"/>
                  <a:gd name="connsiteY361" fmla="*/ 320418 h 970278"/>
                  <a:gd name="connsiteX362" fmla="*/ 730485 w 1037972"/>
                  <a:gd name="connsiteY362" fmla="*/ 312520 h 970278"/>
                  <a:gd name="connsiteX363" fmla="*/ 739737 w 1037972"/>
                  <a:gd name="connsiteY363" fmla="*/ 285217 h 970278"/>
                  <a:gd name="connsiteX364" fmla="*/ 765235 w 1037972"/>
                  <a:gd name="connsiteY364" fmla="*/ 266262 h 970278"/>
                  <a:gd name="connsiteX365" fmla="*/ 775389 w 1037972"/>
                  <a:gd name="connsiteY365" fmla="*/ 259493 h 970278"/>
                  <a:gd name="connsiteX366" fmla="*/ 786446 w 1037972"/>
                  <a:gd name="connsiteY366" fmla="*/ 253852 h 970278"/>
                  <a:gd name="connsiteX367" fmla="*/ 807656 w 1037972"/>
                  <a:gd name="connsiteY367" fmla="*/ 241667 h 970278"/>
                  <a:gd name="connsiteX368" fmla="*/ 845791 w 1037972"/>
                  <a:gd name="connsiteY368" fmla="*/ 215266 h 970278"/>
                  <a:gd name="connsiteX369" fmla="*/ 851432 w 1037972"/>
                  <a:gd name="connsiteY369" fmla="*/ 212107 h 970278"/>
                  <a:gd name="connsiteX370" fmla="*/ 865196 w 1037972"/>
                  <a:gd name="connsiteY370" fmla="*/ 194507 h 970278"/>
                  <a:gd name="connsiteX371" fmla="*/ 869483 w 1037972"/>
                  <a:gd name="connsiteY371" fmla="*/ 186609 h 970278"/>
                  <a:gd name="connsiteX372" fmla="*/ 885504 w 1037972"/>
                  <a:gd name="connsiteY372" fmla="*/ 169460 h 970278"/>
                  <a:gd name="connsiteX373" fmla="*/ 898817 w 1037972"/>
                  <a:gd name="connsiteY373" fmla="*/ 157275 h 970278"/>
                  <a:gd name="connsiteX374" fmla="*/ 959742 w 1037972"/>
                  <a:gd name="connsiteY374" fmla="*/ 122977 h 970278"/>
                  <a:gd name="connsiteX375" fmla="*/ 974409 w 1037972"/>
                  <a:gd name="connsiteY375" fmla="*/ 107182 h 970278"/>
                  <a:gd name="connsiteX376" fmla="*/ 977568 w 1037972"/>
                  <a:gd name="connsiteY376" fmla="*/ 97705 h 970278"/>
                  <a:gd name="connsiteX377" fmla="*/ 997650 w 1037972"/>
                  <a:gd name="connsiteY377" fmla="*/ 71530 h 970278"/>
                  <a:gd name="connsiteX378" fmla="*/ 1012543 w 1037972"/>
                  <a:gd name="connsiteY378" fmla="*/ 54155 h 970278"/>
                  <a:gd name="connsiteX379" fmla="*/ 1028113 w 1037972"/>
                  <a:gd name="connsiteY379" fmla="*/ 34975 h 970278"/>
                  <a:gd name="connsiteX380" fmla="*/ 1047970 w 1037972"/>
                  <a:gd name="connsiteY380" fmla="*/ 7672 h 970278"/>
                  <a:gd name="connsiteX381" fmla="*/ 1048421 w 1037972"/>
                  <a:gd name="connsiteY381" fmla="*/ 3610 h 970278"/>
                  <a:gd name="connsiteX382" fmla="*/ 1006676 w 1037972"/>
                  <a:gd name="connsiteY382" fmla="*/ 37683 h 970278"/>
                  <a:gd name="connsiteX383" fmla="*/ 1002163 w 1037972"/>
                  <a:gd name="connsiteY383" fmla="*/ 45581 h 970278"/>
                  <a:gd name="connsiteX384" fmla="*/ 1002163 w 1037972"/>
                  <a:gd name="connsiteY384" fmla="*/ 45581 h 970278"/>
                  <a:gd name="connsiteX385" fmla="*/ 999456 w 1037972"/>
                  <a:gd name="connsiteY385" fmla="*/ 52576 h 970278"/>
                  <a:gd name="connsiteX386" fmla="*/ 1000584 w 1037972"/>
                  <a:gd name="connsiteY386" fmla="*/ 53027 h 970278"/>
                  <a:gd name="connsiteX387" fmla="*/ 1002163 w 1037972"/>
                  <a:gd name="connsiteY387" fmla="*/ 53252 h 970278"/>
                  <a:gd name="connsiteX388" fmla="*/ 1002615 w 1037972"/>
                  <a:gd name="connsiteY388" fmla="*/ 56412 h 970278"/>
                  <a:gd name="connsiteX389" fmla="*/ 1000584 w 1037972"/>
                  <a:gd name="connsiteY389" fmla="*/ 56863 h 970278"/>
                  <a:gd name="connsiteX390" fmla="*/ 997876 w 1037972"/>
                  <a:gd name="connsiteY390" fmla="*/ 57540 h 970278"/>
                  <a:gd name="connsiteX391" fmla="*/ 986142 w 1037972"/>
                  <a:gd name="connsiteY391" fmla="*/ 58217 h 970278"/>
                  <a:gd name="connsiteX392" fmla="*/ 961998 w 1037972"/>
                  <a:gd name="connsiteY392" fmla="*/ 59796 h 970278"/>
                  <a:gd name="connsiteX393" fmla="*/ 936952 w 1037972"/>
                  <a:gd name="connsiteY393" fmla="*/ 48740 h 970278"/>
                  <a:gd name="connsiteX394" fmla="*/ 935823 w 1037972"/>
                  <a:gd name="connsiteY394" fmla="*/ 45355 h 970278"/>
                  <a:gd name="connsiteX395" fmla="*/ 928151 w 1037972"/>
                  <a:gd name="connsiteY395" fmla="*/ 39488 h 970278"/>
                  <a:gd name="connsiteX396" fmla="*/ 916192 w 1037972"/>
                  <a:gd name="connsiteY396" fmla="*/ 30688 h 970278"/>
                  <a:gd name="connsiteX397" fmla="*/ 913033 w 1037972"/>
                  <a:gd name="connsiteY397" fmla="*/ 26401 h 970278"/>
                  <a:gd name="connsiteX398" fmla="*/ 902428 w 1037972"/>
                  <a:gd name="connsiteY398" fmla="*/ 15795 h 970278"/>
                  <a:gd name="connsiteX399" fmla="*/ 900623 w 1037972"/>
                  <a:gd name="connsiteY399" fmla="*/ 16698 h 970278"/>
                  <a:gd name="connsiteX400" fmla="*/ 875350 w 1037972"/>
                  <a:gd name="connsiteY400" fmla="*/ 26626 h 970278"/>
                  <a:gd name="connsiteX401" fmla="*/ 873319 w 1037972"/>
                  <a:gd name="connsiteY401" fmla="*/ 26852 h 970278"/>
                  <a:gd name="connsiteX402" fmla="*/ 875350 w 1037972"/>
                  <a:gd name="connsiteY402" fmla="*/ 29785 h 970278"/>
                  <a:gd name="connsiteX403" fmla="*/ 878961 w 1037972"/>
                  <a:gd name="connsiteY403" fmla="*/ 43550 h 970278"/>
                  <a:gd name="connsiteX404" fmla="*/ 876253 w 1037972"/>
                  <a:gd name="connsiteY404" fmla="*/ 48740 h 970278"/>
                  <a:gd name="connsiteX405" fmla="*/ 867453 w 1037972"/>
                  <a:gd name="connsiteY405" fmla="*/ 61376 h 970278"/>
                  <a:gd name="connsiteX406" fmla="*/ 857750 w 1037972"/>
                  <a:gd name="connsiteY406" fmla="*/ 59345 h 970278"/>
                  <a:gd name="connsiteX407" fmla="*/ 852334 w 1037972"/>
                  <a:gd name="connsiteY407" fmla="*/ 56637 h 970278"/>
                  <a:gd name="connsiteX408" fmla="*/ 836088 w 1037972"/>
                  <a:gd name="connsiteY408" fmla="*/ 75366 h 970278"/>
                  <a:gd name="connsiteX409" fmla="*/ 831349 w 1037972"/>
                  <a:gd name="connsiteY409" fmla="*/ 94771 h 970278"/>
                  <a:gd name="connsiteX410" fmla="*/ 829544 w 1037972"/>
                  <a:gd name="connsiteY410" fmla="*/ 102669 h 970278"/>
                  <a:gd name="connsiteX411" fmla="*/ 822775 w 1037972"/>
                  <a:gd name="connsiteY411" fmla="*/ 112146 h 970278"/>
                  <a:gd name="connsiteX412" fmla="*/ 808333 w 1037972"/>
                  <a:gd name="connsiteY412" fmla="*/ 108085 h 970278"/>
                  <a:gd name="connsiteX413" fmla="*/ 803143 w 1037972"/>
                  <a:gd name="connsiteY413" fmla="*/ 106054 h 970278"/>
                  <a:gd name="connsiteX414" fmla="*/ 800210 w 1037972"/>
                  <a:gd name="connsiteY414" fmla="*/ 110792 h 970278"/>
                  <a:gd name="connsiteX415" fmla="*/ 792087 w 1037972"/>
                  <a:gd name="connsiteY415" fmla="*/ 118916 h 970278"/>
                  <a:gd name="connsiteX416" fmla="*/ 781933 w 1037972"/>
                  <a:gd name="connsiteY416" fmla="*/ 121398 h 970278"/>
                  <a:gd name="connsiteX417" fmla="*/ 765912 w 1037972"/>
                  <a:gd name="connsiteY417" fmla="*/ 121623 h 970278"/>
                  <a:gd name="connsiteX418" fmla="*/ 762978 w 1037972"/>
                  <a:gd name="connsiteY418" fmla="*/ 110567 h 970278"/>
                  <a:gd name="connsiteX419" fmla="*/ 758917 w 1037972"/>
                  <a:gd name="connsiteY419" fmla="*/ 97705 h 970278"/>
                  <a:gd name="connsiteX420" fmla="*/ 751019 w 1037972"/>
                  <a:gd name="connsiteY420" fmla="*/ 95674 h 970278"/>
                  <a:gd name="connsiteX421" fmla="*/ 736127 w 1037972"/>
                  <a:gd name="connsiteY421" fmla="*/ 105828 h 970278"/>
                  <a:gd name="connsiteX422" fmla="*/ 737932 w 1037972"/>
                  <a:gd name="connsiteY422" fmla="*/ 128844 h 970278"/>
                  <a:gd name="connsiteX423" fmla="*/ 740188 w 1037972"/>
                  <a:gd name="connsiteY423" fmla="*/ 144639 h 970278"/>
                  <a:gd name="connsiteX424" fmla="*/ 733870 w 1037972"/>
                  <a:gd name="connsiteY424" fmla="*/ 155245 h 970278"/>
                  <a:gd name="connsiteX425" fmla="*/ 714013 w 1037972"/>
                  <a:gd name="connsiteY425" fmla="*/ 155696 h 970278"/>
                  <a:gd name="connsiteX426" fmla="*/ 705664 w 1037972"/>
                  <a:gd name="connsiteY426" fmla="*/ 159532 h 970278"/>
                  <a:gd name="connsiteX427" fmla="*/ 690095 w 1037972"/>
                  <a:gd name="connsiteY427" fmla="*/ 169009 h 970278"/>
                  <a:gd name="connsiteX428" fmla="*/ 686936 w 1037972"/>
                  <a:gd name="connsiteY428" fmla="*/ 169009 h 970278"/>
                  <a:gd name="connsiteX429" fmla="*/ 667756 w 1037972"/>
                  <a:gd name="connsiteY429" fmla="*/ 174650 h 970278"/>
                  <a:gd name="connsiteX430" fmla="*/ 627365 w 1037972"/>
                  <a:gd name="connsiteY430" fmla="*/ 189092 h 970278"/>
                  <a:gd name="connsiteX431" fmla="*/ 616308 w 1037972"/>
                  <a:gd name="connsiteY431" fmla="*/ 190445 h 970278"/>
                  <a:gd name="connsiteX432" fmla="*/ 594421 w 1037972"/>
                  <a:gd name="connsiteY432" fmla="*/ 190445 h 970278"/>
                  <a:gd name="connsiteX433" fmla="*/ 578851 w 1037972"/>
                  <a:gd name="connsiteY433" fmla="*/ 195861 h 970278"/>
                  <a:gd name="connsiteX434" fmla="*/ 578400 w 1037972"/>
                  <a:gd name="connsiteY434" fmla="*/ 196538 h 970278"/>
                  <a:gd name="connsiteX435" fmla="*/ 568246 w 1037972"/>
                  <a:gd name="connsiteY435" fmla="*/ 199697 h 970278"/>
                  <a:gd name="connsiteX436" fmla="*/ 561251 w 1037972"/>
                  <a:gd name="connsiteY436" fmla="*/ 207820 h 970278"/>
                  <a:gd name="connsiteX437" fmla="*/ 556512 w 1037972"/>
                  <a:gd name="connsiteY437" fmla="*/ 208271 h 970278"/>
                  <a:gd name="connsiteX438" fmla="*/ 548163 w 1037972"/>
                  <a:gd name="connsiteY438" fmla="*/ 210528 h 970278"/>
                  <a:gd name="connsiteX439" fmla="*/ 546584 w 1037972"/>
                  <a:gd name="connsiteY439" fmla="*/ 216846 h 970278"/>
                  <a:gd name="connsiteX440" fmla="*/ 551097 w 1037972"/>
                  <a:gd name="connsiteY440" fmla="*/ 224067 h 970278"/>
                  <a:gd name="connsiteX441" fmla="*/ 558317 w 1037972"/>
                  <a:gd name="connsiteY441" fmla="*/ 231964 h 970278"/>
                  <a:gd name="connsiteX442" fmla="*/ 563959 w 1037972"/>
                  <a:gd name="connsiteY442" fmla="*/ 237831 h 970278"/>
                  <a:gd name="connsiteX443" fmla="*/ 576143 w 1037972"/>
                  <a:gd name="connsiteY443" fmla="*/ 244149 h 970278"/>
                  <a:gd name="connsiteX444" fmla="*/ 586297 w 1037972"/>
                  <a:gd name="connsiteY444" fmla="*/ 248888 h 970278"/>
                  <a:gd name="connsiteX445" fmla="*/ 597805 w 1037972"/>
                  <a:gd name="connsiteY445" fmla="*/ 257914 h 970278"/>
                  <a:gd name="connsiteX446" fmla="*/ 597580 w 1037972"/>
                  <a:gd name="connsiteY446" fmla="*/ 274160 h 970278"/>
                  <a:gd name="connsiteX447" fmla="*/ 593518 w 1037972"/>
                  <a:gd name="connsiteY447" fmla="*/ 277319 h 970278"/>
                  <a:gd name="connsiteX448" fmla="*/ 589682 w 1037972"/>
                  <a:gd name="connsiteY448" fmla="*/ 280930 h 970278"/>
                  <a:gd name="connsiteX449" fmla="*/ 574564 w 1037972"/>
                  <a:gd name="connsiteY449" fmla="*/ 288601 h 970278"/>
                  <a:gd name="connsiteX450" fmla="*/ 558543 w 1037972"/>
                  <a:gd name="connsiteY450" fmla="*/ 292663 h 970278"/>
                  <a:gd name="connsiteX451" fmla="*/ 546358 w 1037972"/>
                  <a:gd name="connsiteY451" fmla="*/ 298078 h 970278"/>
                  <a:gd name="connsiteX452" fmla="*/ 545456 w 1037972"/>
                  <a:gd name="connsiteY452" fmla="*/ 299884 h 970278"/>
                  <a:gd name="connsiteX453" fmla="*/ 526501 w 1037972"/>
                  <a:gd name="connsiteY453" fmla="*/ 308910 h 970278"/>
                  <a:gd name="connsiteX454" fmla="*/ 513414 w 1037972"/>
                  <a:gd name="connsiteY454" fmla="*/ 307330 h 970278"/>
                  <a:gd name="connsiteX455" fmla="*/ 510706 w 1037972"/>
                  <a:gd name="connsiteY455" fmla="*/ 305525 h 970278"/>
                  <a:gd name="connsiteX456" fmla="*/ 494234 w 1037972"/>
                  <a:gd name="connsiteY456" fmla="*/ 305976 h 970278"/>
                  <a:gd name="connsiteX457" fmla="*/ 495588 w 1037972"/>
                  <a:gd name="connsiteY457" fmla="*/ 308007 h 970278"/>
                  <a:gd name="connsiteX458" fmla="*/ 496942 w 1037972"/>
                  <a:gd name="connsiteY458" fmla="*/ 312746 h 970278"/>
                  <a:gd name="connsiteX459" fmla="*/ 491526 w 1037972"/>
                  <a:gd name="connsiteY459" fmla="*/ 314776 h 970278"/>
                  <a:gd name="connsiteX460" fmla="*/ 482500 w 1037972"/>
                  <a:gd name="connsiteY460" fmla="*/ 320418 h 970278"/>
                  <a:gd name="connsiteX461" fmla="*/ 489495 w 1037972"/>
                  <a:gd name="connsiteY461" fmla="*/ 324479 h 970278"/>
                  <a:gd name="connsiteX462" fmla="*/ 506193 w 1037972"/>
                  <a:gd name="connsiteY462" fmla="*/ 334859 h 970278"/>
                  <a:gd name="connsiteX463" fmla="*/ 506870 w 1037972"/>
                  <a:gd name="connsiteY463" fmla="*/ 349300 h 970278"/>
                  <a:gd name="connsiteX464" fmla="*/ 492880 w 1037972"/>
                  <a:gd name="connsiteY464" fmla="*/ 351105 h 970278"/>
                  <a:gd name="connsiteX465" fmla="*/ 485434 w 1037972"/>
                  <a:gd name="connsiteY465" fmla="*/ 347721 h 970278"/>
                  <a:gd name="connsiteX466" fmla="*/ 468736 w 1037972"/>
                  <a:gd name="connsiteY466" fmla="*/ 337341 h 970278"/>
                  <a:gd name="connsiteX467" fmla="*/ 465577 w 1037972"/>
                  <a:gd name="connsiteY467" fmla="*/ 331474 h 970278"/>
                  <a:gd name="connsiteX468" fmla="*/ 455197 w 1037972"/>
                  <a:gd name="connsiteY468" fmla="*/ 317935 h 970278"/>
                  <a:gd name="connsiteX469" fmla="*/ 450684 w 1037972"/>
                  <a:gd name="connsiteY469" fmla="*/ 318612 h 970278"/>
                  <a:gd name="connsiteX470" fmla="*/ 438048 w 1037972"/>
                  <a:gd name="connsiteY470" fmla="*/ 335536 h 970278"/>
                  <a:gd name="connsiteX471" fmla="*/ 430827 w 1037972"/>
                  <a:gd name="connsiteY471" fmla="*/ 363290 h 970278"/>
                  <a:gd name="connsiteX472" fmla="*/ 423155 w 1037972"/>
                  <a:gd name="connsiteY472" fmla="*/ 362613 h 970278"/>
                  <a:gd name="connsiteX473" fmla="*/ 401719 w 1037972"/>
                  <a:gd name="connsiteY473" fmla="*/ 360583 h 970278"/>
                  <a:gd name="connsiteX474" fmla="*/ 377575 w 1037972"/>
                  <a:gd name="connsiteY474" fmla="*/ 367803 h 970278"/>
                  <a:gd name="connsiteX475" fmla="*/ 360651 w 1037972"/>
                  <a:gd name="connsiteY475" fmla="*/ 374121 h 970278"/>
                  <a:gd name="connsiteX476" fmla="*/ 353205 w 1037972"/>
                  <a:gd name="connsiteY476" fmla="*/ 375701 h 970278"/>
                  <a:gd name="connsiteX477" fmla="*/ 336959 w 1037972"/>
                  <a:gd name="connsiteY477" fmla="*/ 388337 h 970278"/>
                  <a:gd name="connsiteX478" fmla="*/ 334928 w 1037972"/>
                  <a:gd name="connsiteY478" fmla="*/ 396460 h 970278"/>
                  <a:gd name="connsiteX479" fmla="*/ 329963 w 1037972"/>
                  <a:gd name="connsiteY479" fmla="*/ 417445 h 970278"/>
                  <a:gd name="connsiteX480" fmla="*/ 310784 w 1037972"/>
                  <a:gd name="connsiteY480" fmla="*/ 423763 h 970278"/>
                  <a:gd name="connsiteX481" fmla="*/ 285737 w 1037972"/>
                  <a:gd name="connsiteY481" fmla="*/ 434820 h 970278"/>
                  <a:gd name="connsiteX482" fmla="*/ 262721 w 1037972"/>
                  <a:gd name="connsiteY482" fmla="*/ 448133 h 970278"/>
                  <a:gd name="connsiteX483" fmla="*/ 251890 w 1037972"/>
                  <a:gd name="connsiteY483" fmla="*/ 446554 h 970278"/>
                  <a:gd name="connsiteX484" fmla="*/ 224361 w 1037972"/>
                  <a:gd name="connsiteY484" fmla="*/ 444974 h 970278"/>
                  <a:gd name="connsiteX485" fmla="*/ 201345 w 1037972"/>
                  <a:gd name="connsiteY485" fmla="*/ 459416 h 970278"/>
                  <a:gd name="connsiteX486" fmla="*/ 195704 w 1037972"/>
                  <a:gd name="connsiteY486" fmla="*/ 466185 h 970278"/>
                  <a:gd name="connsiteX487" fmla="*/ 192996 w 1037972"/>
                  <a:gd name="connsiteY487" fmla="*/ 468667 h 970278"/>
                  <a:gd name="connsiteX488" fmla="*/ 170432 w 1037972"/>
                  <a:gd name="connsiteY488" fmla="*/ 472729 h 970278"/>
                  <a:gd name="connsiteX489" fmla="*/ 146964 w 1037972"/>
                  <a:gd name="connsiteY489" fmla="*/ 470923 h 970278"/>
                  <a:gd name="connsiteX490" fmla="*/ 140421 w 1037972"/>
                  <a:gd name="connsiteY490" fmla="*/ 471375 h 970278"/>
                  <a:gd name="connsiteX491" fmla="*/ 111538 w 1037972"/>
                  <a:gd name="connsiteY491" fmla="*/ 460318 h 970278"/>
                  <a:gd name="connsiteX492" fmla="*/ 102512 w 1037972"/>
                  <a:gd name="connsiteY492" fmla="*/ 445651 h 970278"/>
                  <a:gd name="connsiteX493" fmla="*/ 80399 w 1037972"/>
                  <a:gd name="connsiteY493" fmla="*/ 444523 h 970278"/>
                  <a:gd name="connsiteX494" fmla="*/ 77240 w 1037972"/>
                  <a:gd name="connsiteY494" fmla="*/ 444297 h 970278"/>
                  <a:gd name="connsiteX495" fmla="*/ 56480 w 1037972"/>
                  <a:gd name="connsiteY495" fmla="*/ 444748 h 970278"/>
                  <a:gd name="connsiteX496" fmla="*/ 47454 w 1037972"/>
                  <a:gd name="connsiteY496" fmla="*/ 469344 h 970278"/>
                  <a:gd name="connsiteX497" fmla="*/ 49485 w 1037972"/>
                  <a:gd name="connsiteY497" fmla="*/ 480852 h 970278"/>
                  <a:gd name="connsiteX498" fmla="*/ 50162 w 1037972"/>
                  <a:gd name="connsiteY498" fmla="*/ 489878 h 970278"/>
                  <a:gd name="connsiteX499" fmla="*/ 47906 w 1037972"/>
                  <a:gd name="connsiteY499" fmla="*/ 491232 h 970278"/>
                  <a:gd name="connsiteX500" fmla="*/ 38654 w 1037972"/>
                  <a:gd name="connsiteY500" fmla="*/ 505222 h 970278"/>
                  <a:gd name="connsiteX501" fmla="*/ 49711 w 1037972"/>
                  <a:gd name="connsiteY501" fmla="*/ 529140 h 970278"/>
                  <a:gd name="connsiteX502" fmla="*/ 57609 w 1037972"/>
                  <a:gd name="connsiteY502" fmla="*/ 560054 h 970278"/>
                  <a:gd name="connsiteX503" fmla="*/ 43167 w 1037972"/>
                  <a:gd name="connsiteY503" fmla="*/ 573367 h 970278"/>
                  <a:gd name="connsiteX504" fmla="*/ 36172 w 1037972"/>
                  <a:gd name="connsiteY504" fmla="*/ 572239 h 970278"/>
                  <a:gd name="connsiteX505" fmla="*/ 32788 w 1037972"/>
                  <a:gd name="connsiteY505" fmla="*/ 572013 h 970278"/>
                  <a:gd name="connsiteX506" fmla="*/ 25341 w 1037972"/>
                  <a:gd name="connsiteY506" fmla="*/ 572013 h 970278"/>
                  <a:gd name="connsiteX507" fmla="*/ 10223 w 1037972"/>
                  <a:gd name="connsiteY507" fmla="*/ 570208 h 970278"/>
                  <a:gd name="connsiteX508" fmla="*/ 9320 w 1037972"/>
                  <a:gd name="connsiteY508" fmla="*/ 570885 h 970278"/>
                  <a:gd name="connsiteX509" fmla="*/ 12028 w 1037972"/>
                  <a:gd name="connsiteY509" fmla="*/ 577428 h 970278"/>
                  <a:gd name="connsiteX510" fmla="*/ 14961 w 1037972"/>
                  <a:gd name="connsiteY510" fmla="*/ 583295 h 970278"/>
                  <a:gd name="connsiteX511" fmla="*/ 15638 w 1037972"/>
                  <a:gd name="connsiteY511" fmla="*/ 585777 h 970278"/>
                  <a:gd name="connsiteX512" fmla="*/ 11125 w 1037972"/>
                  <a:gd name="connsiteY512" fmla="*/ 604055 h 970278"/>
                  <a:gd name="connsiteX513" fmla="*/ 5033 w 1037972"/>
                  <a:gd name="connsiteY513" fmla="*/ 623009 h 970278"/>
                  <a:gd name="connsiteX514" fmla="*/ 5033 w 1037972"/>
                  <a:gd name="connsiteY514" fmla="*/ 625491 h 970278"/>
                  <a:gd name="connsiteX515" fmla="*/ 15638 w 1037972"/>
                  <a:gd name="connsiteY515" fmla="*/ 643092 h 970278"/>
                  <a:gd name="connsiteX516" fmla="*/ 25341 w 1037972"/>
                  <a:gd name="connsiteY516" fmla="*/ 650538 h 970278"/>
                  <a:gd name="connsiteX517" fmla="*/ 26469 w 1037972"/>
                  <a:gd name="connsiteY517" fmla="*/ 651892 h 970278"/>
                  <a:gd name="connsiteX518" fmla="*/ 25116 w 1037972"/>
                  <a:gd name="connsiteY518" fmla="*/ 653020 h 970278"/>
                  <a:gd name="connsiteX519" fmla="*/ 21280 w 1037972"/>
                  <a:gd name="connsiteY519" fmla="*/ 660466 h 970278"/>
                  <a:gd name="connsiteX520" fmla="*/ 36398 w 1037972"/>
                  <a:gd name="connsiteY520" fmla="*/ 673102 h 970278"/>
                  <a:gd name="connsiteX521" fmla="*/ 50839 w 1037972"/>
                  <a:gd name="connsiteY521" fmla="*/ 667461 h 970278"/>
                  <a:gd name="connsiteX522" fmla="*/ 72050 w 1037972"/>
                  <a:gd name="connsiteY522" fmla="*/ 672877 h 970278"/>
                  <a:gd name="connsiteX523" fmla="*/ 85137 w 1037972"/>
                  <a:gd name="connsiteY523" fmla="*/ 674456 h 970278"/>
                  <a:gd name="connsiteX524" fmla="*/ 89876 w 1037972"/>
                  <a:gd name="connsiteY524" fmla="*/ 674456 h 970278"/>
                  <a:gd name="connsiteX525" fmla="*/ 96645 w 1037972"/>
                  <a:gd name="connsiteY525" fmla="*/ 679646 h 970278"/>
                  <a:gd name="connsiteX526" fmla="*/ 86040 w 1037972"/>
                  <a:gd name="connsiteY526" fmla="*/ 694990 h 970278"/>
                  <a:gd name="connsiteX527" fmla="*/ 84009 w 1037972"/>
                  <a:gd name="connsiteY527" fmla="*/ 702888 h 970278"/>
                  <a:gd name="connsiteX528" fmla="*/ 82881 w 1037972"/>
                  <a:gd name="connsiteY528" fmla="*/ 710334 h 970278"/>
                  <a:gd name="connsiteX529" fmla="*/ 78819 w 1037972"/>
                  <a:gd name="connsiteY529" fmla="*/ 711236 h 970278"/>
                  <a:gd name="connsiteX530" fmla="*/ 69342 w 1037972"/>
                  <a:gd name="connsiteY530" fmla="*/ 710560 h 970278"/>
                  <a:gd name="connsiteX531" fmla="*/ 57383 w 1037972"/>
                  <a:gd name="connsiteY531" fmla="*/ 710334 h 970278"/>
                  <a:gd name="connsiteX532" fmla="*/ 43167 w 1037972"/>
                  <a:gd name="connsiteY532" fmla="*/ 704693 h 970278"/>
                  <a:gd name="connsiteX533" fmla="*/ 41362 w 1037972"/>
                  <a:gd name="connsiteY533" fmla="*/ 702888 h 970278"/>
                  <a:gd name="connsiteX534" fmla="*/ 36849 w 1037972"/>
                  <a:gd name="connsiteY534" fmla="*/ 697698 h 970278"/>
                  <a:gd name="connsiteX535" fmla="*/ 27598 w 1037972"/>
                  <a:gd name="connsiteY535" fmla="*/ 689123 h 970278"/>
                  <a:gd name="connsiteX536" fmla="*/ 26921 w 1037972"/>
                  <a:gd name="connsiteY536" fmla="*/ 690026 h 970278"/>
                  <a:gd name="connsiteX537" fmla="*/ 28952 w 1037972"/>
                  <a:gd name="connsiteY537" fmla="*/ 707175 h 970278"/>
                  <a:gd name="connsiteX538" fmla="*/ 33239 w 1037972"/>
                  <a:gd name="connsiteY538" fmla="*/ 728386 h 970278"/>
                  <a:gd name="connsiteX539" fmla="*/ 30305 w 1037972"/>
                  <a:gd name="connsiteY539" fmla="*/ 742827 h 970278"/>
                  <a:gd name="connsiteX540" fmla="*/ 32562 w 1037972"/>
                  <a:gd name="connsiteY540" fmla="*/ 744181 h 970278"/>
                  <a:gd name="connsiteX541" fmla="*/ 53321 w 1037972"/>
                  <a:gd name="connsiteY541" fmla="*/ 743504 h 970278"/>
                  <a:gd name="connsiteX542" fmla="*/ 53998 w 1037972"/>
                  <a:gd name="connsiteY542" fmla="*/ 740571 h 970278"/>
                  <a:gd name="connsiteX543" fmla="*/ 56255 w 1037972"/>
                  <a:gd name="connsiteY543" fmla="*/ 732447 h 970278"/>
                  <a:gd name="connsiteX544" fmla="*/ 76788 w 1037972"/>
                  <a:gd name="connsiteY544" fmla="*/ 730417 h 970278"/>
                  <a:gd name="connsiteX545" fmla="*/ 79948 w 1037972"/>
                  <a:gd name="connsiteY545" fmla="*/ 730642 h 970278"/>
                  <a:gd name="connsiteX546" fmla="*/ 90327 w 1037972"/>
                  <a:gd name="connsiteY546" fmla="*/ 739442 h 970278"/>
                  <a:gd name="connsiteX547" fmla="*/ 96871 w 1037972"/>
                  <a:gd name="connsiteY547" fmla="*/ 746437 h 970278"/>
                  <a:gd name="connsiteX548" fmla="*/ 110635 w 1037972"/>
                  <a:gd name="connsiteY548" fmla="*/ 749822 h 970278"/>
                  <a:gd name="connsiteX549" fmla="*/ 128687 w 1037972"/>
                  <a:gd name="connsiteY549" fmla="*/ 737863 h 970278"/>
                  <a:gd name="connsiteX550" fmla="*/ 137713 w 1037972"/>
                  <a:gd name="connsiteY550" fmla="*/ 730642 h 970278"/>
                  <a:gd name="connsiteX551" fmla="*/ 145385 w 1037972"/>
                  <a:gd name="connsiteY551" fmla="*/ 725904 h 970278"/>
                  <a:gd name="connsiteX552" fmla="*/ 155539 w 1037972"/>
                  <a:gd name="connsiteY552" fmla="*/ 726355 h 970278"/>
                  <a:gd name="connsiteX553" fmla="*/ 161857 w 1037972"/>
                  <a:gd name="connsiteY553" fmla="*/ 730868 h 970278"/>
                  <a:gd name="connsiteX554" fmla="*/ 172462 w 1037972"/>
                  <a:gd name="connsiteY554" fmla="*/ 733576 h 970278"/>
                  <a:gd name="connsiteX555" fmla="*/ 184873 w 1037972"/>
                  <a:gd name="connsiteY555" fmla="*/ 738991 h 970278"/>
                  <a:gd name="connsiteX556" fmla="*/ 183745 w 1037972"/>
                  <a:gd name="connsiteY556" fmla="*/ 749822 h 970278"/>
                  <a:gd name="connsiteX557" fmla="*/ 182165 w 1037972"/>
                  <a:gd name="connsiteY557" fmla="*/ 758622 h 970278"/>
                  <a:gd name="connsiteX558" fmla="*/ 197058 w 1037972"/>
                  <a:gd name="connsiteY558" fmla="*/ 769453 h 970278"/>
                  <a:gd name="connsiteX559" fmla="*/ 203376 w 1037972"/>
                  <a:gd name="connsiteY559" fmla="*/ 771258 h 970278"/>
                  <a:gd name="connsiteX560" fmla="*/ 213981 w 1037972"/>
                  <a:gd name="connsiteY560" fmla="*/ 775320 h 970278"/>
                  <a:gd name="connsiteX561" fmla="*/ 220074 w 1037972"/>
                  <a:gd name="connsiteY561" fmla="*/ 794951 h 970278"/>
                  <a:gd name="connsiteX562" fmla="*/ 220074 w 1037972"/>
                  <a:gd name="connsiteY562" fmla="*/ 795628 h 970278"/>
                  <a:gd name="connsiteX563" fmla="*/ 232259 w 1037972"/>
                  <a:gd name="connsiteY563" fmla="*/ 813003 h 970278"/>
                  <a:gd name="connsiteX564" fmla="*/ 241510 w 1037972"/>
                  <a:gd name="connsiteY564" fmla="*/ 818870 h 970278"/>
                  <a:gd name="connsiteX565" fmla="*/ 243090 w 1037972"/>
                  <a:gd name="connsiteY565" fmla="*/ 829024 h 970278"/>
                  <a:gd name="connsiteX566" fmla="*/ 231807 w 1037972"/>
                  <a:gd name="connsiteY566" fmla="*/ 851137 h 970278"/>
                  <a:gd name="connsiteX567" fmla="*/ 211274 w 1037972"/>
                  <a:gd name="connsiteY567" fmla="*/ 866481 h 970278"/>
                  <a:gd name="connsiteX568" fmla="*/ 196607 w 1037972"/>
                  <a:gd name="connsiteY568" fmla="*/ 884533 h 970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</a:cxnLst>
                <a:rect l="l" t="t" r="r" b="b"/>
                <a:pathLst>
                  <a:path w="1037972" h="970278">
                    <a:moveTo>
                      <a:pt x="123497" y="978853"/>
                    </a:moveTo>
                    <a:lnTo>
                      <a:pt x="119887" y="978176"/>
                    </a:lnTo>
                    <a:lnTo>
                      <a:pt x="119887" y="978176"/>
                    </a:lnTo>
                    <a:lnTo>
                      <a:pt x="119887" y="978176"/>
                    </a:lnTo>
                    <a:cubicBezTo>
                      <a:pt x="120113" y="976822"/>
                      <a:pt x="120338" y="975243"/>
                      <a:pt x="120338" y="973889"/>
                    </a:cubicBezTo>
                    <a:lnTo>
                      <a:pt x="124174" y="973889"/>
                    </a:lnTo>
                    <a:cubicBezTo>
                      <a:pt x="124174" y="975468"/>
                      <a:pt x="124174" y="976822"/>
                      <a:pt x="123723" y="978627"/>
                    </a:cubicBezTo>
                    <a:cubicBezTo>
                      <a:pt x="123497" y="978627"/>
                      <a:pt x="123497" y="978853"/>
                      <a:pt x="123497" y="978853"/>
                    </a:cubicBezTo>
                    <a:close/>
                    <a:moveTo>
                      <a:pt x="220074" y="906421"/>
                    </a:moveTo>
                    <a:cubicBezTo>
                      <a:pt x="213304" y="906421"/>
                      <a:pt x="205181" y="900779"/>
                      <a:pt x="202925" y="898974"/>
                    </a:cubicBezTo>
                    <a:cubicBezTo>
                      <a:pt x="202248" y="898523"/>
                      <a:pt x="196607" y="893559"/>
                      <a:pt x="192996" y="885887"/>
                    </a:cubicBezTo>
                    <a:lnTo>
                      <a:pt x="192319" y="885661"/>
                    </a:lnTo>
                    <a:lnTo>
                      <a:pt x="192771" y="884307"/>
                    </a:lnTo>
                    <a:cubicBezTo>
                      <a:pt x="193899" y="879794"/>
                      <a:pt x="197058" y="867609"/>
                      <a:pt x="206986" y="862871"/>
                    </a:cubicBezTo>
                    <a:cubicBezTo>
                      <a:pt x="218720" y="857455"/>
                      <a:pt x="221653" y="855424"/>
                      <a:pt x="225941" y="848881"/>
                    </a:cubicBezTo>
                    <a:cubicBezTo>
                      <a:pt x="231582" y="839855"/>
                      <a:pt x="235643" y="832183"/>
                      <a:pt x="236772" y="827895"/>
                    </a:cubicBezTo>
                    <a:cubicBezTo>
                      <a:pt x="237449" y="825413"/>
                      <a:pt x="236997" y="822706"/>
                      <a:pt x="235643" y="820675"/>
                    </a:cubicBezTo>
                    <a:cubicBezTo>
                      <a:pt x="234290" y="818418"/>
                      <a:pt x="231807" y="817065"/>
                      <a:pt x="228874" y="816613"/>
                    </a:cubicBezTo>
                    <a:cubicBezTo>
                      <a:pt x="219623" y="815034"/>
                      <a:pt x="213756" y="799239"/>
                      <a:pt x="213756" y="795403"/>
                    </a:cubicBezTo>
                    <a:lnTo>
                      <a:pt x="213756" y="794726"/>
                    </a:lnTo>
                    <a:cubicBezTo>
                      <a:pt x="213756" y="791341"/>
                      <a:pt x="213756" y="781187"/>
                      <a:pt x="209468" y="778253"/>
                    </a:cubicBezTo>
                    <a:cubicBezTo>
                      <a:pt x="206309" y="776223"/>
                      <a:pt x="203376" y="775546"/>
                      <a:pt x="200217" y="774869"/>
                    </a:cubicBezTo>
                    <a:cubicBezTo>
                      <a:pt x="197961" y="774417"/>
                      <a:pt x="195704" y="773966"/>
                      <a:pt x="193448" y="772838"/>
                    </a:cubicBezTo>
                    <a:cubicBezTo>
                      <a:pt x="189386" y="771258"/>
                      <a:pt x="177652" y="765166"/>
                      <a:pt x="176298" y="759299"/>
                    </a:cubicBezTo>
                    <a:cubicBezTo>
                      <a:pt x="175847" y="756817"/>
                      <a:pt x="176750" y="752981"/>
                      <a:pt x="177878" y="748694"/>
                    </a:cubicBezTo>
                    <a:cubicBezTo>
                      <a:pt x="178555" y="745760"/>
                      <a:pt x="179683" y="741473"/>
                      <a:pt x="179232" y="740345"/>
                    </a:cubicBezTo>
                    <a:cubicBezTo>
                      <a:pt x="178781" y="739217"/>
                      <a:pt x="173139" y="738088"/>
                      <a:pt x="169529" y="737186"/>
                    </a:cubicBezTo>
                    <a:cubicBezTo>
                      <a:pt x="165919" y="736509"/>
                      <a:pt x="162083" y="735606"/>
                      <a:pt x="158472" y="734252"/>
                    </a:cubicBezTo>
                    <a:cubicBezTo>
                      <a:pt x="154411" y="732899"/>
                      <a:pt x="152154" y="730417"/>
                      <a:pt x="150800" y="728611"/>
                    </a:cubicBezTo>
                    <a:cubicBezTo>
                      <a:pt x="148770" y="726355"/>
                      <a:pt x="148770" y="726129"/>
                      <a:pt x="146062" y="728611"/>
                    </a:cubicBezTo>
                    <a:cubicBezTo>
                      <a:pt x="142903" y="731319"/>
                      <a:pt x="139969" y="732673"/>
                      <a:pt x="137487" y="733801"/>
                    </a:cubicBezTo>
                    <a:cubicBezTo>
                      <a:pt x="134328" y="735381"/>
                      <a:pt x="132072" y="736509"/>
                      <a:pt x="130041" y="739668"/>
                    </a:cubicBezTo>
                    <a:cubicBezTo>
                      <a:pt x="125302" y="747114"/>
                      <a:pt x="114923" y="751853"/>
                      <a:pt x="109958" y="753433"/>
                    </a:cubicBezTo>
                    <a:cubicBezTo>
                      <a:pt x="104317" y="755012"/>
                      <a:pt x="98451" y="753658"/>
                      <a:pt x="92809" y="749371"/>
                    </a:cubicBezTo>
                    <a:cubicBezTo>
                      <a:pt x="90779" y="747791"/>
                      <a:pt x="88296" y="744858"/>
                      <a:pt x="85814" y="741924"/>
                    </a:cubicBezTo>
                    <a:cubicBezTo>
                      <a:pt x="83558" y="739217"/>
                      <a:pt x="79496" y="734704"/>
                      <a:pt x="78142" y="734478"/>
                    </a:cubicBezTo>
                    <a:cubicBezTo>
                      <a:pt x="77465" y="734704"/>
                      <a:pt x="76337" y="734252"/>
                      <a:pt x="74532" y="734252"/>
                    </a:cubicBezTo>
                    <a:cubicBezTo>
                      <a:pt x="69794" y="733801"/>
                      <a:pt x="59639" y="732673"/>
                      <a:pt x="56932" y="735381"/>
                    </a:cubicBezTo>
                    <a:cubicBezTo>
                      <a:pt x="55578" y="736735"/>
                      <a:pt x="55578" y="738088"/>
                      <a:pt x="55803" y="740345"/>
                    </a:cubicBezTo>
                    <a:cubicBezTo>
                      <a:pt x="56029" y="742601"/>
                      <a:pt x="56480" y="745760"/>
                      <a:pt x="52870" y="747340"/>
                    </a:cubicBezTo>
                    <a:cubicBezTo>
                      <a:pt x="46552" y="749822"/>
                      <a:pt x="34818" y="748694"/>
                      <a:pt x="30080" y="748242"/>
                    </a:cubicBezTo>
                    <a:cubicBezTo>
                      <a:pt x="27146" y="747791"/>
                      <a:pt x="25792" y="746437"/>
                      <a:pt x="24890" y="745083"/>
                    </a:cubicBezTo>
                    <a:cubicBezTo>
                      <a:pt x="22408" y="740796"/>
                      <a:pt x="24890" y="733801"/>
                      <a:pt x="27598" y="727257"/>
                    </a:cubicBezTo>
                    <a:cubicBezTo>
                      <a:pt x="29628" y="722293"/>
                      <a:pt x="26921" y="716427"/>
                      <a:pt x="23310" y="708980"/>
                    </a:cubicBezTo>
                    <a:cubicBezTo>
                      <a:pt x="20151" y="701985"/>
                      <a:pt x="19249" y="692959"/>
                      <a:pt x="21280" y="688446"/>
                    </a:cubicBezTo>
                    <a:cubicBezTo>
                      <a:pt x="22182" y="686416"/>
                      <a:pt x="23536" y="685739"/>
                      <a:pt x="24664" y="685513"/>
                    </a:cubicBezTo>
                    <a:cubicBezTo>
                      <a:pt x="28726" y="684610"/>
                      <a:pt x="33239" y="690026"/>
                      <a:pt x="37752" y="695441"/>
                    </a:cubicBezTo>
                    <a:cubicBezTo>
                      <a:pt x="39331" y="697472"/>
                      <a:pt x="40911" y="699277"/>
                      <a:pt x="42039" y="700180"/>
                    </a:cubicBezTo>
                    <a:cubicBezTo>
                      <a:pt x="42942" y="700857"/>
                      <a:pt x="43619" y="701759"/>
                      <a:pt x="44295" y="702436"/>
                    </a:cubicBezTo>
                    <a:cubicBezTo>
                      <a:pt x="46326" y="704693"/>
                      <a:pt x="47680" y="706047"/>
                      <a:pt x="56029" y="706724"/>
                    </a:cubicBezTo>
                    <a:cubicBezTo>
                      <a:pt x="61445" y="707175"/>
                      <a:pt x="64604" y="707175"/>
                      <a:pt x="67537" y="706949"/>
                    </a:cubicBezTo>
                    <a:cubicBezTo>
                      <a:pt x="70922" y="706949"/>
                      <a:pt x="73629" y="706724"/>
                      <a:pt x="77691" y="707626"/>
                    </a:cubicBezTo>
                    <a:cubicBezTo>
                      <a:pt x="78368" y="707852"/>
                      <a:pt x="78594" y="707626"/>
                      <a:pt x="78594" y="707626"/>
                    </a:cubicBezTo>
                    <a:cubicBezTo>
                      <a:pt x="78819" y="707175"/>
                      <a:pt x="78594" y="704693"/>
                      <a:pt x="78594" y="703339"/>
                    </a:cubicBezTo>
                    <a:cubicBezTo>
                      <a:pt x="78142" y="699277"/>
                      <a:pt x="77691" y="693185"/>
                      <a:pt x="83332" y="691380"/>
                    </a:cubicBezTo>
                    <a:cubicBezTo>
                      <a:pt x="88071" y="690026"/>
                      <a:pt x="91681" y="683708"/>
                      <a:pt x="91230" y="680098"/>
                    </a:cubicBezTo>
                    <a:cubicBezTo>
                      <a:pt x="91004" y="679195"/>
                      <a:pt x="90553" y="678066"/>
                      <a:pt x="88296" y="678066"/>
                    </a:cubicBezTo>
                    <a:cubicBezTo>
                      <a:pt x="86717" y="678066"/>
                      <a:pt x="85137" y="678066"/>
                      <a:pt x="83558" y="678066"/>
                    </a:cubicBezTo>
                    <a:cubicBezTo>
                      <a:pt x="76563" y="678066"/>
                      <a:pt x="72050" y="678292"/>
                      <a:pt x="68440" y="675810"/>
                    </a:cubicBezTo>
                    <a:cubicBezTo>
                      <a:pt x="60768" y="670620"/>
                      <a:pt x="53773" y="668138"/>
                      <a:pt x="51967" y="669943"/>
                    </a:cubicBezTo>
                    <a:cubicBezTo>
                      <a:pt x="47906" y="674005"/>
                      <a:pt x="44521" y="676713"/>
                      <a:pt x="35044" y="676713"/>
                    </a:cubicBezTo>
                    <a:cubicBezTo>
                      <a:pt x="25341" y="676713"/>
                      <a:pt x="16315" y="666559"/>
                      <a:pt x="16315" y="660466"/>
                    </a:cubicBezTo>
                    <a:cubicBezTo>
                      <a:pt x="16315" y="656630"/>
                      <a:pt x="18572" y="653246"/>
                      <a:pt x="20151" y="651666"/>
                    </a:cubicBezTo>
                    <a:cubicBezTo>
                      <a:pt x="18797" y="650087"/>
                      <a:pt x="16315" y="647830"/>
                      <a:pt x="13156" y="646702"/>
                    </a:cubicBezTo>
                    <a:cubicBezTo>
                      <a:pt x="7064" y="644445"/>
                      <a:pt x="69" y="632937"/>
                      <a:pt x="69" y="625491"/>
                    </a:cubicBezTo>
                    <a:cubicBezTo>
                      <a:pt x="69" y="624814"/>
                      <a:pt x="69" y="623912"/>
                      <a:pt x="69" y="623235"/>
                    </a:cubicBezTo>
                    <a:cubicBezTo>
                      <a:pt x="-157" y="615788"/>
                      <a:pt x="-382" y="603152"/>
                      <a:pt x="9095" y="600444"/>
                    </a:cubicBezTo>
                    <a:cubicBezTo>
                      <a:pt x="13608" y="599090"/>
                      <a:pt x="13156" y="594126"/>
                      <a:pt x="11125" y="586680"/>
                    </a:cubicBezTo>
                    <a:cubicBezTo>
                      <a:pt x="10674" y="585552"/>
                      <a:pt x="10449" y="584423"/>
                      <a:pt x="10449" y="583747"/>
                    </a:cubicBezTo>
                    <a:cubicBezTo>
                      <a:pt x="10223" y="582618"/>
                      <a:pt x="9095" y="581039"/>
                      <a:pt x="8192" y="579459"/>
                    </a:cubicBezTo>
                    <a:cubicBezTo>
                      <a:pt x="6161" y="576526"/>
                      <a:pt x="3905" y="573141"/>
                      <a:pt x="5033" y="569757"/>
                    </a:cubicBezTo>
                    <a:cubicBezTo>
                      <a:pt x="5259" y="568854"/>
                      <a:pt x="6161" y="567500"/>
                      <a:pt x="8192" y="566598"/>
                    </a:cubicBezTo>
                    <a:cubicBezTo>
                      <a:pt x="12931" y="564567"/>
                      <a:pt x="22859" y="566372"/>
                      <a:pt x="26695" y="568628"/>
                    </a:cubicBezTo>
                    <a:cubicBezTo>
                      <a:pt x="28049" y="569305"/>
                      <a:pt x="29177" y="569080"/>
                      <a:pt x="30982" y="568402"/>
                    </a:cubicBezTo>
                    <a:cubicBezTo>
                      <a:pt x="33013" y="567726"/>
                      <a:pt x="35947" y="566823"/>
                      <a:pt x="38429" y="569757"/>
                    </a:cubicBezTo>
                    <a:cubicBezTo>
                      <a:pt x="38654" y="570208"/>
                      <a:pt x="39783" y="570208"/>
                      <a:pt x="41588" y="569757"/>
                    </a:cubicBezTo>
                    <a:cubicBezTo>
                      <a:pt x="46326" y="568402"/>
                      <a:pt x="52644" y="563664"/>
                      <a:pt x="53321" y="559377"/>
                    </a:cubicBezTo>
                    <a:cubicBezTo>
                      <a:pt x="54450" y="552382"/>
                      <a:pt x="54675" y="542905"/>
                      <a:pt x="46101" y="531396"/>
                    </a:cubicBezTo>
                    <a:cubicBezTo>
                      <a:pt x="36172" y="518083"/>
                      <a:pt x="31885" y="510186"/>
                      <a:pt x="34593" y="503868"/>
                    </a:cubicBezTo>
                    <a:cubicBezTo>
                      <a:pt x="40460" y="490780"/>
                      <a:pt x="44070" y="488298"/>
                      <a:pt x="46326" y="487847"/>
                    </a:cubicBezTo>
                    <a:cubicBezTo>
                      <a:pt x="46552" y="486719"/>
                      <a:pt x="45649" y="484011"/>
                      <a:pt x="45198" y="481980"/>
                    </a:cubicBezTo>
                    <a:cubicBezTo>
                      <a:pt x="44295" y="478370"/>
                      <a:pt x="43167" y="474083"/>
                      <a:pt x="43167" y="469570"/>
                    </a:cubicBezTo>
                    <a:cubicBezTo>
                      <a:pt x="43167" y="459641"/>
                      <a:pt x="48357" y="444523"/>
                      <a:pt x="54224" y="441589"/>
                    </a:cubicBezTo>
                    <a:cubicBezTo>
                      <a:pt x="59414" y="439107"/>
                      <a:pt x="69568" y="440010"/>
                      <a:pt x="77014" y="440687"/>
                    </a:cubicBezTo>
                    <a:lnTo>
                      <a:pt x="80173" y="440913"/>
                    </a:lnTo>
                    <a:cubicBezTo>
                      <a:pt x="86266" y="441589"/>
                      <a:pt x="97999" y="442492"/>
                      <a:pt x="102738" y="442041"/>
                    </a:cubicBezTo>
                    <a:lnTo>
                      <a:pt x="104092" y="441815"/>
                    </a:lnTo>
                    <a:lnTo>
                      <a:pt x="104769" y="442943"/>
                    </a:lnTo>
                    <a:cubicBezTo>
                      <a:pt x="110635" y="453549"/>
                      <a:pt x="112892" y="456708"/>
                      <a:pt x="114020" y="458287"/>
                    </a:cubicBezTo>
                    <a:cubicBezTo>
                      <a:pt x="115600" y="460318"/>
                      <a:pt x="130492" y="468441"/>
                      <a:pt x="139744" y="467990"/>
                    </a:cubicBezTo>
                    <a:cubicBezTo>
                      <a:pt x="142000" y="467990"/>
                      <a:pt x="144031" y="467764"/>
                      <a:pt x="146062" y="467539"/>
                    </a:cubicBezTo>
                    <a:cubicBezTo>
                      <a:pt x="152831" y="466862"/>
                      <a:pt x="158924" y="466185"/>
                      <a:pt x="170883" y="469570"/>
                    </a:cubicBezTo>
                    <a:cubicBezTo>
                      <a:pt x="182842" y="472954"/>
                      <a:pt x="184873" y="471149"/>
                      <a:pt x="189837" y="466411"/>
                    </a:cubicBezTo>
                    <a:cubicBezTo>
                      <a:pt x="190740" y="465508"/>
                      <a:pt x="191642" y="464831"/>
                      <a:pt x="192545" y="463929"/>
                    </a:cubicBezTo>
                    <a:cubicBezTo>
                      <a:pt x="194576" y="462123"/>
                      <a:pt x="195930" y="460093"/>
                      <a:pt x="197509" y="457836"/>
                    </a:cubicBezTo>
                    <a:cubicBezTo>
                      <a:pt x="201796" y="451518"/>
                      <a:pt x="206761" y="444297"/>
                      <a:pt x="223007" y="441815"/>
                    </a:cubicBezTo>
                    <a:cubicBezTo>
                      <a:pt x="237223" y="439559"/>
                      <a:pt x="245346" y="441815"/>
                      <a:pt x="252116" y="443620"/>
                    </a:cubicBezTo>
                    <a:cubicBezTo>
                      <a:pt x="255726" y="444523"/>
                      <a:pt x="258659" y="445200"/>
                      <a:pt x="261818" y="445200"/>
                    </a:cubicBezTo>
                    <a:cubicBezTo>
                      <a:pt x="270393" y="444748"/>
                      <a:pt x="279419" y="436400"/>
                      <a:pt x="282127" y="433241"/>
                    </a:cubicBezTo>
                    <a:cubicBezTo>
                      <a:pt x="285511" y="429405"/>
                      <a:pt x="299727" y="421281"/>
                      <a:pt x="309881" y="420830"/>
                    </a:cubicBezTo>
                    <a:cubicBezTo>
                      <a:pt x="323194" y="420153"/>
                      <a:pt x="325451" y="418574"/>
                      <a:pt x="325451" y="417671"/>
                    </a:cubicBezTo>
                    <a:cubicBezTo>
                      <a:pt x="325902" y="414963"/>
                      <a:pt x="327933" y="406840"/>
                      <a:pt x="330415" y="396460"/>
                    </a:cubicBezTo>
                    <a:lnTo>
                      <a:pt x="332446" y="388337"/>
                    </a:lnTo>
                    <a:cubicBezTo>
                      <a:pt x="335379" y="376152"/>
                      <a:pt x="340794" y="375250"/>
                      <a:pt x="351625" y="372993"/>
                    </a:cubicBezTo>
                    <a:cubicBezTo>
                      <a:pt x="353656" y="372542"/>
                      <a:pt x="356138" y="372090"/>
                      <a:pt x="358846" y="371413"/>
                    </a:cubicBezTo>
                    <a:cubicBezTo>
                      <a:pt x="365390" y="369834"/>
                      <a:pt x="370354" y="367578"/>
                      <a:pt x="375093" y="365321"/>
                    </a:cubicBezTo>
                    <a:cubicBezTo>
                      <a:pt x="381862" y="362162"/>
                      <a:pt x="389083" y="358777"/>
                      <a:pt x="400591" y="357649"/>
                    </a:cubicBezTo>
                    <a:cubicBezTo>
                      <a:pt x="412550" y="356521"/>
                      <a:pt x="419094" y="358552"/>
                      <a:pt x="423607" y="359906"/>
                    </a:cubicBezTo>
                    <a:cubicBezTo>
                      <a:pt x="426314" y="360808"/>
                      <a:pt x="427668" y="361034"/>
                      <a:pt x="428797" y="360583"/>
                    </a:cubicBezTo>
                    <a:cubicBezTo>
                      <a:pt x="432407" y="359229"/>
                      <a:pt x="436920" y="346818"/>
                      <a:pt x="433761" y="337567"/>
                    </a:cubicBezTo>
                    <a:cubicBezTo>
                      <a:pt x="429699" y="325607"/>
                      <a:pt x="438274" y="321320"/>
                      <a:pt x="448202" y="316130"/>
                    </a:cubicBezTo>
                    <a:cubicBezTo>
                      <a:pt x="450684" y="314776"/>
                      <a:pt x="453166" y="314551"/>
                      <a:pt x="455648" y="315228"/>
                    </a:cubicBezTo>
                    <a:cubicBezTo>
                      <a:pt x="461515" y="317033"/>
                      <a:pt x="465351" y="324479"/>
                      <a:pt x="468285" y="330572"/>
                    </a:cubicBezTo>
                    <a:cubicBezTo>
                      <a:pt x="469413" y="332602"/>
                      <a:pt x="470315" y="334633"/>
                      <a:pt x="471218" y="335987"/>
                    </a:cubicBezTo>
                    <a:cubicBezTo>
                      <a:pt x="473926" y="339823"/>
                      <a:pt x="480244" y="342531"/>
                      <a:pt x="486336" y="345013"/>
                    </a:cubicBezTo>
                    <a:cubicBezTo>
                      <a:pt x="488818" y="346141"/>
                      <a:pt x="491526" y="347269"/>
                      <a:pt x="494008" y="348398"/>
                    </a:cubicBezTo>
                    <a:cubicBezTo>
                      <a:pt x="497393" y="350203"/>
                      <a:pt x="501455" y="349751"/>
                      <a:pt x="503485" y="347495"/>
                    </a:cubicBezTo>
                    <a:cubicBezTo>
                      <a:pt x="505516" y="345239"/>
                      <a:pt x="505065" y="341628"/>
                      <a:pt x="502357" y="337567"/>
                    </a:cubicBezTo>
                    <a:cubicBezTo>
                      <a:pt x="498747" y="332151"/>
                      <a:pt x="492880" y="330346"/>
                      <a:pt x="487690" y="328766"/>
                    </a:cubicBezTo>
                    <a:cubicBezTo>
                      <a:pt x="482726" y="327187"/>
                      <a:pt x="477987" y="325833"/>
                      <a:pt x="477987" y="321094"/>
                    </a:cubicBezTo>
                    <a:cubicBezTo>
                      <a:pt x="477987" y="312069"/>
                      <a:pt x="482726" y="311617"/>
                      <a:pt x="490624" y="311617"/>
                    </a:cubicBezTo>
                    <a:cubicBezTo>
                      <a:pt x="491300" y="311617"/>
                      <a:pt x="491752" y="311617"/>
                      <a:pt x="491978" y="311617"/>
                    </a:cubicBezTo>
                    <a:cubicBezTo>
                      <a:pt x="491752" y="311392"/>
                      <a:pt x="491752" y="311166"/>
                      <a:pt x="491526" y="311166"/>
                    </a:cubicBezTo>
                    <a:cubicBezTo>
                      <a:pt x="490624" y="309812"/>
                      <a:pt x="489495" y="308458"/>
                      <a:pt x="489495" y="306653"/>
                    </a:cubicBezTo>
                    <a:cubicBezTo>
                      <a:pt x="489495" y="305751"/>
                      <a:pt x="489947" y="304397"/>
                      <a:pt x="491752" y="303268"/>
                    </a:cubicBezTo>
                    <a:cubicBezTo>
                      <a:pt x="496039" y="300786"/>
                      <a:pt x="506193" y="300109"/>
                      <a:pt x="511609" y="303043"/>
                    </a:cubicBezTo>
                    <a:cubicBezTo>
                      <a:pt x="513414" y="303945"/>
                      <a:pt x="514316" y="304848"/>
                      <a:pt x="514993" y="305299"/>
                    </a:cubicBezTo>
                    <a:cubicBezTo>
                      <a:pt x="516122" y="306202"/>
                      <a:pt x="516122" y="306202"/>
                      <a:pt x="525824" y="306202"/>
                    </a:cubicBezTo>
                    <a:cubicBezTo>
                      <a:pt x="537558" y="306202"/>
                      <a:pt x="538461" y="304848"/>
                      <a:pt x="541620" y="298981"/>
                    </a:cubicBezTo>
                    <a:lnTo>
                      <a:pt x="542522" y="297176"/>
                    </a:lnTo>
                    <a:cubicBezTo>
                      <a:pt x="545456" y="291760"/>
                      <a:pt x="550645" y="290858"/>
                      <a:pt x="557415" y="289730"/>
                    </a:cubicBezTo>
                    <a:cubicBezTo>
                      <a:pt x="561476" y="289053"/>
                      <a:pt x="566666" y="288150"/>
                      <a:pt x="572759" y="285894"/>
                    </a:cubicBezTo>
                    <a:cubicBezTo>
                      <a:pt x="584041" y="281832"/>
                      <a:pt x="584267" y="281606"/>
                      <a:pt x="586523" y="279124"/>
                    </a:cubicBezTo>
                    <a:cubicBezTo>
                      <a:pt x="587426" y="278222"/>
                      <a:pt x="588554" y="277093"/>
                      <a:pt x="590585" y="275288"/>
                    </a:cubicBezTo>
                    <a:cubicBezTo>
                      <a:pt x="592164" y="273934"/>
                      <a:pt x="593744" y="272806"/>
                      <a:pt x="594872" y="271904"/>
                    </a:cubicBezTo>
                    <a:cubicBezTo>
                      <a:pt x="598482" y="269196"/>
                      <a:pt x="598708" y="269196"/>
                      <a:pt x="593970" y="260621"/>
                    </a:cubicBezTo>
                    <a:cubicBezTo>
                      <a:pt x="590585" y="254529"/>
                      <a:pt x="588328" y="254078"/>
                      <a:pt x="585169" y="253626"/>
                    </a:cubicBezTo>
                    <a:cubicBezTo>
                      <a:pt x="582236" y="253175"/>
                      <a:pt x="578400" y="252498"/>
                      <a:pt x="573210" y="247985"/>
                    </a:cubicBezTo>
                    <a:cubicBezTo>
                      <a:pt x="568697" y="244149"/>
                      <a:pt x="565313" y="243021"/>
                      <a:pt x="562605" y="242344"/>
                    </a:cubicBezTo>
                    <a:cubicBezTo>
                      <a:pt x="558994" y="241441"/>
                      <a:pt x="555835" y="240539"/>
                      <a:pt x="554256" y="233769"/>
                    </a:cubicBezTo>
                    <a:cubicBezTo>
                      <a:pt x="553353" y="229933"/>
                      <a:pt x="551774" y="229482"/>
                      <a:pt x="549517" y="228580"/>
                    </a:cubicBezTo>
                    <a:cubicBezTo>
                      <a:pt x="545907" y="227226"/>
                      <a:pt x="542748" y="225646"/>
                      <a:pt x="542522" y="217749"/>
                    </a:cubicBezTo>
                    <a:cubicBezTo>
                      <a:pt x="542297" y="213913"/>
                      <a:pt x="543199" y="210754"/>
                      <a:pt x="545230" y="208723"/>
                    </a:cubicBezTo>
                    <a:cubicBezTo>
                      <a:pt x="548163" y="205564"/>
                      <a:pt x="552676" y="205338"/>
                      <a:pt x="556287" y="205338"/>
                    </a:cubicBezTo>
                    <a:cubicBezTo>
                      <a:pt x="557640" y="205338"/>
                      <a:pt x="558994" y="205338"/>
                      <a:pt x="559897" y="205112"/>
                    </a:cubicBezTo>
                    <a:cubicBezTo>
                      <a:pt x="561476" y="204661"/>
                      <a:pt x="563733" y="201953"/>
                      <a:pt x="564861" y="198343"/>
                    </a:cubicBezTo>
                    <a:lnTo>
                      <a:pt x="565313" y="197215"/>
                    </a:lnTo>
                    <a:lnTo>
                      <a:pt x="566666" y="197215"/>
                    </a:lnTo>
                    <a:cubicBezTo>
                      <a:pt x="573661" y="196763"/>
                      <a:pt x="574790" y="195861"/>
                      <a:pt x="575015" y="195861"/>
                    </a:cubicBezTo>
                    <a:lnTo>
                      <a:pt x="575241" y="195184"/>
                    </a:lnTo>
                    <a:cubicBezTo>
                      <a:pt x="577046" y="191799"/>
                      <a:pt x="580205" y="185932"/>
                      <a:pt x="594646" y="187963"/>
                    </a:cubicBezTo>
                    <a:cubicBezTo>
                      <a:pt x="604801" y="189317"/>
                      <a:pt x="607734" y="188866"/>
                      <a:pt x="615406" y="187963"/>
                    </a:cubicBezTo>
                    <a:cubicBezTo>
                      <a:pt x="618339" y="187512"/>
                      <a:pt x="621724" y="187061"/>
                      <a:pt x="626463" y="186609"/>
                    </a:cubicBezTo>
                    <a:cubicBezTo>
                      <a:pt x="648125" y="184353"/>
                      <a:pt x="660535" y="176230"/>
                      <a:pt x="665048" y="172845"/>
                    </a:cubicBezTo>
                    <a:cubicBezTo>
                      <a:pt x="672946" y="166752"/>
                      <a:pt x="674525" y="166752"/>
                      <a:pt x="686484" y="166527"/>
                    </a:cubicBezTo>
                    <a:lnTo>
                      <a:pt x="689643" y="166527"/>
                    </a:lnTo>
                    <a:cubicBezTo>
                      <a:pt x="696413" y="166301"/>
                      <a:pt x="699346" y="162240"/>
                      <a:pt x="702505" y="158404"/>
                    </a:cubicBezTo>
                    <a:cubicBezTo>
                      <a:pt x="705439" y="154568"/>
                      <a:pt x="709049" y="150280"/>
                      <a:pt x="715367" y="153439"/>
                    </a:cubicBezTo>
                    <a:cubicBezTo>
                      <a:pt x="720557" y="155922"/>
                      <a:pt x="727101" y="155922"/>
                      <a:pt x="731614" y="152988"/>
                    </a:cubicBezTo>
                    <a:cubicBezTo>
                      <a:pt x="734547" y="151183"/>
                      <a:pt x="736127" y="148475"/>
                      <a:pt x="736127" y="145542"/>
                    </a:cubicBezTo>
                    <a:cubicBezTo>
                      <a:pt x="736127" y="142157"/>
                      <a:pt x="734998" y="136516"/>
                      <a:pt x="733870" y="130423"/>
                    </a:cubicBezTo>
                    <a:cubicBezTo>
                      <a:pt x="731388" y="117110"/>
                      <a:pt x="730034" y="108085"/>
                      <a:pt x="732742" y="104474"/>
                    </a:cubicBezTo>
                    <a:cubicBezTo>
                      <a:pt x="735224" y="100864"/>
                      <a:pt x="742219" y="93869"/>
                      <a:pt x="750117" y="92741"/>
                    </a:cubicBezTo>
                    <a:cubicBezTo>
                      <a:pt x="753953" y="92064"/>
                      <a:pt x="757563" y="93192"/>
                      <a:pt x="760948" y="95448"/>
                    </a:cubicBezTo>
                    <a:cubicBezTo>
                      <a:pt x="767266" y="100187"/>
                      <a:pt x="766814" y="106505"/>
                      <a:pt x="766589" y="111469"/>
                    </a:cubicBezTo>
                    <a:cubicBezTo>
                      <a:pt x="766363" y="115305"/>
                      <a:pt x="766363" y="117787"/>
                      <a:pt x="768168" y="119367"/>
                    </a:cubicBezTo>
                    <a:cubicBezTo>
                      <a:pt x="771102" y="121849"/>
                      <a:pt x="775389" y="120269"/>
                      <a:pt x="780353" y="118464"/>
                    </a:cubicBezTo>
                    <a:cubicBezTo>
                      <a:pt x="784189" y="117110"/>
                      <a:pt x="788025" y="115757"/>
                      <a:pt x="791861" y="115757"/>
                    </a:cubicBezTo>
                    <a:cubicBezTo>
                      <a:pt x="794118" y="115757"/>
                      <a:pt x="795020" y="113951"/>
                      <a:pt x="796600" y="110115"/>
                    </a:cubicBezTo>
                    <a:cubicBezTo>
                      <a:pt x="797728" y="107182"/>
                      <a:pt x="798856" y="104023"/>
                      <a:pt x="802015" y="103120"/>
                    </a:cubicBezTo>
                    <a:cubicBezTo>
                      <a:pt x="804272" y="102443"/>
                      <a:pt x="806980" y="103346"/>
                      <a:pt x="810590" y="105828"/>
                    </a:cubicBezTo>
                    <a:cubicBezTo>
                      <a:pt x="815328" y="109213"/>
                      <a:pt x="818939" y="110341"/>
                      <a:pt x="821646" y="109438"/>
                    </a:cubicBezTo>
                    <a:cubicBezTo>
                      <a:pt x="823677" y="108761"/>
                      <a:pt x="825031" y="106505"/>
                      <a:pt x="826159" y="102669"/>
                    </a:cubicBezTo>
                    <a:cubicBezTo>
                      <a:pt x="826611" y="100864"/>
                      <a:pt x="827288" y="98156"/>
                      <a:pt x="827739" y="94771"/>
                    </a:cubicBezTo>
                    <a:cubicBezTo>
                      <a:pt x="829318" y="87551"/>
                      <a:pt x="831124" y="78525"/>
                      <a:pt x="832703" y="74689"/>
                    </a:cubicBezTo>
                    <a:cubicBezTo>
                      <a:pt x="835185" y="69048"/>
                      <a:pt x="844211" y="56637"/>
                      <a:pt x="851206" y="53929"/>
                    </a:cubicBezTo>
                    <a:cubicBezTo>
                      <a:pt x="855268" y="52350"/>
                      <a:pt x="858427" y="55283"/>
                      <a:pt x="860458" y="57540"/>
                    </a:cubicBezTo>
                    <a:cubicBezTo>
                      <a:pt x="863391" y="60473"/>
                      <a:pt x="864068" y="60473"/>
                      <a:pt x="864971" y="59345"/>
                    </a:cubicBezTo>
                    <a:cubicBezTo>
                      <a:pt x="868807" y="55960"/>
                      <a:pt x="870386" y="52801"/>
                      <a:pt x="873094" y="47837"/>
                    </a:cubicBezTo>
                    <a:cubicBezTo>
                      <a:pt x="873996" y="46258"/>
                      <a:pt x="874899" y="44452"/>
                      <a:pt x="876027" y="42422"/>
                    </a:cubicBezTo>
                    <a:cubicBezTo>
                      <a:pt x="877607" y="39488"/>
                      <a:pt x="875576" y="36555"/>
                      <a:pt x="872642" y="32719"/>
                    </a:cubicBezTo>
                    <a:cubicBezTo>
                      <a:pt x="870837" y="30237"/>
                      <a:pt x="869032" y="27980"/>
                      <a:pt x="870160" y="25949"/>
                    </a:cubicBezTo>
                    <a:cubicBezTo>
                      <a:pt x="871063" y="23919"/>
                      <a:pt x="873545" y="23693"/>
                      <a:pt x="875576" y="23693"/>
                    </a:cubicBezTo>
                    <a:cubicBezTo>
                      <a:pt x="885956" y="23242"/>
                      <a:pt x="892951" y="20534"/>
                      <a:pt x="898141" y="14893"/>
                    </a:cubicBezTo>
                    <a:cubicBezTo>
                      <a:pt x="899494" y="13313"/>
                      <a:pt x="901074" y="12636"/>
                      <a:pt x="902879" y="12862"/>
                    </a:cubicBezTo>
                    <a:cubicBezTo>
                      <a:pt x="907392" y="13088"/>
                      <a:pt x="911679" y="18954"/>
                      <a:pt x="916192" y="25047"/>
                    </a:cubicBezTo>
                    <a:cubicBezTo>
                      <a:pt x="917320" y="26401"/>
                      <a:pt x="918223" y="27755"/>
                      <a:pt x="919351" y="29108"/>
                    </a:cubicBezTo>
                    <a:cubicBezTo>
                      <a:pt x="922285" y="32944"/>
                      <a:pt x="926346" y="34975"/>
                      <a:pt x="929957" y="36780"/>
                    </a:cubicBezTo>
                    <a:cubicBezTo>
                      <a:pt x="933793" y="38811"/>
                      <a:pt x="937629" y="40616"/>
                      <a:pt x="939208" y="44452"/>
                    </a:cubicBezTo>
                    <a:cubicBezTo>
                      <a:pt x="939659" y="45581"/>
                      <a:pt x="940111" y="46934"/>
                      <a:pt x="940562" y="48288"/>
                    </a:cubicBezTo>
                    <a:cubicBezTo>
                      <a:pt x="942367" y="54381"/>
                      <a:pt x="943947" y="60247"/>
                      <a:pt x="961096" y="56637"/>
                    </a:cubicBezTo>
                    <a:cubicBezTo>
                      <a:pt x="974409" y="53929"/>
                      <a:pt x="981178" y="54381"/>
                      <a:pt x="986368" y="54832"/>
                    </a:cubicBezTo>
                    <a:cubicBezTo>
                      <a:pt x="989979" y="55058"/>
                      <a:pt x="992460" y="55283"/>
                      <a:pt x="996071" y="54381"/>
                    </a:cubicBezTo>
                    <a:cubicBezTo>
                      <a:pt x="994943" y="51899"/>
                      <a:pt x="995845" y="48514"/>
                      <a:pt x="999004" y="43775"/>
                    </a:cubicBezTo>
                    <a:cubicBezTo>
                      <a:pt x="1000358" y="41744"/>
                      <a:pt x="1001712" y="39037"/>
                      <a:pt x="1003292" y="36103"/>
                    </a:cubicBezTo>
                    <a:cubicBezTo>
                      <a:pt x="1010964" y="21888"/>
                      <a:pt x="1022471" y="677"/>
                      <a:pt x="1050903" y="0"/>
                    </a:cubicBezTo>
                    <a:lnTo>
                      <a:pt x="1053836" y="0"/>
                    </a:lnTo>
                    <a:lnTo>
                      <a:pt x="1052708" y="2708"/>
                    </a:lnTo>
                    <a:cubicBezTo>
                      <a:pt x="1052257" y="3836"/>
                      <a:pt x="1052031" y="5415"/>
                      <a:pt x="1051806" y="8349"/>
                    </a:cubicBezTo>
                    <a:cubicBezTo>
                      <a:pt x="1051580" y="14667"/>
                      <a:pt x="1041651" y="25949"/>
                      <a:pt x="1031046" y="37909"/>
                    </a:cubicBezTo>
                    <a:cubicBezTo>
                      <a:pt x="1024728" y="44904"/>
                      <a:pt x="1018861" y="51673"/>
                      <a:pt x="1015702" y="56637"/>
                    </a:cubicBezTo>
                    <a:cubicBezTo>
                      <a:pt x="1012092" y="62278"/>
                      <a:pt x="1006451" y="68371"/>
                      <a:pt x="1000358" y="74689"/>
                    </a:cubicBezTo>
                    <a:cubicBezTo>
                      <a:pt x="992460" y="83038"/>
                      <a:pt x="984112" y="91838"/>
                      <a:pt x="980953" y="99736"/>
                    </a:cubicBezTo>
                    <a:cubicBezTo>
                      <a:pt x="979599" y="103120"/>
                      <a:pt x="978696" y="106054"/>
                      <a:pt x="978019" y="108761"/>
                    </a:cubicBezTo>
                    <a:cubicBezTo>
                      <a:pt x="975537" y="117110"/>
                      <a:pt x="973958" y="122526"/>
                      <a:pt x="961096" y="127039"/>
                    </a:cubicBezTo>
                    <a:cubicBezTo>
                      <a:pt x="945752" y="132454"/>
                      <a:pt x="913033" y="148249"/>
                      <a:pt x="901751" y="160434"/>
                    </a:cubicBezTo>
                    <a:cubicBezTo>
                      <a:pt x="897012" y="165399"/>
                      <a:pt x="892274" y="169460"/>
                      <a:pt x="888212" y="173071"/>
                    </a:cubicBezTo>
                    <a:cubicBezTo>
                      <a:pt x="882120" y="178260"/>
                      <a:pt x="876704" y="182773"/>
                      <a:pt x="872868" y="189317"/>
                    </a:cubicBezTo>
                    <a:cubicBezTo>
                      <a:pt x="871289" y="192025"/>
                      <a:pt x="869935" y="194733"/>
                      <a:pt x="868581" y="197215"/>
                    </a:cubicBezTo>
                    <a:cubicBezTo>
                      <a:pt x="864519" y="205112"/>
                      <a:pt x="860909" y="211882"/>
                      <a:pt x="853463" y="216395"/>
                    </a:cubicBezTo>
                    <a:cubicBezTo>
                      <a:pt x="851883" y="217297"/>
                      <a:pt x="850078" y="218425"/>
                      <a:pt x="847821" y="219779"/>
                    </a:cubicBezTo>
                    <a:cubicBezTo>
                      <a:pt x="836765" y="226323"/>
                      <a:pt x="816005" y="238282"/>
                      <a:pt x="810590" y="245277"/>
                    </a:cubicBezTo>
                    <a:cubicBezTo>
                      <a:pt x="806302" y="250919"/>
                      <a:pt x="796148" y="255206"/>
                      <a:pt x="787799" y="258590"/>
                    </a:cubicBezTo>
                    <a:cubicBezTo>
                      <a:pt x="783512" y="260396"/>
                      <a:pt x="779225" y="262201"/>
                      <a:pt x="777871" y="263329"/>
                    </a:cubicBezTo>
                    <a:cubicBezTo>
                      <a:pt x="776292" y="264908"/>
                      <a:pt x="772456" y="267165"/>
                      <a:pt x="767040" y="270550"/>
                    </a:cubicBezTo>
                    <a:cubicBezTo>
                      <a:pt x="758240" y="275965"/>
                      <a:pt x="746506" y="283412"/>
                      <a:pt x="742670" y="288376"/>
                    </a:cubicBezTo>
                    <a:cubicBezTo>
                      <a:pt x="736578" y="296950"/>
                      <a:pt x="733193" y="306202"/>
                      <a:pt x="734096" y="312971"/>
                    </a:cubicBezTo>
                    <a:cubicBezTo>
                      <a:pt x="734321" y="315679"/>
                      <a:pt x="735675" y="317484"/>
                      <a:pt x="737029" y="317710"/>
                    </a:cubicBezTo>
                    <a:cubicBezTo>
                      <a:pt x="738383" y="317935"/>
                      <a:pt x="740414" y="316581"/>
                      <a:pt x="742219" y="312520"/>
                    </a:cubicBezTo>
                    <a:cubicBezTo>
                      <a:pt x="742896" y="310715"/>
                      <a:pt x="744024" y="309135"/>
                      <a:pt x="745604" y="308910"/>
                    </a:cubicBezTo>
                    <a:cubicBezTo>
                      <a:pt x="746506" y="308910"/>
                      <a:pt x="747409" y="309361"/>
                      <a:pt x="747860" y="310263"/>
                    </a:cubicBezTo>
                    <a:cubicBezTo>
                      <a:pt x="749891" y="313422"/>
                      <a:pt x="748763" y="326284"/>
                      <a:pt x="745829" y="331248"/>
                    </a:cubicBezTo>
                    <a:cubicBezTo>
                      <a:pt x="741993" y="338018"/>
                      <a:pt x="736804" y="341854"/>
                      <a:pt x="732065" y="341177"/>
                    </a:cubicBezTo>
                    <a:cubicBezTo>
                      <a:pt x="731388" y="341177"/>
                      <a:pt x="730711" y="340951"/>
                      <a:pt x="729583" y="340726"/>
                    </a:cubicBezTo>
                    <a:cubicBezTo>
                      <a:pt x="721008" y="338921"/>
                      <a:pt x="720106" y="339823"/>
                      <a:pt x="719880" y="340274"/>
                    </a:cubicBezTo>
                    <a:cubicBezTo>
                      <a:pt x="719429" y="341854"/>
                      <a:pt x="719654" y="344110"/>
                      <a:pt x="720783" y="345239"/>
                    </a:cubicBezTo>
                    <a:cubicBezTo>
                      <a:pt x="722137" y="346592"/>
                      <a:pt x="724393" y="346367"/>
                      <a:pt x="725972" y="345916"/>
                    </a:cubicBezTo>
                    <a:cubicBezTo>
                      <a:pt x="731388" y="344562"/>
                      <a:pt x="733645" y="342982"/>
                      <a:pt x="735901" y="341403"/>
                    </a:cubicBezTo>
                    <a:cubicBezTo>
                      <a:pt x="736804" y="340726"/>
                      <a:pt x="737706" y="340049"/>
                      <a:pt x="738609" y="339597"/>
                    </a:cubicBezTo>
                    <a:cubicBezTo>
                      <a:pt x="740188" y="338695"/>
                      <a:pt x="741091" y="339597"/>
                      <a:pt x="741542" y="340049"/>
                    </a:cubicBezTo>
                    <a:cubicBezTo>
                      <a:pt x="744024" y="343433"/>
                      <a:pt x="728455" y="361711"/>
                      <a:pt x="721685" y="367803"/>
                    </a:cubicBezTo>
                    <a:cubicBezTo>
                      <a:pt x="715593" y="373219"/>
                      <a:pt x="706116" y="375701"/>
                      <a:pt x="696864" y="377957"/>
                    </a:cubicBezTo>
                    <a:cubicBezTo>
                      <a:pt x="688741" y="379988"/>
                      <a:pt x="680843" y="382019"/>
                      <a:pt x="676556" y="385855"/>
                    </a:cubicBezTo>
                    <a:cubicBezTo>
                      <a:pt x="669110" y="392399"/>
                      <a:pt x="654217" y="392399"/>
                      <a:pt x="642258" y="392624"/>
                    </a:cubicBezTo>
                    <a:cubicBezTo>
                      <a:pt x="636842" y="392624"/>
                      <a:pt x="632329" y="392624"/>
                      <a:pt x="629396" y="393301"/>
                    </a:cubicBezTo>
                    <a:cubicBezTo>
                      <a:pt x="627365" y="393753"/>
                      <a:pt x="625334" y="393978"/>
                      <a:pt x="623529" y="394204"/>
                    </a:cubicBezTo>
                    <a:cubicBezTo>
                      <a:pt x="616308" y="395106"/>
                      <a:pt x="610893" y="395783"/>
                      <a:pt x="606831" y="403004"/>
                    </a:cubicBezTo>
                    <a:cubicBezTo>
                      <a:pt x="605026" y="406389"/>
                      <a:pt x="604801" y="407517"/>
                      <a:pt x="604801" y="408871"/>
                    </a:cubicBezTo>
                    <a:cubicBezTo>
                      <a:pt x="604575" y="412030"/>
                      <a:pt x="603672" y="414738"/>
                      <a:pt x="593518" y="426471"/>
                    </a:cubicBezTo>
                    <a:cubicBezTo>
                      <a:pt x="587651" y="433241"/>
                      <a:pt x="583364" y="437528"/>
                      <a:pt x="580205" y="440461"/>
                    </a:cubicBezTo>
                    <a:cubicBezTo>
                      <a:pt x="575015" y="445651"/>
                      <a:pt x="573887" y="446779"/>
                      <a:pt x="573887" y="451518"/>
                    </a:cubicBezTo>
                    <a:cubicBezTo>
                      <a:pt x="573887" y="460995"/>
                      <a:pt x="571631" y="464605"/>
                      <a:pt x="566666" y="471375"/>
                    </a:cubicBezTo>
                    <a:cubicBezTo>
                      <a:pt x="561476" y="478595"/>
                      <a:pt x="547938" y="475436"/>
                      <a:pt x="542748" y="474308"/>
                    </a:cubicBezTo>
                    <a:cubicBezTo>
                      <a:pt x="542297" y="474083"/>
                      <a:pt x="541845" y="474083"/>
                      <a:pt x="541620" y="474083"/>
                    </a:cubicBezTo>
                    <a:cubicBezTo>
                      <a:pt x="539814" y="473631"/>
                      <a:pt x="538912" y="472052"/>
                      <a:pt x="537558" y="470021"/>
                    </a:cubicBezTo>
                    <a:cubicBezTo>
                      <a:pt x="535527" y="466411"/>
                      <a:pt x="532819" y="461672"/>
                      <a:pt x="524922" y="461672"/>
                    </a:cubicBezTo>
                    <a:cubicBezTo>
                      <a:pt x="512060" y="461672"/>
                      <a:pt x="482275" y="477016"/>
                      <a:pt x="476408" y="488749"/>
                    </a:cubicBezTo>
                    <a:cubicBezTo>
                      <a:pt x="474151" y="493263"/>
                      <a:pt x="473700" y="496873"/>
                      <a:pt x="473249" y="500709"/>
                    </a:cubicBezTo>
                    <a:cubicBezTo>
                      <a:pt x="472572" y="507027"/>
                      <a:pt x="471669" y="513571"/>
                      <a:pt x="462192" y="522596"/>
                    </a:cubicBezTo>
                    <a:cubicBezTo>
                      <a:pt x="457454" y="527110"/>
                      <a:pt x="453618" y="530269"/>
                      <a:pt x="450684" y="532525"/>
                    </a:cubicBezTo>
                    <a:cubicBezTo>
                      <a:pt x="444817" y="537264"/>
                      <a:pt x="442787" y="538843"/>
                      <a:pt x="442787" y="544258"/>
                    </a:cubicBezTo>
                    <a:cubicBezTo>
                      <a:pt x="442787" y="546741"/>
                      <a:pt x="442561" y="549900"/>
                      <a:pt x="442335" y="553510"/>
                    </a:cubicBezTo>
                    <a:cubicBezTo>
                      <a:pt x="441433" y="564341"/>
                      <a:pt x="440305" y="580813"/>
                      <a:pt x="444140" y="595254"/>
                    </a:cubicBezTo>
                    <a:cubicBezTo>
                      <a:pt x="446623" y="604731"/>
                      <a:pt x="449782" y="612404"/>
                      <a:pt x="452489" y="619173"/>
                    </a:cubicBezTo>
                    <a:cubicBezTo>
                      <a:pt x="455423" y="626394"/>
                      <a:pt x="458131" y="632712"/>
                      <a:pt x="459033" y="639481"/>
                    </a:cubicBezTo>
                    <a:cubicBezTo>
                      <a:pt x="459936" y="645574"/>
                      <a:pt x="457905" y="651215"/>
                      <a:pt x="455648" y="657307"/>
                    </a:cubicBezTo>
                    <a:cubicBezTo>
                      <a:pt x="453166" y="664528"/>
                      <a:pt x="450459" y="671974"/>
                      <a:pt x="452038" y="681451"/>
                    </a:cubicBezTo>
                    <a:cubicBezTo>
                      <a:pt x="453392" y="688898"/>
                      <a:pt x="453392" y="695216"/>
                      <a:pt x="453618" y="700857"/>
                    </a:cubicBezTo>
                    <a:cubicBezTo>
                      <a:pt x="453843" y="708754"/>
                      <a:pt x="453843" y="714395"/>
                      <a:pt x="457228" y="717555"/>
                    </a:cubicBezTo>
                    <a:cubicBezTo>
                      <a:pt x="463997" y="724324"/>
                      <a:pt x="468510" y="745986"/>
                      <a:pt x="467833" y="756592"/>
                    </a:cubicBezTo>
                    <a:cubicBezTo>
                      <a:pt x="466705" y="773289"/>
                      <a:pt x="468510" y="787054"/>
                      <a:pt x="473023" y="796305"/>
                    </a:cubicBezTo>
                    <a:lnTo>
                      <a:pt x="474377" y="799013"/>
                    </a:lnTo>
                    <a:lnTo>
                      <a:pt x="471218" y="798787"/>
                    </a:lnTo>
                    <a:cubicBezTo>
                      <a:pt x="462418" y="798562"/>
                      <a:pt x="456777" y="793598"/>
                      <a:pt x="452264" y="789762"/>
                    </a:cubicBezTo>
                    <a:cubicBezTo>
                      <a:pt x="449330" y="787279"/>
                      <a:pt x="446848" y="785248"/>
                      <a:pt x="444817" y="785474"/>
                    </a:cubicBezTo>
                    <a:cubicBezTo>
                      <a:pt x="442787" y="785700"/>
                      <a:pt x="442110" y="785700"/>
                      <a:pt x="441658" y="785925"/>
                    </a:cubicBezTo>
                    <a:cubicBezTo>
                      <a:pt x="441658" y="785925"/>
                      <a:pt x="441658" y="786151"/>
                      <a:pt x="441658" y="786377"/>
                    </a:cubicBezTo>
                    <a:cubicBezTo>
                      <a:pt x="441658" y="787730"/>
                      <a:pt x="441658" y="789987"/>
                      <a:pt x="438725" y="792695"/>
                    </a:cubicBezTo>
                    <a:cubicBezTo>
                      <a:pt x="437371" y="793823"/>
                      <a:pt x="435791" y="795854"/>
                      <a:pt x="434212" y="797885"/>
                    </a:cubicBezTo>
                    <a:cubicBezTo>
                      <a:pt x="429699" y="803752"/>
                      <a:pt x="424058" y="810972"/>
                      <a:pt x="415032" y="812326"/>
                    </a:cubicBezTo>
                    <a:cubicBezTo>
                      <a:pt x="410294" y="813229"/>
                      <a:pt x="405555" y="814357"/>
                      <a:pt x="401493" y="815485"/>
                    </a:cubicBezTo>
                    <a:cubicBezTo>
                      <a:pt x="396078" y="817065"/>
                      <a:pt x="391339" y="818193"/>
                      <a:pt x="387729" y="817967"/>
                    </a:cubicBezTo>
                    <a:cubicBezTo>
                      <a:pt x="386375" y="817967"/>
                      <a:pt x="385021" y="817967"/>
                      <a:pt x="383667" y="817967"/>
                    </a:cubicBezTo>
                    <a:cubicBezTo>
                      <a:pt x="379154" y="818193"/>
                      <a:pt x="374190" y="818418"/>
                      <a:pt x="370805" y="812777"/>
                    </a:cubicBezTo>
                    <a:cubicBezTo>
                      <a:pt x="369000" y="810070"/>
                      <a:pt x="364939" y="810521"/>
                      <a:pt x="363810" y="810746"/>
                    </a:cubicBezTo>
                    <a:cubicBezTo>
                      <a:pt x="360426" y="811423"/>
                      <a:pt x="357718" y="813454"/>
                      <a:pt x="357267" y="815485"/>
                    </a:cubicBezTo>
                    <a:cubicBezTo>
                      <a:pt x="357041" y="817516"/>
                      <a:pt x="357267" y="819095"/>
                      <a:pt x="357492" y="820675"/>
                    </a:cubicBezTo>
                    <a:cubicBezTo>
                      <a:pt x="357944" y="823157"/>
                      <a:pt x="358395" y="825865"/>
                      <a:pt x="355913" y="829024"/>
                    </a:cubicBezTo>
                    <a:cubicBezTo>
                      <a:pt x="352528" y="833537"/>
                      <a:pt x="344856" y="838275"/>
                      <a:pt x="334251" y="838275"/>
                    </a:cubicBezTo>
                    <a:cubicBezTo>
                      <a:pt x="330189" y="838275"/>
                      <a:pt x="328158" y="840306"/>
                      <a:pt x="325676" y="843014"/>
                    </a:cubicBezTo>
                    <a:cubicBezTo>
                      <a:pt x="322968" y="845947"/>
                      <a:pt x="320035" y="849332"/>
                      <a:pt x="313717" y="850460"/>
                    </a:cubicBezTo>
                    <a:cubicBezTo>
                      <a:pt x="307173" y="851588"/>
                      <a:pt x="303337" y="848881"/>
                      <a:pt x="300630" y="847076"/>
                    </a:cubicBezTo>
                    <a:cubicBezTo>
                      <a:pt x="298147" y="845270"/>
                      <a:pt x="296793" y="844593"/>
                      <a:pt x="294537" y="845722"/>
                    </a:cubicBezTo>
                    <a:cubicBezTo>
                      <a:pt x="286639" y="849332"/>
                      <a:pt x="283255" y="847076"/>
                      <a:pt x="278290" y="842563"/>
                    </a:cubicBezTo>
                    <a:cubicBezTo>
                      <a:pt x="275357" y="840081"/>
                      <a:pt x="262270" y="846399"/>
                      <a:pt x="256854" y="849106"/>
                    </a:cubicBezTo>
                    <a:cubicBezTo>
                      <a:pt x="254823" y="850009"/>
                      <a:pt x="253244" y="850911"/>
                      <a:pt x="252116" y="851363"/>
                    </a:cubicBezTo>
                    <a:cubicBezTo>
                      <a:pt x="250085" y="852265"/>
                      <a:pt x="249408" y="855424"/>
                      <a:pt x="248731" y="859035"/>
                    </a:cubicBezTo>
                    <a:cubicBezTo>
                      <a:pt x="248054" y="862871"/>
                      <a:pt x="247151" y="866932"/>
                      <a:pt x="244218" y="869415"/>
                    </a:cubicBezTo>
                    <a:cubicBezTo>
                      <a:pt x="242187" y="870994"/>
                      <a:pt x="241736" y="873476"/>
                      <a:pt x="241059" y="876635"/>
                    </a:cubicBezTo>
                    <a:cubicBezTo>
                      <a:pt x="240156" y="880471"/>
                      <a:pt x="239028" y="885210"/>
                      <a:pt x="235192" y="889723"/>
                    </a:cubicBezTo>
                    <a:cubicBezTo>
                      <a:pt x="232484" y="892656"/>
                      <a:pt x="230679" y="896041"/>
                      <a:pt x="229100" y="898748"/>
                    </a:cubicBezTo>
                    <a:cubicBezTo>
                      <a:pt x="226843" y="902359"/>
                      <a:pt x="224587" y="906421"/>
                      <a:pt x="220074" y="906421"/>
                    </a:cubicBezTo>
                    <a:close/>
                    <a:moveTo>
                      <a:pt x="196607" y="884533"/>
                    </a:moveTo>
                    <a:cubicBezTo>
                      <a:pt x="199766" y="891302"/>
                      <a:pt x="204730" y="895364"/>
                      <a:pt x="205407" y="895815"/>
                    </a:cubicBezTo>
                    <a:cubicBezTo>
                      <a:pt x="207889" y="897846"/>
                      <a:pt x="215110" y="902359"/>
                      <a:pt x="220299" y="902359"/>
                    </a:cubicBezTo>
                    <a:cubicBezTo>
                      <a:pt x="222556" y="902359"/>
                      <a:pt x="223910" y="899877"/>
                      <a:pt x="226392" y="895815"/>
                    </a:cubicBezTo>
                    <a:cubicBezTo>
                      <a:pt x="227971" y="892882"/>
                      <a:pt x="230002" y="889497"/>
                      <a:pt x="232936" y="886112"/>
                    </a:cubicBezTo>
                    <a:cubicBezTo>
                      <a:pt x="236320" y="882276"/>
                      <a:pt x="237223" y="878440"/>
                      <a:pt x="238126" y="874604"/>
                    </a:cubicBezTo>
                    <a:cubicBezTo>
                      <a:pt x="239028" y="870994"/>
                      <a:pt x="239705" y="867609"/>
                      <a:pt x="242638" y="865127"/>
                    </a:cubicBezTo>
                    <a:cubicBezTo>
                      <a:pt x="244669" y="863548"/>
                      <a:pt x="245346" y="860163"/>
                      <a:pt x="246023" y="856778"/>
                    </a:cubicBezTo>
                    <a:cubicBezTo>
                      <a:pt x="246926" y="852491"/>
                      <a:pt x="247828" y="847978"/>
                      <a:pt x="251664" y="846399"/>
                    </a:cubicBezTo>
                    <a:cubicBezTo>
                      <a:pt x="252793" y="845947"/>
                      <a:pt x="254372" y="845270"/>
                      <a:pt x="256177" y="844368"/>
                    </a:cubicBezTo>
                    <a:cubicBezTo>
                      <a:pt x="267234" y="838952"/>
                      <a:pt x="277388" y="834439"/>
                      <a:pt x="281901" y="838275"/>
                    </a:cubicBezTo>
                    <a:cubicBezTo>
                      <a:pt x="286414" y="842337"/>
                      <a:pt x="287768" y="843691"/>
                      <a:pt x="293860" y="840757"/>
                    </a:cubicBezTo>
                    <a:cubicBezTo>
                      <a:pt x="298147" y="838727"/>
                      <a:pt x="301081" y="840757"/>
                      <a:pt x="303789" y="842563"/>
                    </a:cubicBezTo>
                    <a:cubicBezTo>
                      <a:pt x="306496" y="844368"/>
                      <a:pt x="308978" y="846173"/>
                      <a:pt x="314168" y="845270"/>
                    </a:cubicBezTo>
                    <a:cubicBezTo>
                      <a:pt x="319132" y="844368"/>
                      <a:pt x="321389" y="841886"/>
                      <a:pt x="323871" y="839178"/>
                    </a:cubicBezTo>
                    <a:cubicBezTo>
                      <a:pt x="326579" y="836245"/>
                      <a:pt x="329287" y="833086"/>
                      <a:pt x="335153" y="833086"/>
                    </a:cubicBezTo>
                    <a:cubicBezTo>
                      <a:pt x="344631" y="833086"/>
                      <a:pt x="350949" y="829024"/>
                      <a:pt x="353882" y="825413"/>
                    </a:cubicBezTo>
                    <a:cubicBezTo>
                      <a:pt x="355236" y="823608"/>
                      <a:pt x="355010" y="822254"/>
                      <a:pt x="354785" y="819998"/>
                    </a:cubicBezTo>
                    <a:cubicBezTo>
                      <a:pt x="354559" y="818193"/>
                      <a:pt x="354108" y="816162"/>
                      <a:pt x="354559" y="813680"/>
                    </a:cubicBezTo>
                    <a:cubicBezTo>
                      <a:pt x="355236" y="809618"/>
                      <a:pt x="359974" y="806685"/>
                      <a:pt x="364036" y="806008"/>
                    </a:cubicBezTo>
                    <a:cubicBezTo>
                      <a:pt x="368775" y="805105"/>
                      <a:pt x="372836" y="806459"/>
                      <a:pt x="374867" y="809844"/>
                    </a:cubicBezTo>
                    <a:cubicBezTo>
                      <a:pt x="376898" y="813229"/>
                      <a:pt x="379831" y="813454"/>
                      <a:pt x="384344" y="813229"/>
                    </a:cubicBezTo>
                    <a:cubicBezTo>
                      <a:pt x="385924" y="813229"/>
                      <a:pt x="387278" y="813003"/>
                      <a:pt x="388857" y="813229"/>
                    </a:cubicBezTo>
                    <a:cubicBezTo>
                      <a:pt x="391791" y="813454"/>
                      <a:pt x="396078" y="812326"/>
                      <a:pt x="401268" y="810746"/>
                    </a:cubicBezTo>
                    <a:cubicBezTo>
                      <a:pt x="405329" y="809618"/>
                      <a:pt x="410068" y="808264"/>
                      <a:pt x="415258" y="807587"/>
                    </a:cubicBezTo>
                    <a:cubicBezTo>
                      <a:pt x="422704" y="806459"/>
                      <a:pt x="427894" y="799690"/>
                      <a:pt x="431956" y="794500"/>
                    </a:cubicBezTo>
                    <a:cubicBezTo>
                      <a:pt x="433761" y="792244"/>
                      <a:pt x="435340" y="790213"/>
                      <a:pt x="436920" y="788859"/>
                    </a:cubicBezTo>
                    <a:cubicBezTo>
                      <a:pt x="438499" y="787279"/>
                      <a:pt x="438499" y="786377"/>
                      <a:pt x="438499" y="785474"/>
                    </a:cubicBezTo>
                    <a:cubicBezTo>
                      <a:pt x="438499" y="781864"/>
                      <a:pt x="440756" y="781187"/>
                      <a:pt x="445043" y="780961"/>
                    </a:cubicBezTo>
                    <a:cubicBezTo>
                      <a:pt x="448653" y="780736"/>
                      <a:pt x="451587" y="783218"/>
                      <a:pt x="455197" y="786151"/>
                    </a:cubicBezTo>
                    <a:cubicBezTo>
                      <a:pt x="458807" y="789310"/>
                      <a:pt x="462869" y="792695"/>
                      <a:pt x="468736" y="793823"/>
                    </a:cubicBezTo>
                    <a:cubicBezTo>
                      <a:pt x="463997" y="781638"/>
                      <a:pt x="463772" y="766294"/>
                      <a:pt x="464449" y="755238"/>
                    </a:cubicBezTo>
                    <a:cubicBezTo>
                      <a:pt x="465126" y="745760"/>
                      <a:pt x="460838" y="725001"/>
                      <a:pt x="454971" y="719134"/>
                    </a:cubicBezTo>
                    <a:cubicBezTo>
                      <a:pt x="450684" y="714847"/>
                      <a:pt x="450459" y="708303"/>
                      <a:pt x="450233" y="699954"/>
                    </a:cubicBezTo>
                    <a:cubicBezTo>
                      <a:pt x="450007" y="694539"/>
                      <a:pt x="450007" y="688221"/>
                      <a:pt x="448653" y="681225"/>
                    </a:cubicBezTo>
                    <a:cubicBezTo>
                      <a:pt x="446848" y="670620"/>
                      <a:pt x="449782" y="662497"/>
                      <a:pt x="452489" y="655051"/>
                    </a:cubicBezTo>
                    <a:cubicBezTo>
                      <a:pt x="454520" y="649184"/>
                      <a:pt x="456325" y="644220"/>
                      <a:pt x="455648" y="639030"/>
                    </a:cubicBezTo>
                    <a:cubicBezTo>
                      <a:pt x="454746" y="632937"/>
                      <a:pt x="452264" y="626845"/>
                      <a:pt x="449330" y="619624"/>
                    </a:cubicBezTo>
                    <a:cubicBezTo>
                      <a:pt x="446397" y="612629"/>
                      <a:pt x="443238" y="604957"/>
                      <a:pt x="440756" y="595254"/>
                    </a:cubicBezTo>
                    <a:cubicBezTo>
                      <a:pt x="436920" y="580362"/>
                      <a:pt x="438048" y="563439"/>
                      <a:pt x="438951" y="552382"/>
                    </a:cubicBezTo>
                    <a:cubicBezTo>
                      <a:pt x="439176" y="548771"/>
                      <a:pt x="439402" y="545612"/>
                      <a:pt x="439402" y="543356"/>
                    </a:cubicBezTo>
                    <a:cubicBezTo>
                      <a:pt x="439402" y="536135"/>
                      <a:pt x="442561" y="533653"/>
                      <a:pt x="448653" y="528689"/>
                    </a:cubicBezTo>
                    <a:cubicBezTo>
                      <a:pt x="451587" y="526207"/>
                      <a:pt x="455197" y="523273"/>
                      <a:pt x="459936" y="518986"/>
                    </a:cubicBezTo>
                    <a:cubicBezTo>
                      <a:pt x="468510" y="510863"/>
                      <a:pt x="468962" y="505447"/>
                      <a:pt x="469864" y="499355"/>
                    </a:cubicBezTo>
                    <a:cubicBezTo>
                      <a:pt x="470315" y="495293"/>
                      <a:pt x="470767" y="491232"/>
                      <a:pt x="473474" y="486267"/>
                    </a:cubicBezTo>
                    <a:cubicBezTo>
                      <a:pt x="480018" y="473406"/>
                      <a:pt x="511157" y="456934"/>
                      <a:pt x="525373" y="456934"/>
                    </a:cubicBezTo>
                    <a:cubicBezTo>
                      <a:pt x="535527" y="456934"/>
                      <a:pt x="539137" y="463252"/>
                      <a:pt x="541168" y="467313"/>
                    </a:cubicBezTo>
                    <a:cubicBezTo>
                      <a:pt x="541620" y="468216"/>
                      <a:pt x="542297" y="469344"/>
                      <a:pt x="542748" y="469570"/>
                    </a:cubicBezTo>
                    <a:cubicBezTo>
                      <a:pt x="542973" y="469570"/>
                      <a:pt x="543425" y="469795"/>
                      <a:pt x="543876" y="469795"/>
                    </a:cubicBezTo>
                    <a:cubicBezTo>
                      <a:pt x="547938" y="470698"/>
                      <a:pt x="560123" y="473631"/>
                      <a:pt x="563959" y="468441"/>
                    </a:cubicBezTo>
                    <a:cubicBezTo>
                      <a:pt x="568923" y="461672"/>
                      <a:pt x="570502" y="458964"/>
                      <a:pt x="570502" y="450841"/>
                    </a:cubicBezTo>
                    <a:cubicBezTo>
                      <a:pt x="570502" y="444523"/>
                      <a:pt x="572533" y="442492"/>
                      <a:pt x="577949" y="437077"/>
                    </a:cubicBezTo>
                    <a:cubicBezTo>
                      <a:pt x="581108" y="434143"/>
                      <a:pt x="585169" y="430082"/>
                      <a:pt x="591036" y="423312"/>
                    </a:cubicBezTo>
                    <a:cubicBezTo>
                      <a:pt x="600964" y="411804"/>
                      <a:pt x="601190" y="409773"/>
                      <a:pt x="601416" y="407743"/>
                    </a:cubicBezTo>
                    <a:cubicBezTo>
                      <a:pt x="601641" y="406163"/>
                      <a:pt x="601641" y="404358"/>
                      <a:pt x="603898" y="400296"/>
                    </a:cubicBezTo>
                    <a:cubicBezTo>
                      <a:pt x="608862" y="391496"/>
                      <a:pt x="615857" y="390594"/>
                      <a:pt x="623304" y="389465"/>
                    </a:cubicBezTo>
                    <a:cubicBezTo>
                      <a:pt x="625109" y="389240"/>
                      <a:pt x="626914" y="389014"/>
                      <a:pt x="628945" y="388563"/>
                    </a:cubicBezTo>
                    <a:cubicBezTo>
                      <a:pt x="632329" y="387886"/>
                      <a:pt x="637068" y="387886"/>
                      <a:pt x="642483" y="387886"/>
                    </a:cubicBezTo>
                    <a:cubicBezTo>
                      <a:pt x="653991" y="387886"/>
                      <a:pt x="667981" y="387660"/>
                      <a:pt x="674525" y="382019"/>
                    </a:cubicBezTo>
                    <a:cubicBezTo>
                      <a:pt x="679715" y="377506"/>
                      <a:pt x="687838" y="375475"/>
                      <a:pt x="696413" y="373219"/>
                    </a:cubicBezTo>
                    <a:cubicBezTo>
                      <a:pt x="704987" y="370962"/>
                      <a:pt x="714013" y="368706"/>
                      <a:pt x="719654" y="363742"/>
                    </a:cubicBezTo>
                    <a:cubicBezTo>
                      <a:pt x="726198" y="357875"/>
                      <a:pt x="732065" y="350428"/>
                      <a:pt x="735675" y="345239"/>
                    </a:cubicBezTo>
                    <a:cubicBezTo>
                      <a:pt x="733645" y="346367"/>
                      <a:pt x="731162" y="347495"/>
                      <a:pt x="727326" y="348398"/>
                    </a:cubicBezTo>
                    <a:cubicBezTo>
                      <a:pt x="722588" y="349526"/>
                      <a:pt x="719880" y="348172"/>
                      <a:pt x="718526" y="346592"/>
                    </a:cubicBezTo>
                    <a:cubicBezTo>
                      <a:pt x="716044" y="344110"/>
                      <a:pt x="716044" y="340500"/>
                      <a:pt x="716721" y="338018"/>
                    </a:cubicBezTo>
                    <a:cubicBezTo>
                      <a:pt x="717849" y="333279"/>
                      <a:pt x="725521" y="334633"/>
                      <a:pt x="730711" y="335762"/>
                    </a:cubicBezTo>
                    <a:cubicBezTo>
                      <a:pt x="731614" y="335987"/>
                      <a:pt x="732291" y="335987"/>
                      <a:pt x="732967" y="336213"/>
                    </a:cubicBezTo>
                    <a:cubicBezTo>
                      <a:pt x="735450" y="336664"/>
                      <a:pt x="739511" y="334182"/>
                      <a:pt x="742896" y="328315"/>
                    </a:cubicBezTo>
                    <a:cubicBezTo>
                      <a:pt x="744927" y="324930"/>
                      <a:pt x="745604" y="317935"/>
                      <a:pt x="745378" y="313874"/>
                    </a:cubicBezTo>
                    <a:cubicBezTo>
                      <a:pt x="741993" y="320418"/>
                      <a:pt x="738157" y="320643"/>
                      <a:pt x="736578" y="320418"/>
                    </a:cubicBezTo>
                    <a:cubicBezTo>
                      <a:pt x="733419" y="319966"/>
                      <a:pt x="731162" y="316807"/>
                      <a:pt x="730485" y="312520"/>
                    </a:cubicBezTo>
                    <a:cubicBezTo>
                      <a:pt x="729583" y="304848"/>
                      <a:pt x="732967" y="294694"/>
                      <a:pt x="739737" y="285217"/>
                    </a:cubicBezTo>
                    <a:cubicBezTo>
                      <a:pt x="743799" y="279576"/>
                      <a:pt x="755758" y="272129"/>
                      <a:pt x="765235" y="266262"/>
                    </a:cubicBezTo>
                    <a:cubicBezTo>
                      <a:pt x="769748" y="263329"/>
                      <a:pt x="774035" y="260847"/>
                      <a:pt x="775389" y="259493"/>
                    </a:cubicBezTo>
                    <a:cubicBezTo>
                      <a:pt x="777194" y="257688"/>
                      <a:pt x="781030" y="256108"/>
                      <a:pt x="786446" y="253852"/>
                    </a:cubicBezTo>
                    <a:cubicBezTo>
                      <a:pt x="794118" y="250693"/>
                      <a:pt x="803820" y="246631"/>
                      <a:pt x="807656" y="241667"/>
                    </a:cubicBezTo>
                    <a:cubicBezTo>
                      <a:pt x="813523" y="234221"/>
                      <a:pt x="833831" y="222487"/>
                      <a:pt x="845791" y="215266"/>
                    </a:cubicBezTo>
                    <a:cubicBezTo>
                      <a:pt x="848047" y="213913"/>
                      <a:pt x="849852" y="212784"/>
                      <a:pt x="851432" y="212107"/>
                    </a:cubicBezTo>
                    <a:cubicBezTo>
                      <a:pt x="857975" y="208046"/>
                      <a:pt x="861134" y="202179"/>
                      <a:pt x="865196" y="194507"/>
                    </a:cubicBezTo>
                    <a:cubicBezTo>
                      <a:pt x="866550" y="192025"/>
                      <a:pt x="867904" y="189317"/>
                      <a:pt x="869483" y="186609"/>
                    </a:cubicBezTo>
                    <a:cubicBezTo>
                      <a:pt x="873545" y="179614"/>
                      <a:pt x="879412" y="174650"/>
                      <a:pt x="885504" y="169460"/>
                    </a:cubicBezTo>
                    <a:cubicBezTo>
                      <a:pt x="889792" y="165850"/>
                      <a:pt x="894304" y="162014"/>
                      <a:pt x="898817" y="157275"/>
                    </a:cubicBezTo>
                    <a:cubicBezTo>
                      <a:pt x="910551" y="144639"/>
                      <a:pt x="944172" y="128393"/>
                      <a:pt x="959742" y="122977"/>
                    </a:cubicBezTo>
                    <a:cubicBezTo>
                      <a:pt x="970798" y="119141"/>
                      <a:pt x="971927" y="115079"/>
                      <a:pt x="974409" y="107182"/>
                    </a:cubicBezTo>
                    <a:cubicBezTo>
                      <a:pt x="975086" y="104474"/>
                      <a:pt x="975988" y="101315"/>
                      <a:pt x="977568" y="97705"/>
                    </a:cubicBezTo>
                    <a:cubicBezTo>
                      <a:pt x="980953" y="89130"/>
                      <a:pt x="989527" y="80104"/>
                      <a:pt x="997650" y="71530"/>
                    </a:cubicBezTo>
                    <a:cubicBezTo>
                      <a:pt x="1003517" y="65437"/>
                      <a:pt x="1008933" y="59571"/>
                      <a:pt x="1012543" y="54155"/>
                    </a:cubicBezTo>
                    <a:cubicBezTo>
                      <a:pt x="1015928" y="48965"/>
                      <a:pt x="1021795" y="42196"/>
                      <a:pt x="1028113" y="34975"/>
                    </a:cubicBezTo>
                    <a:cubicBezTo>
                      <a:pt x="1037364" y="24596"/>
                      <a:pt x="1047744" y="12636"/>
                      <a:pt x="1047970" y="7672"/>
                    </a:cubicBezTo>
                    <a:cubicBezTo>
                      <a:pt x="1047970" y="6093"/>
                      <a:pt x="1048195" y="4739"/>
                      <a:pt x="1048421" y="3610"/>
                    </a:cubicBezTo>
                    <a:cubicBezTo>
                      <a:pt x="1024051" y="5415"/>
                      <a:pt x="1013897" y="23919"/>
                      <a:pt x="1006676" y="37683"/>
                    </a:cubicBezTo>
                    <a:cubicBezTo>
                      <a:pt x="1005097" y="40616"/>
                      <a:pt x="1003743" y="43324"/>
                      <a:pt x="1002163" y="45581"/>
                    </a:cubicBezTo>
                    <a:lnTo>
                      <a:pt x="1002163" y="45581"/>
                    </a:lnTo>
                    <a:cubicBezTo>
                      <a:pt x="998779" y="50770"/>
                      <a:pt x="999456" y="52350"/>
                      <a:pt x="999456" y="52576"/>
                    </a:cubicBezTo>
                    <a:cubicBezTo>
                      <a:pt x="999681" y="53027"/>
                      <a:pt x="1000358" y="53027"/>
                      <a:pt x="1000584" y="53027"/>
                    </a:cubicBezTo>
                    <a:lnTo>
                      <a:pt x="1002163" y="53252"/>
                    </a:lnTo>
                    <a:lnTo>
                      <a:pt x="1002615" y="56412"/>
                    </a:lnTo>
                    <a:lnTo>
                      <a:pt x="1000584" y="56863"/>
                    </a:lnTo>
                    <a:cubicBezTo>
                      <a:pt x="1000133" y="57088"/>
                      <a:pt x="999230" y="57088"/>
                      <a:pt x="997876" y="57540"/>
                    </a:cubicBezTo>
                    <a:cubicBezTo>
                      <a:pt x="993363" y="58894"/>
                      <a:pt x="989979" y="58668"/>
                      <a:pt x="986142" y="58217"/>
                    </a:cubicBezTo>
                    <a:cubicBezTo>
                      <a:pt x="980953" y="57766"/>
                      <a:pt x="974635" y="57314"/>
                      <a:pt x="961998" y="59796"/>
                    </a:cubicBezTo>
                    <a:cubicBezTo>
                      <a:pt x="941465" y="64084"/>
                      <a:pt x="938757" y="55283"/>
                      <a:pt x="936952" y="48740"/>
                    </a:cubicBezTo>
                    <a:cubicBezTo>
                      <a:pt x="936726" y="47611"/>
                      <a:pt x="936275" y="46483"/>
                      <a:pt x="935823" y="45355"/>
                    </a:cubicBezTo>
                    <a:cubicBezTo>
                      <a:pt x="934695" y="42647"/>
                      <a:pt x="931762" y="41293"/>
                      <a:pt x="928151" y="39488"/>
                    </a:cubicBezTo>
                    <a:cubicBezTo>
                      <a:pt x="924315" y="37457"/>
                      <a:pt x="919803" y="35201"/>
                      <a:pt x="916192" y="30688"/>
                    </a:cubicBezTo>
                    <a:cubicBezTo>
                      <a:pt x="915064" y="29334"/>
                      <a:pt x="914161" y="27980"/>
                      <a:pt x="913033" y="26401"/>
                    </a:cubicBezTo>
                    <a:cubicBezTo>
                      <a:pt x="909423" y="21436"/>
                      <a:pt x="905136" y="15795"/>
                      <a:pt x="902428" y="15795"/>
                    </a:cubicBezTo>
                    <a:cubicBezTo>
                      <a:pt x="901977" y="15795"/>
                      <a:pt x="901525" y="15795"/>
                      <a:pt x="900623" y="16698"/>
                    </a:cubicBezTo>
                    <a:cubicBezTo>
                      <a:pt x="894756" y="23242"/>
                      <a:pt x="886858" y="26175"/>
                      <a:pt x="875350" y="26626"/>
                    </a:cubicBezTo>
                    <a:cubicBezTo>
                      <a:pt x="874222" y="26626"/>
                      <a:pt x="873545" y="26852"/>
                      <a:pt x="873319" y="26852"/>
                    </a:cubicBezTo>
                    <a:cubicBezTo>
                      <a:pt x="873545" y="27529"/>
                      <a:pt x="874673" y="28883"/>
                      <a:pt x="875350" y="29785"/>
                    </a:cubicBezTo>
                    <a:cubicBezTo>
                      <a:pt x="877832" y="33170"/>
                      <a:pt x="881894" y="38360"/>
                      <a:pt x="878961" y="43550"/>
                    </a:cubicBezTo>
                    <a:cubicBezTo>
                      <a:pt x="877832" y="45581"/>
                      <a:pt x="876930" y="47160"/>
                      <a:pt x="876253" y="48740"/>
                    </a:cubicBezTo>
                    <a:cubicBezTo>
                      <a:pt x="873545" y="54155"/>
                      <a:pt x="871514" y="57540"/>
                      <a:pt x="867453" y="61376"/>
                    </a:cubicBezTo>
                    <a:cubicBezTo>
                      <a:pt x="863391" y="64986"/>
                      <a:pt x="860006" y="61601"/>
                      <a:pt x="857750" y="59345"/>
                    </a:cubicBezTo>
                    <a:cubicBezTo>
                      <a:pt x="855493" y="57088"/>
                      <a:pt x="854139" y="55960"/>
                      <a:pt x="852334" y="56637"/>
                    </a:cubicBezTo>
                    <a:cubicBezTo>
                      <a:pt x="846919" y="58668"/>
                      <a:pt x="838344" y="69725"/>
                      <a:pt x="836088" y="75366"/>
                    </a:cubicBezTo>
                    <a:cubicBezTo>
                      <a:pt x="834508" y="78976"/>
                      <a:pt x="832703" y="88228"/>
                      <a:pt x="831349" y="94771"/>
                    </a:cubicBezTo>
                    <a:cubicBezTo>
                      <a:pt x="830672" y="98156"/>
                      <a:pt x="829995" y="100864"/>
                      <a:pt x="829544" y="102669"/>
                    </a:cubicBezTo>
                    <a:cubicBezTo>
                      <a:pt x="828190" y="107859"/>
                      <a:pt x="825934" y="111018"/>
                      <a:pt x="822775" y="112146"/>
                    </a:cubicBezTo>
                    <a:cubicBezTo>
                      <a:pt x="818939" y="113500"/>
                      <a:pt x="814200" y="112146"/>
                      <a:pt x="808333" y="108085"/>
                    </a:cubicBezTo>
                    <a:cubicBezTo>
                      <a:pt x="805174" y="105828"/>
                      <a:pt x="803595" y="105828"/>
                      <a:pt x="803143" y="106054"/>
                    </a:cubicBezTo>
                    <a:cubicBezTo>
                      <a:pt x="802015" y="106505"/>
                      <a:pt x="801113" y="108536"/>
                      <a:pt x="800210" y="110792"/>
                    </a:cubicBezTo>
                    <a:cubicBezTo>
                      <a:pt x="798856" y="114177"/>
                      <a:pt x="797051" y="118916"/>
                      <a:pt x="792087" y="118916"/>
                    </a:cubicBezTo>
                    <a:cubicBezTo>
                      <a:pt x="788928" y="118916"/>
                      <a:pt x="785318" y="120269"/>
                      <a:pt x="781933" y="121398"/>
                    </a:cubicBezTo>
                    <a:cubicBezTo>
                      <a:pt x="776292" y="123428"/>
                      <a:pt x="770425" y="125459"/>
                      <a:pt x="765912" y="121623"/>
                    </a:cubicBezTo>
                    <a:cubicBezTo>
                      <a:pt x="762527" y="118690"/>
                      <a:pt x="762753" y="114628"/>
                      <a:pt x="762978" y="110567"/>
                    </a:cubicBezTo>
                    <a:cubicBezTo>
                      <a:pt x="763204" y="105828"/>
                      <a:pt x="763655" y="101315"/>
                      <a:pt x="758917" y="97705"/>
                    </a:cubicBezTo>
                    <a:cubicBezTo>
                      <a:pt x="756435" y="95900"/>
                      <a:pt x="753953" y="95223"/>
                      <a:pt x="751019" y="95674"/>
                    </a:cubicBezTo>
                    <a:cubicBezTo>
                      <a:pt x="744927" y="96577"/>
                      <a:pt x="738834" y="102218"/>
                      <a:pt x="736127" y="105828"/>
                    </a:cubicBezTo>
                    <a:cubicBezTo>
                      <a:pt x="734321" y="108310"/>
                      <a:pt x="736578" y="120721"/>
                      <a:pt x="737932" y="128844"/>
                    </a:cubicBezTo>
                    <a:cubicBezTo>
                      <a:pt x="739060" y="135162"/>
                      <a:pt x="740188" y="141029"/>
                      <a:pt x="740188" y="144639"/>
                    </a:cubicBezTo>
                    <a:cubicBezTo>
                      <a:pt x="740188" y="148926"/>
                      <a:pt x="737932" y="152763"/>
                      <a:pt x="733870" y="155245"/>
                    </a:cubicBezTo>
                    <a:cubicBezTo>
                      <a:pt x="728229" y="158855"/>
                      <a:pt x="720331" y="159081"/>
                      <a:pt x="714013" y="155696"/>
                    </a:cubicBezTo>
                    <a:cubicBezTo>
                      <a:pt x="710403" y="153891"/>
                      <a:pt x="708823" y="155470"/>
                      <a:pt x="705664" y="159532"/>
                    </a:cubicBezTo>
                    <a:cubicBezTo>
                      <a:pt x="702505" y="163368"/>
                      <a:pt x="698444" y="168783"/>
                      <a:pt x="690095" y="169009"/>
                    </a:cubicBezTo>
                    <a:lnTo>
                      <a:pt x="686936" y="169009"/>
                    </a:lnTo>
                    <a:cubicBezTo>
                      <a:pt x="674976" y="169460"/>
                      <a:pt x="674525" y="169460"/>
                      <a:pt x="667756" y="174650"/>
                    </a:cubicBezTo>
                    <a:cubicBezTo>
                      <a:pt x="657827" y="182096"/>
                      <a:pt x="643160" y="187512"/>
                      <a:pt x="627365" y="189092"/>
                    </a:cubicBezTo>
                    <a:cubicBezTo>
                      <a:pt x="622626" y="189543"/>
                      <a:pt x="619242" y="189994"/>
                      <a:pt x="616308" y="190445"/>
                    </a:cubicBezTo>
                    <a:cubicBezTo>
                      <a:pt x="608411" y="191573"/>
                      <a:pt x="605026" y="192025"/>
                      <a:pt x="594421" y="190445"/>
                    </a:cubicBezTo>
                    <a:cubicBezTo>
                      <a:pt x="582687" y="188866"/>
                      <a:pt x="580656" y="192702"/>
                      <a:pt x="578851" y="195861"/>
                    </a:cubicBezTo>
                    <a:lnTo>
                      <a:pt x="578400" y="196538"/>
                    </a:lnTo>
                    <a:cubicBezTo>
                      <a:pt x="577272" y="198343"/>
                      <a:pt x="574564" y="199246"/>
                      <a:pt x="568246" y="199697"/>
                    </a:cubicBezTo>
                    <a:cubicBezTo>
                      <a:pt x="566666" y="203758"/>
                      <a:pt x="563959" y="206917"/>
                      <a:pt x="561251" y="207820"/>
                    </a:cubicBezTo>
                    <a:cubicBezTo>
                      <a:pt x="559897" y="208271"/>
                      <a:pt x="558317" y="208271"/>
                      <a:pt x="556512" y="208271"/>
                    </a:cubicBezTo>
                    <a:cubicBezTo>
                      <a:pt x="553353" y="208271"/>
                      <a:pt x="549969" y="208497"/>
                      <a:pt x="548163" y="210528"/>
                    </a:cubicBezTo>
                    <a:cubicBezTo>
                      <a:pt x="547035" y="211882"/>
                      <a:pt x="546358" y="213913"/>
                      <a:pt x="546584" y="216846"/>
                    </a:cubicBezTo>
                    <a:cubicBezTo>
                      <a:pt x="546809" y="222713"/>
                      <a:pt x="548615" y="223164"/>
                      <a:pt x="551097" y="224067"/>
                    </a:cubicBezTo>
                    <a:cubicBezTo>
                      <a:pt x="553579" y="224969"/>
                      <a:pt x="556964" y="226097"/>
                      <a:pt x="558317" y="231964"/>
                    </a:cubicBezTo>
                    <a:cubicBezTo>
                      <a:pt x="559446" y="236477"/>
                      <a:pt x="560574" y="236928"/>
                      <a:pt x="563959" y="237831"/>
                    </a:cubicBezTo>
                    <a:cubicBezTo>
                      <a:pt x="566892" y="238508"/>
                      <a:pt x="570954" y="239636"/>
                      <a:pt x="576143" y="244149"/>
                    </a:cubicBezTo>
                    <a:cubicBezTo>
                      <a:pt x="580656" y="247985"/>
                      <a:pt x="583364" y="248436"/>
                      <a:pt x="586297" y="248888"/>
                    </a:cubicBezTo>
                    <a:cubicBezTo>
                      <a:pt x="589908" y="249565"/>
                      <a:pt x="593518" y="250016"/>
                      <a:pt x="597805" y="257914"/>
                    </a:cubicBezTo>
                    <a:cubicBezTo>
                      <a:pt x="603447" y="267842"/>
                      <a:pt x="603447" y="270098"/>
                      <a:pt x="597580" y="274160"/>
                    </a:cubicBezTo>
                    <a:cubicBezTo>
                      <a:pt x="596452" y="275063"/>
                      <a:pt x="595098" y="275965"/>
                      <a:pt x="593518" y="277319"/>
                    </a:cubicBezTo>
                    <a:cubicBezTo>
                      <a:pt x="591713" y="278899"/>
                      <a:pt x="590585" y="280027"/>
                      <a:pt x="589682" y="280930"/>
                    </a:cubicBezTo>
                    <a:cubicBezTo>
                      <a:pt x="586749" y="283863"/>
                      <a:pt x="586297" y="284314"/>
                      <a:pt x="574564" y="288601"/>
                    </a:cubicBezTo>
                    <a:cubicBezTo>
                      <a:pt x="568246" y="290858"/>
                      <a:pt x="562830" y="291760"/>
                      <a:pt x="558543" y="292663"/>
                    </a:cubicBezTo>
                    <a:cubicBezTo>
                      <a:pt x="551774" y="293791"/>
                      <a:pt x="548389" y="294694"/>
                      <a:pt x="546358" y="298078"/>
                    </a:cubicBezTo>
                    <a:lnTo>
                      <a:pt x="545456" y="299884"/>
                    </a:lnTo>
                    <a:cubicBezTo>
                      <a:pt x="541620" y="306879"/>
                      <a:pt x="539814" y="308910"/>
                      <a:pt x="526501" y="308910"/>
                    </a:cubicBezTo>
                    <a:cubicBezTo>
                      <a:pt x="515670" y="308910"/>
                      <a:pt x="515445" y="308910"/>
                      <a:pt x="513414" y="307330"/>
                    </a:cubicBezTo>
                    <a:cubicBezTo>
                      <a:pt x="512737" y="306879"/>
                      <a:pt x="512060" y="306202"/>
                      <a:pt x="510706" y="305525"/>
                    </a:cubicBezTo>
                    <a:cubicBezTo>
                      <a:pt x="505516" y="302817"/>
                      <a:pt x="495137" y="304397"/>
                      <a:pt x="494234" y="305976"/>
                    </a:cubicBezTo>
                    <a:cubicBezTo>
                      <a:pt x="494234" y="306202"/>
                      <a:pt x="495137" y="307330"/>
                      <a:pt x="495588" y="308007"/>
                    </a:cubicBezTo>
                    <a:cubicBezTo>
                      <a:pt x="496490" y="309361"/>
                      <a:pt x="497619" y="310940"/>
                      <a:pt x="496942" y="312746"/>
                    </a:cubicBezTo>
                    <a:cubicBezTo>
                      <a:pt x="496039" y="314325"/>
                      <a:pt x="493783" y="314776"/>
                      <a:pt x="491526" y="314776"/>
                    </a:cubicBezTo>
                    <a:cubicBezTo>
                      <a:pt x="483403" y="314776"/>
                      <a:pt x="482500" y="315228"/>
                      <a:pt x="482500" y="320418"/>
                    </a:cubicBezTo>
                    <a:cubicBezTo>
                      <a:pt x="482500" y="322223"/>
                      <a:pt x="484531" y="322900"/>
                      <a:pt x="489495" y="324479"/>
                    </a:cubicBezTo>
                    <a:cubicBezTo>
                      <a:pt x="494911" y="326284"/>
                      <a:pt x="501906" y="328315"/>
                      <a:pt x="506193" y="334859"/>
                    </a:cubicBezTo>
                    <a:cubicBezTo>
                      <a:pt x="509803" y="340274"/>
                      <a:pt x="510255" y="345916"/>
                      <a:pt x="506870" y="349300"/>
                    </a:cubicBezTo>
                    <a:cubicBezTo>
                      <a:pt x="503711" y="352911"/>
                      <a:pt x="497844" y="353587"/>
                      <a:pt x="492880" y="351105"/>
                    </a:cubicBezTo>
                    <a:cubicBezTo>
                      <a:pt x="490624" y="349977"/>
                      <a:pt x="487916" y="348849"/>
                      <a:pt x="485434" y="347721"/>
                    </a:cubicBezTo>
                    <a:cubicBezTo>
                      <a:pt x="478890" y="345013"/>
                      <a:pt x="472121" y="342080"/>
                      <a:pt x="468736" y="337341"/>
                    </a:cubicBezTo>
                    <a:cubicBezTo>
                      <a:pt x="467608" y="335987"/>
                      <a:pt x="466705" y="333956"/>
                      <a:pt x="465577" y="331474"/>
                    </a:cubicBezTo>
                    <a:cubicBezTo>
                      <a:pt x="462869" y="326284"/>
                      <a:pt x="459484" y="319289"/>
                      <a:pt x="455197" y="317935"/>
                    </a:cubicBezTo>
                    <a:cubicBezTo>
                      <a:pt x="453843" y="317484"/>
                      <a:pt x="452264" y="317710"/>
                      <a:pt x="450684" y="318612"/>
                    </a:cubicBezTo>
                    <a:cubicBezTo>
                      <a:pt x="439402" y="324479"/>
                      <a:pt x="435340" y="327638"/>
                      <a:pt x="438048" y="335536"/>
                    </a:cubicBezTo>
                    <a:cubicBezTo>
                      <a:pt x="441658" y="346141"/>
                      <a:pt x="436920" y="360808"/>
                      <a:pt x="430827" y="363290"/>
                    </a:cubicBezTo>
                    <a:cubicBezTo>
                      <a:pt x="428345" y="364193"/>
                      <a:pt x="426089" y="363516"/>
                      <a:pt x="423155" y="362613"/>
                    </a:cubicBezTo>
                    <a:cubicBezTo>
                      <a:pt x="419094" y="361259"/>
                      <a:pt x="413001" y="359454"/>
                      <a:pt x="401719" y="360583"/>
                    </a:cubicBezTo>
                    <a:cubicBezTo>
                      <a:pt x="390888" y="361711"/>
                      <a:pt x="384344" y="364644"/>
                      <a:pt x="377575" y="367803"/>
                    </a:cubicBezTo>
                    <a:cubicBezTo>
                      <a:pt x="372611" y="370060"/>
                      <a:pt x="367421" y="372542"/>
                      <a:pt x="360651" y="374121"/>
                    </a:cubicBezTo>
                    <a:cubicBezTo>
                      <a:pt x="357944" y="374798"/>
                      <a:pt x="355462" y="375250"/>
                      <a:pt x="353205" y="375701"/>
                    </a:cubicBezTo>
                    <a:cubicBezTo>
                      <a:pt x="342600" y="377732"/>
                      <a:pt x="339441" y="378409"/>
                      <a:pt x="336959" y="388337"/>
                    </a:cubicBezTo>
                    <a:lnTo>
                      <a:pt x="334928" y="396460"/>
                    </a:lnTo>
                    <a:cubicBezTo>
                      <a:pt x="332446" y="406389"/>
                      <a:pt x="330189" y="414963"/>
                      <a:pt x="329963" y="417445"/>
                    </a:cubicBezTo>
                    <a:cubicBezTo>
                      <a:pt x="329287" y="421958"/>
                      <a:pt x="322743" y="423086"/>
                      <a:pt x="310784" y="423763"/>
                    </a:cubicBezTo>
                    <a:cubicBezTo>
                      <a:pt x="301532" y="424215"/>
                      <a:pt x="288445" y="431887"/>
                      <a:pt x="285737" y="434820"/>
                    </a:cubicBezTo>
                    <a:cubicBezTo>
                      <a:pt x="281901" y="439333"/>
                      <a:pt x="272198" y="447682"/>
                      <a:pt x="262721" y="448133"/>
                    </a:cubicBezTo>
                    <a:cubicBezTo>
                      <a:pt x="259111" y="448359"/>
                      <a:pt x="255726" y="447456"/>
                      <a:pt x="251890" y="446554"/>
                    </a:cubicBezTo>
                    <a:cubicBezTo>
                      <a:pt x="245572" y="444974"/>
                      <a:pt x="237674" y="442943"/>
                      <a:pt x="224361" y="444974"/>
                    </a:cubicBezTo>
                    <a:cubicBezTo>
                      <a:pt x="209694" y="447231"/>
                      <a:pt x="205407" y="453323"/>
                      <a:pt x="201345" y="459416"/>
                    </a:cubicBezTo>
                    <a:cubicBezTo>
                      <a:pt x="199540" y="461898"/>
                      <a:pt x="197961" y="464154"/>
                      <a:pt x="195704" y="466185"/>
                    </a:cubicBezTo>
                    <a:cubicBezTo>
                      <a:pt x="194801" y="467088"/>
                      <a:pt x="193899" y="467990"/>
                      <a:pt x="192996" y="468667"/>
                    </a:cubicBezTo>
                    <a:cubicBezTo>
                      <a:pt x="187130" y="474308"/>
                      <a:pt x="183970" y="476565"/>
                      <a:pt x="170432" y="472729"/>
                    </a:cubicBezTo>
                    <a:cubicBezTo>
                      <a:pt x="159375" y="469570"/>
                      <a:pt x="153508" y="470247"/>
                      <a:pt x="146964" y="470923"/>
                    </a:cubicBezTo>
                    <a:cubicBezTo>
                      <a:pt x="144934" y="471149"/>
                      <a:pt x="142677" y="471375"/>
                      <a:pt x="140421" y="471375"/>
                    </a:cubicBezTo>
                    <a:cubicBezTo>
                      <a:pt x="130041" y="472052"/>
                      <a:pt x="113795" y="463252"/>
                      <a:pt x="111538" y="460318"/>
                    </a:cubicBezTo>
                    <a:cubicBezTo>
                      <a:pt x="110184" y="458738"/>
                      <a:pt x="108153" y="455579"/>
                      <a:pt x="102512" y="445651"/>
                    </a:cubicBezTo>
                    <a:cubicBezTo>
                      <a:pt x="96871" y="445877"/>
                      <a:pt x="86717" y="444974"/>
                      <a:pt x="80399" y="444523"/>
                    </a:cubicBezTo>
                    <a:lnTo>
                      <a:pt x="77240" y="444297"/>
                    </a:lnTo>
                    <a:cubicBezTo>
                      <a:pt x="71147" y="443620"/>
                      <a:pt x="60542" y="442718"/>
                      <a:pt x="56480" y="444748"/>
                    </a:cubicBezTo>
                    <a:cubicBezTo>
                      <a:pt x="52419" y="446779"/>
                      <a:pt x="47454" y="460318"/>
                      <a:pt x="47454" y="469344"/>
                    </a:cubicBezTo>
                    <a:cubicBezTo>
                      <a:pt x="47454" y="473180"/>
                      <a:pt x="48583" y="477467"/>
                      <a:pt x="49485" y="480852"/>
                    </a:cubicBezTo>
                    <a:cubicBezTo>
                      <a:pt x="50614" y="485139"/>
                      <a:pt x="51291" y="488072"/>
                      <a:pt x="50162" y="489878"/>
                    </a:cubicBezTo>
                    <a:cubicBezTo>
                      <a:pt x="49711" y="490555"/>
                      <a:pt x="48808" y="491232"/>
                      <a:pt x="47906" y="491232"/>
                    </a:cubicBezTo>
                    <a:cubicBezTo>
                      <a:pt x="47454" y="491232"/>
                      <a:pt x="44295" y="492360"/>
                      <a:pt x="38654" y="505222"/>
                    </a:cubicBezTo>
                    <a:cubicBezTo>
                      <a:pt x="36623" y="509735"/>
                      <a:pt x="41136" y="517407"/>
                      <a:pt x="49711" y="529140"/>
                    </a:cubicBezTo>
                    <a:cubicBezTo>
                      <a:pt x="59188" y="542002"/>
                      <a:pt x="58737" y="553059"/>
                      <a:pt x="57609" y="560054"/>
                    </a:cubicBezTo>
                    <a:cubicBezTo>
                      <a:pt x="56706" y="565920"/>
                      <a:pt x="49260" y="571787"/>
                      <a:pt x="43167" y="573367"/>
                    </a:cubicBezTo>
                    <a:cubicBezTo>
                      <a:pt x="38880" y="574495"/>
                      <a:pt x="36849" y="573141"/>
                      <a:pt x="36172" y="572239"/>
                    </a:cubicBezTo>
                    <a:cubicBezTo>
                      <a:pt x="35495" y="571336"/>
                      <a:pt x="35044" y="571336"/>
                      <a:pt x="32788" y="572013"/>
                    </a:cubicBezTo>
                    <a:cubicBezTo>
                      <a:pt x="30757" y="572690"/>
                      <a:pt x="28275" y="573593"/>
                      <a:pt x="25341" y="572013"/>
                    </a:cubicBezTo>
                    <a:cubicBezTo>
                      <a:pt x="22408" y="570208"/>
                      <a:pt x="13833" y="568854"/>
                      <a:pt x="10223" y="570208"/>
                    </a:cubicBezTo>
                    <a:cubicBezTo>
                      <a:pt x="9997" y="570434"/>
                      <a:pt x="9320" y="570659"/>
                      <a:pt x="9320" y="570885"/>
                    </a:cubicBezTo>
                    <a:cubicBezTo>
                      <a:pt x="8869" y="572690"/>
                      <a:pt x="10449" y="575172"/>
                      <a:pt x="12028" y="577428"/>
                    </a:cubicBezTo>
                    <a:cubicBezTo>
                      <a:pt x="13382" y="579459"/>
                      <a:pt x="14736" y="581264"/>
                      <a:pt x="14961" y="583295"/>
                    </a:cubicBezTo>
                    <a:cubicBezTo>
                      <a:pt x="14961" y="583972"/>
                      <a:pt x="15413" y="584875"/>
                      <a:pt x="15638" y="585777"/>
                    </a:cubicBezTo>
                    <a:cubicBezTo>
                      <a:pt x="16992" y="590967"/>
                      <a:pt x="20151" y="601572"/>
                      <a:pt x="11125" y="604055"/>
                    </a:cubicBezTo>
                    <a:cubicBezTo>
                      <a:pt x="4582" y="605860"/>
                      <a:pt x="4807" y="616240"/>
                      <a:pt x="5033" y="623009"/>
                    </a:cubicBezTo>
                    <a:cubicBezTo>
                      <a:pt x="5033" y="623912"/>
                      <a:pt x="5033" y="624588"/>
                      <a:pt x="5033" y="625491"/>
                    </a:cubicBezTo>
                    <a:cubicBezTo>
                      <a:pt x="5033" y="631583"/>
                      <a:pt x="11577" y="641512"/>
                      <a:pt x="15638" y="643092"/>
                    </a:cubicBezTo>
                    <a:cubicBezTo>
                      <a:pt x="21054" y="645122"/>
                      <a:pt x="25116" y="650312"/>
                      <a:pt x="25341" y="650538"/>
                    </a:cubicBezTo>
                    <a:lnTo>
                      <a:pt x="26469" y="651892"/>
                    </a:lnTo>
                    <a:lnTo>
                      <a:pt x="25116" y="653020"/>
                    </a:lnTo>
                    <a:cubicBezTo>
                      <a:pt x="25116" y="653020"/>
                      <a:pt x="21280" y="656405"/>
                      <a:pt x="21280" y="660466"/>
                    </a:cubicBezTo>
                    <a:cubicBezTo>
                      <a:pt x="21280" y="664302"/>
                      <a:pt x="28500" y="673102"/>
                      <a:pt x="36398" y="673102"/>
                    </a:cubicBezTo>
                    <a:cubicBezTo>
                      <a:pt x="44521" y="673102"/>
                      <a:pt x="47229" y="670846"/>
                      <a:pt x="50839" y="667461"/>
                    </a:cubicBezTo>
                    <a:cubicBezTo>
                      <a:pt x="55352" y="662948"/>
                      <a:pt x="65957" y="668815"/>
                      <a:pt x="72050" y="672877"/>
                    </a:cubicBezTo>
                    <a:cubicBezTo>
                      <a:pt x="74758" y="674682"/>
                      <a:pt x="78819" y="674456"/>
                      <a:pt x="85137" y="674456"/>
                    </a:cubicBezTo>
                    <a:cubicBezTo>
                      <a:pt x="86491" y="674456"/>
                      <a:pt x="88071" y="674456"/>
                      <a:pt x="89876" y="674456"/>
                    </a:cubicBezTo>
                    <a:cubicBezTo>
                      <a:pt x="93486" y="674456"/>
                      <a:pt x="95968" y="676487"/>
                      <a:pt x="96645" y="679646"/>
                    </a:cubicBezTo>
                    <a:cubicBezTo>
                      <a:pt x="97322" y="684836"/>
                      <a:pt x="92809" y="692959"/>
                      <a:pt x="86040" y="694990"/>
                    </a:cubicBezTo>
                    <a:cubicBezTo>
                      <a:pt x="83784" y="695667"/>
                      <a:pt x="83558" y="697923"/>
                      <a:pt x="84009" y="702888"/>
                    </a:cubicBezTo>
                    <a:cubicBezTo>
                      <a:pt x="84235" y="705821"/>
                      <a:pt x="84460" y="708754"/>
                      <a:pt x="82881" y="710334"/>
                    </a:cubicBezTo>
                    <a:cubicBezTo>
                      <a:pt x="81978" y="711236"/>
                      <a:pt x="80625" y="711462"/>
                      <a:pt x="78819" y="711236"/>
                    </a:cubicBezTo>
                    <a:cubicBezTo>
                      <a:pt x="74983" y="710560"/>
                      <a:pt x="72727" y="710560"/>
                      <a:pt x="69342" y="710560"/>
                    </a:cubicBezTo>
                    <a:cubicBezTo>
                      <a:pt x="66409" y="710560"/>
                      <a:pt x="63024" y="710785"/>
                      <a:pt x="57383" y="710334"/>
                    </a:cubicBezTo>
                    <a:cubicBezTo>
                      <a:pt x="48131" y="709657"/>
                      <a:pt x="45875" y="707626"/>
                      <a:pt x="43167" y="704693"/>
                    </a:cubicBezTo>
                    <a:cubicBezTo>
                      <a:pt x="42716" y="704016"/>
                      <a:pt x="42039" y="703565"/>
                      <a:pt x="41362" y="702888"/>
                    </a:cubicBezTo>
                    <a:cubicBezTo>
                      <a:pt x="40008" y="701759"/>
                      <a:pt x="38654" y="699954"/>
                      <a:pt x="36849" y="697698"/>
                    </a:cubicBezTo>
                    <a:cubicBezTo>
                      <a:pt x="34367" y="694764"/>
                      <a:pt x="29403" y="688672"/>
                      <a:pt x="27598" y="689123"/>
                    </a:cubicBezTo>
                    <a:cubicBezTo>
                      <a:pt x="27372" y="689123"/>
                      <a:pt x="26921" y="689575"/>
                      <a:pt x="26921" y="690026"/>
                    </a:cubicBezTo>
                    <a:cubicBezTo>
                      <a:pt x="25567" y="692959"/>
                      <a:pt x="26018" y="701082"/>
                      <a:pt x="28952" y="707175"/>
                    </a:cubicBezTo>
                    <a:cubicBezTo>
                      <a:pt x="32788" y="715072"/>
                      <a:pt x="35947" y="722068"/>
                      <a:pt x="33239" y="728386"/>
                    </a:cubicBezTo>
                    <a:cubicBezTo>
                      <a:pt x="31885" y="731545"/>
                      <a:pt x="28500" y="739668"/>
                      <a:pt x="30305" y="742827"/>
                    </a:cubicBezTo>
                    <a:cubicBezTo>
                      <a:pt x="30531" y="743278"/>
                      <a:pt x="30982" y="743955"/>
                      <a:pt x="32562" y="744181"/>
                    </a:cubicBezTo>
                    <a:cubicBezTo>
                      <a:pt x="41813" y="745309"/>
                      <a:pt x="49711" y="745083"/>
                      <a:pt x="53321" y="743504"/>
                    </a:cubicBezTo>
                    <a:cubicBezTo>
                      <a:pt x="54224" y="743278"/>
                      <a:pt x="54224" y="743053"/>
                      <a:pt x="53998" y="740571"/>
                    </a:cubicBezTo>
                    <a:cubicBezTo>
                      <a:pt x="53773" y="738314"/>
                      <a:pt x="53321" y="734929"/>
                      <a:pt x="56255" y="732447"/>
                    </a:cubicBezTo>
                    <a:cubicBezTo>
                      <a:pt x="60091" y="729063"/>
                      <a:pt x="68440" y="729514"/>
                      <a:pt x="76788" y="730417"/>
                    </a:cubicBezTo>
                    <a:cubicBezTo>
                      <a:pt x="78142" y="730642"/>
                      <a:pt x="79271" y="730642"/>
                      <a:pt x="79948" y="730642"/>
                    </a:cubicBezTo>
                    <a:cubicBezTo>
                      <a:pt x="82655" y="730642"/>
                      <a:pt x="85363" y="733801"/>
                      <a:pt x="90327" y="739442"/>
                    </a:cubicBezTo>
                    <a:cubicBezTo>
                      <a:pt x="92584" y="742150"/>
                      <a:pt x="95066" y="744858"/>
                      <a:pt x="96871" y="746437"/>
                    </a:cubicBezTo>
                    <a:cubicBezTo>
                      <a:pt x="100030" y="748919"/>
                      <a:pt x="104769" y="751627"/>
                      <a:pt x="110635" y="749822"/>
                    </a:cubicBezTo>
                    <a:cubicBezTo>
                      <a:pt x="115825" y="748242"/>
                      <a:pt x="124851" y="743730"/>
                      <a:pt x="128687" y="737863"/>
                    </a:cubicBezTo>
                    <a:cubicBezTo>
                      <a:pt x="131395" y="733576"/>
                      <a:pt x="134328" y="732222"/>
                      <a:pt x="137713" y="730642"/>
                    </a:cubicBezTo>
                    <a:cubicBezTo>
                      <a:pt x="140195" y="729514"/>
                      <a:pt x="142677" y="728386"/>
                      <a:pt x="145385" y="725904"/>
                    </a:cubicBezTo>
                    <a:cubicBezTo>
                      <a:pt x="150349" y="721616"/>
                      <a:pt x="152831" y="723422"/>
                      <a:pt x="155539" y="726355"/>
                    </a:cubicBezTo>
                    <a:cubicBezTo>
                      <a:pt x="156893" y="727934"/>
                      <a:pt x="158698" y="729740"/>
                      <a:pt x="161857" y="730868"/>
                    </a:cubicBezTo>
                    <a:cubicBezTo>
                      <a:pt x="165242" y="731996"/>
                      <a:pt x="169078" y="732899"/>
                      <a:pt x="172462" y="733576"/>
                    </a:cubicBezTo>
                    <a:cubicBezTo>
                      <a:pt x="179006" y="734929"/>
                      <a:pt x="183519" y="736058"/>
                      <a:pt x="184873" y="738991"/>
                    </a:cubicBezTo>
                    <a:cubicBezTo>
                      <a:pt x="185776" y="741247"/>
                      <a:pt x="184873" y="745309"/>
                      <a:pt x="183745" y="749822"/>
                    </a:cubicBezTo>
                    <a:cubicBezTo>
                      <a:pt x="182842" y="752981"/>
                      <a:pt x="181940" y="757043"/>
                      <a:pt x="182165" y="758622"/>
                    </a:cubicBezTo>
                    <a:cubicBezTo>
                      <a:pt x="182842" y="761556"/>
                      <a:pt x="190740" y="766971"/>
                      <a:pt x="197058" y="769453"/>
                    </a:cubicBezTo>
                    <a:cubicBezTo>
                      <a:pt x="199089" y="770356"/>
                      <a:pt x="201120" y="770807"/>
                      <a:pt x="203376" y="771258"/>
                    </a:cubicBezTo>
                    <a:cubicBezTo>
                      <a:pt x="206761" y="771935"/>
                      <a:pt x="210145" y="772838"/>
                      <a:pt x="213981" y="775320"/>
                    </a:cubicBezTo>
                    <a:cubicBezTo>
                      <a:pt x="220074" y="779382"/>
                      <a:pt x="220074" y="790438"/>
                      <a:pt x="220074" y="794951"/>
                    </a:cubicBezTo>
                    <a:lnTo>
                      <a:pt x="220074" y="795628"/>
                    </a:lnTo>
                    <a:cubicBezTo>
                      <a:pt x="220074" y="798562"/>
                      <a:pt x="225489" y="811875"/>
                      <a:pt x="232259" y="813003"/>
                    </a:cubicBezTo>
                    <a:cubicBezTo>
                      <a:pt x="237449" y="813906"/>
                      <a:pt x="240156" y="816613"/>
                      <a:pt x="241510" y="818870"/>
                    </a:cubicBezTo>
                    <a:cubicBezTo>
                      <a:pt x="243315" y="821803"/>
                      <a:pt x="243992" y="825413"/>
                      <a:pt x="243090" y="829024"/>
                    </a:cubicBezTo>
                    <a:cubicBezTo>
                      <a:pt x="241510" y="835568"/>
                      <a:pt x="235418" y="845722"/>
                      <a:pt x="231807" y="851137"/>
                    </a:cubicBezTo>
                    <a:cubicBezTo>
                      <a:pt x="227295" y="858358"/>
                      <a:pt x="223458" y="860840"/>
                      <a:pt x="211274" y="866481"/>
                    </a:cubicBezTo>
                    <a:cubicBezTo>
                      <a:pt x="200443" y="870092"/>
                      <a:pt x="197735" y="880246"/>
                      <a:pt x="196607" y="884533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xmlns="" id="{3AEFA6B3-3B75-469C-BED3-090F64880034}"/>
                  </a:ext>
                </a:extLst>
              </p:cNvPr>
              <p:cNvSpPr/>
              <p:nvPr/>
            </p:nvSpPr>
            <p:spPr>
              <a:xfrm>
                <a:off x="9199646" y="2064617"/>
                <a:ext cx="902585" cy="880020"/>
              </a:xfrm>
              <a:custGeom>
                <a:avLst/>
                <a:gdLst>
                  <a:gd name="connsiteX0" fmla="*/ 730642 w 902584"/>
                  <a:gd name="connsiteY0" fmla="*/ 899877 h 880019"/>
                  <a:gd name="connsiteX1" fmla="*/ 711237 w 902584"/>
                  <a:gd name="connsiteY1" fmla="*/ 894912 h 880019"/>
                  <a:gd name="connsiteX2" fmla="*/ 704693 w 902584"/>
                  <a:gd name="connsiteY2" fmla="*/ 886112 h 880019"/>
                  <a:gd name="connsiteX3" fmla="*/ 698149 w 902584"/>
                  <a:gd name="connsiteY3" fmla="*/ 877312 h 880019"/>
                  <a:gd name="connsiteX4" fmla="*/ 696570 w 902584"/>
                  <a:gd name="connsiteY4" fmla="*/ 854070 h 880019"/>
                  <a:gd name="connsiteX5" fmla="*/ 694539 w 902584"/>
                  <a:gd name="connsiteY5" fmla="*/ 836921 h 880019"/>
                  <a:gd name="connsiteX6" fmla="*/ 689575 w 902584"/>
                  <a:gd name="connsiteY6" fmla="*/ 825414 h 880019"/>
                  <a:gd name="connsiteX7" fmla="*/ 687318 w 902584"/>
                  <a:gd name="connsiteY7" fmla="*/ 815034 h 880019"/>
                  <a:gd name="connsiteX8" fmla="*/ 690026 w 902584"/>
                  <a:gd name="connsiteY8" fmla="*/ 800141 h 880019"/>
                  <a:gd name="connsiteX9" fmla="*/ 691154 w 902584"/>
                  <a:gd name="connsiteY9" fmla="*/ 795854 h 880019"/>
                  <a:gd name="connsiteX10" fmla="*/ 681451 w 902584"/>
                  <a:gd name="connsiteY10" fmla="*/ 792018 h 880019"/>
                  <a:gd name="connsiteX11" fmla="*/ 672200 w 902584"/>
                  <a:gd name="connsiteY11" fmla="*/ 790664 h 880019"/>
                  <a:gd name="connsiteX12" fmla="*/ 648281 w 902584"/>
                  <a:gd name="connsiteY12" fmla="*/ 792469 h 880019"/>
                  <a:gd name="connsiteX13" fmla="*/ 631358 w 902584"/>
                  <a:gd name="connsiteY13" fmla="*/ 789761 h 880019"/>
                  <a:gd name="connsiteX14" fmla="*/ 616917 w 902584"/>
                  <a:gd name="connsiteY14" fmla="*/ 769679 h 880019"/>
                  <a:gd name="connsiteX15" fmla="*/ 596608 w 902584"/>
                  <a:gd name="connsiteY15" fmla="*/ 755012 h 880019"/>
                  <a:gd name="connsiteX16" fmla="*/ 580588 w 902584"/>
                  <a:gd name="connsiteY16" fmla="*/ 746437 h 880019"/>
                  <a:gd name="connsiteX17" fmla="*/ 565244 w 902584"/>
                  <a:gd name="connsiteY17" fmla="*/ 743278 h 880019"/>
                  <a:gd name="connsiteX18" fmla="*/ 554187 w 902584"/>
                  <a:gd name="connsiteY18" fmla="*/ 741247 h 880019"/>
                  <a:gd name="connsiteX19" fmla="*/ 549223 w 902584"/>
                  <a:gd name="connsiteY19" fmla="*/ 731770 h 880019"/>
                  <a:gd name="connsiteX20" fmla="*/ 544033 w 902584"/>
                  <a:gd name="connsiteY20" fmla="*/ 724324 h 880019"/>
                  <a:gd name="connsiteX21" fmla="*/ 541551 w 902584"/>
                  <a:gd name="connsiteY21" fmla="*/ 729739 h 880019"/>
                  <a:gd name="connsiteX22" fmla="*/ 528463 w 902584"/>
                  <a:gd name="connsiteY22" fmla="*/ 741247 h 880019"/>
                  <a:gd name="connsiteX23" fmla="*/ 519437 w 902584"/>
                  <a:gd name="connsiteY23" fmla="*/ 739894 h 880019"/>
                  <a:gd name="connsiteX24" fmla="*/ 511540 w 902584"/>
                  <a:gd name="connsiteY24" fmla="*/ 740119 h 880019"/>
                  <a:gd name="connsiteX25" fmla="*/ 511088 w 902584"/>
                  <a:gd name="connsiteY25" fmla="*/ 740345 h 880019"/>
                  <a:gd name="connsiteX26" fmla="*/ 511991 w 902584"/>
                  <a:gd name="connsiteY26" fmla="*/ 747791 h 880019"/>
                  <a:gd name="connsiteX27" fmla="*/ 511766 w 902584"/>
                  <a:gd name="connsiteY27" fmla="*/ 760427 h 880019"/>
                  <a:gd name="connsiteX28" fmla="*/ 505222 w 902584"/>
                  <a:gd name="connsiteY28" fmla="*/ 762233 h 880019"/>
                  <a:gd name="connsiteX29" fmla="*/ 497099 w 902584"/>
                  <a:gd name="connsiteY29" fmla="*/ 760653 h 880019"/>
                  <a:gd name="connsiteX30" fmla="*/ 480175 w 902584"/>
                  <a:gd name="connsiteY30" fmla="*/ 763586 h 880019"/>
                  <a:gd name="connsiteX31" fmla="*/ 456708 w 902584"/>
                  <a:gd name="connsiteY31" fmla="*/ 760202 h 880019"/>
                  <a:gd name="connsiteX32" fmla="*/ 457610 w 902584"/>
                  <a:gd name="connsiteY32" fmla="*/ 752304 h 880019"/>
                  <a:gd name="connsiteX33" fmla="*/ 458287 w 902584"/>
                  <a:gd name="connsiteY33" fmla="*/ 747340 h 880019"/>
                  <a:gd name="connsiteX34" fmla="*/ 450841 w 902584"/>
                  <a:gd name="connsiteY34" fmla="*/ 743504 h 880019"/>
                  <a:gd name="connsiteX35" fmla="*/ 446779 w 902584"/>
                  <a:gd name="connsiteY35" fmla="*/ 742150 h 880019"/>
                  <a:gd name="connsiteX36" fmla="*/ 445877 w 902584"/>
                  <a:gd name="connsiteY36" fmla="*/ 735381 h 880019"/>
                  <a:gd name="connsiteX37" fmla="*/ 445877 w 902584"/>
                  <a:gd name="connsiteY37" fmla="*/ 731545 h 880019"/>
                  <a:gd name="connsiteX38" fmla="*/ 444072 w 902584"/>
                  <a:gd name="connsiteY38" fmla="*/ 731319 h 880019"/>
                  <a:gd name="connsiteX39" fmla="*/ 429856 w 902584"/>
                  <a:gd name="connsiteY39" fmla="*/ 743955 h 880019"/>
                  <a:gd name="connsiteX40" fmla="*/ 423764 w 902584"/>
                  <a:gd name="connsiteY40" fmla="*/ 751402 h 880019"/>
                  <a:gd name="connsiteX41" fmla="*/ 398491 w 902584"/>
                  <a:gd name="connsiteY41" fmla="*/ 753658 h 880019"/>
                  <a:gd name="connsiteX42" fmla="*/ 392624 w 902584"/>
                  <a:gd name="connsiteY42" fmla="*/ 752530 h 880019"/>
                  <a:gd name="connsiteX43" fmla="*/ 385178 w 902584"/>
                  <a:gd name="connsiteY43" fmla="*/ 747566 h 880019"/>
                  <a:gd name="connsiteX44" fmla="*/ 403230 w 902584"/>
                  <a:gd name="connsiteY44" fmla="*/ 733576 h 880019"/>
                  <a:gd name="connsiteX45" fmla="*/ 406614 w 902584"/>
                  <a:gd name="connsiteY45" fmla="*/ 731996 h 880019"/>
                  <a:gd name="connsiteX46" fmla="*/ 416994 w 902584"/>
                  <a:gd name="connsiteY46" fmla="*/ 721616 h 880019"/>
                  <a:gd name="connsiteX47" fmla="*/ 414738 w 902584"/>
                  <a:gd name="connsiteY47" fmla="*/ 722744 h 880019"/>
                  <a:gd name="connsiteX48" fmla="*/ 393301 w 902584"/>
                  <a:gd name="connsiteY48" fmla="*/ 713944 h 880019"/>
                  <a:gd name="connsiteX49" fmla="*/ 389014 w 902584"/>
                  <a:gd name="connsiteY49" fmla="*/ 708529 h 880019"/>
                  <a:gd name="connsiteX50" fmla="*/ 374121 w 902584"/>
                  <a:gd name="connsiteY50" fmla="*/ 706724 h 880019"/>
                  <a:gd name="connsiteX51" fmla="*/ 361034 w 902584"/>
                  <a:gd name="connsiteY51" fmla="*/ 711688 h 880019"/>
                  <a:gd name="connsiteX52" fmla="*/ 338469 w 902584"/>
                  <a:gd name="connsiteY52" fmla="*/ 731770 h 880019"/>
                  <a:gd name="connsiteX53" fmla="*/ 324930 w 902584"/>
                  <a:gd name="connsiteY53" fmla="*/ 744181 h 880019"/>
                  <a:gd name="connsiteX54" fmla="*/ 315453 w 902584"/>
                  <a:gd name="connsiteY54" fmla="*/ 731545 h 880019"/>
                  <a:gd name="connsiteX55" fmla="*/ 313874 w 902584"/>
                  <a:gd name="connsiteY55" fmla="*/ 726806 h 880019"/>
                  <a:gd name="connsiteX56" fmla="*/ 304848 w 902584"/>
                  <a:gd name="connsiteY56" fmla="*/ 733576 h 880019"/>
                  <a:gd name="connsiteX57" fmla="*/ 294694 w 902584"/>
                  <a:gd name="connsiteY57" fmla="*/ 742376 h 880019"/>
                  <a:gd name="connsiteX58" fmla="*/ 281832 w 902584"/>
                  <a:gd name="connsiteY58" fmla="*/ 743504 h 880019"/>
                  <a:gd name="connsiteX59" fmla="*/ 285217 w 902584"/>
                  <a:gd name="connsiteY59" fmla="*/ 720939 h 880019"/>
                  <a:gd name="connsiteX60" fmla="*/ 286571 w 902584"/>
                  <a:gd name="connsiteY60" fmla="*/ 711462 h 880019"/>
                  <a:gd name="connsiteX61" fmla="*/ 280027 w 902584"/>
                  <a:gd name="connsiteY61" fmla="*/ 708980 h 880019"/>
                  <a:gd name="connsiteX62" fmla="*/ 270550 w 902584"/>
                  <a:gd name="connsiteY62" fmla="*/ 719811 h 880019"/>
                  <a:gd name="connsiteX63" fmla="*/ 262426 w 902584"/>
                  <a:gd name="connsiteY63" fmla="*/ 736509 h 880019"/>
                  <a:gd name="connsiteX64" fmla="*/ 256785 w 902584"/>
                  <a:gd name="connsiteY64" fmla="*/ 734478 h 880019"/>
                  <a:gd name="connsiteX65" fmla="*/ 256108 w 902584"/>
                  <a:gd name="connsiteY65" fmla="*/ 734027 h 880019"/>
                  <a:gd name="connsiteX66" fmla="*/ 253852 w 902584"/>
                  <a:gd name="connsiteY66" fmla="*/ 733576 h 880019"/>
                  <a:gd name="connsiteX67" fmla="*/ 245503 w 902584"/>
                  <a:gd name="connsiteY67" fmla="*/ 726355 h 880019"/>
                  <a:gd name="connsiteX68" fmla="*/ 238959 w 902584"/>
                  <a:gd name="connsiteY68" fmla="*/ 722744 h 880019"/>
                  <a:gd name="connsiteX69" fmla="*/ 232190 w 902584"/>
                  <a:gd name="connsiteY69" fmla="*/ 717555 h 880019"/>
                  <a:gd name="connsiteX70" fmla="*/ 227903 w 902584"/>
                  <a:gd name="connsiteY70" fmla="*/ 715298 h 880019"/>
                  <a:gd name="connsiteX71" fmla="*/ 220231 w 902584"/>
                  <a:gd name="connsiteY71" fmla="*/ 707401 h 880019"/>
                  <a:gd name="connsiteX72" fmla="*/ 218200 w 902584"/>
                  <a:gd name="connsiteY72" fmla="*/ 703113 h 880019"/>
                  <a:gd name="connsiteX73" fmla="*/ 215943 w 902584"/>
                  <a:gd name="connsiteY73" fmla="*/ 700406 h 880019"/>
                  <a:gd name="connsiteX74" fmla="*/ 220456 w 902584"/>
                  <a:gd name="connsiteY74" fmla="*/ 694990 h 880019"/>
                  <a:gd name="connsiteX75" fmla="*/ 224292 w 902584"/>
                  <a:gd name="connsiteY75" fmla="*/ 687318 h 880019"/>
                  <a:gd name="connsiteX76" fmla="*/ 219102 w 902584"/>
                  <a:gd name="connsiteY76" fmla="*/ 680774 h 880019"/>
                  <a:gd name="connsiteX77" fmla="*/ 202179 w 902584"/>
                  <a:gd name="connsiteY77" fmla="*/ 692057 h 880019"/>
                  <a:gd name="connsiteX78" fmla="*/ 196087 w 902584"/>
                  <a:gd name="connsiteY78" fmla="*/ 696344 h 880019"/>
                  <a:gd name="connsiteX79" fmla="*/ 196087 w 902584"/>
                  <a:gd name="connsiteY79" fmla="*/ 696344 h 880019"/>
                  <a:gd name="connsiteX80" fmla="*/ 192927 w 902584"/>
                  <a:gd name="connsiteY80" fmla="*/ 694539 h 880019"/>
                  <a:gd name="connsiteX81" fmla="*/ 187963 w 902584"/>
                  <a:gd name="connsiteY81" fmla="*/ 692057 h 880019"/>
                  <a:gd name="connsiteX82" fmla="*/ 184804 w 902584"/>
                  <a:gd name="connsiteY82" fmla="*/ 692508 h 880019"/>
                  <a:gd name="connsiteX83" fmla="*/ 185030 w 902584"/>
                  <a:gd name="connsiteY83" fmla="*/ 696795 h 880019"/>
                  <a:gd name="connsiteX84" fmla="*/ 185707 w 902584"/>
                  <a:gd name="connsiteY84" fmla="*/ 703339 h 880019"/>
                  <a:gd name="connsiteX85" fmla="*/ 187286 w 902584"/>
                  <a:gd name="connsiteY85" fmla="*/ 714395 h 880019"/>
                  <a:gd name="connsiteX86" fmla="*/ 187738 w 902584"/>
                  <a:gd name="connsiteY86" fmla="*/ 725678 h 880019"/>
                  <a:gd name="connsiteX87" fmla="*/ 189994 w 902584"/>
                  <a:gd name="connsiteY87" fmla="*/ 733124 h 880019"/>
                  <a:gd name="connsiteX88" fmla="*/ 191348 w 902584"/>
                  <a:gd name="connsiteY88" fmla="*/ 742376 h 880019"/>
                  <a:gd name="connsiteX89" fmla="*/ 197440 w 902584"/>
                  <a:gd name="connsiteY89" fmla="*/ 755238 h 880019"/>
                  <a:gd name="connsiteX90" fmla="*/ 202630 w 902584"/>
                  <a:gd name="connsiteY90" fmla="*/ 768776 h 880019"/>
                  <a:gd name="connsiteX91" fmla="*/ 202630 w 902584"/>
                  <a:gd name="connsiteY91" fmla="*/ 771484 h 880019"/>
                  <a:gd name="connsiteX92" fmla="*/ 209625 w 902584"/>
                  <a:gd name="connsiteY92" fmla="*/ 786377 h 880019"/>
                  <a:gd name="connsiteX93" fmla="*/ 214590 w 902584"/>
                  <a:gd name="connsiteY93" fmla="*/ 794049 h 880019"/>
                  <a:gd name="connsiteX94" fmla="*/ 219328 w 902584"/>
                  <a:gd name="connsiteY94" fmla="*/ 798336 h 880019"/>
                  <a:gd name="connsiteX95" fmla="*/ 225872 w 902584"/>
                  <a:gd name="connsiteY95" fmla="*/ 804203 h 880019"/>
                  <a:gd name="connsiteX96" fmla="*/ 228128 w 902584"/>
                  <a:gd name="connsiteY96" fmla="*/ 811198 h 880019"/>
                  <a:gd name="connsiteX97" fmla="*/ 231964 w 902584"/>
                  <a:gd name="connsiteY97" fmla="*/ 821803 h 880019"/>
                  <a:gd name="connsiteX98" fmla="*/ 235575 w 902584"/>
                  <a:gd name="connsiteY98" fmla="*/ 833988 h 880019"/>
                  <a:gd name="connsiteX99" fmla="*/ 234898 w 902584"/>
                  <a:gd name="connsiteY99" fmla="*/ 848204 h 880019"/>
                  <a:gd name="connsiteX100" fmla="*/ 218651 w 902584"/>
                  <a:gd name="connsiteY100" fmla="*/ 852265 h 880019"/>
                  <a:gd name="connsiteX101" fmla="*/ 207594 w 902584"/>
                  <a:gd name="connsiteY101" fmla="*/ 854747 h 880019"/>
                  <a:gd name="connsiteX102" fmla="*/ 199471 w 902584"/>
                  <a:gd name="connsiteY102" fmla="*/ 856101 h 880019"/>
                  <a:gd name="connsiteX103" fmla="*/ 196989 w 902584"/>
                  <a:gd name="connsiteY103" fmla="*/ 852040 h 880019"/>
                  <a:gd name="connsiteX104" fmla="*/ 189768 w 902584"/>
                  <a:gd name="connsiteY104" fmla="*/ 846173 h 880019"/>
                  <a:gd name="connsiteX105" fmla="*/ 188640 w 902584"/>
                  <a:gd name="connsiteY105" fmla="*/ 846173 h 880019"/>
                  <a:gd name="connsiteX106" fmla="*/ 170137 w 902584"/>
                  <a:gd name="connsiteY106" fmla="*/ 835342 h 880019"/>
                  <a:gd name="connsiteX107" fmla="*/ 161337 w 902584"/>
                  <a:gd name="connsiteY107" fmla="*/ 838501 h 880019"/>
                  <a:gd name="connsiteX108" fmla="*/ 147121 w 902584"/>
                  <a:gd name="connsiteY108" fmla="*/ 841209 h 880019"/>
                  <a:gd name="connsiteX109" fmla="*/ 145542 w 902584"/>
                  <a:gd name="connsiteY109" fmla="*/ 839403 h 880019"/>
                  <a:gd name="connsiteX110" fmla="*/ 142608 w 902584"/>
                  <a:gd name="connsiteY110" fmla="*/ 826993 h 880019"/>
                  <a:gd name="connsiteX111" fmla="*/ 143060 w 902584"/>
                  <a:gd name="connsiteY111" fmla="*/ 822706 h 880019"/>
                  <a:gd name="connsiteX112" fmla="*/ 140126 w 902584"/>
                  <a:gd name="connsiteY112" fmla="*/ 813229 h 880019"/>
                  <a:gd name="connsiteX113" fmla="*/ 138772 w 902584"/>
                  <a:gd name="connsiteY113" fmla="*/ 804428 h 880019"/>
                  <a:gd name="connsiteX114" fmla="*/ 138772 w 902584"/>
                  <a:gd name="connsiteY114" fmla="*/ 787054 h 880019"/>
                  <a:gd name="connsiteX115" fmla="*/ 136742 w 902584"/>
                  <a:gd name="connsiteY115" fmla="*/ 778028 h 880019"/>
                  <a:gd name="connsiteX116" fmla="*/ 147347 w 902584"/>
                  <a:gd name="connsiteY116" fmla="*/ 739442 h 880019"/>
                  <a:gd name="connsiteX117" fmla="*/ 154342 w 902584"/>
                  <a:gd name="connsiteY117" fmla="*/ 725903 h 880019"/>
                  <a:gd name="connsiteX118" fmla="*/ 156598 w 902584"/>
                  <a:gd name="connsiteY118" fmla="*/ 719585 h 880019"/>
                  <a:gd name="connsiteX119" fmla="*/ 150506 w 902584"/>
                  <a:gd name="connsiteY119" fmla="*/ 707852 h 880019"/>
                  <a:gd name="connsiteX120" fmla="*/ 148250 w 902584"/>
                  <a:gd name="connsiteY120" fmla="*/ 705144 h 880019"/>
                  <a:gd name="connsiteX121" fmla="*/ 153891 w 902584"/>
                  <a:gd name="connsiteY121" fmla="*/ 681677 h 880019"/>
                  <a:gd name="connsiteX122" fmla="*/ 166752 w 902584"/>
                  <a:gd name="connsiteY122" fmla="*/ 671523 h 880019"/>
                  <a:gd name="connsiteX123" fmla="*/ 169009 w 902584"/>
                  <a:gd name="connsiteY123" fmla="*/ 670395 h 880019"/>
                  <a:gd name="connsiteX124" fmla="*/ 178260 w 902584"/>
                  <a:gd name="connsiteY124" fmla="*/ 668589 h 880019"/>
                  <a:gd name="connsiteX125" fmla="*/ 196312 w 902584"/>
                  <a:gd name="connsiteY125" fmla="*/ 665430 h 880019"/>
                  <a:gd name="connsiteX126" fmla="*/ 199471 w 902584"/>
                  <a:gd name="connsiteY126" fmla="*/ 664528 h 880019"/>
                  <a:gd name="connsiteX127" fmla="*/ 204887 w 902584"/>
                  <a:gd name="connsiteY127" fmla="*/ 662723 h 880019"/>
                  <a:gd name="connsiteX128" fmla="*/ 204887 w 902584"/>
                  <a:gd name="connsiteY128" fmla="*/ 662497 h 880019"/>
                  <a:gd name="connsiteX129" fmla="*/ 204435 w 902584"/>
                  <a:gd name="connsiteY129" fmla="*/ 658887 h 880019"/>
                  <a:gd name="connsiteX130" fmla="*/ 208723 w 902584"/>
                  <a:gd name="connsiteY130" fmla="*/ 650538 h 880019"/>
                  <a:gd name="connsiteX131" fmla="*/ 213236 w 902584"/>
                  <a:gd name="connsiteY131" fmla="*/ 645348 h 880019"/>
                  <a:gd name="connsiteX132" fmla="*/ 215943 w 902584"/>
                  <a:gd name="connsiteY132" fmla="*/ 638804 h 880019"/>
                  <a:gd name="connsiteX133" fmla="*/ 222487 w 902584"/>
                  <a:gd name="connsiteY133" fmla="*/ 626619 h 880019"/>
                  <a:gd name="connsiteX134" fmla="*/ 229256 w 902584"/>
                  <a:gd name="connsiteY134" fmla="*/ 610147 h 880019"/>
                  <a:gd name="connsiteX135" fmla="*/ 232416 w 902584"/>
                  <a:gd name="connsiteY135" fmla="*/ 599767 h 880019"/>
                  <a:gd name="connsiteX136" fmla="*/ 234672 w 902584"/>
                  <a:gd name="connsiteY136" fmla="*/ 594352 h 880019"/>
                  <a:gd name="connsiteX137" fmla="*/ 242570 w 902584"/>
                  <a:gd name="connsiteY137" fmla="*/ 579234 h 880019"/>
                  <a:gd name="connsiteX138" fmla="*/ 243472 w 902584"/>
                  <a:gd name="connsiteY138" fmla="*/ 562536 h 880019"/>
                  <a:gd name="connsiteX139" fmla="*/ 242118 w 902584"/>
                  <a:gd name="connsiteY139" fmla="*/ 552382 h 880019"/>
                  <a:gd name="connsiteX140" fmla="*/ 231739 w 902584"/>
                  <a:gd name="connsiteY140" fmla="*/ 526207 h 880019"/>
                  <a:gd name="connsiteX141" fmla="*/ 231287 w 902584"/>
                  <a:gd name="connsiteY141" fmla="*/ 525530 h 880019"/>
                  <a:gd name="connsiteX142" fmla="*/ 195410 w 902584"/>
                  <a:gd name="connsiteY142" fmla="*/ 505222 h 880019"/>
                  <a:gd name="connsiteX143" fmla="*/ 189768 w 902584"/>
                  <a:gd name="connsiteY143" fmla="*/ 505673 h 880019"/>
                  <a:gd name="connsiteX144" fmla="*/ 171265 w 902584"/>
                  <a:gd name="connsiteY144" fmla="*/ 501837 h 880019"/>
                  <a:gd name="connsiteX145" fmla="*/ 151634 w 902584"/>
                  <a:gd name="connsiteY145" fmla="*/ 497098 h 880019"/>
                  <a:gd name="connsiteX146" fmla="*/ 150055 w 902584"/>
                  <a:gd name="connsiteY146" fmla="*/ 497098 h 880019"/>
                  <a:gd name="connsiteX147" fmla="*/ 143060 w 902584"/>
                  <a:gd name="connsiteY147" fmla="*/ 491683 h 880019"/>
                  <a:gd name="connsiteX148" fmla="*/ 138095 w 902584"/>
                  <a:gd name="connsiteY148" fmla="*/ 486267 h 880019"/>
                  <a:gd name="connsiteX149" fmla="*/ 131100 w 902584"/>
                  <a:gd name="connsiteY149" fmla="*/ 486042 h 880019"/>
                  <a:gd name="connsiteX150" fmla="*/ 124331 w 902584"/>
                  <a:gd name="connsiteY150" fmla="*/ 489426 h 880019"/>
                  <a:gd name="connsiteX151" fmla="*/ 114628 w 902584"/>
                  <a:gd name="connsiteY151" fmla="*/ 494165 h 880019"/>
                  <a:gd name="connsiteX152" fmla="*/ 105828 w 902584"/>
                  <a:gd name="connsiteY152" fmla="*/ 497550 h 880019"/>
                  <a:gd name="connsiteX153" fmla="*/ 96577 w 902584"/>
                  <a:gd name="connsiteY153" fmla="*/ 494165 h 880019"/>
                  <a:gd name="connsiteX154" fmla="*/ 83940 w 902584"/>
                  <a:gd name="connsiteY154" fmla="*/ 489426 h 880019"/>
                  <a:gd name="connsiteX155" fmla="*/ 72884 w 902584"/>
                  <a:gd name="connsiteY155" fmla="*/ 494165 h 880019"/>
                  <a:gd name="connsiteX156" fmla="*/ 61827 w 902584"/>
                  <a:gd name="connsiteY156" fmla="*/ 499355 h 880019"/>
                  <a:gd name="connsiteX157" fmla="*/ 52350 w 902584"/>
                  <a:gd name="connsiteY157" fmla="*/ 492811 h 880019"/>
                  <a:gd name="connsiteX158" fmla="*/ 59796 w 902584"/>
                  <a:gd name="connsiteY158" fmla="*/ 484462 h 880019"/>
                  <a:gd name="connsiteX159" fmla="*/ 70402 w 902584"/>
                  <a:gd name="connsiteY159" fmla="*/ 476790 h 880019"/>
                  <a:gd name="connsiteX160" fmla="*/ 69950 w 902584"/>
                  <a:gd name="connsiteY160" fmla="*/ 473631 h 880019"/>
                  <a:gd name="connsiteX161" fmla="*/ 62955 w 902584"/>
                  <a:gd name="connsiteY161" fmla="*/ 470021 h 880019"/>
                  <a:gd name="connsiteX162" fmla="*/ 58217 w 902584"/>
                  <a:gd name="connsiteY162" fmla="*/ 468667 h 880019"/>
                  <a:gd name="connsiteX163" fmla="*/ 55509 w 902584"/>
                  <a:gd name="connsiteY163" fmla="*/ 465959 h 880019"/>
                  <a:gd name="connsiteX164" fmla="*/ 61150 w 902584"/>
                  <a:gd name="connsiteY164" fmla="*/ 457159 h 880019"/>
                  <a:gd name="connsiteX165" fmla="*/ 65889 w 902584"/>
                  <a:gd name="connsiteY165" fmla="*/ 451969 h 880019"/>
                  <a:gd name="connsiteX166" fmla="*/ 65437 w 902584"/>
                  <a:gd name="connsiteY166" fmla="*/ 439559 h 880019"/>
                  <a:gd name="connsiteX167" fmla="*/ 48514 w 902584"/>
                  <a:gd name="connsiteY167" fmla="*/ 424666 h 880019"/>
                  <a:gd name="connsiteX168" fmla="*/ 33170 w 902584"/>
                  <a:gd name="connsiteY168" fmla="*/ 401199 h 880019"/>
                  <a:gd name="connsiteX169" fmla="*/ 32267 w 902584"/>
                  <a:gd name="connsiteY169" fmla="*/ 398717 h 880019"/>
                  <a:gd name="connsiteX170" fmla="*/ 30237 w 902584"/>
                  <a:gd name="connsiteY170" fmla="*/ 379762 h 880019"/>
                  <a:gd name="connsiteX171" fmla="*/ 30237 w 902584"/>
                  <a:gd name="connsiteY171" fmla="*/ 372090 h 880019"/>
                  <a:gd name="connsiteX172" fmla="*/ 27303 w 902584"/>
                  <a:gd name="connsiteY172" fmla="*/ 361711 h 880019"/>
                  <a:gd name="connsiteX173" fmla="*/ 26626 w 902584"/>
                  <a:gd name="connsiteY173" fmla="*/ 359680 h 880019"/>
                  <a:gd name="connsiteX174" fmla="*/ 29560 w 902584"/>
                  <a:gd name="connsiteY174" fmla="*/ 359229 h 880019"/>
                  <a:gd name="connsiteX175" fmla="*/ 40165 w 902584"/>
                  <a:gd name="connsiteY175" fmla="*/ 353587 h 880019"/>
                  <a:gd name="connsiteX176" fmla="*/ 41519 w 902584"/>
                  <a:gd name="connsiteY176" fmla="*/ 351105 h 880019"/>
                  <a:gd name="connsiteX177" fmla="*/ 53027 w 902584"/>
                  <a:gd name="connsiteY177" fmla="*/ 324705 h 880019"/>
                  <a:gd name="connsiteX178" fmla="*/ 53027 w 902584"/>
                  <a:gd name="connsiteY178" fmla="*/ 312746 h 880019"/>
                  <a:gd name="connsiteX179" fmla="*/ 53929 w 902584"/>
                  <a:gd name="connsiteY179" fmla="*/ 301012 h 880019"/>
                  <a:gd name="connsiteX180" fmla="*/ 51899 w 902584"/>
                  <a:gd name="connsiteY180" fmla="*/ 286345 h 880019"/>
                  <a:gd name="connsiteX181" fmla="*/ 49191 w 902584"/>
                  <a:gd name="connsiteY181" fmla="*/ 275740 h 880019"/>
                  <a:gd name="connsiteX182" fmla="*/ 35652 w 902584"/>
                  <a:gd name="connsiteY182" fmla="*/ 270550 h 880019"/>
                  <a:gd name="connsiteX183" fmla="*/ 34073 w 902584"/>
                  <a:gd name="connsiteY183" fmla="*/ 270550 h 880019"/>
                  <a:gd name="connsiteX184" fmla="*/ 33170 w 902584"/>
                  <a:gd name="connsiteY184" fmla="*/ 267391 h 880019"/>
                  <a:gd name="connsiteX185" fmla="*/ 30688 w 902584"/>
                  <a:gd name="connsiteY185" fmla="*/ 256560 h 880019"/>
                  <a:gd name="connsiteX186" fmla="*/ 33170 w 902584"/>
                  <a:gd name="connsiteY186" fmla="*/ 241667 h 880019"/>
                  <a:gd name="connsiteX187" fmla="*/ 36555 w 902584"/>
                  <a:gd name="connsiteY187" fmla="*/ 235123 h 880019"/>
                  <a:gd name="connsiteX188" fmla="*/ 27303 w 902584"/>
                  <a:gd name="connsiteY188" fmla="*/ 216846 h 880019"/>
                  <a:gd name="connsiteX189" fmla="*/ 18277 w 902584"/>
                  <a:gd name="connsiteY189" fmla="*/ 210302 h 880019"/>
                  <a:gd name="connsiteX190" fmla="*/ 16472 w 902584"/>
                  <a:gd name="connsiteY190" fmla="*/ 208271 h 880019"/>
                  <a:gd name="connsiteX191" fmla="*/ 18954 w 902584"/>
                  <a:gd name="connsiteY191" fmla="*/ 207143 h 880019"/>
                  <a:gd name="connsiteX192" fmla="*/ 20534 w 902584"/>
                  <a:gd name="connsiteY192" fmla="*/ 205112 h 880019"/>
                  <a:gd name="connsiteX193" fmla="*/ 15570 w 902584"/>
                  <a:gd name="connsiteY193" fmla="*/ 196538 h 880019"/>
                  <a:gd name="connsiteX194" fmla="*/ 7672 w 902584"/>
                  <a:gd name="connsiteY194" fmla="*/ 185481 h 880019"/>
                  <a:gd name="connsiteX195" fmla="*/ 8575 w 902584"/>
                  <a:gd name="connsiteY195" fmla="*/ 172394 h 880019"/>
                  <a:gd name="connsiteX196" fmla="*/ 10605 w 902584"/>
                  <a:gd name="connsiteY196" fmla="*/ 163819 h 880019"/>
                  <a:gd name="connsiteX197" fmla="*/ 6544 w 902584"/>
                  <a:gd name="connsiteY197" fmla="*/ 151634 h 880019"/>
                  <a:gd name="connsiteX198" fmla="*/ 0 w 902584"/>
                  <a:gd name="connsiteY198" fmla="*/ 126362 h 880019"/>
                  <a:gd name="connsiteX199" fmla="*/ 3385 w 902584"/>
                  <a:gd name="connsiteY199" fmla="*/ 110115 h 880019"/>
                  <a:gd name="connsiteX200" fmla="*/ 7672 w 902584"/>
                  <a:gd name="connsiteY200" fmla="*/ 103346 h 880019"/>
                  <a:gd name="connsiteX201" fmla="*/ 21888 w 902584"/>
                  <a:gd name="connsiteY201" fmla="*/ 68145 h 880019"/>
                  <a:gd name="connsiteX202" fmla="*/ 30237 w 902584"/>
                  <a:gd name="connsiteY202" fmla="*/ 57540 h 880019"/>
                  <a:gd name="connsiteX203" fmla="*/ 37457 w 902584"/>
                  <a:gd name="connsiteY203" fmla="*/ 55058 h 880019"/>
                  <a:gd name="connsiteX204" fmla="*/ 48288 w 902584"/>
                  <a:gd name="connsiteY204" fmla="*/ 41744 h 880019"/>
                  <a:gd name="connsiteX205" fmla="*/ 58668 w 902584"/>
                  <a:gd name="connsiteY205" fmla="*/ 29560 h 880019"/>
                  <a:gd name="connsiteX206" fmla="*/ 70402 w 902584"/>
                  <a:gd name="connsiteY206" fmla="*/ 18729 h 880019"/>
                  <a:gd name="connsiteX207" fmla="*/ 71304 w 902584"/>
                  <a:gd name="connsiteY207" fmla="*/ 11282 h 880019"/>
                  <a:gd name="connsiteX208" fmla="*/ 69273 w 902584"/>
                  <a:gd name="connsiteY208" fmla="*/ 0 h 880019"/>
                  <a:gd name="connsiteX209" fmla="*/ 74915 w 902584"/>
                  <a:gd name="connsiteY209" fmla="*/ 10154 h 880019"/>
                  <a:gd name="connsiteX210" fmla="*/ 78299 w 902584"/>
                  <a:gd name="connsiteY210" fmla="*/ 13990 h 880019"/>
                  <a:gd name="connsiteX211" fmla="*/ 86423 w 902584"/>
                  <a:gd name="connsiteY211" fmla="*/ 18503 h 880019"/>
                  <a:gd name="connsiteX212" fmla="*/ 94546 w 902584"/>
                  <a:gd name="connsiteY212" fmla="*/ 23467 h 880019"/>
                  <a:gd name="connsiteX213" fmla="*/ 104023 w 902584"/>
                  <a:gd name="connsiteY213" fmla="*/ 32042 h 880019"/>
                  <a:gd name="connsiteX214" fmla="*/ 110567 w 902584"/>
                  <a:gd name="connsiteY214" fmla="*/ 38585 h 880019"/>
                  <a:gd name="connsiteX215" fmla="*/ 113049 w 902584"/>
                  <a:gd name="connsiteY215" fmla="*/ 52801 h 880019"/>
                  <a:gd name="connsiteX216" fmla="*/ 110567 w 902584"/>
                  <a:gd name="connsiteY216" fmla="*/ 56863 h 880019"/>
                  <a:gd name="connsiteX217" fmla="*/ 105828 w 902584"/>
                  <a:gd name="connsiteY217" fmla="*/ 64760 h 880019"/>
                  <a:gd name="connsiteX218" fmla="*/ 99961 w 902584"/>
                  <a:gd name="connsiteY218" fmla="*/ 76268 h 880019"/>
                  <a:gd name="connsiteX219" fmla="*/ 96351 w 902584"/>
                  <a:gd name="connsiteY219" fmla="*/ 82586 h 880019"/>
                  <a:gd name="connsiteX220" fmla="*/ 94320 w 902584"/>
                  <a:gd name="connsiteY220" fmla="*/ 92064 h 880019"/>
                  <a:gd name="connsiteX221" fmla="*/ 108536 w 902584"/>
                  <a:gd name="connsiteY221" fmla="*/ 115079 h 880019"/>
                  <a:gd name="connsiteX222" fmla="*/ 110567 w 902584"/>
                  <a:gd name="connsiteY222" fmla="*/ 116208 h 880019"/>
                  <a:gd name="connsiteX223" fmla="*/ 125234 w 902584"/>
                  <a:gd name="connsiteY223" fmla="*/ 127039 h 880019"/>
                  <a:gd name="connsiteX224" fmla="*/ 130198 w 902584"/>
                  <a:gd name="connsiteY224" fmla="*/ 129295 h 880019"/>
                  <a:gd name="connsiteX225" fmla="*/ 138772 w 902584"/>
                  <a:gd name="connsiteY225" fmla="*/ 120946 h 880019"/>
                  <a:gd name="connsiteX226" fmla="*/ 155019 w 902584"/>
                  <a:gd name="connsiteY226" fmla="*/ 110792 h 880019"/>
                  <a:gd name="connsiteX227" fmla="*/ 162691 w 902584"/>
                  <a:gd name="connsiteY227" fmla="*/ 107182 h 880019"/>
                  <a:gd name="connsiteX228" fmla="*/ 170589 w 902584"/>
                  <a:gd name="connsiteY228" fmla="*/ 106054 h 880019"/>
                  <a:gd name="connsiteX229" fmla="*/ 174876 w 902584"/>
                  <a:gd name="connsiteY229" fmla="*/ 111469 h 880019"/>
                  <a:gd name="connsiteX230" fmla="*/ 182322 w 902584"/>
                  <a:gd name="connsiteY230" fmla="*/ 119818 h 880019"/>
                  <a:gd name="connsiteX231" fmla="*/ 189317 w 902584"/>
                  <a:gd name="connsiteY231" fmla="*/ 123654 h 880019"/>
                  <a:gd name="connsiteX232" fmla="*/ 206692 w 902584"/>
                  <a:gd name="connsiteY232" fmla="*/ 132454 h 880019"/>
                  <a:gd name="connsiteX233" fmla="*/ 217072 w 902584"/>
                  <a:gd name="connsiteY233" fmla="*/ 136967 h 880019"/>
                  <a:gd name="connsiteX234" fmla="*/ 228354 w 902584"/>
                  <a:gd name="connsiteY234" fmla="*/ 144188 h 880019"/>
                  <a:gd name="connsiteX235" fmla="*/ 220908 w 902584"/>
                  <a:gd name="connsiteY235" fmla="*/ 153665 h 880019"/>
                  <a:gd name="connsiteX236" fmla="*/ 215718 w 902584"/>
                  <a:gd name="connsiteY236" fmla="*/ 157275 h 880019"/>
                  <a:gd name="connsiteX237" fmla="*/ 210979 w 902584"/>
                  <a:gd name="connsiteY237" fmla="*/ 160660 h 880019"/>
                  <a:gd name="connsiteX238" fmla="*/ 208271 w 902584"/>
                  <a:gd name="connsiteY238" fmla="*/ 162465 h 880019"/>
                  <a:gd name="connsiteX239" fmla="*/ 208723 w 902584"/>
                  <a:gd name="connsiteY239" fmla="*/ 162917 h 880019"/>
                  <a:gd name="connsiteX240" fmla="*/ 214815 w 902584"/>
                  <a:gd name="connsiteY240" fmla="*/ 165173 h 880019"/>
                  <a:gd name="connsiteX241" fmla="*/ 234672 w 902584"/>
                  <a:gd name="connsiteY241" fmla="*/ 180517 h 880019"/>
                  <a:gd name="connsiteX242" fmla="*/ 243472 w 902584"/>
                  <a:gd name="connsiteY242" fmla="*/ 185481 h 880019"/>
                  <a:gd name="connsiteX243" fmla="*/ 259719 w 902584"/>
                  <a:gd name="connsiteY243" fmla="*/ 192927 h 880019"/>
                  <a:gd name="connsiteX244" fmla="*/ 278899 w 902584"/>
                  <a:gd name="connsiteY244" fmla="*/ 204435 h 880019"/>
                  <a:gd name="connsiteX245" fmla="*/ 290407 w 902584"/>
                  <a:gd name="connsiteY245" fmla="*/ 212559 h 880019"/>
                  <a:gd name="connsiteX246" fmla="*/ 314776 w 902584"/>
                  <a:gd name="connsiteY246" fmla="*/ 221359 h 880019"/>
                  <a:gd name="connsiteX247" fmla="*/ 329443 w 902584"/>
                  <a:gd name="connsiteY247" fmla="*/ 218877 h 880019"/>
                  <a:gd name="connsiteX248" fmla="*/ 346141 w 902584"/>
                  <a:gd name="connsiteY248" fmla="*/ 222036 h 880019"/>
                  <a:gd name="connsiteX249" fmla="*/ 352234 w 902584"/>
                  <a:gd name="connsiteY249" fmla="*/ 230159 h 880019"/>
                  <a:gd name="connsiteX250" fmla="*/ 357424 w 902584"/>
                  <a:gd name="connsiteY250" fmla="*/ 235123 h 880019"/>
                  <a:gd name="connsiteX251" fmla="*/ 363742 w 902584"/>
                  <a:gd name="connsiteY251" fmla="*/ 227226 h 880019"/>
                  <a:gd name="connsiteX252" fmla="*/ 369157 w 902584"/>
                  <a:gd name="connsiteY252" fmla="*/ 219779 h 880019"/>
                  <a:gd name="connsiteX253" fmla="*/ 370737 w 902584"/>
                  <a:gd name="connsiteY253" fmla="*/ 217749 h 880019"/>
                  <a:gd name="connsiteX254" fmla="*/ 372091 w 902584"/>
                  <a:gd name="connsiteY254" fmla="*/ 220005 h 880019"/>
                  <a:gd name="connsiteX255" fmla="*/ 406840 w 902584"/>
                  <a:gd name="connsiteY255" fmla="*/ 245954 h 880019"/>
                  <a:gd name="connsiteX256" fmla="*/ 427148 w 902584"/>
                  <a:gd name="connsiteY256" fmla="*/ 253175 h 880019"/>
                  <a:gd name="connsiteX257" fmla="*/ 473857 w 902584"/>
                  <a:gd name="connsiteY257" fmla="*/ 273483 h 880019"/>
                  <a:gd name="connsiteX258" fmla="*/ 493037 w 902584"/>
                  <a:gd name="connsiteY258" fmla="*/ 284991 h 880019"/>
                  <a:gd name="connsiteX259" fmla="*/ 525079 w 902584"/>
                  <a:gd name="connsiteY259" fmla="*/ 310038 h 880019"/>
                  <a:gd name="connsiteX260" fmla="*/ 545387 w 902584"/>
                  <a:gd name="connsiteY260" fmla="*/ 328089 h 880019"/>
                  <a:gd name="connsiteX261" fmla="*/ 558249 w 902584"/>
                  <a:gd name="connsiteY261" fmla="*/ 337792 h 880019"/>
                  <a:gd name="connsiteX262" fmla="*/ 595029 w 902584"/>
                  <a:gd name="connsiteY262" fmla="*/ 353136 h 880019"/>
                  <a:gd name="connsiteX263" fmla="*/ 626394 w 902584"/>
                  <a:gd name="connsiteY263" fmla="*/ 363065 h 880019"/>
                  <a:gd name="connsiteX264" fmla="*/ 627748 w 902584"/>
                  <a:gd name="connsiteY264" fmla="*/ 363742 h 880019"/>
                  <a:gd name="connsiteX265" fmla="*/ 640835 w 902584"/>
                  <a:gd name="connsiteY265" fmla="*/ 370511 h 880019"/>
                  <a:gd name="connsiteX266" fmla="*/ 662272 w 902584"/>
                  <a:gd name="connsiteY266" fmla="*/ 381116 h 880019"/>
                  <a:gd name="connsiteX267" fmla="*/ 713268 w 902584"/>
                  <a:gd name="connsiteY267" fmla="*/ 405035 h 880019"/>
                  <a:gd name="connsiteX268" fmla="*/ 733124 w 902584"/>
                  <a:gd name="connsiteY268" fmla="*/ 405486 h 880019"/>
                  <a:gd name="connsiteX269" fmla="*/ 734027 w 902584"/>
                  <a:gd name="connsiteY269" fmla="*/ 405260 h 880019"/>
                  <a:gd name="connsiteX270" fmla="*/ 752530 w 902584"/>
                  <a:gd name="connsiteY270" fmla="*/ 409999 h 880019"/>
                  <a:gd name="connsiteX271" fmla="*/ 764940 w 902584"/>
                  <a:gd name="connsiteY271" fmla="*/ 422861 h 880019"/>
                  <a:gd name="connsiteX272" fmla="*/ 764263 w 902584"/>
                  <a:gd name="connsiteY272" fmla="*/ 418348 h 880019"/>
                  <a:gd name="connsiteX273" fmla="*/ 765166 w 902584"/>
                  <a:gd name="connsiteY273" fmla="*/ 404809 h 880019"/>
                  <a:gd name="connsiteX274" fmla="*/ 770130 w 902584"/>
                  <a:gd name="connsiteY274" fmla="*/ 402327 h 880019"/>
                  <a:gd name="connsiteX275" fmla="*/ 771710 w 902584"/>
                  <a:gd name="connsiteY275" fmla="*/ 402101 h 880019"/>
                  <a:gd name="connsiteX276" fmla="*/ 806685 w 902584"/>
                  <a:gd name="connsiteY276" fmla="*/ 405035 h 880019"/>
                  <a:gd name="connsiteX277" fmla="*/ 814131 w 902584"/>
                  <a:gd name="connsiteY277" fmla="*/ 410225 h 880019"/>
                  <a:gd name="connsiteX278" fmla="*/ 823383 w 902584"/>
                  <a:gd name="connsiteY278" fmla="*/ 417671 h 880019"/>
                  <a:gd name="connsiteX279" fmla="*/ 823609 w 902584"/>
                  <a:gd name="connsiteY279" fmla="*/ 418122 h 880019"/>
                  <a:gd name="connsiteX280" fmla="*/ 823609 w 902584"/>
                  <a:gd name="connsiteY280" fmla="*/ 418574 h 880019"/>
                  <a:gd name="connsiteX281" fmla="*/ 828347 w 902584"/>
                  <a:gd name="connsiteY281" fmla="*/ 431887 h 880019"/>
                  <a:gd name="connsiteX282" fmla="*/ 830152 w 902584"/>
                  <a:gd name="connsiteY282" fmla="*/ 435046 h 880019"/>
                  <a:gd name="connsiteX283" fmla="*/ 831055 w 902584"/>
                  <a:gd name="connsiteY283" fmla="*/ 437076 h 880019"/>
                  <a:gd name="connsiteX284" fmla="*/ 839629 w 902584"/>
                  <a:gd name="connsiteY284" fmla="*/ 451969 h 880019"/>
                  <a:gd name="connsiteX285" fmla="*/ 845045 w 902584"/>
                  <a:gd name="connsiteY285" fmla="*/ 463928 h 880019"/>
                  <a:gd name="connsiteX286" fmla="*/ 853394 w 902584"/>
                  <a:gd name="connsiteY286" fmla="*/ 478144 h 880019"/>
                  <a:gd name="connsiteX287" fmla="*/ 869866 w 902584"/>
                  <a:gd name="connsiteY287" fmla="*/ 493939 h 880019"/>
                  <a:gd name="connsiteX288" fmla="*/ 877312 w 902584"/>
                  <a:gd name="connsiteY288" fmla="*/ 500032 h 880019"/>
                  <a:gd name="connsiteX289" fmla="*/ 882728 w 902584"/>
                  <a:gd name="connsiteY289" fmla="*/ 505673 h 880019"/>
                  <a:gd name="connsiteX290" fmla="*/ 865804 w 902584"/>
                  <a:gd name="connsiteY290" fmla="*/ 517632 h 880019"/>
                  <a:gd name="connsiteX291" fmla="*/ 859486 w 902584"/>
                  <a:gd name="connsiteY291" fmla="*/ 521694 h 880019"/>
                  <a:gd name="connsiteX292" fmla="*/ 855650 w 902584"/>
                  <a:gd name="connsiteY292" fmla="*/ 525755 h 880019"/>
                  <a:gd name="connsiteX293" fmla="*/ 844142 w 902584"/>
                  <a:gd name="connsiteY293" fmla="*/ 533427 h 880019"/>
                  <a:gd name="connsiteX294" fmla="*/ 849558 w 902584"/>
                  <a:gd name="connsiteY294" fmla="*/ 543807 h 880019"/>
                  <a:gd name="connsiteX295" fmla="*/ 871897 w 902584"/>
                  <a:gd name="connsiteY295" fmla="*/ 564341 h 880019"/>
                  <a:gd name="connsiteX296" fmla="*/ 860389 w 902584"/>
                  <a:gd name="connsiteY296" fmla="*/ 570208 h 880019"/>
                  <a:gd name="connsiteX297" fmla="*/ 855425 w 902584"/>
                  <a:gd name="connsiteY297" fmla="*/ 571336 h 880019"/>
                  <a:gd name="connsiteX298" fmla="*/ 851363 w 902584"/>
                  <a:gd name="connsiteY298" fmla="*/ 577654 h 880019"/>
                  <a:gd name="connsiteX299" fmla="*/ 853168 w 902584"/>
                  <a:gd name="connsiteY299" fmla="*/ 585326 h 880019"/>
                  <a:gd name="connsiteX300" fmla="*/ 853845 w 902584"/>
                  <a:gd name="connsiteY300" fmla="*/ 585552 h 880019"/>
                  <a:gd name="connsiteX301" fmla="*/ 871220 w 902584"/>
                  <a:gd name="connsiteY301" fmla="*/ 597962 h 880019"/>
                  <a:gd name="connsiteX302" fmla="*/ 897846 w 902584"/>
                  <a:gd name="connsiteY302" fmla="*/ 611275 h 880019"/>
                  <a:gd name="connsiteX303" fmla="*/ 913190 w 902584"/>
                  <a:gd name="connsiteY303" fmla="*/ 622783 h 880019"/>
                  <a:gd name="connsiteX304" fmla="*/ 913416 w 902584"/>
                  <a:gd name="connsiteY304" fmla="*/ 630455 h 880019"/>
                  <a:gd name="connsiteX305" fmla="*/ 912513 w 902584"/>
                  <a:gd name="connsiteY305" fmla="*/ 631809 h 880019"/>
                  <a:gd name="connsiteX306" fmla="*/ 894913 w 902584"/>
                  <a:gd name="connsiteY306" fmla="*/ 641061 h 880019"/>
                  <a:gd name="connsiteX307" fmla="*/ 889497 w 902584"/>
                  <a:gd name="connsiteY307" fmla="*/ 641061 h 880019"/>
                  <a:gd name="connsiteX308" fmla="*/ 862420 w 902584"/>
                  <a:gd name="connsiteY308" fmla="*/ 644671 h 880019"/>
                  <a:gd name="connsiteX309" fmla="*/ 851137 w 902584"/>
                  <a:gd name="connsiteY309" fmla="*/ 653697 h 880019"/>
                  <a:gd name="connsiteX310" fmla="*/ 838501 w 902584"/>
                  <a:gd name="connsiteY310" fmla="*/ 664302 h 880019"/>
                  <a:gd name="connsiteX311" fmla="*/ 819998 w 902584"/>
                  <a:gd name="connsiteY311" fmla="*/ 682128 h 880019"/>
                  <a:gd name="connsiteX312" fmla="*/ 802623 w 902584"/>
                  <a:gd name="connsiteY312" fmla="*/ 697472 h 880019"/>
                  <a:gd name="connsiteX313" fmla="*/ 778931 w 902584"/>
                  <a:gd name="connsiteY313" fmla="*/ 713042 h 880019"/>
                  <a:gd name="connsiteX314" fmla="*/ 775771 w 902584"/>
                  <a:gd name="connsiteY314" fmla="*/ 722744 h 880019"/>
                  <a:gd name="connsiteX315" fmla="*/ 770356 w 902584"/>
                  <a:gd name="connsiteY315" fmla="*/ 736283 h 880019"/>
                  <a:gd name="connsiteX316" fmla="*/ 776223 w 902584"/>
                  <a:gd name="connsiteY316" fmla="*/ 765392 h 880019"/>
                  <a:gd name="connsiteX317" fmla="*/ 779156 w 902584"/>
                  <a:gd name="connsiteY317" fmla="*/ 773064 h 880019"/>
                  <a:gd name="connsiteX318" fmla="*/ 786603 w 902584"/>
                  <a:gd name="connsiteY318" fmla="*/ 787730 h 880019"/>
                  <a:gd name="connsiteX319" fmla="*/ 792469 w 902584"/>
                  <a:gd name="connsiteY319" fmla="*/ 799915 h 880019"/>
                  <a:gd name="connsiteX320" fmla="*/ 778705 w 902584"/>
                  <a:gd name="connsiteY320" fmla="*/ 822706 h 880019"/>
                  <a:gd name="connsiteX321" fmla="*/ 778254 w 902584"/>
                  <a:gd name="connsiteY321" fmla="*/ 834891 h 880019"/>
                  <a:gd name="connsiteX322" fmla="*/ 775997 w 902584"/>
                  <a:gd name="connsiteY322" fmla="*/ 849783 h 880019"/>
                  <a:gd name="connsiteX323" fmla="*/ 772612 w 902584"/>
                  <a:gd name="connsiteY323" fmla="*/ 859035 h 880019"/>
                  <a:gd name="connsiteX324" fmla="*/ 768777 w 902584"/>
                  <a:gd name="connsiteY324" fmla="*/ 872573 h 880019"/>
                  <a:gd name="connsiteX325" fmla="*/ 762233 w 902584"/>
                  <a:gd name="connsiteY325" fmla="*/ 882953 h 880019"/>
                  <a:gd name="connsiteX326" fmla="*/ 750950 w 902584"/>
                  <a:gd name="connsiteY326" fmla="*/ 896041 h 880019"/>
                  <a:gd name="connsiteX327" fmla="*/ 730642 w 902584"/>
                  <a:gd name="connsiteY327" fmla="*/ 899877 h 880019"/>
                  <a:gd name="connsiteX328" fmla="*/ 662948 w 902584"/>
                  <a:gd name="connsiteY328" fmla="*/ 785023 h 880019"/>
                  <a:gd name="connsiteX329" fmla="*/ 673328 w 902584"/>
                  <a:gd name="connsiteY329" fmla="*/ 786828 h 880019"/>
                  <a:gd name="connsiteX330" fmla="*/ 681677 w 902584"/>
                  <a:gd name="connsiteY330" fmla="*/ 787956 h 880019"/>
                  <a:gd name="connsiteX331" fmla="*/ 694539 w 902584"/>
                  <a:gd name="connsiteY331" fmla="*/ 794049 h 880019"/>
                  <a:gd name="connsiteX332" fmla="*/ 692959 w 902584"/>
                  <a:gd name="connsiteY332" fmla="*/ 802398 h 880019"/>
                  <a:gd name="connsiteX333" fmla="*/ 690928 w 902584"/>
                  <a:gd name="connsiteY333" fmla="*/ 813906 h 880019"/>
                  <a:gd name="connsiteX334" fmla="*/ 693185 w 902584"/>
                  <a:gd name="connsiteY334" fmla="*/ 824737 h 880019"/>
                  <a:gd name="connsiteX335" fmla="*/ 697472 w 902584"/>
                  <a:gd name="connsiteY335" fmla="*/ 834665 h 880019"/>
                  <a:gd name="connsiteX336" fmla="*/ 699277 w 902584"/>
                  <a:gd name="connsiteY336" fmla="*/ 856327 h 880019"/>
                  <a:gd name="connsiteX337" fmla="*/ 700406 w 902584"/>
                  <a:gd name="connsiteY337" fmla="*/ 874379 h 880019"/>
                  <a:gd name="connsiteX338" fmla="*/ 708078 w 902584"/>
                  <a:gd name="connsiteY338" fmla="*/ 884758 h 880019"/>
                  <a:gd name="connsiteX339" fmla="*/ 713493 w 902584"/>
                  <a:gd name="connsiteY339" fmla="*/ 891979 h 880019"/>
                  <a:gd name="connsiteX340" fmla="*/ 749822 w 902584"/>
                  <a:gd name="connsiteY340" fmla="*/ 892882 h 880019"/>
                  <a:gd name="connsiteX341" fmla="*/ 759074 w 902584"/>
                  <a:gd name="connsiteY341" fmla="*/ 881599 h 880019"/>
                  <a:gd name="connsiteX342" fmla="*/ 766069 w 902584"/>
                  <a:gd name="connsiteY342" fmla="*/ 870543 h 880019"/>
                  <a:gd name="connsiteX343" fmla="*/ 768777 w 902584"/>
                  <a:gd name="connsiteY343" fmla="*/ 859712 h 880019"/>
                  <a:gd name="connsiteX344" fmla="*/ 773966 w 902584"/>
                  <a:gd name="connsiteY344" fmla="*/ 847076 h 880019"/>
                  <a:gd name="connsiteX345" fmla="*/ 774643 w 902584"/>
                  <a:gd name="connsiteY345" fmla="*/ 836470 h 880019"/>
                  <a:gd name="connsiteX346" fmla="*/ 776223 w 902584"/>
                  <a:gd name="connsiteY346" fmla="*/ 820449 h 880019"/>
                  <a:gd name="connsiteX347" fmla="*/ 788859 w 902584"/>
                  <a:gd name="connsiteY347" fmla="*/ 800818 h 880019"/>
                  <a:gd name="connsiteX348" fmla="*/ 783443 w 902584"/>
                  <a:gd name="connsiteY348" fmla="*/ 790213 h 880019"/>
                  <a:gd name="connsiteX349" fmla="*/ 775771 w 902584"/>
                  <a:gd name="connsiteY349" fmla="*/ 774869 h 880019"/>
                  <a:gd name="connsiteX350" fmla="*/ 773064 w 902584"/>
                  <a:gd name="connsiteY350" fmla="*/ 767422 h 880019"/>
                  <a:gd name="connsiteX351" fmla="*/ 767648 w 902584"/>
                  <a:gd name="connsiteY351" fmla="*/ 734704 h 880019"/>
                  <a:gd name="connsiteX352" fmla="*/ 772161 w 902584"/>
                  <a:gd name="connsiteY352" fmla="*/ 722744 h 880019"/>
                  <a:gd name="connsiteX353" fmla="*/ 775771 w 902584"/>
                  <a:gd name="connsiteY353" fmla="*/ 711914 h 880019"/>
                  <a:gd name="connsiteX354" fmla="*/ 801946 w 902584"/>
                  <a:gd name="connsiteY354" fmla="*/ 694539 h 880019"/>
                  <a:gd name="connsiteX355" fmla="*/ 817290 w 902584"/>
                  <a:gd name="connsiteY355" fmla="*/ 680323 h 880019"/>
                  <a:gd name="connsiteX356" fmla="*/ 836696 w 902584"/>
                  <a:gd name="connsiteY356" fmla="*/ 662046 h 880019"/>
                  <a:gd name="connsiteX357" fmla="*/ 848655 w 902584"/>
                  <a:gd name="connsiteY357" fmla="*/ 651892 h 880019"/>
                  <a:gd name="connsiteX358" fmla="*/ 860840 w 902584"/>
                  <a:gd name="connsiteY358" fmla="*/ 642189 h 880019"/>
                  <a:gd name="connsiteX359" fmla="*/ 889723 w 902584"/>
                  <a:gd name="connsiteY359" fmla="*/ 638127 h 880019"/>
                  <a:gd name="connsiteX360" fmla="*/ 895138 w 902584"/>
                  <a:gd name="connsiteY360" fmla="*/ 638127 h 880019"/>
                  <a:gd name="connsiteX361" fmla="*/ 909580 w 902584"/>
                  <a:gd name="connsiteY361" fmla="*/ 630681 h 880019"/>
                  <a:gd name="connsiteX362" fmla="*/ 910482 w 902584"/>
                  <a:gd name="connsiteY362" fmla="*/ 629101 h 880019"/>
                  <a:gd name="connsiteX363" fmla="*/ 910257 w 902584"/>
                  <a:gd name="connsiteY363" fmla="*/ 624814 h 880019"/>
                  <a:gd name="connsiteX364" fmla="*/ 897846 w 902584"/>
                  <a:gd name="connsiteY364" fmla="*/ 615337 h 880019"/>
                  <a:gd name="connsiteX365" fmla="*/ 868963 w 902584"/>
                  <a:gd name="connsiteY365" fmla="*/ 600444 h 880019"/>
                  <a:gd name="connsiteX366" fmla="*/ 852942 w 902584"/>
                  <a:gd name="connsiteY366" fmla="*/ 589162 h 880019"/>
                  <a:gd name="connsiteX367" fmla="*/ 852266 w 902584"/>
                  <a:gd name="connsiteY367" fmla="*/ 588936 h 880019"/>
                  <a:gd name="connsiteX368" fmla="*/ 848430 w 902584"/>
                  <a:gd name="connsiteY368" fmla="*/ 577654 h 880019"/>
                  <a:gd name="connsiteX369" fmla="*/ 855425 w 902584"/>
                  <a:gd name="connsiteY369" fmla="*/ 568177 h 880019"/>
                  <a:gd name="connsiteX370" fmla="*/ 860389 w 902584"/>
                  <a:gd name="connsiteY370" fmla="*/ 567049 h 880019"/>
                  <a:gd name="connsiteX371" fmla="*/ 868963 w 902584"/>
                  <a:gd name="connsiteY371" fmla="*/ 563890 h 880019"/>
                  <a:gd name="connsiteX372" fmla="*/ 848881 w 902584"/>
                  <a:gd name="connsiteY372" fmla="*/ 547869 h 880019"/>
                  <a:gd name="connsiteX373" fmla="*/ 841209 w 902584"/>
                  <a:gd name="connsiteY373" fmla="*/ 532750 h 880019"/>
                  <a:gd name="connsiteX374" fmla="*/ 855876 w 902584"/>
                  <a:gd name="connsiteY374" fmla="*/ 522596 h 880019"/>
                  <a:gd name="connsiteX375" fmla="*/ 856553 w 902584"/>
                  <a:gd name="connsiteY375" fmla="*/ 521017 h 880019"/>
                  <a:gd name="connsiteX376" fmla="*/ 866256 w 902584"/>
                  <a:gd name="connsiteY376" fmla="*/ 514473 h 880019"/>
                  <a:gd name="connsiteX377" fmla="*/ 879343 w 902584"/>
                  <a:gd name="connsiteY377" fmla="*/ 505899 h 880019"/>
                  <a:gd name="connsiteX378" fmla="*/ 876410 w 902584"/>
                  <a:gd name="connsiteY378" fmla="*/ 504093 h 880019"/>
                  <a:gd name="connsiteX379" fmla="*/ 866707 w 902584"/>
                  <a:gd name="connsiteY379" fmla="*/ 495970 h 880019"/>
                  <a:gd name="connsiteX380" fmla="*/ 853168 w 902584"/>
                  <a:gd name="connsiteY380" fmla="*/ 482657 h 880019"/>
                  <a:gd name="connsiteX381" fmla="*/ 841660 w 902584"/>
                  <a:gd name="connsiteY381" fmla="*/ 465959 h 880019"/>
                  <a:gd name="connsiteX382" fmla="*/ 836922 w 902584"/>
                  <a:gd name="connsiteY382" fmla="*/ 455128 h 880019"/>
                  <a:gd name="connsiteX383" fmla="*/ 827670 w 902584"/>
                  <a:gd name="connsiteY383" fmla="*/ 439333 h 880019"/>
                  <a:gd name="connsiteX384" fmla="*/ 826768 w 902584"/>
                  <a:gd name="connsiteY384" fmla="*/ 437302 h 880019"/>
                  <a:gd name="connsiteX385" fmla="*/ 825188 w 902584"/>
                  <a:gd name="connsiteY385" fmla="*/ 434369 h 880019"/>
                  <a:gd name="connsiteX386" fmla="*/ 819998 w 902584"/>
                  <a:gd name="connsiteY386" fmla="*/ 420153 h 880019"/>
                  <a:gd name="connsiteX387" fmla="*/ 811875 w 902584"/>
                  <a:gd name="connsiteY387" fmla="*/ 413835 h 880019"/>
                  <a:gd name="connsiteX388" fmla="*/ 804203 w 902584"/>
                  <a:gd name="connsiteY388" fmla="*/ 408194 h 880019"/>
                  <a:gd name="connsiteX389" fmla="*/ 771936 w 902584"/>
                  <a:gd name="connsiteY389" fmla="*/ 406163 h 880019"/>
                  <a:gd name="connsiteX390" fmla="*/ 770356 w 902584"/>
                  <a:gd name="connsiteY390" fmla="*/ 406389 h 880019"/>
                  <a:gd name="connsiteX391" fmla="*/ 768099 w 902584"/>
                  <a:gd name="connsiteY391" fmla="*/ 407517 h 880019"/>
                  <a:gd name="connsiteX392" fmla="*/ 767874 w 902584"/>
                  <a:gd name="connsiteY392" fmla="*/ 418122 h 880019"/>
                  <a:gd name="connsiteX393" fmla="*/ 767874 w 902584"/>
                  <a:gd name="connsiteY393" fmla="*/ 425794 h 880019"/>
                  <a:gd name="connsiteX394" fmla="*/ 765166 w 902584"/>
                  <a:gd name="connsiteY394" fmla="*/ 427148 h 880019"/>
                  <a:gd name="connsiteX395" fmla="*/ 749145 w 902584"/>
                  <a:gd name="connsiteY395" fmla="*/ 412481 h 880019"/>
                  <a:gd name="connsiteX396" fmla="*/ 734930 w 902584"/>
                  <a:gd name="connsiteY396" fmla="*/ 409096 h 880019"/>
                  <a:gd name="connsiteX397" fmla="*/ 734027 w 902584"/>
                  <a:gd name="connsiteY397" fmla="*/ 409322 h 880019"/>
                  <a:gd name="connsiteX398" fmla="*/ 711462 w 902584"/>
                  <a:gd name="connsiteY398" fmla="*/ 408645 h 880019"/>
                  <a:gd name="connsiteX399" fmla="*/ 660918 w 902584"/>
                  <a:gd name="connsiteY399" fmla="*/ 384727 h 880019"/>
                  <a:gd name="connsiteX400" fmla="*/ 639030 w 902584"/>
                  <a:gd name="connsiteY400" fmla="*/ 373896 h 880019"/>
                  <a:gd name="connsiteX401" fmla="*/ 625942 w 902584"/>
                  <a:gd name="connsiteY401" fmla="*/ 367126 h 880019"/>
                  <a:gd name="connsiteX402" fmla="*/ 624589 w 902584"/>
                  <a:gd name="connsiteY402" fmla="*/ 366449 h 880019"/>
                  <a:gd name="connsiteX403" fmla="*/ 594803 w 902584"/>
                  <a:gd name="connsiteY403" fmla="*/ 356972 h 880019"/>
                  <a:gd name="connsiteX404" fmla="*/ 555315 w 902584"/>
                  <a:gd name="connsiteY404" fmla="*/ 340274 h 880019"/>
                  <a:gd name="connsiteX405" fmla="*/ 543356 w 902584"/>
                  <a:gd name="connsiteY405" fmla="*/ 331248 h 880019"/>
                  <a:gd name="connsiteX406" fmla="*/ 521694 w 902584"/>
                  <a:gd name="connsiteY406" fmla="*/ 311843 h 880019"/>
                  <a:gd name="connsiteX407" fmla="*/ 491006 w 902584"/>
                  <a:gd name="connsiteY407" fmla="*/ 288376 h 880019"/>
                  <a:gd name="connsiteX408" fmla="*/ 471600 w 902584"/>
                  <a:gd name="connsiteY408" fmla="*/ 276868 h 880019"/>
                  <a:gd name="connsiteX409" fmla="*/ 425794 w 902584"/>
                  <a:gd name="connsiteY409" fmla="*/ 257011 h 880019"/>
                  <a:gd name="connsiteX410" fmla="*/ 405261 w 902584"/>
                  <a:gd name="connsiteY410" fmla="*/ 249790 h 880019"/>
                  <a:gd name="connsiteX411" fmla="*/ 370285 w 902584"/>
                  <a:gd name="connsiteY411" fmla="*/ 224518 h 880019"/>
                  <a:gd name="connsiteX412" fmla="*/ 366675 w 902584"/>
                  <a:gd name="connsiteY412" fmla="*/ 229708 h 880019"/>
                  <a:gd name="connsiteX413" fmla="*/ 357649 w 902584"/>
                  <a:gd name="connsiteY413" fmla="*/ 239185 h 880019"/>
                  <a:gd name="connsiteX414" fmla="*/ 348623 w 902584"/>
                  <a:gd name="connsiteY414" fmla="*/ 232641 h 880019"/>
                  <a:gd name="connsiteX415" fmla="*/ 342756 w 902584"/>
                  <a:gd name="connsiteY415" fmla="*/ 224744 h 880019"/>
                  <a:gd name="connsiteX416" fmla="*/ 329895 w 902584"/>
                  <a:gd name="connsiteY416" fmla="*/ 222938 h 880019"/>
                  <a:gd name="connsiteX417" fmla="*/ 314099 w 902584"/>
                  <a:gd name="connsiteY417" fmla="*/ 225420 h 880019"/>
                  <a:gd name="connsiteX418" fmla="*/ 285894 w 902584"/>
                  <a:gd name="connsiteY418" fmla="*/ 212784 h 880019"/>
                  <a:gd name="connsiteX419" fmla="*/ 276868 w 902584"/>
                  <a:gd name="connsiteY419" fmla="*/ 208271 h 880019"/>
                  <a:gd name="connsiteX420" fmla="*/ 255657 w 902584"/>
                  <a:gd name="connsiteY420" fmla="*/ 195184 h 880019"/>
                  <a:gd name="connsiteX421" fmla="*/ 242344 w 902584"/>
                  <a:gd name="connsiteY421" fmla="*/ 189543 h 880019"/>
                  <a:gd name="connsiteX422" fmla="*/ 229933 w 902584"/>
                  <a:gd name="connsiteY422" fmla="*/ 181419 h 880019"/>
                  <a:gd name="connsiteX423" fmla="*/ 212784 w 902584"/>
                  <a:gd name="connsiteY423" fmla="*/ 169235 h 880019"/>
                  <a:gd name="connsiteX424" fmla="*/ 205338 w 902584"/>
                  <a:gd name="connsiteY424" fmla="*/ 166076 h 880019"/>
                  <a:gd name="connsiteX425" fmla="*/ 203533 w 902584"/>
                  <a:gd name="connsiteY425" fmla="*/ 162691 h 880019"/>
                  <a:gd name="connsiteX426" fmla="*/ 208046 w 902584"/>
                  <a:gd name="connsiteY426" fmla="*/ 157952 h 880019"/>
                  <a:gd name="connsiteX427" fmla="*/ 212107 w 902584"/>
                  <a:gd name="connsiteY427" fmla="*/ 155019 h 880019"/>
                  <a:gd name="connsiteX428" fmla="*/ 217974 w 902584"/>
                  <a:gd name="connsiteY428" fmla="*/ 150732 h 880019"/>
                  <a:gd name="connsiteX429" fmla="*/ 224067 w 902584"/>
                  <a:gd name="connsiteY429" fmla="*/ 145767 h 880019"/>
                  <a:gd name="connsiteX430" fmla="*/ 214815 w 902584"/>
                  <a:gd name="connsiteY430" fmla="*/ 140578 h 880019"/>
                  <a:gd name="connsiteX431" fmla="*/ 204210 w 902584"/>
                  <a:gd name="connsiteY431" fmla="*/ 136065 h 880019"/>
                  <a:gd name="connsiteX432" fmla="*/ 186835 w 902584"/>
                  <a:gd name="connsiteY432" fmla="*/ 127039 h 880019"/>
                  <a:gd name="connsiteX433" fmla="*/ 179840 w 902584"/>
                  <a:gd name="connsiteY433" fmla="*/ 123203 h 880019"/>
                  <a:gd name="connsiteX434" fmla="*/ 170589 w 902584"/>
                  <a:gd name="connsiteY434" fmla="*/ 113274 h 880019"/>
                  <a:gd name="connsiteX435" fmla="*/ 167881 w 902584"/>
                  <a:gd name="connsiteY435" fmla="*/ 109664 h 880019"/>
                  <a:gd name="connsiteX436" fmla="*/ 163819 w 902584"/>
                  <a:gd name="connsiteY436" fmla="*/ 110567 h 880019"/>
                  <a:gd name="connsiteX437" fmla="*/ 155019 w 902584"/>
                  <a:gd name="connsiteY437" fmla="*/ 114628 h 880019"/>
                  <a:gd name="connsiteX438" fmla="*/ 141029 w 902584"/>
                  <a:gd name="connsiteY438" fmla="*/ 123203 h 880019"/>
                  <a:gd name="connsiteX439" fmla="*/ 129747 w 902584"/>
                  <a:gd name="connsiteY439" fmla="*/ 133357 h 880019"/>
                  <a:gd name="connsiteX440" fmla="*/ 121849 w 902584"/>
                  <a:gd name="connsiteY440" fmla="*/ 130198 h 880019"/>
                  <a:gd name="connsiteX441" fmla="*/ 107859 w 902584"/>
                  <a:gd name="connsiteY441" fmla="*/ 119818 h 880019"/>
                  <a:gd name="connsiteX442" fmla="*/ 105828 w 902584"/>
                  <a:gd name="connsiteY442" fmla="*/ 118690 h 880019"/>
                  <a:gd name="connsiteX443" fmla="*/ 89807 w 902584"/>
                  <a:gd name="connsiteY443" fmla="*/ 92966 h 880019"/>
                  <a:gd name="connsiteX444" fmla="*/ 92741 w 902584"/>
                  <a:gd name="connsiteY444" fmla="*/ 80556 h 880019"/>
                  <a:gd name="connsiteX445" fmla="*/ 95448 w 902584"/>
                  <a:gd name="connsiteY445" fmla="*/ 75817 h 880019"/>
                  <a:gd name="connsiteX446" fmla="*/ 101766 w 902584"/>
                  <a:gd name="connsiteY446" fmla="*/ 63181 h 880019"/>
                  <a:gd name="connsiteX447" fmla="*/ 106505 w 902584"/>
                  <a:gd name="connsiteY447" fmla="*/ 55509 h 880019"/>
                  <a:gd name="connsiteX448" fmla="*/ 109213 w 902584"/>
                  <a:gd name="connsiteY448" fmla="*/ 51222 h 880019"/>
                  <a:gd name="connsiteX449" fmla="*/ 107408 w 902584"/>
                  <a:gd name="connsiteY449" fmla="*/ 41744 h 880019"/>
                  <a:gd name="connsiteX450" fmla="*/ 100638 w 902584"/>
                  <a:gd name="connsiteY450" fmla="*/ 35201 h 880019"/>
                  <a:gd name="connsiteX451" fmla="*/ 91612 w 902584"/>
                  <a:gd name="connsiteY451" fmla="*/ 26852 h 880019"/>
                  <a:gd name="connsiteX452" fmla="*/ 84166 w 902584"/>
                  <a:gd name="connsiteY452" fmla="*/ 22339 h 880019"/>
                  <a:gd name="connsiteX453" fmla="*/ 75817 w 902584"/>
                  <a:gd name="connsiteY453" fmla="*/ 17600 h 880019"/>
                  <a:gd name="connsiteX454" fmla="*/ 74689 w 902584"/>
                  <a:gd name="connsiteY454" fmla="*/ 16923 h 880019"/>
                  <a:gd name="connsiteX455" fmla="*/ 73109 w 902584"/>
                  <a:gd name="connsiteY455" fmla="*/ 21211 h 880019"/>
                  <a:gd name="connsiteX456" fmla="*/ 60248 w 902584"/>
                  <a:gd name="connsiteY456" fmla="*/ 33170 h 880019"/>
                  <a:gd name="connsiteX457" fmla="*/ 51447 w 902584"/>
                  <a:gd name="connsiteY457" fmla="*/ 42196 h 880019"/>
                  <a:gd name="connsiteX458" fmla="*/ 38360 w 902584"/>
                  <a:gd name="connsiteY458" fmla="*/ 58894 h 880019"/>
                  <a:gd name="connsiteX459" fmla="*/ 30688 w 902584"/>
                  <a:gd name="connsiteY459" fmla="*/ 61601 h 880019"/>
                  <a:gd name="connsiteX460" fmla="*/ 25047 w 902584"/>
                  <a:gd name="connsiteY460" fmla="*/ 69499 h 880019"/>
                  <a:gd name="connsiteX461" fmla="*/ 10380 w 902584"/>
                  <a:gd name="connsiteY461" fmla="*/ 105828 h 880019"/>
                  <a:gd name="connsiteX462" fmla="*/ 5867 w 902584"/>
                  <a:gd name="connsiteY462" fmla="*/ 112823 h 880019"/>
                  <a:gd name="connsiteX463" fmla="*/ 3159 w 902584"/>
                  <a:gd name="connsiteY463" fmla="*/ 126813 h 880019"/>
                  <a:gd name="connsiteX464" fmla="*/ 9477 w 902584"/>
                  <a:gd name="connsiteY464" fmla="*/ 150506 h 880019"/>
                  <a:gd name="connsiteX465" fmla="*/ 13764 w 902584"/>
                  <a:gd name="connsiteY465" fmla="*/ 163368 h 880019"/>
                  <a:gd name="connsiteX466" fmla="*/ 11282 w 902584"/>
                  <a:gd name="connsiteY466" fmla="*/ 174650 h 880019"/>
                  <a:gd name="connsiteX467" fmla="*/ 10605 w 902584"/>
                  <a:gd name="connsiteY467" fmla="*/ 184127 h 880019"/>
                  <a:gd name="connsiteX468" fmla="*/ 18052 w 902584"/>
                  <a:gd name="connsiteY468" fmla="*/ 194281 h 880019"/>
                  <a:gd name="connsiteX469" fmla="*/ 23919 w 902584"/>
                  <a:gd name="connsiteY469" fmla="*/ 205789 h 880019"/>
                  <a:gd name="connsiteX470" fmla="*/ 22339 w 902584"/>
                  <a:gd name="connsiteY470" fmla="*/ 209400 h 880019"/>
                  <a:gd name="connsiteX471" fmla="*/ 28657 w 902584"/>
                  <a:gd name="connsiteY471" fmla="*/ 213687 h 880019"/>
                  <a:gd name="connsiteX472" fmla="*/ 39939 w 902584"/>
                  <a:gd name="connsiteY472" fmla="*/ 236703 h 880019"/>
                  <a:gd name="connsiteX473" fmla="*/ 36103 w 902584"/>
                  <a:gd name="connsiteY473" fmla="*/ 244149 h 880019"/>
                  <a:gd name="connsiteX474" fmla="*/ 34073 w 902584"/>
                  <a:gd name="connsiteY474" fmla="*/ 256108 h 880019"/>
                  <a:gd name="connsiteX475" fmla="*/ 36555 w 902584"/>
                  <a:gd name="connsiteY475" fmla="*/ 266714 h 880019"/>
                  <a:gd name="connsiteX476" fmla="*/ 36555 w 902584"/>
                  <a:gd name="connsiteY476" fmla="*/ 267165 h 880019"/>
                  <a:gd name="connsiteX477" fmla="*/ 36780 w 902584"/>
                  <a:gd name="connsiteY477" fmla="*/ 267165 h 880019"/>
                  <a:gd name="connsiteX478" fmla="*/ 52576 w 902584"/>
                  <a:gd name="connsiteY478" fmla="*/ 275740 h 880019"/>
                  <a:gd name="connsiteX479" fmla="*/ 55058 w 902584"/>
                  <a:gd name="connsiteY479" fmla="*/ 285442 h 880019"/>
                  <a:gd name="connsiteX480" fmla="*/ 56863 w 902584"/>
                  <a:gd name="connsiteY480" fmla="*/ 302817 h 880019"/>
                  <a:gd name="connsiteX481" fmla="*/ 56412 w 902584"/>
                  <a:gd name="connsiteY481" fmla="*/ 312520 h 880019"/>
                  <a:gd name="connsiteX482" fmla="*/ 56412 w 902584"/>
                  <a:gd name="connsiteY482" fmla="*/ 325607 h 880019"/>
                  <a:gd name="connsiteX483" fmla="*/ 44452 w 902584"/>
                  <a:gd name="connsiteY483" fmla="*/ 353136 h 880019"/>
                  <a:gd name="connsiteX484" fmla="*/ 43098 w 902584"/>
                  <a:gd name="connsiteY484" fmla="*/ 355618 h 880019"/>
                  <a:gd name="connsiteX485" fmla="*/ 31139 w 902584"/>
                  <a:gd name="connsiteY485" fmla="*/ 362839 h 880019"/>
                  <a:gd name="connsiteX486" fmla="*/ 33621 w 902584"/>
                  <a:gd name="connsiteY486" fmla="*/ 371413 h 880019"/>
                  <a:gd name="connsiteX487" fmla="*/ 33621 w 902584"/>
                  <a:gd name="connsiteY487" fmla="*/ 380665 h 880019"/>
                  <a:gd name="connsiteX488" fmla="*/ 35426 w 902584"/>
                  <a:gd name="connsiteY488" fmla="*/ 397363 h 880019"/>
                  <a:gd name="connsiteX489" fmla="*/ 36329 w 902584"/>
                  <a:gd name="connsiteY489" fmla="*/ 399845 h 880019"/>
                  <a:gd name="connsiteX490" fmla="*/ 50093 w 902584"/>
                  <a:gd name="connsiteY490" fmla="*/ 421281 h 880019"/>
                  <a:gd name="connsiteX491" fmla="*/ 68145 w 902584"/>
                  <a:gd name="connsiteY491" fmla="*/ 437302 h 880019"/>
                  <a:gd name="connsiteX492" fmla="*/ 68596 w 902584"/>
                  <a:gd name="connsiteY492" fmla="*/ 454000 h 880019"/>
                  <a:gd name="connsiteX493" fmla="*/ 63632 w 902584"/>
                  <a:gd name="connsiteY493" fmla="*/ 459415 h 880019"/>
                  <a:gd name="connsiteX494" fmla="*/ 59119 w 902584"/>
                  <a:gd name="connsiteY494" fmla="*/ 464605 h 880019"/>
                  <a:gd name="connsiteX495" fmla="*/ 59345 w 902584"/>
                  <a:gd name="connsiteY495" fmla="*/ 464605 h 880019"/>
                  <a:gd name="connsiteX496" fmla="*/ 63632 w 902584"/>
                  <a:gd name="connsiteY496" fmla="*/ 465734 h 880019"/>
                  <a:gd name="connsiteX497" fmla="*/ 72884 w 902584"/>
                  <a:gd name="connsiteY497" fmla="*/ 470923 h 880019"/>
                  <a:gd name="connsiteX498" fmla="*/ 73561 w 902584"/>
                  <a:gd name="connsiteY498" fmla="*/ 477467 h 880019"/>
                  <a:gd name="connsiteX499" fmla="*/ 60473 w 902584"/>
                  <a:gd name="connsiteY499" fmla="*/ 487396 h 880019"/>
                  <a:gd name="connsiteX500" fmla="*/ 55735 w 902584"/>
                  <a:gd name="connsiteY500" fmla="*/ 491683 h 880019"/>
                  <a:gd name="connsiteX501" fmla="*/ 61376 w 902584"/>
                  <a:gd name="connsiteY501" fmla="*/ 495068 h 880019"/>
                  <a:gd name="connsiteX502" fmla="*/ 70402 w 902584"/>
                  <a:gd name="connsiteY502" fmla="*/ 490555 h 880019"/>
                  <a:gd name="connsiteX503" fmla="*/ 84392 w 902584"/>
                  <a:gd name="connsiteY503" fmla="*/ 485139 h 880019"/>
                  <a:gd name="connsiteX504" fmla="*/ 97930 w 902584"/>
                  <a:gd name="connsiteY504" fmla="*/ 490103 h 880019"/>
                  <a:gd name="connsiteX505" fmla="*/ 105602 w 902584"/>
                  <a:gd name="connsiteY505" fmla="*/ 493037 h 880019"/>
                  <a:gd name="connsiteX506" fmla="*/ 112597 w 902584"/>
                  <a:gd name="connsiteY506" fmla="*/ 490103 h 880019"/>
                  <a:gd name="connsiteX507" fmla="*/ 122752 w 902584"/>
                  <a:gd name="connsiteY507" fmla="*/ 485139 h 880019"/>
                  <a:gd name="connsiteX508" fmla="*/ 128844 w 902584"/>
                  <a:gd name="connsiteY508" fmla="*/ 481980 h 880019"/>
                  <a:gd name="connsiteX509" fmla="*/ 139224 w 902584"/>
                  <a:gd name="connsiteY509" fmla="*/ 481754 h 880019"/>
                  <a:gd name="connsiteX510" fmla="*/ 146219 w 902584"/>
                  <a:gd name="connsiteY510" fmla="*/ 489426 h 880019"/>
                  <a:gd name="connsiteX511" fmla="*/ 149829 w 902584"/>
                  <a:gd name="connsiteY511" fmla="*/ 492585 h 880019"/>
                  <a:gd name="connsiteX512" fmla="*/ 151409 w 902584"/>
                  <a:gd name="connsiteY512" fmla="*/ 492585 h 880019"/>
                  <a:gd name="connsiteX513" fmla="*/ 173748 w 902584"/>
                  <a:gd name="connsiteY513" fmla="*/ 498227 h 880019"/>
                  <a:gd name="connsiteX514" fmla="*/ 189091 w 902584"/>
                  <a:gd name="connsiteY514" fmla="*/ 501160 h 880019"/>
                  <a:gd name="connsiteX515" fmla="*/ 194733 w 902584"/>
                  <a:gd name="connsiteY515" fmla="*/ 500709 h 880019"/>
                  <a:gd name="connsiteX516" fmla="*/ 233995 w 902584"/>
                  <a:gd name="connsiteY516" fmla="*/ 522596 h 880019"/>
                  <a:gd name="connsiteX517" fmla="*/ 234446 w 902584"/>
                  <a:gd name="connsiteY517" fmla="*/ 523273 h 880019"/>
                  <a:gd name="connsiteX518" fmla="*/ 245503 w 902584"/>
                  <a:gd name="connsiteY518" fmla="*/ 551253 h 880019"/>
                  <a:gd name="connsiteX519" fmla="*/ 246857 w 902584"/>
                  <a:gd name="connsiteY519" fmla="*/ 561182 h 880019"/>
                  <a:gd name="connsiteX520" fmla="*/ 245052 w 902584"/>
                  <a:gd name="connsiteY520" fmla="*/ 580813 h 880019"/>
                  <a:gd name="connsiteX521" fmla="*/ 237605 w 902584"/>
                  <a:gd name="connsiteY521" fmla="*/ 595029 h 880019"/>
                  <a:gd name="connsiteX522" fmla="*/ 235349 w 902584"/>
                  <a:gd name="connsiteY522" fmla="*/ 600670 h 880019"/>
                  <a:gd name="connsiteX523" fmla="*/ 232416 w 902584"/>
                  <a:gd name="connsiteY523" fmla="*/ 610598 h 880019"/>
                  <a:gd name="connsiteX524" fmla="*/ 224744 w 902584"/>
                  <a:gd name="connsiteY524" fmla="*/ 628424 h 880019"/>
                  <a:gd name="connsiteX525" fmla="*/ 218877 w 902584"/>
                  <a:gd name="connsiteY525" fmla="*/ 639255 h 880019"/>
                  <a:gd name="connsiteX526" fmla="*/ 215943 w 902584"/>
                  <a:gd name="connsiteY526" fmla="*/ 646476 h 880019"/>
                  <a:gd name="connsiteX527" fmla="*/ 210754 w 902584"/>
                  <a:gd name="connsiteY527" fmla="*/ 652569 h 880019"/>
                  <a:gd name="connsiteX528" fmla="*/ 207594 w 902584"/>
                  <a:gd name="connsiteY528" fmla="*/ 658210 h 880019"/>
                  <a:gd name="connsiteX529" fmla="*/ 208046 w 902584"/>
                  <a:gd name="connsiteY529" fmla="*/ 660917 h 880019"/>
                  <a:gd name="connsiteX530" fmla="*/ 200148 w 902584"/>
                  <a:gd name="connsiteY530" fmla="*/ 667461 h 880019"/>
                  <a:gd name="connsiteX531" fmla="*/ 196989 w 902584"/>
                  <a:gd name="connsiteY531" fmla="*/ 668364 h 880019"/>
                  <a:gd name="connsiteX532" fmla="*/ 178260 w 902584"/>
                  <a:gd name="connsiteY532" fmla="*/ 671523 h 880019"/>
                  <a:gd name="connsiteX533" fmla="*/ 170589 w 902584"/>
                  <a:gd name="connsiteY533" fmla="*/ 672877 h 880019"/>
                  <a:gd name="connsiteX534" fmla="*/ 168332 w 902584"/>
                  <a:gd name="connsiteY534" fmla="*/ 674005 h 880019"/>
                  <a:gd name="connsiteX535" fmla="*/ 156598 w 902584"/>
                  <a:gd name="connsiteY535" fmla="*/ 683031 h 880019"/>
                  <a:gd name="connsiteX536" fmla="*/ 150957 w 902584"/>
                  <a:gd name="connsiteY536" fmla="*/ 701985 h 880019"/>
                  <a:gd name="connsiteX537" fmla="*/ 152988 w 902584"/>
                  <a:gd name="connsiteY537" fmla="*/ 704467 h 880019"/>
                  <a:gd name="connsiteX538" fmla="*/ 159532 w 902584"/>
                  <a:gd name="connsiteY538" fmla="*/ 720488 h 880019"/>
                  <a:gd name="connsiteX539" fmla="*/ 157727 w 902584"/>
                  <a:gd name="connsiteY539" fmla="*/ 725903 h 880019"/>
                  <a:gd name="connsiteX540" fmla="*/ 149829 w 902584"/>
                  <a:gd name="connsiteY540" fmla="*/ 741022 h 880019"/>
                  <a:gd name="connsiteX541" fmla="*/ 140126 w 902584"/>
                  <a:gd name="connsiteY541" fmla="*/ 776223 h 880019"/>
                  <a:gd name="connsiteX542" fmla="*/ 142157 w 902584"/>
                  <a:gd name="connsiteY542" fmla="*/ 785023 h 880019"/>
                  <a:gd name="connsiteX543" fmla="*/ 141931 w 902584"/>
                  <a:gd name="connsiteY543" fmla="*/ 804880 h 880019"/>
                  <a:gd name="connsiteX544" fmla="*/ 142608 w 902584"/>
                  <a:gd name="connsiteY544" fmla="*/ 809393 h 880019"/>
                  <a:gd name="connsiteX545" fmla="*/ 146444 w 902584"/>
                  <a:gd name="connsiteY545" fmla="*/ 821803 h 880019"/>
                  <a:gd name="connsiteX546" fmla="*/ 145993 w 902584"/>
                  <a:gd name="connsiteY546" fmla="*/ 826090 h 880019"/>
                  <a:gd name="connsiteX547" fmla="*/ 148024 w 902584"/>
                  <a:gd name="connsiteY547" fmla="*/ 835568 h 880019"/>
                  <a:gd name="connsiteX548" fmla="*/ 149829 w 902584"/>
                  <a:gd name="connsiteY548" fmla="*/ 837373 h 880019"/>
                  <a:gd name="connsiteX549" fmla="*/ 159081 w 902584"/>
                  <a:gd name="connsiteY549" fmla="*/ 833988 h 880019"/>
                  <a:gd name="connsiteX550" fmla="*/ 173071 w 902584"/>
                  <a:gd name="connsiteY550" fmla="*/ 831732 h 880019"/>
                  <a:gd name="connsiteX551" fmla="*/ 188415 w 902584"/>
                  <a:gd name="connsiteY551" fmla="*/ 840983 h 880019"/>
                  <a:gd name="connsiteX552" fmla="*/ 189317 w 902584"/>
                  <a:gd name="connsiteY552" fmla="*/ 840983 h 880019"/>
                  <a:gd name="connsiteX553" fmla="*/ 200148 w 902584"/>
                  <a:gd name="connsiteY553" fmla="*/ 850009 h 880019"/>
                  <a:gd name="connsiteX554" fmla="*/ 200599 w 902584"/>
                  <a:gd name="connsiteY554" fmla="*/ 851363 h 880019"/>
                  <a:gd name="connsiteX555" fmla="*/ 205564 w 902584"/>
                  <a:gd name="connsiteY555" fmla="*/ 849783 h 880019"/>
                  <a:gd name="connsiteX556" fmla="*/ 218651 w 902584"/>
                  <a:gd name="connsiteY556" fmla="*/ 847076 h 880019"/>
                  <a:gd name="connsiteX557" fmla="*/ 231513 w 902584"/>
                  <a:gd name="connsiteY557" fmla="*/ 844368 h 880019"/>
                  <a:gd name="connsiteX558" fmla="*/ 231513 w 902584"/>
                  <a:gd name="connsiteY558" fmla="*/ 833762 h 880019"/>
                  <a:gd name="connsiteX559" fmla="*/ 227677 w 902584"/>
                  <a:gd name="connsiteY559" fmla="*/ 821126 h 880019"/>
                  <a:gd name="connsiteX560" fmla="*/ 224067 w 902584"/>
                  <a:gd name="connsiteY560" fmla="*/ 811423 h 880019"/>
                  <a:gd name="connsiteX561" fmla="*/ 221359 w 902584"/>
                  <a:gd name="connsiteY561" fmla="*/ 803526 h 880019"/>
                  <a:gd name="connsiteX562" fmla="*/ 217749 w 902584"/>
                  <a:gd name="connsiteY562" fmla="*/ 800592 h 880019"/>
                  <a:gd name="connsiteX563" fmla="*/ 210302 w 902584"/>
                  <a:gd name="connsiteY563" fmla="*/ 794049 h 880019"/>
                  <a:gd name="connsiteX564" fmla="*/ 206015 w 902584"/>
                  <a:gd name="connsiteY564" fmla="*/ 787505 h 880019"/>
                  <a:gd name="connsiteX565" fmla="*/ 197892 w 902584"/>
                  <a:gd name="connsiteY565" fmla="*/ 769905 h 880019"/>
                  <a:gd name="connsiteX566" fmla="*/ 197892 w 902584"/>
                  <a:gd name="connsiteY566" fmla="*/ 766971 h 880019"/>
                  <a:gd name="connsiteX567" fmla="*/ 194056 w 902584"/>
                  <a:gd name="connsiteY567" fmla="*/ 756366 h 880019"/>
                  <a:gd name="connsiteX568" fmla="*/ 186609 w 902584"/>
                  <a:gd name="connsiteY568" fmla="*/ 741699 h 880019"/>
                  <a:gd name="connsiteX569" fmla="*/ 187512 w 902584"/>
                  <a:gd name="connsiteY569" fmla="*/ 738314 h 880019"/>
                  <a:gd name="connsiteX570" fmla="*/ 185707 w 902584"/>
                  <a:gd name="connsiteY570" fmla="*/ 732899 h 880019"/>
                  <a:gd name="connsiteX571" fmla="*/ 183676 w 902584"/>
                  <a:gd name="connsiteY571" fmla="*/ 722068 h 880019"/>
                  <a:gd name="connsiteX572" fmla="*/ 182773 w 902584"/>
                  <a:gd name="connsiteY572" fmla="*/ 713719 h 880019"/>
                  <a:gd name="connsiteX573" fmla="*/ 180968 w 902584"/>
                  <a:gd name="connsiteY573" fmla="*/ 701759 h 880019"/>
                  <a:gd name="connsiteX574" fmla="*/ 180291 w 902584"/>
                  <a:gd name="connsiteY574" fmla="*/ 695893 h 880019"/>
                  <a:gd name="connsiteX575" fmla="*/ 180968 w 902584"/>
                  <a:gd name="connsiteY575" fmla="*/ 688446 h 880019"/>
                  <a:gd name="connsiteX576" fmla="*/ 187286 w 902584"/>
                  <a:gd name="connsiteY576" fmla="*/ 686867 h 880019"/>
                  <a:gd name="connsiteX577" fmla="*/ 194733 w 902584"/>
                  <a:gd name="connsiteY577" fmla="*/ 690477 h 880019"/>
                  <a:gd name="connsiteX578" fmla="*/ 195184 w 902584"/>
                  <a:gd name="connsiteY578" fmla="*/ 690928 h 880019"/>
                  <a:gd name="connsiteX579" fmla="*/ 198343 w 902584"/>
                  <a:gd name="connsiteY579" fmla="*/ 687995 h 880019"/>
                  <a:gd name="connsiteX580" fmla="*/ 219102 w 902584"/>
                  <a:gd name="connsiteY580" fmla="*/ 675585 h 880019"/>
                  <a:gd name="connsiteX581" fmla="*/ 226774 w 902584"/>
                  <a:gd name="connsiteY581" fmla="*/ 685062 h 880019"/>
                  <a:gd name="connsiteX582" fmla="*/ 221585 w 902584"/>
                  <a:gd name="connsiteY582" fmla="*/ 696570 h 880019"/>
                  <a:gd name="connsiteX583" fmla="*/ 219102 w 902584"/>
                  <a:gd name="connsiteY583" fmla="*/ 698600 h 880019"/>
                  <a:gd name="connsiteX584" fmla="*/ 222938 w 902584"/>
                  <a:gd name="connsiteY584" fmla="*/ 706724 h 880019"/>
                  <a:gd name="connsiteX585" fmla="*/ 227451 w 902584"/>
                  <a:gd name="connsiteY585" fmla="*/ 710334 h 880019"/>
                  <a:gd name="connsiteX586" fmla="*/ 234898 w 902584"/>
                  <a:gd name="connsiteY586" fmla="*/ 716426 h 880019"/>
                  <a:gd name="connsiteX587" fmla="*/ 238057 w 902584"/>
                  <a:gd name="connsiteY587" fmla="*/ 718006 h 880019"/>
                  <a:gd name="connsiteX588" fmla="*/ 247985 w 902584"/>
                  <a:gd name="connsiteY588" fmla="*/ 724098 h 880019"/>
                  <a:gd name="connsiteX589" fmla="*/ 253852 w 902584"/>
                  <a:gd name="connsiteY589" fmla="*/ 729288 h 880019"/>
                  <a:gd name="connsiteX590" fmla="*/ 258365 w 902584"/>
                  <a:gd name="connsiteY590" fmla="*/ 730642 h 880019"/>
                  <a:gd name="connsiteX591" fmla="*/ 259042 w 902584"/>
                  <a:gd name="connsiteY591" fmla="*/ 731093 h 880019"/>
                  <a:gd name="connsiteX592" fmla="*/ 261073 w 902584"/>
                  <a:gd name="connsiteY592" fmla="*/ 732447 h 880019"/>
                  <a:gd name="connsiteX593" fmla="*/ 266714 w 902584"/>
                  <a:gd name="connsiteY593" fmla="*/ 718457 h 880019"/>
                  <a:gd name="connsiteX594" fmla="*/ 279124 w 902584"/>
                  <a:gd name="connsiteY594" fmla="*/ 704918 h 880019"/>
                  <a:gd name="connsiteX595" fmla="*/ 289504 w 902584"/>
                  <a:gd name="connsiteY595" fmla="*/ 708980 h 880019"/>
                  <a:gd name="connsiteX596" fmla="*/ 288150 w 902584"/>
                  <a:gd name="connsiteY596" fmla="*/ 722519 h 880019"/>
                  <a:gd name="connsiteX597" fmla="*/ 284314 w 902584"/>
                  <a:gd name="connsiteY597" fmla="*/ 740345 h 880019"/>
                  <a:gd name="connsiteX598" fmla="*/ 292437 w 902584"/>
                  <a:gd name="connsiteY598" fmla="*/ 738765 h 880019"/>
                  <a:gd name="connsiteX599" fmla="*/ 302140 w 902584"/>
                  <a:gd name="connsiteY599" fmla="*/ 730417 h 880019"/>
                  <a:gd name="connsiteX600" fmla="*/ 315002 w 902584"/>
                  <a:gd name="connsiteY600" fmla="*/ 722970 h 880019"/>
                  <a:gd name="connsiteX601" fmla="*/ 319064 w 902584"/>
                  <a:gd name="connsiteY601" fmla="*/ 730868 h 880019"/>
                  <a:gd name="connsiteX602" fmla="*/ 325156 w 902584"/>
                  <a:gd name="connsiteY602" fmla="*/ 740345 h 880019"/>
                  <a:gd name="connsiteX603" fmla="*/ 334859 w 902584"/>
                  <a:gd name="connsiteY603" fmla="*/ 730642 h 880019"/>
                  <a:gd name="connsiteX604" fmla="*/ 359906 w 902584"/>
                  <a:gd name="connsiteY604" fmla="*/ 708077 h 880019"/>
                  <a:gd name="connsiteX605" fmla="*/ 372542 w 902584"/>
                  <a:gd name="connsiteY605" fmla="*/ 703339 h 880019"/>
                  <a:gd name="connsiteX606" fmla="*/ 391947 w 902584"/>
                  <a:gd name="connsiteY606" fmla="*/ 706047 h 880019"/>
                  <a:gd name="connsiteX607" fmla="*/ 396235 w 902584"/>
                  <a:gd name="connsiteY607" fmla="*/ 711688 h 880019"/>
                  <a:gd name="connsiteX608" fmla="*/ 412707 w 902584"/>
                  <a:gd name="connsiteY608" fmla="*/ 719585 h 880019"/>
                  <a:gd name="connsiteX609" fmla="*/ 419476 w 902584"/>
                  <a:gd name="connsiteY609" fmla="*/ 718232 h 880019"/>
                  <a:gd name="connsiteX610" fmla="*/ 420830 w 902584"/>
                  <a:gd name="connsiteY610" fmla="*/ 721165 h 880019"/>
                  <a:gd name="connsiteX611" fmla="*/ 408194 w 902584"/>
                  <a:gd name="connsiteY611" fmla="*/ 735606 h 880019"/>
                  <a:gd name="connsiteX612" fmla="*/ 404809 w 902584"/>
                  <a:gd name="connsiteY612" fmla="*/ 737186 h 880019"/>
                  <a:gd name="connsiteX613" fmla="*/ 388788 w 902584"/>
                  <a:gd name="connsiteY613" fmla="*/ 747340 h 880019"/>
                  <a:gd name="connsiteX614" fmla="*/ 393301 w 902584"/>
                  <a:gd name="connsiteY614" fmla="*/ 748919 h 880019"/>
                  <a:gd name="connsiteX615" fmla="*/ 399168 w 902584"/>
                  <a:gd name="connsiteY615" fmla="*/ 750048 h 880019"/>
                  <a:gd name="connsiteX616" fmla="*/ 421056 w 902584"/>
                  <a:gd name="connsiteY616" fmla="*/ 748694 h 880019"/>
                  <a:gd name="connsiteX617" fmla="*/ 426697 w 902584"/>
                  <a:gd name="connsiteY617" fmla="*/ 741699 h 880019"/>
                  <a:gd name="connsiteX618" fmla="*/ 443395 w 902584"/>
                  <a:gd name="connsiteY618" fmla="*/ 727483 h 880019"/>
                  <a:gd name="connsiteX619" fmla="*/ 448359 w 902584"/>
                  <a:gd name="connsiteY619" fmla="*/ 728611 h 880019"/>
                  <a:gd name="connsiteX620" fmla="*/ 449261 w 902584"/>
                  <a:gd name="connsiteY620" fmla="*/ 735606 h 880019"/>
                  <a:gd name="connsiteX621" fmla="*/ 449261 w 902584"/>
                  <a:gd name="connsiteY621" fmla="*/ 739217 h 880019"/>
                  <a:gd name="connsiteX622" fmla="*/ 450390 w 902584"/>
                  <a:gd name="connsiteY622" fmla="*/ 739442 h 880019"/>
                  <a:gd name="connsiteX623" fmla="*/ 461446 w 902584"/>
                  <a:gd name="connsiteY623" fmla="*/ 745535 h 880019"/>
                  <a:gd name="connsiteX624" fmla="*/ 459867 w 902584"/>
                  <a:gd name="connsiteY624" fmla="*/ 754561 h 880019"/>
                  <a:gd name="connsiteX625" fmla="*/ 459416 w 902584"/>
                  <a:gd name="connsiteY625" fmla="*/ 757945 h 880019"/>
                  <a:gd name="connsiteX626" fmla="*/ 478596 w 902584"/>
                  <a:gd name="connsiteY626" fmla="*/ 759525 h 880019"/>
                  <a:gd name="connsiteX627" fmla="*/ 497550 w 902584"/>
                  <a:gd name="connsiteY627" fmla="*/ 756591 h 880019"/>
                  <a:gd name="connsiteX628" fmla="*/ 505222 w 902584"/>
                  <a:gd name="connsiteY628" fmla="*/ 758171 h 880019"/>
                  <a:gd name="connsiteX629" fmla="*/ 508381 w 902584"/>
                  <a:gd name="connsiteY629" fmla="*/ 757720 h 880019"/>
                  <a:gd name="connsiteX630" fmla="*/ 507704 w 902584"/>
                  <a:gd name="connsiteY630" fmla="*/ 748468 h 880019"/>
                  <a:gd name="connsiteX631" fmla="*/ 507253 w 902584"/>
                  <a:gd name="connsiteY631" fmla="*/ 738088 h 880019"/>
                  <a:gd name="connsiteX632" fmla="*/ 510186 w 902584"/>
                  <a:gd name="connsiteY632" fmla="*/ 736283 h 880019"/>
                  <a:gd name="connsiteX633" fmla="*/ 519437 w 902584"/>
                  <a:gd name="connsiteY633" fmla="*/ 736058 h 880019"/>
                  <a:gd name="connsiteX634" fmla="*/ 528463 w 902584"/>
                  <a:gd name="connsiteY634" fmla="*/ 737411 h 880019"/>
                  <a:gd name="connsiteX635" fmla="*/ 537489 w 902584"/>
                  <a:gd name="connsiteY635" fmla="*/ 728837 h 880019"/>
                  <a:gd name="connsiteX636" fmla="*/ 542905 w 902584"/>
                  <a:gd name="connsiteY636" fmla="*/ 720488 h 880019"/>
                  <a:gd name="connsiteX637" fmla="*/ 552382 w 902584"/>
                  <a:gd name="connsiteY637" fmla="*/ 730417 h 880019"/>
                  <a:gd name="connsiteX638" fmla="*/ 556443 w 902584"/>
                  <a:gd name="connsiteY638" fmla="*/ 738540 h 880019"/>
                  <a:gd name="connsiteX639" fmla="*/ 564567 w 902584"/>
                  <a:gd name="connsiteY639" fmla="*/ 739442 h 880019"/>
                  <a:gd name="connsiteX640" fmla="*/ 582618 w 902584"/>
                  <a:gd name="connsiteY640" fmla="*/ 743278 h 880019"/>
                  <a:gd name="connsiteX641" fmla="*/ 597737 w 902584"/>
                  <a:gd name="connsiteY641" fmla="*/ 751176 h 880019"/>
                  <a:gd name="connsiteX642" fmla="*/ 620301 w 902584"/>
                  <a:gd name="connsiteY642" fmla="*/ 768776 h 880019"/>
                  <a:gd name="connsiteX643" fmla="*/ 632937 w 902584"/>
                  <a:gd name="connsiteY643" fmla="*/ 786151 h 880019"/>
                  <a:gd name="connsiteX644" fmla="*/ 646702 w 902584"/>
                  <a:gd name="connsiteY644" fmla="*/ 788633 h 880019"/>
                  <a:gd name="connsiteX645" fmla="*/ 662948 w 902584"/>
                  <a:gd name="connsiteY645" fmla="*/ 785023 h 880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</a:cxnLst>
                <a:rect l="l" t="t" r="r" b="b"/>
                <a:pathLst>
                  <a:path w="902584" h="880019">
                    <a:moveTo>
                      <a:pt x="730642" y="899877"/>
                    </a:moveTo>
                    <a:cubicBezTo>
                      <a:pt x="723196" y="899877"/>
                      <a:pt x="715975" y="898523"/>
                      <a:pt x="711237" y="894912"/>
                    </a:cubicBezTo>
                    <a:cubicBezTo>
                      <a:pt x="706498" y="891302"/>
                      <a:pt x="705596" y="888594"/>
                      <a:pt x="704693" y="886112"/>
                    </a:cubicBezTo>
                    <a:cubicBezTo>
                      <a:pt x="703790" y="883856"/>
                      <a:pt x="702888" y="881374"/>
                      <a:pt x="698149" y="877312"/>
                    </a:cubicBezTo>
                    <a:cubicBezTo>
                      <a:pt x="687093" y="867609"/>
                      <a:pt x="690703" y="861291"/>
                      <a:pt x="696570" y="854070"/>
                    </a:cubicBezTo>
                    <a:cubicBezTo>
                      <a:pt x="701534" y="847978"/>
                      <a:pt x="699954" y="844142"/>
                      <a:pt x="694539" y="836921"/>
                    </a:cubicBezTo>
                    <a:cubicBezTo>
                      <a:pt x="690703" y="831732"/>
                      <a:pt x="690252" y="829701"/>
                      <a:pt x="689575" y="825414"/>
                    </a:cubicBezTo>
                    <a:cubicBezTo>
                      <a:pt x="689123" y="823157"/>
                      <a:pt x="688672" y="819998"/>
                      <a:pt x="687318" y="815034"/>
                    </a:cubicBezTo>
                    <a:cubicBezTo>
                      <a:pt x="684836" y="806234"/>
                      <a:pt x="687995" y="802623"/>
                      <a:pt x="690026" y="800141"/>
                    </a:cubicBezTo>
                    <a:cubicBezTo>
                      <a:pt x="691380" y="798336"/>
                      <a:pt x="692057" y="797885"/>
                      <a:pt x="691154" y="795854"/>
                    </a:cubicBezTo>
                    <a:cubicBezTo>
                      <a:pt x="689575" y="792469"/>
                      <a:pt x="686867" y="792244"/>
                      <a:pt x="681451" y="792018"/>
                    </a:cubicBezTo>
                    <a:cubicBezTo>
                      <a:pt x="678744" y="791792"/>
                      <a:pt x="675585" y="791567"/>
                      <a:pt x="672200" y="790664"/>
                    </a:cubicBezTo>
                    <a:cubicBezTo>
                      <a:pt x="663851" y="788182"/>
                      <a:pt x="659789" y="788182"/>
                      <a:pt x="648281" y="792469"/>
                    </a:cubicBezTo>
                    <a:cubicBezTo>
                      <a:pt x="643317" y="794274"/>
                      <a:pt x="637225" y="793372"/>
                      <a:pt x="631358" y="789761"/>
                    </a:cubicBezTo>
                    <a:cubicBezTo>
                      <a:pt x="623686" y="785023"/>
                      <a:pt x="617819" y="776674"/>
                      <a:pt x="616917" y="769679"/>
                    </a:cubicBezTo>
                    <a:cubicBezTo>
                      <a:pt x="616240" y="763586"/>
                      <a:pt x="606311" y="759299"/>
                      <a:pt x="596608" y="755012"/>
                    </a:cubicBezTo>
                    <a:cubicBezTo>
                      <a:pt x="590290" y="752304"/>
                      <a:pt x="584423" y="749596"/>
                      <a:pt x="580588" y="746437"/>
                    </a:cubicBezTo>
                    <a:cubicBezTo>
                      <a:pt x="575623" y="742376"/>
                      <a:pt x="569982" y="742827"/>
                      <a:pt x="565244" y="743278"/>
                    </a:cubicBezTo>
                    <a:cubicBezTo>
                      <a:pt x="560956" y="743730"/>
                      <a:pt x="557120" y="743955"/>
                      <a:pt x="554187" y="741247"/>
                    </a:cubicBezTo>
                    <a:cubicBezTo>
                      <a:pt x="551931" y="738991"/>
                      <a:pt x="550577" y="735381"/>
                      <a:pt x="549223" y="731770"/>
                    </a:cubicBezTo>
                    <a:cubicBezTo>
                      <a:pt x="547418" y="727032"/>
                      <a:pt x="546064" y="723873"/>
                      <a:pt x="544033" y="724324"/>
                    </a:cubicBezTo>
                    <a:cubicBezTo>
                      <a:pt x="542679" y="724550"/>
                      <a:pt x="542228" y="727032"/>
                      <a:pt x="541551" y="729739"/>
                    </a:cubicBezTo>
                    <a:cubicBezTo>
                      <a:pt x="540423" y="734929"/>
                      <a:pt x="538392" y="742601"/>
                      <a:pt x="528463" y="741247"/>
                    </a:cubicBezTo>
                    <a:cubicBezTo>
                      <a:pt x="523725" y="740571"/>
                      <a:pt x="521243" y="740119"/>
                      <a:pt x="519437" y="739894"/>
                    </a:cubicBezTo>
                    <a:cubicBezTo>
                      <a:pt x="516278" y="739217"/>
                      <a:pt x="516278" y="739217"/>
                      <a:pt x="511540" y="740119"/>
                    </a:cubicBezTo>
                    <a:cubicBezTo>
                      <a:pt x="511314" y="740119"/>
                      <a:pt x="511314" y="740345"/>
                      <a:pt x="511088" y="740345"/>
                    </a:cubicBezTo>
                    <a:cubicBezTo>
                      <a:pt x="510412" y="741247"/>
                      <a:pt x="511314" y="745083"/>
                      <a:pt x="511991" y="747791"/>
                    </a:cubicBezTo>
                    <a:cubicBezTo>
                      <a:pt x="513119" y="752530"/>
                      <a:pt x="514248" y="757494"/>
                      <a:pt x="511766" y="760427"/>
                    </a:cubicBezTo>
                    <a:cubicBezTo>
                      <a:pt x="510412" y="762007"/>
                      <a:pt x="508155" y="762458"/>
                      <a:pt x="505222" y="762233"/>
                    </a:cubicBezTo>
                    <a:cubicBezTo>
                      <a:pt x="500934" y="761556"/>
                      <a:pt x="498678" y="761104"/>
                      <a:pt x="497099" y="760653"/>
                    </a:cubicBezTo>
                    <a:cubicBezTo>
                      <a:pt x="493714" y="759750"/>
                      <a:pt x="493488" y="759750"/>
                      <a:pt x="480175" y="763586"/>
                    </a:cubicBezTo>
                    <a:cubicBezTo>
                      <a:pt x="466636" y="767422"/>
                      <a:pt x="459190" y="764489"/>
                      <a:pt x="456708" y="760202"/>
                    </a:cubicBezTo>
                    <a:cubicBezTo>
                      <a:pt x="455128" y="757494"/>
                      <a:pt x="455580" y="754335"/>
                      <a:pt x="457610" y="752304"/>
                    </a:cubicBezTo>
                    <a:cubicBezTo>
                      <a:pt x="458964" y="750950"/>
                      <a:pt x="459190" y="749145"/>
                      <a:pt x="458287" y="747340"/>
                    </a:cubicBezTo>
                    <a:cubicBezTo>
                      <a:pt x="457385" y="745309"/>
                      <a:pt x="454903" y="743278"/>
                      <a:pt x="450841" y="743504"/>
                    </a:cubicBezTo>
                    <a:cubicBezTo>
                      <a:pt x="449036" y="743730"/>
                      <a:pt x="447682" y="743278"/>
                      <a:pt x="446779" y="742150"/>
                    </a:cubicBezTo>
                    <a:cubicBezTo>
                      <a:pt x="445200" y="740345"/>
                      <a:pt x="445651" y="737863"/>
                      <a:pt x="445877" y="735381"/>
                    </a:cubicBezTo>
                    <a:cubicBezTo>
                      <a:pt x="446102" y="734252"/>
                      <a:pt x="446328" y="731996"/>
                      <a:pt x="445877" y="731545"/>
                    </a:cubicBezTo>
                    <a:cubicBezTo>
                      <a:pt x="445877" y="731319"/>
                      <a:pt x="445200" y="731319"/>
                      <a:pt x="444072" y="731319"/>
                    </a:cubicBezTo>
                    <a:cubicBezTo>
                      <a:pt x="438431" y="731996"/>
                      <a:pt x="434143" y="738088"/>
                      <a:pt x="429856" y="743955"/>
                    </a:cubicBezTo>
                    <a:cubicBezTo>
                      <a:pt x="427825" y="746663"/>
                      <a:pt x="426020" y="749371"/>
                      <a:pt x="423764" y="751402"/>
                    </a:cubicBezTo>
                    <a:cubicBezTo>
                      <a:pt x="417671" y="757494"/>
                      <a:pt x="410676" y="756140"/>
                      <a:pt x="398491" y="753658"/>
                    </a:cubicBezTo>
                    <a:cubicBezTo>
                      <a:pt x="396686" y="753207"/>
                      <a:pt x="394655" y="752981"/>
                      <a:pt x="392624" y="752530"/>
                    </a:cubicBezTo>
                    <a:cubicBezTo>
                      <a:pt x="389691" y="751853"/>
                      <a:pt x="385404" y="750725"/>
                      <a:pt x="385178" y="747566"/>
                    </a:cubicBezTo>
                    <a:cubicBezTo>
                      <a:pt x="384501" y="743053"/>
                      <a:pt x="391947" y="739217"/>
                      <a:pt x="403230" y="733576"/>
                    </a:cubicBezTo>
                    <a:cubicBezTo>
                      <a:pt x="404358" y="732899"/>
                      <a:pt x="405486" y="732447"/>
                      <a:pt x="406614" y="731996"/>
                    </a:cubicBezTo>
                    <a:cubicBezTo>
                      <a:pt x="412256" y="729288"/>
                      <a:pt x="416091" y="723873"/>
                      <a:pt x="416994" y="721616"/>
                    </a:cubicBezTo>
                    <a:cubicBezTo>
                      <a:pt x="416543" y="721842"/>
                      <a:pt x="415640" y="722068"/>
                      <a:pt x="414738" y="722744"/>
                    </a:cubicBezTo>
                    <a:cubicBezTo>
                      <a:pt x="404584" y="728837"/>
                      <a:pt x="399394" y="721842"/>
                      <a:pt x="393301" y="713944"/>
                    </a:cubicBezTo>
                    <a:cubicBezTo>
                      <a:pt x="391947" y="712139"/>
                      <a:pt x="390594" y="710334"/>
                      <a:pt x="389014" y="708529"/>
                    </a:cubicBezTo>
                    <a:cubicBezTo>
                      <a:pt x="384050" y="702436"/>
                      <a:pt x="381342" y="703565"/>
                      <a:pt x="374121" y="706724"/>
                    </a:cubicBezTo>
                    <a:cubicBezTo>
                      <a:pt x="370737" y="708303"/>
                      <a:pt x="366449" y="710108"/>
                      <a:pt x="361034" y="711688"/>
                    </a:cubicBezTo>
                    <a:cubicBezTo>
                      <a:pt x="344787" y="715975"/>
                      <a:pt x="342756" y="718683"/>
                      <a:pt x="338469" y="731770"/>
                    </a:cubicBezTo>
                    <a:cubicBezTo>
                      <a:pt x="335987" y="739668"/>
                      <a:pt x="330572" y="744632"/>
                      <a:pt x="324930" y="744181"/>
                    </a:cubicBezTo>
                    <a:cubicBezTo>
                      <a:pt x="319966" y="743730"/>
                      <a:pt x="316356" y="738991"/>
                      <a:pt x="315453" y="731545"/>
                    </a:cubicBezTo>
                    <a:cubicBezTo>
                      <a:pt x="315002" y="727257"/>
                      <a:pt x="313874" y="726806"/>
                      <a:pt x="313874" y="726806"/>
                    </a:cubicBezTo>
                    <a:cubicBezTo>
                      <a:pt x="312520" y="726355"/>
                      <a:pt x="308007" y="730417"/>
                      <a:pt x="304848" y="733576"/>
                    </a:cubicBezTo>
                    <a:cubicBezTo>
                      <a:pt x="301689" y="736509"/>
                      <a:pt x="298304" y="739668"/>
                      <a:pt x="294694" y="742376"/>
                    </a:cubicBezTo>
                    <a:cubicBezTo>
                      <a:pt x="287248" y="747566"/>
                      <a:pt x="283186" y="744858"/>
                      <a:pt x="281832" y="743504"/>
                    </a:cubicBezTo>
                    <a:cubicBezTo>
                      <a:pt x="277770" y="739442"/>
                      <a:pt x="279124" y="730417"/>
                      <a:pt x="285217" y="720939"/>
                    </a:cubicBezTo>
                    <a:cubicBezTo>
                      <a:pt x="287473" y="717329"/>
                      <a:pt x="288150" y="713719"/>
                      <a:pt x="286571" y="711462"/>
                    </a:cubicBezTo>
                    <a:cubicBezTo>
                      <a:pt x="285217" y="709431"/>
                      <a:pt x="282735" y="708529"/>
                      <a:pt x="280027" y="708980"/>
                    </a:cubicBezTo>
                    <a:cubicBezTo>
                      <a:pt x="275514" y="709657"/>
                      <a:pt x="272129" y="713719"/>
                      <a:pt x="270550" y="719811"/>
                    </a:cubicBezTo>
                    <a:cubicBezTo>
                      <a:pt x="267165" y="733124"/>
                      <a:pt x="264683" y="735606"/>
                      <a:pt x="262426" y="736509"/>
                    </a:cubicBezTo>
                    <a:cubicBezTo>
                      <a:pt x="260170" y="737186"/>
                      <a:pt x="258139" y="735606"/>
                      <a:pt x="256785" y="734478"/>
                    </a:cubicBezTo>
                    <a:lnTo>
                      <a:pt x="256108" y="734027"/>
                    </a:lnTo>
                    <a:cubicBezTo>
                      <a:pt x="255431" y="733576"/>
                      <a:pt x="254980" y="733576"/>
                      <a:pt x="253852" y="733576"/>
                    </a:cubicBezTo>
                    <a:cubicBezTo>
                      <a:pt x="250693" y="733350"/>
                      <a:pt x="247759" y="732899"/>
                      <a:pt x="245503" y="726355"/>
                    </a:cubicBezTo>
                    <a:cubicBezTo>
                      <a:pt x="244375" y="723196"/>
                      <a:pt x="242344" y="722970"/>
                      <a:pt x="238959" y="722744"/>
                    </a:cubicBezTo>
                    <a:cubicBezTo>
                      <a:pt x="236477" y="722744"/>
                      <a:pt x="232190" y="722519"/>
                      <a:pt x="232190" y="717555"/>
                    </a:cubicBezTo>
                    <a:cubicBezTo>
                      <a:pt x="232190" y="716201"/>
                      <a:pt x="231513" y="715749"/>
                      <a:pt x="227903" y="715298"/>
                    </a:cubicBezTo>
                    <a:cubicBezTo>
                      <a:pt x="224744" y="714847"/>
                      <a:pt x="219328" y="713944"/>
                      <a:pt x="220231" y="707401"/>
                    </a:cubicBezTo>
                    <a:cubicBezTo>
                      <a:pt x="220682" y="704467"/>
                      <a:pt x="219554" y="704016"/>
                      <a:pt x="218200" y="703113"/>
                    </a:cubicBezTo>
                    <a:cubicBezTo>
                      <a:pt x="217297" y="702662"/>
                      <a:pt x="215943" y="701985"/>
                      <a:pt x="215943" y="700406"/>
                    </a:cubicBezTo>
                    <a:cubicBezTo>
                      <a:pt x="215943" y="698600"/>
                      <a:pt x="217297" y="697247"/>
                      <a:pt x="220456" y="694990"/>
                    </a:cubicBezTo>
                    <a:cubicBezTo>
                      <a:pt x="223615" y="692733"/>
                      <a:pt x="224744" y="690251"/>
                      <a:pt x="224292" y="687318"/>
                    </a:cubicBezTo>
                    <a:cubicBezTo>
                      <a:pt x="223615" y="683933"/>
                      <a:pt x="220908" y="681451"/>
                      <a:pt x="219102" y="680774"/>
                    </a:cubicBezTo>
                    <a:cubicBezTo>
                      <a:pt x="217523" y="680323"/>
                      <a:pt x="212784" y="680549"/>
                      <a:pt x="202179" y="692057"/>
                    </a:cubicBezTo>
                    <a:cubicBezTo>
                      <a:pt x="199246" y="695216"/>
                      <a:pt x="197666" y="696344"/>
                      <a:pt x="196087" y="696344"/>
                    </a:cubicBezTo>
                    <a:lnTo>
                      <a:pt x="196087" y="696344"/>
                    </a:lnTo>
                    <a:cubicBezTo>
                      <a:pt x="194507" y="696344"/>
                      <a:pt x="193830" y="695441"/>
                      <a:pt x="192927" y="694539"/>
                    </a:cubicBezTo>
                    <a:cubicBezTo>
                      <a:pt x="192025" y="693411"/>
                      <a:pt x="190897" y="692282"/>
                      <a:pt x="187963" y="692057"/>
                    </a:cubicBezTo>
                    <a:cubicBezTo>
                      <a:pt x="185481" y="691831"/>
                      <a:pt x="184804" y="692282"/>
                      <a:pt x="184804" y="692508"/>
                    </a:cubicBezTo>
                    <a:cubicBezTo>
                      <a:pt x="184353" y="692959"/>
                      <a:pt x="184804" y="695216"/>
                      <a:pt x="185030" y="696795"/>
                    </a:cubicBezTo>
                    <a:cubicBezTo>
                      <a:pt x="185255" y="698600"/>
                      <a:pt x="185707" y="700857"/>
                      <a:pt x="185707" y="703339"/>
                    </a:cubicBezTo>
                    <a:cubicBezTo>
                      <a:pt x="185707" y="706949"/>
                      <a:pt x="186609" y="710785"/>
                      <a:pt x="187286" y="714395"/>
                    </a:cubicBezTo>
                    <a:cubicBezTo>
                      <a:pt x="188415" y="719360"/>
                      <a:pt x="189317" y="723196"/>
                      <a:pt x="187738" y="725678"/>
                    </a:cubicBezTo>
                    <a:cubicBezTo>
                      <a:pt x="187286" y="726580"/>
                      <a:pt x="189091" y="730868"/>
                      <a:pt x="189994" y="733124"/>
                    </a:cubicBezTo>
                    <a:cubicBezTo>
                      <a:pt x="191799" y="737411"/>
                      <a:pt x="193153" y="740571"/>
                      <a:pt x="191348" y="742376"/>
                    </a:cubicBezTo>
                    <a:cubicBezTo>
                      <a:pt x="190671" y="743504"/>
                      <a:pt x="192476" y="750725"/>
                      <a:pt x="197440" y="755238"/>
                    </a:cubicBezTo>
                    <a:cubicBezTo>
                      <a:pt x="202856" y="759976"/>
                      <a:pt x="202630" y="764038"/>
                      <a:pt x="202630" y="768776"/>
                    </a:cubicBezTo>
                    <a:cubicBezTo>
                      <a:pt x="202630" y="769679"/>
                      <a:pt x="202630" y="770582"/>
                      <a:pt x="202630" y="771484"/>
                    </a:cubicBezTo>
                    <a:cubicBezTo>
                      <a:pt x="202630" y="777125"/>
                      <a:pt x="203533" y="780510"/>
                      <a:pt x="209625" y="786377"/>
                    </a:cubicBezTo>
                    <a:cubicBezTo>
                      <a:pt x="212559" y="789310"/>
                      <a:pt x="213687" y="792018"/>
                      <a:pt x="214590" y="794049"/>
                    </a:cubicBezTo>
                    <a:cubicBezTo>
                      <a:pt x="215718" y="796531"/>
                      <a:pt x="216169" y="797885"/>
                      <a:pt x="219328" y="798336"/>
                    </a:cubicBezTo>
                    <a:cubicBezTo>
                      <a:pt x="224292" y="799238"/>
                      <a:pt x="225195" y="800818"/>
                      <a:pt x="225872" y="804203"/>
                    </a:cubicBezTo>
                    <a:cubicBezTo>
                      <a:pt x="226097" y="805782"/>
                      <a:pt x="226549" y="808039"/>
                      <a:pt x="228128" y="811198"/>
                    </a:cubicBezTo>
                    <a:cubicBezTo>
                      <a:pt x="230610" y="816162"/>
                      <a:pt x="231287" y="818418"/>
                      <a:pt x="231964" y="821803"/>
                    </a:cubicBezTo>
                    <a:cubicBezTo>
                      <a:pt x="232641" y="824511"/>
                      <a:pt x="233544" y="827670"/>
                      <a:pt x="235575" y="833988"/>
                    </a:cubicBezTo>
                    <a:cubicBezTo>
                      <a:pt x="237605" y="840081"/>
                      <a:pt x="237380" y="844819"/>
                      <a:pt x="234898" y="848204"/>
                    </a:cubicBezTo>
                    <a:cubicBezTo>
                      <a:pt x="231287" y="852717"/>
                      <a:pt x="224067" y="852942"/>
                      <a:pt x="218651" y="852265"/>
                    </a:cubicBezTo>
                    <a:cubicBezTo>
                      <a:pt x="214590" y="851814"/>
                      <a:pt x="210979" y="853394"/>
                      <a:pt x="207594" y="854747"/>
                    </a:cubicBezTo>
                    <a:cubicBezTo>
                      <a:pt x="204435" y="856101"/>
                      <a:pt x="201728" y="857230"/>
                      <a:pt x="199471" y="856101"/>
                    </a:cubicBezTo>
                    <a:cubicBezTo>
                      <a:pt x="198117" y="855424"/>
                      <a:pt x="197440" y="854070"/>
                      <a:pt x="196989" y="852040"/>
                    </a:cubicBezTo>
                    <a:cubicBezTo>
                      <a:pt x="196087" y="845947"/>
                      <a:pt x="194281" y="845947"/>
                      <a:pt x="189768" y="846173"/>
                    </a:cubicBezTo>
                    <a:lnTo>
                      <a:pt x="188640" y="846173"/>
                    </a:lnTo>
                    <a:cubicBezTo>
                      <a:pt x="183676" y="846173"/>
                      <a:pt x="176004" y="843240"/>
                      <a:pt x="170137" y="835342"/>
                    </a:cubicBezTo>
                    <a:cubicBezTo>
                      <a:pt x="168783" y="833537"/>
                      <a:pt x="166301" y="834891"/>
                      <a:pt x="161337" y="838501"/>
                    </a:cubicBezTo>
                    <a:cubicBezTo>
                      <a:pt x="156824" y="841660"/>
                      <a:pt x="150957" y="845496"/>
                      <a:pt x="147121" y="841209"/>
                    </a:cubicBezTo>
                    <a:cubicBezTo>
                      <a:pt x="146444" y="840532"/>
                      <a:pt x="145993" y="839855"/>
                      <a:pt x="145542" y="839403"/>
                    </a:cubicBezTo>
                    <a:cubicBezTo>
                      <a:pt x="141706" y="835342"/>
                      <a:pt x="141706" y="834665"/>
                      <a:pt x="142608" y="826993"/>
                    </a:cubicBezTo>
                    <a:cubicBezTo>
                      <a:pt x="142834" y="825865"/>
                      <a:pt x="142834" y="824511"/>
                      <a:pt x="143060" y="822706"/>
                    </a:cubicBezTo>
                    <a:cubicBezTo>
                      <a:pt x="143737" y="816613"/>
                      <a:pt x="141931" y="814808"/>
                      <a:pt x="140126" y="813229"/>
                    </a:cubicBezTo>
                    <a:cubicBezTo>
                      <a:pt x="138095" y="811198"/>
                      <a:pt x="136516" y="809167"/>
                      <a:pt x="138772" y="804428"/>
                    </a:cubicBezTo>
                    <a:cubicBezTo>
                      <a:pt x="141480" y="798787"/>
                      <a:pt x="140578" y="795628"/>
                      <a:pt x="138772" y="787054"/>
                    </a:cubicBezTo>
                    <a:cubicBezTo>
                      <a:pt x="138095" y="784571"/>
                      <a:pt x="137419" y="781638"/>
                      <a:pt x="136742" y="778028"/>
                    </a:cubicBezTo>
                    <a:cubicBezTo>
                      <a:pt x="134034" y="764038"/>
                      <a:pt x="137870" y="749596"/>
                      <a:pt x="147347" y="739442"/>
                    </a:cubicBezTo>
                    <a:cubicBezTo>
                      <a:pt x="152086" y="734478"/>
                      <a:pt x="153214" y="729965"/>
                      <a:pt x="154342" y="725903"/>
                    </a:cubicBezTo>
                    <a:cubicBezTo>
                      <a:pt x="155019" y="723647"/>
                      <a:pt x="155470" y="721616"/>
                      <a:pt x="156598" y="719585"/>
                    </a:cubicBezTo>
                    <a:cubicBezTo>
                      <a:pt x="158178" y="716652"/>
                      <a:pt x="153439" y="711236"/>
                      <a:pt x="150506" y="707852"/>
                    </a:cubicBezTo>
                    <a:cubicBezTo>
                      <a:pt x="149603" y="706724"/>
                      <a:pt x="148701" y="705821"/>
                      <a:pt x="148250" y="705144"/>
                    </a:cubicBezTo>
                    <a:cubicBezTo>
                      <a:pt x="145090" y="700631"/>
                      <a:pt x="148701" y="688221"/>
                      <a:pt x="153891" y="681677"/>
                    </a:cubicBezTo>
                    <a:cubicBezTo>
                      <a:pt x="158404" y="675810"/>
                      <a:pt x="163142" y="673554"/>
                      <a:pt x="166752" y="671523"/>
                    </a:cubicBezTo>
                    <a:cubicBezTo>
                      <a:pt x="167429" y="671071"/>
                      <a:pt x="168332" y="670846"/>
                      <a:pt x="169009" y="670395"/>
                    </a:cubicBezTo>
                    <a:cubicBezTo>
                      <a:pt x="171265" y="669041"/>
                      <a:pt x="174199" y="668815"/>
                      <a:pt x="178260" y="668589"/>
                    </a:cubicBezTo>
                    <a:cubicBezTo>
                      <a:pt x="182999" y="668138"/>
                      <a:pt x="188866" y="667687"/>
                      <a:pt x="196312" y="665430"/>
                    </a:cubicBezTo>
                    <a:lnTo>
                      <a:pt x="199471" y="664528"/>
                    </a:lnTo>
                    <a:cubicBezTo>
                      <a:pt x="201953" y="663851"/>
                      <a:pt x="203984" y="663174"/>
                      <a:pt x="204887" y="662723"/>
                    </a:cubicBezTo>
                    <a:cubicBezTo>
                      <a:pt x="204887" y="662723"/>
                      <a:pt x="204887" y="662497"/>
                      <a:pt x="204887" y="662497"/>
                    </a:cubicBezTo>
                    <a:cubicBezTo>
                      <a:pt x="204661" y="661820"/>
                      <a:pt x="204435" y="660466"/>
                      <a:pt x="204435" y="658887"/>
                    </a:cubicBezTo>
                    <a:cubicBezTo>
                      <a:pt x="204435" y="654599"/>
                      <a:pt x="206466" y="652569"/>
                      <a:pt x="208723" y="650538"/>
                    </a:cubicBezTo>
                    <a:cubicBezTo>
                      <a:pt x="210077" y="649184"/>
                      <a:pt x="211656" y="647830"/>
                      <a:pt x="213236" y="645348"/>
                    </a:cubicBezTo>
                    <a:cubicBezTo>
                      <a:pt x="214590" y="642866"/>
                      <a:pt x="215266" y="641061"/>
                      <a:pt x="215943" y="638804"/>
                    </a:cubicBezTo>
                    <a:cubicBezTo>
                      <a:pt x="217072" y="635419"/>
                      <a:pt x="218200" y="631809"/>
                      <a:pt x="222487" y="626619"/>
                    </a:cubicBezTo>
                    <a:cubicBezTo>
                      <a:pt x="226323" y="621881"/>
                      <a:pt x="227903" y="616239"/>
                      <a:pt x="229256" y="610147"/>
                    </a:cubicBezTo>
                    <a:cubicBezTo>
                      <a:pt x="230159" y="606762"/>
                      <a:pt x="231062" y="603152"/>
                      <a:pt x="232416" y="599767"/>
                    </a:cubicBezTo>
                    <a:cubicBezTo>
                      <a:pt x="233318" y="597737"/>
                      <a:pt x="233995" y="595931"/>
                      <a:pt x="234672" y="594352"/>
                    </a:cubicBezTo>
                    <a:cubicBezTo>
                      <a:pt x="236928" y="588485"/>
                      <a:pt x="238734" y="584198"/>
                      <a:pt x="242570" y="579234"/>
                    </a:cubicBezTo>
                    <a:cubicBezTo>
                      <a:pt x="245503" y="575398"/>
                      <a:pt x="244826" y="570208"/>
                      <a:pt x="243472" y="562536"/>
                    </a:cubicBezTo>
                    <a:cubicBezTo>
                      <a:pt x="243021" y="559602"/>
                      <a:pt x="242570" y="556218"/>
                      <a:pt x="242118" y="552382"/>
                    </a:cubicBezTo>
                    <a:cubicBezTo>
                      <a:pt x="240764" y="539069"/>
                      <a:pt x="236928" y="533653"/>
                      <a:pt x="231739" y="526207"/>
                    </a:cubicBezTo>
                    <a:lnTo>
                      <a:pt x="231287" y="525530"/>
                    </a:lnTo>
                    <a:cubicBezTo>
                      <a:pt x="226097" y="518083"/>
                      <a:pt x="206466" y="504319"/>
                      <a:pt x="195410" y="505222"/>
                    </a:cubicBezTo>
                    <a:cubicBezTo>
                      <a:pt x="193379" y="505447"/>
                      <a:pt x="191574" y="505673"/>
                      <a:pt x="189768" y="505673"/>
                    </a:cubicBezTo>
                    <a:cubicBezTo>
                      <a:pt x="181645" y="506576"/>
                      <a:pt x="176681" y="507027"/>
                      <a:pt x="171265" y="501837"/>
                    </a:cubicBezTo>
                    <a:cubicBezTo>
                      <a:pt x="166527" y="497098"/>
                      <a:pt x="158178" y="497098"/>
                      <a:pt x="151634" y="497098"/>
                    </a:cubicBezTo>
                    <a:lnTo>
                      <a:pt x="150055" y="497098"/>
                    </a:lnTo>
                    <a:cubicBezTo>
                      <a:pt x="145316" y="497098"/>
                      <a:pt x="143962" y="494165"/>
                      <a:pt x="143060" y="491683"/>
                    </a:cubicBezTo>
                    <a:cubicBezTo>
                      <a:pt x="142157" y="489426"/>
                      <a:pt x="141255" y="487396"/>
                      <a:pt x="138095" y="486267"/>
                    </a:cubicBezTo>
                    <a:cubicBezTo>
                      <a:pt x="133808" y="484462"/>
                      <a:pt x="133357" y="484688"/>
                      <a:pt x="131100" y="486042"/>
                    </a:cubicBezTo>
                    <a:cubicBezTo>
                      <a:pt x="129747" y="486944"/>
                      <a:pt x="127716" y="488073"/>
                      <a:pt x="124331" y="489426"/>
                    </a:cubicBezTo>
                    <a:cubicBezTo>
                      <a:pt x="120269" y="491006"/>
                      <a:pt x="117110" y="492811"/>
                      <a:pt x="114628" y="494165"/>
                    </a:cubicBezTo>
                    <a:cubicBezTo>
                      <a:pt x="111244" y="495970"/>
                      <a:pt x="108536" y="497550"/>
                      <a:pt x="105828" y="497550"/>
                    </a:cubicBezTo>
                    <a:cubicBezTo>
                      <a:pt x="103346" y="497550"/>
                      <a:pt x="100413" y="496196"/>
                      <a:pt x="96577" y="494165"/>
                    </a:cubicBezTo>
                    <a:cubicBezTo>
                      <a:pt x="92741" y="492360"/>
                      <a:pt x="88228" y="490103"/>
                      <a:pt x="83940" y="489426"/>
                    </a:cubicBezTo>
                    <a:cubicBezTo>
                      <a:pt x="80104" y="488749"/>
                      <a:pt x="76494" y="491457"/>
                      <a:pt x="72884" y="494165"/>
                    </a:cubicBezTo>
                    <a:cubicBezTo>
                      <a:pt x="69499" y="496647"/>
                      <a:pt x="65889" y="499355"/>
                      <a:pt x="61827" y="499355"/>
                    </a:cubicBezTo>
                    <a:cubicBezTo>
                      <a:pt x="57089" y="499355"/>
                      <a:pt x="53027" y="496647"/>
                      <a:pt x="52350" y="492811"/>
                    </a:cubicBezTo>
                    <a:cubicBezTo>
                      <a:pt x="52124" y="491457"/>
                      <a:pt x="52124" y="486719"/>
                      <a:pt x="59796" y="484462"/>
                    </a:cubicBezTo>
                    <a:cubicBezTo>
                      <a:pt x="65437" y="482657"/>
                      <a:pt x="69499" y="479949"/>
                      <a:pt x="70402" y="476790"/>
                    </a:cubicBezTo>
                    <a:cubicBezTo>
                      <a:pt x="70853" y="475662"/>
                      <a:pt x="70627" y="474534"/>
                      <a:pt x="69950" y="473631"/>
                    </a:cubicBezTo>
                    <a:cubicBezTo>
                      <a:pt x="68371" y="471375"/>
                      <a:pt x="66114" y="470698"/>
                      <a:pt x="62955" y="470021"/>
                    </a:cubicBezTo>
                    <a:cubicBezTo>
                      <a:pt x="61601" y="469795"/>
                      <a:pt x="59796" y="469344"/>
                      <a:pt x="58217" y="468667"/>
                    </a:cubicBezTo>
                    <a:cubicBezTo>
                      <a:pt x="56412" y="467990"/>
                      <a:pt x="55735" y="466862"/>
                      <a:pt x="55509" y="465959"/>
                    </a:cubicBezTo>
                    <a:cubicBezTo>
                      <a:pt x="54832" y="463251"/>
                      <a:pt x="57540" y="460544"/>
                      <a:pt x="61150" y="457159"/>
                    </a:cubicBezTo>
                    <a:cubicBezTo>
                      <a:pt x="62955" y="455579"/>
                      <a:pt x="64535" y="453774"/>
                      <a:pt x="65889" y="451969"/>
                    </a:cubicBezTo>
                    <a:cubicBezTo>
                      <a:pt x="69273" y="447456"/>
                      <a:pt x="68145" y="443620"/>
                      <a:pt x="65437" y="439559"/>
                    </a:cubicBezTo>
                    <a:cubicBezTo>
                      <a:pt x="62278" y="434820"/>
                      <a:pt x="56186" y="429405"/>
                      <a:pt x="48514" y="424666"/>
                    </a:cubicBezTo>
                    <a:cubicBezTo>
                      <a:pt x="39488" y="419025"/>
                      <a:pt x="38360" y="415866"/>
                      <a:pt x="33170" y="401199"/>
                    </a:cubicBezTo>
                    <a:lnTo>
                      <a:pt x="32267" y="398717"/>
                    </a:lnTo>
                    <a:cubicBezTo>
                      <a:pt x="28431" y="388111"/>
                      <a:pt x="29334" y="383598"/>
                      <a:pt x="30237" y="379762"/>
                    </a:cubicBezTo>
                    <a:cubicBezTo>
                      <a:pt x="30688" y="377280"/>
                      <a:pt x="31139" y="375475"/>
                      <a:pt x="30237" y="372090"/>
                    </a:cubicBezTo>
                    <a:cubicBezTo>
                      <a:pt x="29785" y="369834"/>
                      <a:pt x="28657" y="366449"/>
                      <a:pt x="27303" y="361711"/>
                    </a:cubicBezTo>
                    <a:lnTo>
                      <a:pt x="26626" y="359680"/>
                    </a:lnTo>
                    <a:lnTo>
                      <a:pt x="29560" y="359229"/>
                    </a:lnTo>
                    <a:cubicBezTo>
                      <a:pt x="34975" y="358326"/>
                      <a:pt x="37909" y="357875"/>
                      <a:pt x="40165" y="353587"/>
                    </a:cubicBezTo>
                    <a:lnTo>
                      <a:pt x="41519" y="351105"/>
                    </a:lnTo>
                    <a:cubicBezTo>
                      <a:pt x="45129" y="344562"/>
                      <a:pt x="51447" y="333731"/>
                      <a:pt x="53027" y="324705"/>
                    </a:cubicBezTo>
                    <a:cubicBezTo>
                      <a:pt x="53929" y="319966"/>
                      <a:pt x="53478" y="316130"/>
                      <a:pt x="53027" y="312746"/>
                    </a:cubicBezTo>
                    <a:cubicBezTo>
                      <a:pt x="52576" y="308909"/>
                      <a:pt x="52124" y="305074"/>
                      <a:pt x="53929" y="301012"/>
                    </a:cubicBezTo>
                    <a:cubicBezTo>
                      <a:pt x="55509" y="297402"/>
                      <a:pt x="53704" y="291760"/>
                      <a:pt x="51899" y="286345"/>
                    </a:cubicBezTo>
                    <a:cubicBezTo>
                      <a:pt x="50770" y="282735"/>
                      <a:pt x="49642" y="279124"/>
                      <a:pt x="49191" y="275740"/>
                    </a:cubicBezTo>
                    <a:cubicBezTo>
                      <a:pt x="48965" y="271904"/>
                      <a:pt x="42196" y="270324"/>
                      <a:pt x="35652" y="270550"/>
                    </a:cubicBezTo>
                    <a:lnTo>
                      <a:pt x="34073" y="270550"/>
                    </a:lnTo>
                    <a:lnTo>
                      <a:pt x="33170" y="267391"/>
                    </a:lnTo>
                    <a:cubicBezTo>
                      <a:pt x="32267" y="264683"/>
                      <a:pt x="31365" y="261073"/>
                      <a:pt x="30688" y="256560"/>
                    </a:cubicBezTo>
                    <a:cubicBezTo>
                      <a:pt x="29108" y="247534"/>
                      <a:pt x="31139" y="244826"/>
                      <a:pt x="33170" y="241667"/>
                    </a:cubicBezTo>
                    <a:cubicBezTo>
                      <a:pt x="34298" y="240087"/>
                      <a:pt x="35652" y="238282"/>
                      <a:pt x="36555" y="235123"/>
                    </a:cubicBezTo>
                    <a:cubicBezTo>
                      <a:pt x="39262" y="227000"/>
                      <a:pt x="38585" y="221810"/>
                      <a:pt x="27303" y="216846"/>
                    </a:cubicBezTo>
                    <a:cubicBezTo>
                      <a:pt x="24144" y="215492"/>
                      <a:pt x="20985" y="213236"/>
                      <a:pt x="18277" y="210302"/>
                    </a:cubicBezTo>
                    <a:lnTo>
                      <a:pt x="16472" y="208271"/>
                    </a:lnTo>
                    <a:lnTo>
                      <a:pt x="18954" y="207143"/>
                    </a:lnTo>
                    <a:cubicBezTo>
                      <a:pt x="19857" y="206692"/>
                      <a:pt x="20308" y="206241"/>
                      <a:pt x="20534" y="205112"/>
                    </a:cubicBezTo>
                    <a:cubicBezTo>
                      <a:pt x="20759" y="202405"/>
                      <a:pt x="18503" y="199922"/>
                      <a:pt x="15570" y="196538"/>
                    </a:cubicBezTo>
                    <a:cubicBezTo>
                      <a:pt x="12862" y="193604"/>
                      <a:pt x="9928" y="190220"/>
                      <a:pt x="7672" y="185481"/>
                    </a:cubicBezTo>
                    <a:cubicBezTo>
                      <a:pt x="4513" y="179163"/>
                      <a:pt x="6544" y="175553"/>
                      <a:pt x="8575" y="172394"/>
                    </a:cubicBezTo>
                    <a:cubicBezTo>
                      <a:pt x="10154" y="169911"/>
                      <a:pt x="11282" y="167655"/>
                      <a:pt x="10605" y="163819"/>
                    </a:cubicBezTo>
                    <a:cubicBezTo>
                      <a:pt x="9928" y="160209"/>
                      <a:pt x="8123" y="156147"/>
                      <a:pt x="6544" y="151634"/>
                    </a:cubicBezTo>
                    <a:cubicBezTo>
                      <a:pt x="3385" y="144188"/>
                      <a:pt x="0" y="135839"/>
                      <a:pt x="0" y="126362"/>
                    </a:cubicBezTo>
                    <a:cubicBezTo>
                      <a:pt x="0" y="115531"/>
                      <a:pt x="0" y="115079"/>
                      <a:pt x="3385" y="110115"/>
                    </a:cubicBezTo>
                    <a:cubicBezTo>
                      <a:pt x="4513" y="108536"/>
                      <a:pt x="5867" y="106505"/>
                      <a:pt x="7672" y="103346"/>
                    </a:cubicBezTo>
                    <a:cubicBezTo>
                      <a:pt x="14216" y="92515"/>
                      <a:pt x="18954" y="80781"/>
                      <a:pt x="21888" y="68145"/>
                    </a:cubicBezTo>
                    <a:cubicBezTo>
                      <a:pt x="23693" y="60247"/>
                      <a:pt x="24595" y="59119"/>
                      <a:pt x="30237" y="57540"/>
                    </a:cubicBezTo>
                    <a:cubicBezTo>
                      <a:pt x="32042" y="57088"/>
                      <a:pt x="34298" y="56412"/>
                      <a:pt x="37457" y="55058"/>
                    </a:cubicBezTo>
                    <a:cubicBezTo>
                      <a:pt x="48288" y="50545"/>
                      <a:pt x="48288" y="48740"/>
                      <a:pt x="48288" y="41744"/>
                    </a:cubicBezTo>
                    <a:cubicBezTo>
                      <a:pt x="48288" y="36780"/>
                      <a:pt x="53253" y="33396"/>
                      <a:pt x="58668" y="29560"/>
                    </a:cubicBezTo>
                    <a:cubicBezTo>
                      <a:pt x="62955" y="26626"/>
                      <a:pt x="67920" y="23242"/>
                      <a:pt x="70402" y="18729"/>
                    </a:cubicBezTo>
                    <a:cubicBezTo>
                      <a:pt x="71530" y="16698"/>
                      <a:pt x="71981" y="14216"/>
                      <a:pt x="71304" y="11282"/>
                    </a:cubicBezTo>
                    <a:lnTo>
                      <a:pt x="69273" y="0"/>
                    </a:lnTo>
                    <a:lnTo>
                      <a:pt x="74915" y="10154"/>
                    </a:lnTo>
                    <a:cubicBezTo>
                      <a:pt x="75817" y="11959"/>
                      <a:pt x="76945" y="13087"/>
                      <a:pt x="78299" y="13990"/>
                    </a:cubicBezTo>
                    <a:cubicBezTo>
                      <a:pt x="82135" y="16472"/>
                      <a:pt x="84392" y="17600"/>
                      <a:pt x="86423" y="18503"/>
                    </a:cubicBezTo>
                    <a:cubicBezTo>
                      <a:pt x="88905" y="19631"/>
                      <a:pt x="90710" y="20534"/>
                      <a:pt x="94546" y="23467"/>
                    </a:cubicBezTo>
                    <a:cubicBezTo>
                      <a:pt x="98607" y="26852"/>
                      <a:pt x="101089" y="29108"/>
                      <a:pt x="104023" y="32042"/>
                    </a:cubicBezTo>
                    <a:cubicBezTo>
                      <a:pt x="105828" y="33847"/>
                      <a:pt x="107859" y="35878"/>
                      <a:pt x="110567" y="38585"/>
                    </a:cubicBezTo>
                    <a:cubicBezTo>
                      <a:pt x="117110" y="44678"/>
                      <a:pt x="116433" y="47160"/>
                      <a:pt x="113049" y="52801"/>
                    </a:cubicBezTo>
                    <a:cubicBezTo>
                      <a:pt x="112372" y="53929"/>
                      <a:pt x="111469" y="55283"/>
                      <a:pt x="110567" y="56863"/>
                    </a:cubicBezTo>
                    <a:cubicBezTo>
                      <a:pt x="108987" y="59796"/>
                      <a:pt x="107182" y="62504"/>
                      <a:pt x="105828" y="64760"/>
                    </a:cubicBezTo>
                    <a:cubicBezTo>
                      <a:pt x="103120" y="68822"/>
                      <a:pt x="101089" y="71981"/>
                      <a:pt x="99961" y="76268"/>
                    </a:cubicBezTo>
                    <a:cubicBezTo>
                      <a:pt x="99059" y="79427"/>
                      <a:pt x="97705" y="81007"/>
                      <a:pt x="96351" y="82586"/>
                    </a:cubicBezTo>
                    <a:cubicBezTo>
                      <a:pt x="94546" y="84617"/>
                      <a:pt x="93192" y="86197"/>
                      <a:pt x="94320" y="92064"/>
                    </a:cubicBezTo>
                    <a:cubicBezTo>
                      <a:pt x="96125" y="102443"/>
                      <a:pt x="101541" y="111244"/>
                      <a:pt x="108536" y="115079"/>
                    </a:cubicBezTo>
                    <a:lnTo>
                      <a:pt x="110567" y="116208"/>
                    </a:lnTo>
                    <a:cubicBezTo>
                      <a:pt x="116433" y="119367"/>
                      <a:pt x="118464" y="120495"/>
                      <a:pt x="125234" y="127039"/>
                    </a:cubicBezTo>
                    <a:cubicBezTo>
                      <a:pt x="127039" y="128618"/>
                      <a:pt x="128618" y="129295"/>
                      <a:pt x="130198" y="129295"/>
                    </a:cubicBezTo>
                    <a:cubicBezTo>
                      <a:pt x="133808" y="128844"/>
                      <a:pt x="136967" y="123654"/>
                      <a:pt x="138772" y="120946"/>
                    </a:cubicBezTo>
                    <a:cubicBezTo>
                      <a:pt x="142383" y="115305"/>
                      <a:pt x="145767" y="113049"/>
                      <a:pt x="155019" y="110792"/>
                    </a:cubicBezTo>
                    <a:cubicBezTo>
                      <a:pt x="158629" y="109890"/>
                      <a:pt x="160886" y="108310"/>
                      <a:pt x="162691" y="107182"/>
                    </a:cubicBezTo>
                    <a:cubicBezTo>
                      <a:pt x="164947" y="105602"/>
                      <a:pt x="167204" y="104248"/>
                      <a:pt x="170589" y="106054"/>
                    </a:cubicBezTo>
                    <a:cubicBezTo>
                      <a:pt x="172845" y="107408"/>
                      <a:pt x="173748" y="109438"/>
                      <a:pt x="174876" y="111469"/>
                    </a:cubicBezTo>
                    <a:cubicBezTo>
                      <a:pt x="176230" y="114177"/>
                      <a:pt x="177583" y="117110"/>
                      <a:pt x="182322" y="119818"/>
                    </a:cubicBezTo>
                    <a:cubicBezTo>
                      <a:pt x="185030" y="121172"/>
                      <a:pt x="187286" y="122526"/>
                      <a:pt x="189317" y="123654"/>
                    </a:cubicBezTo>
                    <a:cubicBezTo>
                      <a:pt x="194281" y="126362"/>
                      <a:pt x="198569" y="128618"/>
                      <a:pt x="206692" y="132454"/>
                    </a:cubicBezTo>
                    <a:cubicBezTo>
                      <a:pt x="210754" y="134259"/>
                      <a:pt x="214138" y="135839"/>
                      <a:pt x="217072" y="136967"/>
                    </a:cubicBezTo>
                    <a:cubicBezTo>
                      <a:pt x="223390" y="139449"/>
                      <a:pt x="227000" y="141029"/>
                      <a:pt x="228354" y="144188"/>
                    </a:cubicBezTo>
                    <a:cubicBezTo>
                      <a:pt x="229708" y="148024"/>
                      <a:pt x="225195" y="150957"/>
                      <a:pt x="220908" y="153665"/>
                    </a:cubicBezTo>
                    <a:cubicBezTo>
                      <a:pt x="218877" y="155019"/>
                      <a:pt x="216846" y="156147"/>
                      <a:pt x="215718" y="157275"/>
                    </a:cubicBezTo>
                    <a:cubicBezTo>
                      <a:pt x="214364" y="158629"/>
                      <a:pt x="212559" y="159757"/>
                      <a:pt x="210979" y="160660"/>
                    </a:cubicBezTo>
                    <a:cubicBezTo>
                      <a:pt x="210077" y="161337"/>
                      <a:pt x="208723" y="162014"/>
                      <a:pt x="208271" y="162465"/>
                    </a:cubicBezTo>
                    <a:cubicBezTo>
                      <a:pt x="208271" y="162465"/>
                      <a:pt x="208497" y="162691"/>
                      <a:pt x="208723" y="162917"/>
                    </a:cubicBezTo>
                    <a:cubicBezTo>
                      <a:pt x="209625" y="163593"/>
                      <a:pt x="212333" y="164496"/>
                      <a:pt x="214815" y="165173"/>
                    </a:cubicBezTo>
                    <a:cubicBezTo>
                      <a:pt x="222036" y="167429"/>
                      <a:pt x="233318" y="170814"/>
                      <a:pt x="234672" y="180517"/>
                    </a:cubicBezTo>
                    <a:cubicBezTo>
                      <a:pt x="235349" y="185030"/>
                      <a:pt x="238057" y="185255"/>
                      <a:pt x="243472" y="185481"/>
                    </a:cubicBezTo>
                    <a:cubicBezTo>
                      <a:pt x="248888" y="185707"/>
                      <a:pt x="255431" y="185932"/>
                      <a:pt x="259719" y="192927"/>
                    </a:cubicBezTo>
                    <a:cubicBezTo>
                      <a:pt x="263555" y="199020"/>
                      <a:pt x="272129" y="201953"/>
                      <a:pt x="278899" y="204435"/>
                    </a:cubicBezTo>
                    <a:cubicBezTo>
                      <a:pt x="285442" y="206692"/>
                      <a:pt x="290407" y="208271"/>
                      <a:pt x="290407" y="212559"/>
                    </a:cubicBezTo>
                    <a:cubicBezTo>
                      <a:pt x="290407" y="216846"/>
                      <a:pt x="298079" y="221359"/>
                      <a:pt x="314776" y="221359"/>
                    </a:cubicBezTo>
                    <a:cubicBezTo>
                      <a:pt x="320869" y="221359"/>
                      <a:pt x="325382" y="220005"/>
                      <a:pt x="329443" y="218877"/>
                    </a:cubicBezTo>
                    <a:cubicBezTo>
                      <a:pt x="335536" y="217072"/>
                      <a:pt x="340951" y="215718"/>
                      <a:pt x="346141" y="222036"/>
                    </a:cubicBezTo>
                    <a:cubicBezTo>
                      <a:pt x="348849" y="225195"/>
                      <a:pt x="350880" y="227903"/>
                      <a:pt x="352234" y="230159"/>
                    </a:cubicBezTo>
                    <a:cubicBezTo>
                      <a:pt x="355167" y="234221"/>
                      <a:pt x="356070" y="235349"/>
                      <a:pt x="357424" y="235123"/>
                    </a:cubicBezTo>
                    <a:cubicBezTo>
                      <a:pt x="358552" y="234898"/>
                      <a:pt x="361485" y="230385"/>
                      <a:pt x="363742" y="227226"/>
                    </a:cubicBezTo>
                    <a:cubicBezTo>
                      <a:pt x="365321" y="224969"/>
                      <a:pt x="367126" y="222261"/>
                      <a:pt x="369157" y="219779"/>
                    </a:cubicBezTo>
                    <a:lnTo>
                      <a:pt x="370737" y="217749"/>
                    </a:lnTo>
                    <a:lnTo>
                      <a:pt x="372091" y="220005"/>
                    </a:lnTo>
                    <a:cubicBezTo>
                      <a:pt x="377280" y="227903"/>
                      <a:pt x="390368" y="239411"/>
                      <a:pt x="406840" y="245954"/>
                    </a:cubicBezTo>
                    <a:cubicBezTo>
                      <a:pt x="413384" y="248436"/>
                      <a:pt x="420153" y="250693"/>
                      <a:pt x="427148" y="253175"/>
                    </a:cubicBezTo>
                    <a:cubicBezTo>
                      <a:pt x="443395" y="258590"/>
                      <a:pt x="459867" y="264232"/>
                      <a:pt x="473857" y="273483"/>
                    </a:cubicBezTo>
                    <a:cubicBezTo>
                      <a:pt x="480175" y="277545"/>
                      <a:pt x="486719" y="281381"/>
                      <a:pt x="493037" y="284991"/>
                    </a:cubicBezTo>
                    <a:cubicBezTo>
                      <a:pt x="506801" y="292663"/>
                      <a:pt x="519889" y="299884"/>
                      <a:pt x="525079" y="310038"/>
                    </a:cubicBezTo>
                    <a:cubicBezTo>
                      <a:pt x="529366" y="318161"/>
                      <a:pt x="537940" y="323351"/>
                      <a:pt x="545387" y="328089"/>
                    </a:cubicBezTo>
                    <a:cubicBezTo>
                      <a:pt x="550577" y="331248"/>
                      <a:pt x="555315" y="334408"/>
                      <a:pt x="558249" y="337792"/>
                    </a:cubicBezTo>
                    <a:cubicBezTo>
                      <a:pt x="564567" y="345239"/>
                      <a:pt x="581039" y="352234"/>
                      <a:pt x="595029" y="353136"/>
                    </a:cubicBezTo>
                    <a:cubicBezTo>
                      <a:pt x="608568" y="354039"/>
                      <a:pt x="614886" y="357198"/>
                      <a:pt x="626394" y="363065"/>
                    </a:cubicBezTo>
                    <a:lnTo>
                      <a:pt x="627748" y="363742"/>
                    </a:lnTo>
                    <a:cubicBezTo>
                      <a:pt x="631809" y="365772"/>
                      <a:pt x="636322" y="368254"/>
                      <a:pt x="640835" y="370511"/>
                    </a:cubicBezTo>
                    <a:cubicBezTo>
                      <a:pt x="649635" y="375024"/>
                      <a:pt x="657758" y="379311"/>
                      <a:pt x="662272" y="381116"/>
                    </a:cubicBezTo>
                    <a:cubicBezTo>
                      <a:pt x="669718" y="384050"/>
                      <a:pt x="685287" y="391496"/>
                      <a:pt x="713268" y="405035"/>
                    </a:cubicBezTo>
                    <a:cubicBezTo>
                      <a:pt x="715750" y="406163"/>
                      <a:pt x="722519" y="408645"/>
                      <a:pt x="733124" y="405486"/>
                    </a:cubicBezTo>
                    <a:lnTo>
                      <a:pt x="734027" y="405260"/>
                    </a:lnTo>
                    <a:cubicBezTo>
                      <a:pt x="742376" y="402553"/>
                      <a:pt x="746889" y="401199"/>
                      <a:pt x="752530" y="409999"/>
                    </a:cubicBezTo>
                    <a:cubicBezTo>
                      <a:pt x="757043" y="417220"/>
                      <a:pt x="762910" y="422184"/>
                      <a:pt x="764940" y="422861"/>
                    </a:cubicBezTo>
                    <a:cubicBezTo>
                      <a:pt x="764940" y="421958"/>
                      <a:pt x="764715" y="419927"/>
                      <a:pt x="764263" y="418348"/>
                    </a:cubicBezTo>
                    <a:cubicBezTo>
                      <a:pt x="763587" y="413835"/>
                      <a:pt x="762458" y="408194"/>
                      <a:pt x="765166" y="404809"/>
                    </a:cubicBezTo>
                    <a:cubicBezTo>
                      <a:pt x="766294" y="403230"/>
                      <a:pt x="767874" y="402553"/>
                      <a:pt x="770130" y="402327"/>
                    </a:cubicBezTo>
                    <a:lnTo>
                      <a:pt x="771710" y="402101"/>
                    </a:lnTo>
                    <a:cubicBezTo>
                      <a:pt x="782315" y="400973"/>
                      <a:pt x="799916" y="399168"/>
                      <a:pt x="806685" y="405035"/>
                    </a:cubicBezTo>
                    <a:cubicBezTo>
                      <a:pt x="808941" y="406840"/>
                      <a:pt x="811424" y="408645"/>
                      <a:pt x="814131" y="410225"/>
                    </a:cubicBezTo>
                    <a:cubicBezTo>
                      <a:pt x="817742" y="412707"/>
                      <a:pt x="821352" y="414963"/>
                      <a:pt x="823383" y="417671"/>
                    </a:cubicBezTo>
                    <a:lnTo>
                      <a:pt x="823609" y="418122"/>
                    </a:lnTo>
                    <a:lnTo>
                      <a:pt x="823609" y="418574"/>
                    </a:lnTo>
                    <a:cubicBezTo>
                      <a:pt x="824285" y="424892"/>
                      <a:pt x="826542" y="428728"/>
                      <a:pt x="828347" y="431887"/>
                    </a:cubicBezTo>
                    <a:cubicBezTo>
                      <a:pt x="829024" y="433015"/>
                      <a:pt x="829701" y="434143"/>
                      <a:pt x="830152" y="435046"/>
                    </a:cubicBezTo>
                    <a:lnTo>
                      <a:pt x="831055" y="437076"/>
                    </a:lnTo>
                    <a:cubicBezTo>
                      <a:pt x="833086" y="441589"/>
                      <a:pt x="835342" y="446779"/>
                      <a:pt x="839629" y="451969"/>
                    </a:cubicBezTo>
                    <a:cubicBezTo>
                      <a:pt x="841886" y="454677"/>
                      <a:pt x="843465" y="459190"/>
                      <a:pt x="845045" y="463928"/>
                    </a:cubicBezTo>
                    <a:cubicBezTo>
                      <a:pt x="847301" y="470472"/>
                      <a:pt x="849783" y="477693"/>
                      <a:pt x="853394" y="478144"/>
                    </a:cubicBezTo>
                    <a:cubicBezTo>
                      <a:pt x="862420" y="479272"/>
                      <a:pt x="866481" y="485139"/>
                      <a:pt x="869866" y="493939"/>
                    </a:cubicBezTo>
                    <a:cubicBezTo>
                      <a:pt x="871445" y="497775"/>
                      <a:pt x="874604" y="498904"/>
                      <a:pt x="877312" y="500032"/>
                    </a:cubicBezTo>
                    <a:cubicBezTo>
                      <a:pt x="879794" y="500934"/>
                      <a:pt x="882953" y="502063"/>
                      <a:pt x="882728" y="505673"/>
                    </a:cubicBezTo>
                    <a:cubicBezTo>
                      <a:pt x="882051" y="511540"/>
                      <a:pt x="876635" y="517632"/>
                      <a:pt x="865804" y="517632"/>
                    </a:cubicBezTo>
                    <a:cubicBezTo>
                      <a:pt x="861066" y="517632"/>
                      <a:pt x="860389" y="519437"/>
                      <a:pt x="859486" y="521694"/>
                    </a:cubicBezTo>
                    <a:cubicBezTo>
                      <a:pt x="859035" y="523273"/>
                      <a:pt x="858132" y="525304"/>
                      <a:pt x="855650" y="525755"/>
                    </a:cubicBezTo>
                    <a:cubicBezTo>
                      <a:pt x="852717" y="526207"/>
                      <a:pt x="845722" y="528463"/>
                      <a:pt x="844142" y="533427"/>
                    </a:cubicBezTo>
                    <a:cubicBezTo>
                      <a:pt x="842563" y="538166"/>
                      <a:pt x="846850" y="542679"/>
                      <a:pt x="849558" y="543807"/>
                    </a:cubicBezTo>
                    <a:cubicBezTo>
                      <a:pt x="852491" y="544935"/>
                      <a:pt x="873476" y="558925"/>
                      <a:pt x="871897" y="564341"/>
                    </a:cubicBezTo>
                    <a:cubicBezTo>
                      <a:pt x="870768" y="567951"/>
                      <a:pt x="866256" y="568854"/>
                      <a:pt x="860389" y="570208"/>
                    </a:cubicBezTo>
                    <a:cubicBezTo>
                      <a:pt x="858809" y="570433"/>
                      <a:pt x="857230" y="570885"/>
                      <a:pt x="855425" y="571336"/>
                    </a:cubicBezTo>
                    <a:cubicBezTo>
                      <a:pt x="852266" y="572239"/>
                      <a:pt x="851363" y="576075"/>
                      <a:pt x="851363" y="577654"/>
                    </a:cubicBezTo>
                    <a:cubicBezTo>
                      <a:pt x="850912" y="581716"/>
                      <a:pt x="852266" y="584875"/>
                      <a:pt x="853168" y="585326"/>
                    </a:cubicBezTo>
                    <a:lnTo>
                      <a:pt x="853845" y="585552"/>
                    </a:lnTo>
                    <a:cubicBezTo>
                      <a:pt x="857907" y="587583"/>
                      <a:pt x="866481" y="591870"/>
                      <a:pt x="871220" y="597962"/>
                    </a:cubicBezTo>
                    <a:cubicBezTo>
                      <a:pt x="875733" y="603829"/>
                      <a:pt x="888595" y="609696"/>
                      <a:pt x="897846" y="611275"/>
                    </a:cubicBezTo>
                    <a:cubicBezTo>
                      <a:pt x="905292" y="612629"/>
                      <a:pt x="911159" y="618270"/>
                      <a:pt x="913190" y="622783"/>
                    </a:cubicBezTo>
                    <a:cubicBezTo>
                      <a:pt x="914544" y="625717"/>
                      <a:pt x="914544" y="628424"/>
                      <a:pt x="913416" y="630455"/>
                    </a:cubicBezTo>
                    <a:cubicBezTo>
                      <a:pt x="913190" y="630907"/>
                      <a:pt x="912964" y="631358"/>
                      <a:pt x="912513" y="631809"/>
                    </a:cubicBezTo>
                    <a:cubicBezTo>
                      <a:pt x="910031" y="636096"/>
                      <a:pt x="907323" y="641061"/>
                      <a:pt x="894913" y="641061"/>
                    </a:cubicBezTo>
                    <a:cubicBezTo>
                      <a:pt x="893107" y="641061"/>
                      <a:pt x="891302" y="641061"/>
                      <a:pt x="889497" y="641061"/>
                    </a:cubicBezTo>
                    <a:cubicBezTo>
                      <a:pt x="879343" y="640835"/>
                      <a:pt x="869640" y="640835"/>
                      <a:pt x="862420" y="644671"/>
                    </a:cubicBezTo>
                    <a:cubicBezTo>
                      <a:pt x="858132" y="646927"/>
                      <a:pt x="854973" y="650086"/>
                      <a:pt x="851137" y="653697"/>
                    </a:cubicBezTo>
                    <a:cubicBezTo>
                      <a:pt x="847753" y="657082"/>
                      <a:pt x="843917" y="660917"/>
                      <a:pt x="838501" y="664302"/>
                    </a:cubicBezTo>
                    <a:cubicBezTo>
                      <a:pt x="833537" y="667687"/>
                      <a:pt x="826316" y="675359"/>
                      <a:pt x="819998" y="682128"/>
                    </a:cubicBezTo>
                    <a:cubicBezTo>
                      <a:pt x="811198" y="691605"/>
                      <a:pt x="806008" y="697021"/>
                      <a:pt x="802623" y="697472"/>
                    </a:cubicBezTo>
                    <a:cubicBezTo>
                      <a:pt x="797433" y="698375"/>
                      <a:pt x="782766" y="707175"/>
                      <a:pt x="778931" y="713042"/>
                    </a:cubicBezTo>
                    <a:cubicBezTo>
                      <a:pt x="777125" y="715749"/>
                      <a:pt x="776448" y="719134"/>
                      <a:pt x="775771" y="722744"/>
                    </a:cubicBezTo>
                    <a:cubicBezTo>
                      <a:pt x="774869" y="727483"/>
                      <a:pt x="773741" y="732447"/>
                      <a:pt x="770356" y="736283"/>
                    </a:cubicBezTo>
                    <a:cubicBezTo>
                      <a:pt x="766746" y="740571"/>
                      <a:pt x="772612" y="756140"/>
                      <a:pt x="776223" y="765392"/>
                    </a:cubicBezTo>
                    <a:cubicBezTo>
                      <a:pt x="777351" y="768551"/>
                      <a:pt x="778479" y="771033"/>
                      <a:pt x="779156" y="773064"/>
                    </a:cubicBezTo>
                    <a:cubicBezTo>
                      <a:pt x="780510" y="777351"/>
                      <a:pt x="783669" y="782766"/>
                      <a:pt x="786603" y="787730"/>
                    </a:cubicBezTo>
                    <a:cubicBezTo>
                      <a:pt x="789762" y="792920"/>
                      <a:pt x="792244" y="797208"/>
                      <a:pt x="792469" y="799915"/>
                    </a:cubicBezTo>
                    <a:cubicBezTo>
                      <a:pt x="792921" y="805557"/>
                      <a:pt x="787279" y="815034"/>
                      <a:pt x="778705" y="822706"/>
                    </a:cubicBezTo>
                    <a:cubicBezTo>
                      <a:pt x="775546" y="825414"/>
                      <a:pt x="776448" y="829249"/>
                      <a:pt x="778254" y="834891"/>
                    </a:cubicBezTo>
                    <a:cubicBezTo>
                      <a:pt x="779833" y="840081"/>
                      <a:pt x="781864" y="846173"/>
                      <a:pt x="775997" y="849783"/>
                    </a:cubicBezTo>
                    <a:cubicBezTo>
                      <a:pt x="772387" y="852040"/>
                      <a:pt x="772387" y="854973"/>
                      <a:pt x="772612" y="859035"/>
                    </a:cubicBezTo>
                    <a:cubicBezTo>
                      <a:pt x="772838" y="862871"/>
                      <a:pt x="773064" y="867835"/>
                      <a:pt x="768777" y="872573"/>
                    </a:cubicBezTo>
                    <a:cubicBezTo>
                      <a:pt x="765843" y="875732"/>
                      <a:pt x="764038" y="879343"/>
                      <a:pt x="762233" y="882953"/>
                    </a:cubicBezTo>
                    <a:cubicBezTo>
                      <a:pt x="759525" y="888369"/>
                      <a:pt x="756817" y="893333"/>
                      <a:pt x="750950" y="896041"/>
                    </a:cubicBezTo>
                    <a:cubicBezTo>
                      <a:pt x="746889" y="898297"/>
                      <a:pt x="738766" y="899877"/>
                      <a:pt x="730642" y="899877"/>
                    </a:cubicBezTo>
                    <a:close/>
                    <a:moveTo>
                      <a:pt x="662948" y="785023"/>
                    </a:moveTo>
                    <a:cubicBezTo>
                      <a:pt x="666333" y="785023"/>
                      <a:pt x="669266" y="785700"/>
                      <a:pt x="673328" y="786828"/>
                    </a:cubicBezTo>
                    <a:cubicBezTo>
                      <a:pt x="676261" y="787730"/>
                      <a:pt x="678969" y="787730"/>
                      <a:pt x="681677" y="787956"/>
                    </a:cubicBezTo>
                    <a:cubicBezTo>
                      <a:pt x="687093" y="788182"/>
                      <a:pt x="692057" y="788633"/>
                      <a:pt x="694539" y="794049"/>
                    </a:cubicBezTo>
                    <a:cubicBezTo>
                      <a:pt x="696344" y="798110"/>
                      <a:pt x="694539" y="800367"/>
                      <a:pt x="692959" y="802398"/>
                    </a:cubicBezTo>
                    <a:cubicBezTo>
                      <a:pt x="691154" y="804654"/>
                      <a:pt x="689123" y="806911"/>
                      <a:pt x="690928" y="813906"/>
                    </a:cubicBezTo>
                    <a:cubicBezTo>
                      <a:pt x="692282" y="819095"/>
                      <a:pt x="692959" y="822254"/>
                      <a:pt x="693185" y="824737"/>
                    </a:cubicBezTo>
                    <a:cubicBezTo>
                      <a:pt x="693862" y="828798"/>
                      <a:pt x="694088" y="830152"/>
                      <a:pt x="697472" y="834665"/>
                    </a:cubicBezTo>
                    <a:cubicBezTo>
                      <a:pt x="703565" y="842788"/>
                      <a:pt x="705596" y="848655"/>
                      <a:pt x="699277" y="856327"/>
                    </a:cubicBezTo>
                    <a:cubicBezTo>
                      <a:pt x="693862" y="862871"/>
                      <a:pt x="691605" y="866707"/>
                      <a:pt x="700406" y="874379"/>
                    </a:cubicBezTo>
                    <a:cubicBezTo>
                      <a:pt x="705821" y="879117"/>
                      <a:pt x="706949" y="882051"/>
                      <a:pt x="708078" y="884758"/>
                    </a:cubicBezTo>
                    <a:cubicBezTo>
                      <a:pt x="708980" y="887015"/>
                      <a:pt x="709657" y="888820"/>
                      <a:pt x="713493" y="891979"/>
                    </a:cubicBezTo>
                    <a:cubicBezTo>
                      <a:pt x="721391" y="898072"/>
                      <a:pt x="740796" y="896718"/>
                      <a:pt x="749822" y="892882"/>
                    </a:cubicBezTo>
                    <a:cubicBezTo>
                      <a:pt x="754335" y="890851"/>
                      <a:pt x="756592" y="886564"/>
                      <a:pt x="759074" y="881599"/>
                    </a:cubicBezTo>
                    <a:cubicBezTo>
                      <a:pt x="760879" y="877989"/>
                      <a:pt x="762910" y="874153"/>
                      <a:pt x="766069" y="870543"/>
                    </a:cubicBezTo>
                    <a:cubicBezTo>
                      <a:pt x="769228" y="866932"/>
                      <a:pt x="769002" y="863548"/>
                      <a:pt x="768777" y="859712"/>
                    </a:cubicBezTo>
                    <a:cubicBezTo>
                      <a:pt x="768551" y="855424"/>
                      <a:pt x="768325" y="850686"/>
                      <a:pt x="773966" y="847076"/>
                    </a:cubicBezTo>
                    <a:cubicBezTo>
                      <a:pt x="776900" y="845270"/>
                      <a:pt x="776448" y="842562"/>
                      <a:pt x="774643" y="836470"/>
                    </a:cubicBezTo>
                    <a:cubicBezTo>
                      <a:pt x="773064" y="831280"/>
                      <a:pt x="771033" y="824962"/>
                      <a:pt x="776223" y="820449"/>
                    </a:cubicBezTo>
                    <a:cubicBezTo>
                      <a:pt x="784572" y="813003"/>
                      <a:pt x="789085" y="804654"/>
                      <a:pt x="788859" y="800818"/>
                    </a:cubicBezTo>
                    <a:cubicBezTo>
                      <a:pt x="788633" y="799013"/>
                      <a:pt x="786151" y="794500"/>
                      <a:pt x="783443" y="790213"/>
                    </a:cubicBezTo>
                    <a:cubicBezTo>
                      <a:pt x="780510" y="785249"/>
                      <a:pt x="777125" y="779607"/>
                      <a:pt x="775771" y="774869"/>
                    </a:cubicBezTo>
                    <a:cubicBezTo>
                      <a:pt x="775095" y="773064"/>
                      <a:pt x="774192" y="770356"/>
                      <a:pt x="773064" y="767422"/>
                    </a:cubicBezTo>
                    <a:cubicBezTo>
                      <a:pt x="767423" y="752755"/>
                      <a:pt x="762910" y="740119"/>
                      <a:pt x="767648" y="734704"/>
                    </a:cubicBezTo>
                    <a:cubicBezTo>
                      <a:pt x="770356" y="731545"/>
                      <a:pt x="771259" y="727257"/>
                      <a:pt x="772161" y="722744"/>
                    </a:cubicBezTo>
                    <a:cubicBezTo>
                      <a:pt x="772838" y="718909"/>
                      <a:pt x="773741" y="715073"/>
                      <a:pt x="775771" y="711914"/>
                    </a:cubicBezTo>
                    <a:cubicBezTo>
                      <a:pt x="780284" y="704693"/>
                      <a:pt x="795854" y="695667"/>
                      <a:pt x="801946" y="694539"/>
                    </a:cubicBezTo>
                    <a:cubicBezTo>
                      <a:pt x="804203" y="694087"/>
                      <a:pt x="811424" y="686415"/>
                      <a:pt x="817290" y="680323"/>
                    </a:cubicBezTo>
                    <a:cubicBezTo>
                      <a:pt x="824060" y="673102"/>
                      <a:pt x="831055" y="665430"/>
                      <a:pt x="836696" y="662046"/>
                    </a:cubicBezTo>
                    <a:cubicBezTo>
                      <a:pt x="841660" y="658661"/>
                      <a:pt x="845271" y="655276"/>
                      <a:pt x="848655" y="651892"/>
                    </a:cubicBezTo>
                    <a:cubicBezTo>
                      <a:pt x="852266" y="648281"/>
                      <a:pt x="855876" y="644897"/>
                      <a:pt x="860840" y="642189"/>
                    </a:cubicBezTo>
                    <a:cubicBezTo>
                      <a:pt x="868963" y="637901"/>
                      <a:pt x="879117" y="638127"/>
                      <a:pt x="889723" y="638127"/>
                    </a:cubicBezTo>
                    <a:cubicBezTo>
                      <a:pt x="891528" y="638127"/>
                      <a:pt x="893333" y="638127"/>
                      <a:pt x="895138" y="638127"/>
                    </a:cubicBezTo>
                    <a:cubicBezTo>
                      <a:pt x="905292" y="638127"/>
                      <a:pt x="907323" y="634742"/>
                      <a:pt x="909580" y="630681"/>
                    </a:cubicBezTo>
                    <a:cubicBezTo>
                      <a:pt x="909805" y="630230"/>
                      <a:pt x="910257" y="629553"/>
                      <a:pt x="910482" y="629101"/>
                    </a:cubicBezTo>
                    <a:cubicBezTo>
                      <a:pt x="911159" y="628199"/>
                      <a:pt x="910933" y="626619"/>
                      <a:pt x="910257" y="624814"/>
                    </a:cubicBezTo>
                    <a:cubicBezTo>
                      <a:pt x="908677" y="621204"/>
                      <a:pt x="903938" y="616691"/>
                      <a:pt x="897846" y="615337"/>
                    </a:cubicBezTo>
                    <a:cubicBezTo>
                      <a:pt x="887918" y="613532"/>
                      <a:pt x="874153" y="607214"/>
                      <a:pt x="868963" y="600444"/>
                    </a:cubicBezTo>
                    <a:cubicBezTo>
                      <a:pt x="864676" y="595029"/>
                      <a:pt x="856778" y="590967"/>
                      <a:pt x="852942" y="589162"/>
                    </a:cubicBezTo>
                    <a:lnTo>
                      <a:pt x="852266" y="588936"/>
                    </a:lnTo>
                    <a:cubicBezTo>
                      <a:pt x="849106" y="587357"/>
                      <a:pt x="847978" y="581941"/>
                      <a:pt x="848430" y="577654"/>
                    </a:cubicBezTo>
                    <a:cubicBezTo>
                      <a:pt x="848881" y="572464"/>
                      <a:pt x="851589" y="569080"/>
                      <a:pt x="855425" y="568177"/>
                    </a:cubicBezTo>
                    <a:cubicBezTo>
                      <a:pt x="857230" y="567726"/>
                      <a:pt x="858809" y="567274"/>
                      <a:pt x="860389" y="567049"/>
                    </a:cubicBezTo>
                    <a:cubicBezTo>
                      <a:pt x="864450" y="566146"/>
                      <a:pt x="868512" y="565244"/>
                      <a:pt x="868963" y="563890"/>
                    </a:cubicBezTo>
                    <a:cubicBezTo>
                      <a:pt x="868286" y="561182"/>
                      <a:pt x="852717" y="549223"/>
                      <a:pt x="848881" y="547869"/>
                    </a:cubicBezTo>
                    <a:cubicBezTo>
                      <a:pt x="844142" y="546064"/>
                      <a:pt x="838952" y="539520"/>
                      <a:pt x="841209" y="532750"/>
                    </a:cubicBezTo>
                    <a:cubicBezTo>
                      <a:pt x="843240" y="526432"/>
                      <a:pt x="851363" y="523048"/>
                      <a:pt x="855876" y="522596"/>
                    </a:cubicBezTo>
                    <a:cubicBezTo>
                      <a:pt x="856101" y="522596"/>
                      <a:pt x="856327" y="522371"/>
                      <a:pt x="856553" y="521017"/>
                    </a:cubicBezTo>
                    <a:cubicBezTo>
                      <a:pt x="857455" y="518535"/>
                      <a:pt x="858809" y="514473"/>
                      <a:pt x="866256" y="514473"/>
                    </a:cubicBezTo>
                    <a:cubicBezTo>
                      <a:pt x="874604" y="514473"/>
                      <a:pt x="879117" y="509960"/>
                      <a:pt x="879343" y="505899"/>
                    </a:cubicBezTo>
                    <a:cubicBezTo>
                      <a:pt x="879343" y="505447"/>
                      <a:pt x="879117" y="504996"/>
                      <a:pt x="876410" y="504093"/>
                    </a:cubicBezTo>
                    <a:cubicBezTo>
                      <a:pt x="873476" y="502965"/>
                      <a:pt x="868738" y="501386"/>
                      <a:pt x="866707" y="495970"/>
                    </a:cubicBezTo>
                    <a:cubicBezTo>
                      <a:pt x="863097" y="486944"/>
                      <a:pt x="859486" y="483334"/>
                      <a:pt x="853168" y="482657"/>
                    </a:cubicBezTo>
                    <a:cubicBezTo>
                      <a:pt x="847076" y="481980"/>
                      <a:pt x="844368" y="473857"/>
                      <a:pt x="841660" y="465959"/>
                    </a:cubicBezTo>
                    <a:cubicBezTo>
                      <a:pt x="840306" y="461672"/>
                      <a:pt x="838727" y="457385"/>
                      <a:pt x="836922" y="455128"/>
                    </a:cubicBezTo>
                    <a:cubicBezTo>
                      <a:pt x="832183" y="449713"/>
                      <a:pt x="829927" y="444072"/>
                      <a:pt x="827670" y="439333"/>
                    </a:cubicBezTo>
                    <a:lnTo>
                      <a:pt x="826768" y="437302"/>
                    </a:lnTo>
                    <a:cubicBezTo>
                      <a:pt x="826316" y="436400"/>
                      <a:pt x="825865" y="435497"/>
                      <a:pt x="825188" y="434369"/>
                    </a:cubicBezTo>
                    <a:cubicBezTo>
                      <a:pt x="823383" y="431210"/>
                      <a:pt x="820901" y="426922"/>
                      <a:pt x="819998" y="420153"/>
                    </a:cubicBezTo>
                    <a:cubicBezTo>
                      <a:pt x="818193" y="418122"/>
                      <a:pt x="815034" y="416091"/>
                      <a:pt x="811875" y="413835"/>
                    </a:cubicBezTo>
                    <a:cubicBezTo>
                      <a:pt x="809167" y="412030"/>
                      <a:pt x="806459" y="410225"/>
                      <a:pt x="804203" y="408194"/>
                    </a:cubicBezTo>
                    <a:cubicBezTo>
                      <a:pt x="798562" y="403455"/>
                      <a:pt x="781413" y="405260"/>
                      <a:pt x="771936" y="406163"/>
                    </a:cubicBezTo>
                    <a:lnTo>
                      <a:pt x="770356" y="406389"/>
                    </a:lnTo>
                    <a:cubicBezTo>
                      <a:pt x="769002" y="406614"/>
                      <a:pt x="768325" y="407066"/>
                      <a:pt x="768099" y="407517"/>
                    </a:cubicBezTo>
                    <a:cubicBezTo>
                      <a:pt x="766520" y="409548"/>
                      <a:pt x="767423" y="414512"/>
                      <a:pt x="767874" y="418122"/>
                    </a:cubicBezTo>
                    <a:cubicBezTo>
                      <a:pt x="768551" y="421733"/>
                      <a:pt x="769002" y="424215"/>
                      <a:pt x="767874" y="425794"/>
                    </a:cubicBezTo>
                    <a:cubicBezTo>
                      <a:pt x="767197" y="426697"/>
                      <a:pt x="766294" y="427148"/>
                      <a:pt x="765166" y="427148"/>
                    </a:cubicBezTo>
                    <a:cubicBezTo>
                      <a:pt x="760653" y="427148"/>
                      <a:pt x="753207" y="418574"/>
                      <a:pt x="749145" y="412481"/>
                    </a:cubicBezTo>
                    <a:cubicBezTo>
                      <a:pt x="744858" y="405937"/>
                      <a:pt x="743053" y="406614"/>
                      <a:pt x="734930" y="409096"/>
                    </a:cubicBezTo>
                    <a:lnTo>
                      <a:pt x="734027" y="409322"/>
                    </a:lnTo>
                    <a:cubicBezTo>
                      <a:pt x="725678" y="412030"/>
                      <a:pt x="717555" y="411804"/>
                      <a:pt x="711462" y="408645"/>
                    </a:cubicBezTo>
                    <a:cubicBezTo>
                      <a:pt x="683482" y="395106"/>
                      <a:pt x="668138" y="387660"/>
                      <a:pt x="660918" y="384727"/>
                    </a:cubicBezTo>
                    <a:cubicBezTo>
                      <a:pt x="656179" y="382921"/>
                      <a:pt x="647830" y="378634"/>
                      <a:pt x="639030" y="373896"/>
                    </a:cubicBezTo>
                    <a:cubicBezTo>
                      <a:pt x="634517" y="371639"/>
                      <a:pt x="630004" y="369157"/>
                      <a:pt x="625942" y="367126"/>
                    </a:cubicBezTo>
                    <a:lnTo>
                      <a:pt x="624589" y="366449"/>
                    </a:lnTo>
                    <a:cubicBezTo>
                      <a:pt x="613081" y="360808"/>
                      <a:pt x="607439" y="357875"/>
                      <a:pt x="594803" y="356972"/>
                    </a:cubicBezTo>
                    <a:cubicBezTo>
                      <a:pt x="581490" y="356070"/>
                      <a:pt x="563213" y="349526"/>
                      <a:pt x="555315" y="340274"/>
                    </a:cubicBezTo>
                    <a:cubicBezTo>
                      <a:pt x="552607" y="337115"/>
                      <a:pt x="548094" y="334182"/>
                      <a:pt x="543356" y="331248"/>
                    </a:cubicBezTo>
                    <a:cubicBezTo>
                      <a:pt x="535458" y="326284"/>
                      <a:pt x="526658" y="320643"/>
                      <a:pt x="521694" y="311843"/>
                    </a:cubicBezTo>
                    <a:cubicBezTo>
                      <a:pt x="516730" y="302817"/>
                      <a:pt x="504319" y="295822"/>
                      <a:pt x="491006" y="288376"/>
                    </a:cubicBezTo>
                    <a:cubicBezTo>
                      <a:pt x="484462" y="284765"/>
                      <a:pt x="477919" y="281155"/>
                      <a:pt x="471600" y="276868"/>
                    </a:cubicBezTo>
                    <a:cubicBezTo>
                      <a:pt x="458062" y="267842"/>
                      <a:pt x="441590" y="262426"/>
                      <a:pt x="425794" y="257011"/>
                    </a:cubicBezTo>
                    <a:cubicBezTo>
                      <a:pt x="419025" y="254754"/>
                      <a:pt x="411804" y="252272"/>
                      <a:pt x="405261" y="249790"/>
                    </a:cubicBezTo>
                    <a:cubicBezTo>
                      <a:pt x="389240" y="243472"/>
                      <a:pt x="376378" y="232867"/>
                      <a:pt x="370285" y="224518"/>
                    </a:cubicBezTo>
                    <a:cubicBezTo>
                      <a:pt x="368932" y="226323"/>
                      <a:pt x="367803" y="227903"/>
                      <a:pt x="366675" y="229708"/>
                    </a:cubicBezTo>
                    <a:cubicBezTo>
                      <a:pt x="362613" y="235575"/>
                      <a:pt x="360357" y="238734"/>
                      <a:pt x="357649" y="239185"/>
                    </a:cubicBezTo>
                    <a:cubicBezTo>
                      <a:pt x="353588" y="239862"/>
                      <a:pt x="351557" y="236703"/>
                      <a:pt x="348623" y="232641"/>
                    </a:cubicBezTo>
                    <a:cubicBezTo>
                      <a:pt x="347044" y="230385"/>
                      <a:pt x="345239" y="227903"/>
                      <a:pt x="342756" y="224744"/>
                    </a:cubicBezTo>
                    <a:cubicBezTo>
                      <a:pt x="338921" y="220231"/>
                      <a:pt x="335987" y="221133"/>
                      <a:pt x="329895" y="222938"/>
                    </a:cubicBezTo>
                    <a:cubicBezTo>
                      <a:pt x="325833" y="224067"/>
                      <a:pt x="320869" y="225420"/>
                      <a:pt x="314099" y="225420"/>
                    </a:cubicBezTo>
                    <a:cubicBezTo>
                      <a:pt x="296725" y="225420"/>
                      <a:pt x="285894" y="220682"/>
                      <a:pt x="285894" y="212784"/>
                    </a:cubicBezTo>
                    <a:cubicBezTo>
                      <a:pt x="285894" y="211430"/>
                      <a:pt x="280929" y="209625"/>
                      <a:pt x="276868" y="208271"/>
                    </a:cubicBezTo>
                    <a:cubicBezTo>
                      <a:pt x="269422" y="205789"/>
                      <a:pt x="260170" y="202630"/>
                      <a:pt x="255657" y="195184"/>
                    </a:cubicBezTo>
                    <a:cubicBezTo>
                      <a:pt x="252498" y="189994"/>
                      <a:pt x="247308" y="189768"/>
                      <a:pt x="242344" y="189543"/>
                    </a:cubicBezTo>
                    <a:cubicBezTo>
                      <a:pt x="237154" y="189317"/>
                      <a:pt x="231062" y="189091"/>
                      <a:pt x="229933" y="181419"/>
                    </a:cubicBezTo>
                    <a:cubicBezTo>
                      <a:pt x="228805" y="173973"/>
                      <a:pt x="219554" y="171265"/>
                      <a:pt x="212784" y="169235"/>
                    </a:cubicBezTo>
                    <a:cubicBezTo>
                      <a:pt x="209400" y="168106"/>
                      <a:pt x="206692" y="167429"/>
                      <a:pt x="205338" y="166076"/>
                    </a:cubicBezTo>
                    <a:cubicBezTo>
                      <a:pt x="204210" y="164947"/>
                      <a:pt x="203533" y="163819"/>
                      <a:pt x="203533" y="162691"/>
                    </a:cubicBezTo>
                    <a:cubicBezTo>
                      <a:pt x="203759" y="160660"/>
                      <a:pt x="205789" y="159306"/>
                      <a:pt x="208046" y="157952"/>
                    </a:cubicBezTo>
                    <a:cubicBezTo>
                      <a:pt x="209400" y="157050"/>
                      <a:pt x="210979" y="156147"/>
                      <a:pt x="212107" y="155019"/>
                    </a:cubicBezTo>
                    <a:cubicBezTo>
                      <a:pt x="213687" y="153665"/>
                      <a:pt x="215718" y="152085"/>
                      <a:pt x="217974" y="150732"/>
                    </a:cubicBezTo>
                    <a:cubicBezTo>
                      <a:pt x="219779" y="149603"/>
                      <a:pt x="224292" y="146670"/>
                      <a:pt x="224067" y="145767"/>
                    </a:cubicBezTo>
                    <a:cubicBezTo>
                      <a:pt x="223390" y="143962"/>
                      <a:pt x="219779" y="142608"/>
                      <a:pt x="214815" y="140578"/>
                    </a:cubicBezTo>
                    <a:cubicBezTo>
                      <a:pt x="211882" y="139449"/>
                      <a:pt x="208271" y="137870"/>
                      <a:pt x="204210" y="136065"/>
                    </a:cubicBezTo>
                    <a:cubicBezTo>
                      <a:pt x="195861" y="132003"/>
                      <a:pt x="191799" y="129747"/>
                      <a:pt x="186835" y="127039"/>
                    </a:cubicBezTo>
                    <a:cubicBezTo>
                      <a:pt x="184804" y="125910"/>
                      <a:pt x="182548" y="124782"/>
                      <a:pt x="179840" y="123203"/>
                    </a:cubicBezTo>
                    <a:cubicBezTo>
                      <a:pt x="173973" y="120044"/>
                      <a:pt x="172168" y="116208"/>
                      <a:pt x="170589" y="113274"/>
                    </a:cubicBezTo>
                    <a:cubicBezTo>
                      <a:pt x="169686" y="111244"/>
                      <a:pt x="169009" y="110115"/>
                      <a:pt x="167881" y="109664"/>
                    </a:cubicBezTo>
                    <a:cubicBezTo>
                      <a:pt x="166527" y="108987"/>
                      <a:pt x="166301" y="109213"/>
                      <a:pt x="163819" y="110567"/>
                    </a:cubicBezTo>
                    <a:cubicBezTo>
                      <a:pt x="162014" y="111695"/>
                      <a:pt x="159306" y="113500"/>
                      <a:pt x="155019" y="114628"/>
                    </a:cubicBezTo>
                    <a:cubicBezTo>
                      <a:pt x="146219" y="116885"/>
                      <a:pt x="143962" y="118690"/>
                      <a:pt x="141029" y="123203"/>
                    </a:cubicBezTo>
                    <a:cubicBezTo>
                      <a:pt x="138772" y="126813"/>
                      <a:pt x="134936" y="132680"/>
                      <a:pt x="129747" y="133357"/>
                    </a:cubicBezTo>
                    <a:cubicBezTo>
                      <a:pt x="127039" y="133808"/>
                      <a:pt x="124331" y="132680"/>
                      <a:pt x="121849" y="130198"/>
                    </a:cubicBezTo>
                    <a:cubicBezTo>
                      <a:pt x="115305" y="124105"/>
                      <a:pt x="113500" y="122977"/>
                      <a:pt x="107859" y="119818"/>
                    </a:cubicBezTo>
                    <a:lnTo>
                      <a:pt x="105828" y="118690"/>
                    </a:lnTo>
                    <a:cubicBezTo>
                      <a:pt x="97930" y="114177"/>
                      <a:pt x="91838" y="104474"/>
                      <a:pt x="89807" y="92966"/>
                    </a:cubicBezTo>
                    <a:cubicBezTo>
                      <a:pt x="88453" y="85294"/>
                      <a:pt x="90710" y="82812"/>
                      <a:pt x="92741" y="80556"/>
                    </a:cubicBezTo>
                    <a:cubicBezTo>
                      <a:pt x="93869" y="79202"/>
                      <a:pt x="94997" y="78074"/>
                      <a:pt x="95448" y="75817"/>
                    </a:cubicBezTo>
                    <a:cubicBezTo>
                      <a:pt x="96802" y="70853"/>
                      <a:pt x="99059" y="67468"/>
                      <a:pt x="101766" y="63181"/>
                    </a:cubicBezTo>
                    <a:cubicBezTo>
                      <a:pt x="103120" y="60924"/>
                      <a:pt x="104700" y="58442"/>
                      <a:pt x="106505" y="55509"/>
                    </a:cubicBezTo>
                    <a:cubicBezTo>
                      <a:pt x="107408" y="53704"/>
                      <a:pt x="108310" y="52350"/>
                      <a:pt x="109213" y="51222"/>
                    </a:cubicBezTo>
                    <a:cubicBezTo>
                      <a:pt x="112146" y="46709"/>
                      <a:pt x="112372" y="46483"/>
                      <a:pt x="107408" y="41744"/>
                    </a:cubicBezTo>
                    <a:cubicBezTo>
                      <a:pt x="104474" y="39037"/>
                      <a:pt x="102443" y="37006"/>
                      <a:pt x="100638" y="35201"/>
                    </a:cubicBezTo>
                    <a:cubicBezTo>
                      <a:pt x="97705" y="32267"/>
                      <a:pt x="95448" y="30011"/>
                      <a:pt x="91612" y="26852"/>
                    </a:cubicBezTo>
                    <a:cubicBezTo>
                      <a:pt x="88228" y="24144"/>
                      <a:pt x="86423" y="23242"/>
                      <a:pt x="84166" y="22339"/>
                    </a:cubicBezTo>
                    <a:cubicBezTo>
                      <a:pt x="82135" y="21436"/>
                      <a:pt x="79879" y="20308"/>
                      <a:pt x="75817" y="17600"/>
                    </a:cubicBezTo>
                    <a:cubicBezTo>
                      <a:pt x="75366" y="17375"/>
                      <a:pt x="75140" y="17149"/>
                      <a:pt x="74689" y="16923"/>
                    </a:cubicBezTo>
                    <a:cubicBezTo>
                      <a:pt x="74463" y="18503"/>
                      <a:pt x="74012" y="19857"/>
                      <a:pt x="73109" y="21211"/>
                    </a:cubicBezTo>
                    <a:cubicBezTo>
                      <a:pt x="70176" y="26401"/>
                      <a:pt x="64986" y="30011"/>
                      <a:pt x="60248" y="33170"/>
                    </a:cubicBezTo>
                    <a:cubicBezTo>
                      <a:pt x="55735" y="36329"/>
                      <a:pt x="51447" y="39262"/>
                      <a:pt x="51447" y="42196"/>
                    </a:cubicBezTo>
                    <a:cubicBezTo>
                      <a:pt x="51447" y="50545"/>
                      <a:pt x="50770" y="53704"/>
                      <a:pt x="38360" y="58894"/>
                    </a:cubicBezTo>
                    <a:cubicBezTo>
                      <a:pt x="34975" y="60247"/>
                      <a:pt x="32493" y="61150"/>
                      <a:pt x="30688" y="61601"/>
                    </a:cubicBezTo>
                    <a:cubicBezTo>
                      <a:pt x="26626" y="62955"/>
                      <a:pt x="26626" y="62955"/>
                      <a:pt x="25047" y="69499"/>
                    </a:cubicBezTo>
                    <a:cubicBezTo>
                      <a:pt x="21888" y="82361"/>
                      <a:pt x="17149" y="94771"/>
                      <a:pt x="10380" y="105828"/>
                    </a:cubicBezTo>
                    <a:cubicBezTo>
                      <a:pt x="8349" y="109213"/>
                      <a:pt x="6995" y="111244"/>
                      <a:pt x="5867" y="112823"/>
                    </a:cubicBezTo>
                    <a:cubicBezTo>
                      <a:pt x="3159" y="116659"/>
                      <a:pt x="3159" y="116659"/>
                      <a:pt x="3159" y="126813"/>
                    </a:cubicBezTo>
                    <a:cubicBezTo>
                      <a:pt x="3159" y="135388"/>
                      <a:pt x="6544" y="143511"/>
                      <a:pt x="9477" y="150506"/>
                    </a:cubicBezTo>
                    <a:cubicBezTo>
                      <a:pt x="11282" y="155019"/>
                      <a:pt x="13088" y="159306"/>
                      <a:pt x="13764" y="163368"/>
                    </a:cubicBezTo>
                    <a:cubicBezTo>
                      <a:pt x="14667" y="168558"/>
                      <a:pt x="12862" y="171942"/>
                      <a:pt x="11282" y="174650"/>
                    </a:cubicBezTo>
                    <a:cubicBezTo>
                      <a:pt x="9477" y="177583"/>
                      <a:pt x="8349" y="179614"/>
                      <a:pt x="10605" y="184127"/>
                    </a:cubicBezTo>
                    <a:cubicBezTo>
                      <a:pt x="12636" y="188414"/>
                      <a:pt x="15570" y="191573"/>
                      <a:pt x="18052" y="194281"/>
                    </a:cubicBezTo>
                    <a:cubicBezTo>
                      <a:pt x="21436" y="198117"/>
                      <a:pt x="24370" y="201502"/>
                      <a:pt x="23919" y="205789"/>
                    </a:cubicBezTo>
                    <a:cubicBezTo>
                      <a:pt x="23693" y="207594"/>
                      <a:pt x="23242" y="208723"/>
                      <a:pt x="22339" y="209400"/>
                    </a:cubicBezTo>
                    <a:cubicBezTo>
                      <a:pt x="24370" y="211205"/>
                      <a:pt x="26401" y="212559"/>
                      <a:pt x="28657" y="213687"/>
                    </a:cubicBezTo>
                    <a:cubicBezTo>
                      <a:pt x="40616" y="219102"/>
                      <a:pt x="43775" y="225420"/>
                      <a:pt x="39939" y="236703"/>
                    </a:cubicBezTo>
                    <a:cubicBezTo>
                      <a:pt x="38811" y="240313"/>
                      <a:pt x="37232" y="242570"/>
                      <a:pt x="36103" y="244149"/>
                    </a:cubicBezTo>
                    <a:cubicBezTo>
                      <a:pt x="34073" y="247083"/>
                      <a:pt x="32944" y="248662"/>
                      <a:pt x="34073" y="256108"/>
                    </a:cubicBezTo>
                    <a:cubicBezTo>
                      <a:pt x="34750" y="260621"/>
                      <a:pt x="35878" y="264006"/>
                      <a:pt x="36555" y="266714"/>
                    </a:cubicBezTo>
                    <a:lnTo>
                      <a:pt x="36555" y="267165"/>
                    </a:lnTo>
                    <a:cubicBezTo>
                      <a:pt x="36555" y="267165"/>
                      <a:pt x="36555" y="267165"/>
                      <a:pt x="36780" y="267165"/>
                    </a:cubicBezTo>
                    <a:cubicBezTo>
                      <a:pt x="44678" y="267165"/>
                      <a:pt x="52124" y="269873"/>
                      <a:pt x="52576" y="275740"/>
                    </a:cubicBezTo>
                    <a:cubicBezTo>
                      <a:pt x="52801" y="278673"/>
                      <a:pt x="53929" y="282058"/>
                      <a:pt x="55058" y="285442"/>
                    </a:cubicBezTo>
                    <a:cubicBezTo>
                      <a:pt x="57089" y="291535"/>
                      <a:pt x="59119" y="298078"/>
                      <a:pt x="56863" y="302817"/>
                    </a:cubicBezTo>
                    <a:cubicBezTo>
                      <a:pt x="55509" y="305976"/>
                      <a:pt x="55735" y="308909"/>
                      <a:pt x="56412" y="312520"/>
                    </a:cubicBezTo>
                    <a:cubicBezTo>
                      <a:pt x="56863" y="316130"/>
                      <a:pt x="57314" y="320192"/>
                      <a:pt x="56412" y="325607"/>
                    </a:cubicBezTo>
                    <a:cubicBezTo>
                      <a:pt x="54606" y="335310"/>
                      <a:pt x="48288" y="346367"/>
                      <a:pt x="44452" y="353136"/>
                    </a:cubicBezTo>
                    <a:lnTo>
                      <a:pt x="43098" y="355618"/>
                    </a:lnTo>
                    <a:cubicBezTo>
                      <a:pt x="40165" y="360808"/>
                      <a:pt x="36103" y="361936"/>
                      <a:pt x="31139" y="362839"/>
                    </a:cubicBezTo>
                    <a:cubicBezTo>
                      <a:pt x="32267" y="366675"/>
                      <a:pt x="33170" y="369383"/>
                      <a:pt x="33621" y="371413"/>
                    </a:cubicBezTo>
                    <a:cubicBezTo>
                      <a:pt x="34750" y="375701"/>
                      <a:pt x="34073" y="378183"/>
                      <a:pt x="33621" y="380665"/>
                    </a:cubicBezTo>
                    <a:cubicBezTo>
                      <a:pt x="32944" y="384275"/>
                      <a:pt x="32042" y="387886"/>
                      <a:pt x="35426" y="397363"/>
                    </a:cubicBezTo>
                    <a:lnTo>
                      <a:pt x="36329" y="399845"/>
                    </a:lnTo>
                    <a:cubicBezTo>
                      <a:pt x="41519" y="414512"/>
                      <a:pt x="42196" y="416317"/>
                      <a:pt x="50093" y="421281"/>
                    </a:cubicBezTo>
                    <a:cubicBezTo>
                      <a:pt x="60924" y="428051"/>
                      <a:pt x="66114" y="434369"/>
                      <a:pt x="68145" y="437302"/>
                    </a:cubicBezTo>
                    <a:cubicBezTo>
                      <a:pt x="71079" y="441589"/>
                      <a:pt x="73561" y="447231"/>
                      <a:pt x="68596" y="454000"/>
                    </a:cubicBezTo>
                    <a:cubicBezTo>
                      <a:pt x="67243" y="455805"/>
                      <a:pt x="65212" y="457836"/>
                      <a:pt x="63632" y="459415"/>
                    </a:cubicBezTo>
                    <a:cubicBezTo>
                      <a:pt x="62053" y="460995"/>
                      <a:pt x="59571" y="463477"/>
                      <a:pt x="59119" y="464605"/>
                    </a:cubicBezTo>
                    <a:cubicBezTo>
                      <a:pt x="59119" y="464605"/>
                      <a:pt x="59345" y="464605"/>
                      <a:pt x="59345" y="464605"/>
                    </a:cubicBezTo>
                    <a:cubicBezTo>
                      <a:pt x="60699" y="465057"/>
                      <a:pt x="62278" y="465508"/>
                      <a:pt x="63632" y="465734"/>
                    </a:cubicBezTo>
                    <a:cubicBezTo>
                      <a:pt x="67017" y="466410"/>
                      <a:pt x="70627" y="467313"/>
                      <a:pt x="72884" y="470923"/>
                    </a:cubicBezTo>
                    <a:cubicBezTo>
                      <a:pt x="74238" y="472954"/>
                      <a:pt x="74463" y="475211"/>
                      <a:pt x="73561" y="477467"/>
                    </a:cubicBezTo>
                    <a:cubicBezTo>
                      <a:pt x="72207" y="481529"/>
                      <a:pt x="67468" y="485139"/>
                      <a:pt x="60473" y="487396"/>
                    </a:cubicBezTo>
                    <a:cubicBezTo>
                      <a:pt x="57314" y="488524"/>
                      <a:pt x="55509" y="490103"/>
                      <a:pt x="55735" y="491683"/>
                    </a:cubicBezTo>
                    <a:cubicBezTo>
                      <a:pt x="55960" y="493262"/>
                      <a:pt x="58217" y="495068"/>
                      <a:pt x="61376" y="495068"/>
                    </a:cubicBezTo>
                    <a:cubicBezTo>
                      <a:pt x="64309" y="495068"/>
                      <a:pt x="67243" y="492811"/>
                      <a:pt x="70402" y="490555"/>
                    </a:cubicBezTo>
                    <a:cubicBezTo>
                      <a:pt x="74463" y="487621"/>
                      <a:pt x="78976" y="484237"/>
                      <a:pt x="84392" y="485139"/>
                    </a:cubicBezTo>
                    <a:cubicBezTo>
                      <a:pt x="89130" y="486042"/>
                      <a:pt x="93869" y="488298"/>
                      <a:pt x="97930" y="490103"/>
                    </a:cubicBezTo>
                    <a:cubicBezTo>
                      <a:pt x="101089" y="491683"/>
                      <a:pt x="104023" y="493037"/>
                      <a:pt x="105602" y="493037"/>
                    </a:cubicBezTo>
                    <a:cubicBezTo>
                      <a:pt x="107408" y="493037"/>
                      <a:pt x="109664" y="491909"/>
                      <a:pt x="112597" y="490103"/>
                    </a:cubicBezTo>
                    <a:cubicBezTo>
                      <a:pt x="115305" y="488749"/>
                      <a:pt x="118464" y="486944"/>
                      <a:pt x="122752" y="485139"/>
                    </a:cubicBezTo>
                    <a:cubicBezTo>
                      <a:pt x="125685" y="484011"/>
                      <a:pt x="127490" y="482883"/>
                      <a:pt x="128844" y="481980"/>
                    </a:cubicBezTo>
                    <a:cubicBezTo>
                      <a:pt x="132229" y="479949"/>
                      <a:pt x="133583" y="479498"/>
                      <a:pt x="139224" y="481754"/>
                    </a:cubicBezTo>
                    <a:cubicBezTo>
                      <a:pt x="143962" y="483785"/>
                      <a:pt x="145316" y="486944"/>
                      <a:pt x="146219" y="489426"/>
                    </a:cubicBezTo>
                    <a:cubicBezTo>
                      <a:pt x="147121" y="491683"/>
                      <a:pt x="147573" y="492585"/>
                      <a:pt x="149829" y="492585"/>
                    </a:cubicBezTo>
                    <a:lnTo>
                      <a:pt x="151409" y="492585"/>
                    </a:lnTo>
                    <a:cubicBezTo>
                      <a:pt x="158404" y="492585"/>
                      <a:pt x="167881" y="492585"/>
                      <a:pt x="173748" y="498227"/>
                    </a:cubicBezTo>
                    <a:cubicBezTo>
                      <a:pt x="177809" y="502288"/>
                      <a:pt x="181420" y="501837"/>
                      <a:pt x="189091" y="501160"/>
                    </a:cubicBezTo>
                    <a:cubicBezTo>
                      <a:pt x="190897" y="500934"/>
                      <a:pt x="192702" y="500709"/>
                      <a:pt x="194733" y="500709"/>
                    </a:cubicBezTo>
                    <a:cubicBezTo>
                      <a:pt x="207594" y="499580"/>
                      <a:pt x="228354" y="514699"/>
                      <a:pt x="233995" y="522596"/>
                    </a:cubicBezTo>
                    <a:lnTo>
                      <a:pt x="234446" y="523273"/>
                    </a:lnTo>
                    <a:cubicBezTo>
                      <a:pt x="239862" y="530945"/>
                      <a:pt x="244149" y="537038"/>
                      <a:pt x="245503" y="551253"/>
                    </a:cubicBezTo>
                    <a:cubicBezTo>
                      <a:pt x="245954" y="555089"/>
                      <a:pt x="246406" y="558248"/>
                      <a:pt x="246857" y="561182"/>
                    </a:cubicBezTo>
                    <a:cubicBezTo>
                      <a:pt x="248211" y="569531"/>
                      <a:pt x="249113" y="575623"/>
                      <a:pt x="245052" y="580813"/>
                    </a:cubicBezTo>
                    <a:cubicBezTo>
                      <a:pt x="241667" y="585326"/>
                      <a:pt x="239862" y="589388"/>
                      <a:pt x="237605" y="595029"/>
                    </a:cubicBezTo>
                    <a:cubicBezTo>
                      <a:pt x="236928" y="596834"/>
                      <a:pt x="236252" y="598639"/>
                      <a:pt x="235349" y="600670"/>
                    </a:cubicBezTo>
                    <a:cubicBezTo>
                      <a:pt x="233995" y="603829"/>
                      <a:pt x="233093" y="606988"/>
                      <a:pt x="232416" y="610598"/>
                    </a:cubicBezTo>
                    <a:cubicBezTo>
                      <a:pt x="230836" y="616691"/>
                      <a:pt x="229256" y="623009"/>
                      <a:pt x="224744" y="628424"/>
                    </a:cubicBezTo>
                    <a:cubicBezTo>
                      <a:pt x="220908" y="632937"/>
                      <a:pt x="220005" y="636096"/>
                      <a:pt x="218877" y="639255"/>
                    </a:cubicBezTo>
                    <a:cubicBezTo>
                      <a:pt x="218200" y="641512"/>
                      <a:pt x="217523" y="643768"/>
                      <a:pt x="215943" y="646476"/>
                    </a:cubicBezTo>
                    <a:cubicBezTo>
                      <a:pt x="214138" y="649409"/>
                      <a:pt x="212333" y="651215"/>
                      <a:pt x="210754" y="652569"/>
                    </a:cubicBezTo>
                    <a:cubicBezTo>
                      <a:pt x="208723" y="654374"/>
                      <a:pt x="207594" y="655502"/>
                      <a:pt x="207594" y="658210"/>
                    </a:cubicBezTo>
                    <a:cubicBezTo>
                      <a:pt x="207594" y="659564"/>
                      <a:pt x="207820" y="660241"/>
                      <a:pt x="208046" y="660917"/>
                    </a:cubicBezTo>
                    <a:cubicBezTo>
                      <a:pt x="208948" y="664753"/>
                      <a:pt x="207369" y="665205"/>
                      <a:pt x="200148" y="667461"/>
                    </a:cubicBezTo>
                    <a:lnTo>
                      <a:pt x="196989" y="668364"/>
                    </a:lnTo>
                    <a:cubicBezTo>
                      <a:pt x="189091" y="670846"/>
                      <a:pt x="182773" y="671297"/>
                      <a:pt x="178260" y="671523"/>
                    </a:cubicBezTo>
                    <a:cubicBezTo>
                      <a:pt x="174876" y="671748"/>
                      <a:pt x="172168" y="671974"/>
                      <a:pt x="170589" y="672877"/>
                    </a:cubicBezTo>
                    <a:cubicBezTo>
                      <a:pt x="169912" y="673328"/>
                      <a:pt x="169009" y="673779"/>
                      <a:pt x="168332" y="674005"/>
                    </a:cubicBezTo>
                    <a:cubicBezTo>
                      <a:pt x="164722" y="675810"/>
                      <a:pt x="160660" y="678067"/>
                      <a:pt x="156598" y="683031"/>
                    </a:cubicBezTo>
                    <a:cubicBezTo>
                      <a:pt x="151634" y="689349"/>
                      <a:pt x="149378" y="699729"/>
                      <a:pt x="150957" y="701985"/>
                    </a:cubicBezTo>
                    <a:cubicBezTo>
                      <a:pt x="151409" y="702662"/>
                      <a:pt x="152086" y="703565"/>
                      <a:pt x="152988" y="704467"/>
                    </a:cubicBezTo>
                    <a:cubicBezTo>
                      <a:pt x="156824" y="708754"/>
                      <a:pt x="162240" y="715298"/>
                      <a:pt x="159532" y="720488"/>
                    </a:cubicBezTo>
                    <a:cubicBezTo>
                      <a:pt x="158629" y="722068"/>
                      <a:pt x="158178" y="723873"/>
                      <a:pt x="157727" y="725903"/>
                    </a:cubicBezTo>
                    <a:cubicBezTo>
                      <a:pt x="156598" y="730191"/>
                      <a:pt x="155245" y="735381"/>
                      <a:pt x="149829" y="741022"/>
                    </a:cubicBezTo>
                    <a:cubicBezTo>
                      <a:pt x="141255" y="750273"/>
                      <a:pt x="137644" y="763361"/>
                      <a:pt x="140126" y="776223"/>
                    </a:cubicBezTo>
                    <a:cubicBezTo>
                      <a:pt x="140803" y="779833"/>
                      <a:pt x="141480" y="782541"/>
                      <a:pt x="142157" y="785023"/>
                    </a:cubicBezTo>
                    <a:cubicBezTo>
                      <a:pt x="144188" y="793597"/>
                      <a:pt x="145090" y="797885"/>
                      <a:pt x="141931" y="804880"/>
                    </a:cubicBezTo>
                    <a:cubicBezTo>
                      <a:pt x="140803" y="807587"/>
                      <a:pt x="141029" y="808039"/>
                      <a:pt x="142608" y="809393"/>
                    </a:cubicBezTo>
                    <a:cubicBezTo>
                      <a:pt x="144414" y="811198"/>
                      <a:pt x="147347" y="814131"/>
                      <a:pt x="146444" y="821803"/>
                    </a:cubicBezTo>
                    <a:cubicBezTo>
                      <a:pt x="146219" y="823383"/>
                      <a:pt x="146219" y="824737"/>
                      <a:pt x="145993" y="826090"/>
                    </a:cubicBezTo>
                    <a:cubicBezTo>
                      <a:pt x="145316" y="832634"/>
                      <a:pt x="145316" y="832634"/>
                      <a:pt x="148024" y="835568"/>
                    </a:cubicBezTo>
                    <a:cubicBezTo>
                      <a:pt x="148475" y="836019"/>
                      <a:pt x="149152" y="836696"/>
                      <a:pt x="149829" y="837373"/>
                    </a:cubicBezTo>
                    <a:cubicBezTo>
                      <a:pt x="151409" y="839178"/>
                      <a:pt x="154793" y="837147"/>
                      <a:pt x="159081" y="833988"/>
                    </a:cubicBezTo>
                    <a:cubicBezTo>
                      <a:pt x="163819" y="830829"/>
                      <a:pt x="169460" y="826767"/>
                      <a:pt x="173071" y="831732"/>
                    </a:cubicBezTo>
                    <a:cubicBezTo>
                      <a:pt x="178035" y="838501"/>
                      <a:pt x="184579" y="840983"/>
                      <a:pt x="188415" y="840983"/>
                    </a:cubicBezTo>
                    <a:lnTo>
                      <a:pt x="189317" y="840983"/>
                    </a:lnTo>
                    <a:cubicBezTo>
                      <a:pt x="193830" y="840983"/>
                      <a:pt x="198794" y="840983"/>
                      <a:pt x="200148" y="850009"/>
                    </a:cubicBezTo>
                    <a:cubicBezTo>
                      <a:pt x="200374" y="850911"/>
                      <a:pt x="200599" y="851363"/>
                      <a:pt x="200599" y="851363"/>
                    </a:cubicBezTo>
                    <a:cubicBezTo>
                      <a:pt x="201276" y="851814"/>
                      <a:pt x="203759" y="850686"/>
                      <a:pt x="205564" y="849783"/>
                    </a:cubicBezTo>
                    <a:cubicBezTo>
                      <a:pt x="209174" y="848204"/>
                      <a:pt x="213687" y="846399"/>
                      <a:pt x="218651" y="847076"/>
                    </a:cubicBezTo>
                    <a:cubicBezTo>
                      <a:pt x="224969" y="847752"/>
                      <a:pt x="229482" y="846850"/>
                      <a:pt x="231513" y="844368"/>
                    </a:cubicBezTo>
                    <a:cubicBezTo>
                      <a:pt x="233318" y="842111"/>
                      <a:pt x="233318" y="838727"/>
                      <a:pt x="231513" y="833762"/>
                    </a:cubicBezTo>
                    <a:cubicBezTo>
                      <a:pt x="229256" y="827219"/>
                      <a:pt x="228354" y="823834"/>
                      <a:pt x="227677" y="821126"/>
                    </a:cubicBezTo>
                    <a:cubicBezTo>
                      <a:pt x="226774" y="817967"/>
                      <a:pt x="226323" y="816162"/>
                      <a:pt x="224067" y="811423"/>
                    </a:cubicBezTo>
                    <a:cubicBezTo>
                      <a:pt x="222262" y="807813"/>
                      <a:pt x="221810" y="805331"/>
                      <a:pt x="221359" y="803526"/>
                    </a:cubicBezTo>
                    <a:cubicBezTo>
                      <a:pt x="220908" y="801044"/>
                      <a:pt x="220908" y="801044"/>
                      <a:pt x="217749" y="800592"/>
                    </a:cubicBezTo>
                    <a:cubicBezTo>
                      <a:pt x="212784" y="799690"/>
                      <a:pt x="211656" y="796982"/>
                      <a:pt x="210302" y="794049"/>
                    </a:cubicBezTo>
                    <a:cubicBezTo>
                      <a:pt x="209400" y="792018"/>
                      <a:pt x="208497" y="789987"/>
                      <a:pt x="206015" y="787505"/>
                    </a:cubicBezTo>
                    <a:cubicBezTo>
                      <a:pt x="199246" y="780736"/>
                      <a:pt x="197892" y="776448"/>
                      <a:pt x="197892" y="769905"/>
                    </a:cubicBezTo>
                    <a:cubicBezTo>
                      <a:pt x="197892" y="768776"/>
                      <a:pt x="197892" y="767874"/>
                      <a:pt x="197892" y="766971"/>
                    </a:cubicBezTo>
                    <a:cubicBezTo>
                      <a:pt x="198117" y="762458"/>
                      <a:pt x="198117" y="759976"/>
                      <a:pt x="194056" y="756366"/>
                    </a:cubicBezTo>
                    <a:cubicBezTo>
                      <a:pt x="189317" y="752079"/>
                      <a:pt x="186609" y="745760"/>
                      <a:pt x="186609" y="741699"/>
                    </a:cubicBezTo>
                    <a:cubicBezTo>
                      <a:pt x="186609" y="740119"/>
                      <a:pt x="186835" y="738991"/>
                      <a:pt x="187512" y="738314"/>
                    </a:cubicBezTo>
                    <a:cubicBezTo>
                      <a:pt x="187512" y="737411"/>
                      <a:pt x="186384" y="734704"/>
                      <a:pt x="185707" y="732899"/>
                    </a:cubicBezTo>
                    <a:cubicBezTo>
                      <a:pt x="183902" y="728611"/>
                      <a:pt x="182322" y="724550"/>
                      <a:pt x="183676" y="722068"/>
                    </a:cubicBezTo>
                    <a:cubicBezTo>
                      <a:pt x="184353" y="720939"/>
                      <a:pt x="183450" y="716878"/>
                      <a:pt x="182773" y="713719"/>
                    </a:cubicBezTo>
                    <a:cubicBezTo>
                      <a:pt x="181871" y="709883"/>
                      <a:pt x="180968" y="705821"/>
                      <a:pt x="180968" y="701759"/>
                    </a:cubicBezTo>
                    <a:cubicBezTo>
                      <a:pt x="180968" y="699503"/>
                      <a:pt x="180743" y="697698"/>
                      <a:pt x="180291" y="695893"/>
                    </a:cubicBezTo>
                    <a:cubicBezTo>
                      <a:pt x="179840" y="692959"/>
                      <a:pt x="179389" y="690251"/>
                      <a:pt x="180968" y="688446"/>
                    </a:cubicBezTo>
                    <a:cubicBezTo>
                      <a:pt x="182096" y="687092"/>
                      <a:pt x="184127" y="686641"/>
                      <a:pt x="187286" y="686867"/>
                    </a:cubicBezTo>
                    <a:cubicBezTo>
                      <a:pt x="191799" y="687092"/>
                      <a:pt x="193604" y="689349"/>
                      <a:pt x="194733" y="690477"/>
                    </a:cubicBezTo>
                    <a:cubicBezTo>
                      <a:pt x="194958" y="690703"/>
                      <a:pt x="194958" y="690703"/>
                      <a:pt x="195184" y="690928"/>
                    </a:cubicBezTo>
                    <a:cubicBezTo>
                      <a:pt x="195635" y="690703"/>
                      <a:pt x="196538" y="690026"/>
                      <a:pt x="198343" y="687995"/>
                    </a:cubicBezTo>
                    <a:cubicBezTo>
                      <a:pt x="207143" y="678292"/>
                      <a:pt x="214138" y="674231"/>
                      <a:pt x="219102" y="675585"/>
                    </a:cubicBezTo>
                    <a:cubicBezTo>
                      <a:pt x="222262" y="676487"/>
                      <a:pt x="226097" y="680323"/>
                      <a:pt x="226774" y="685062"/>
                    </a:cubicBezTo>
                    <a:cubicBezTo>
                      <a:pt x="227451" y="689349"/>
                      <a:pt x="225646" y="693411"/>
                      <a:pt x="221585" y="696570"/>
                    </a:cubicBezTo>
                    <a:cubicBezTo>
                      <a:pt x="220231" y="697472"/>
                      <a:pt x="219554" y="698149"/>
                      <a:pt x="219102" y="698600"/>
                    </a:cubicBezTo>
                    <a:cubicBezTo>
                      <a:pt x="220682" y="699503"/>
                      <a:pt x="223841" y="701308"/>
                      <a:pt x="222938" y="706724"/>
                    </a:cubicBezTo>
                    <a:cubicBezTo>
                      <a:pt x="222487" y="709206"/>
                      <a:pt x="223615" y="709657"/>
                      <a:pt x="227451" y="710334"/>
                    </a:cubicBezTo>
                    <a:cubicBezTo>
                      <a:pt x="230385" y="710785"/>
                      <a:pt x="234898" y="711688"/>
                      <a:pt x="234898" y="716426"/>
                    </a:cubicBezTo>
                    <a:cubicBezTo>
                      <a:pt x="234898" y="717780"/>
                      <a:pt x="234898" y="717780"/>
                      <a:pt x="238057" y="718006"/>
                    </a:cubicBezTo>
                    <a:cubicBezTo>
                      <a:pt x="241216" y="718006"/>
                      <a:pt x="245954" y="718232"/>
                      <a:pt x="247985" y="724098"/>
                    </a:cubicBezTo>
                    <a:cubicBezTo>
                      <a:pt x="250467" y="729288"/>
                      <a:pt x="252047" y="729288"/>
                      <a:pt x="253852" y="729288"/>
                    </a:cubicBezTo>
                    <a:cubicBezTo>
                      <a:pt x="255206" y="729288"/>
                      <a:pt x="256785" y="729514"/>
                      <a:pt x="258365" y="730642"/>
                    </a:cubicBezTo>
                    <a:lnTo>
                      <a:pt x="259042" y="731093"/>
                    </a:lnTo>
                    <a:cubicBezTo>
                      <a:pt x="259719" y="731545"/>
                      <a:pt x="260621" y="732447"/>
                      <a:pt x="261073" y="732447"/>
                    </a:cubicBezTo>
                    <a:cubicBezTo>
                      <a:pt x="261524" y="732222"/>
                      <a:pt x="263555" y="730642"/>
                      <a:pt x="266714" y="718457"/>
                    </a:cubicBezTo>
                    <a:cubicBezTo>
                      <a:pt x="268519" y="711011"/>
                      <a:pt x="273258" y="705821"/>
                      <a:pt x="279124" y="704918"/>
                    </a:cubicBezTo>
                    <a:cubicBezTo>
                      <a:pt x="283412" y="704241"/>
                      <a:pt x="287473" y="705821"/>
                      <a:pt x="289504" y="708980"/>
                    </a:cubicBezTo>
                    <a:cubicBezTo>
                      <a:pt x="291986" y="712590"/>
                      <a:pt x="291535" y="717555"/>
                      <a:pt x="288150" y="722519"/>
                    </a:cubicBezTo>
                    <a:cubicBezTo>
                      <a:pt x="282509" y="731093"/>
                      <a:pt x="282058" y="738088"/>
                      <a:pt x="284314" y="740345"/>
                    </a:cubicBezTo>
                    <a:cubicBezTo>
                      <a:pt x="285894" y="741699"/>
                      <a:pt x="288827" y="741247"/>
                      <a:pt x="292437" y="738765"/>
                    </a:cubicBezTo>
                    <a:cubicBezTo>
                      <a:pt x="295822" y="736509"/>
                      <a:pt x="299207" y="733124"/>
                      <a:pt x="302140" y="730417"/>
                    </a:cubicBezTo>
                    <a:cubicBezTo>
                      <a:pt x="307556" y="725227"/>
                      <a:pt x="311392" y="721616"/>
                      <a:pt x="315002" y="722970"/>
                    </a:cubicBezTo>
                    <a:cubicBezTo>
                      <a:pt x="317935" y="724098"/>
                      <a:pt x="318612" y="727934"/>
                      <a:pt x="319064" y="730868"/>
                    </a:cubicBezTo>
                    <a:cubicBezTo>
                      <a:pt x="319741" y="736509"/>
                      <a:pt x="321997" y="739894"/>
                      <a:pt x="325156" y="740345"/>
                    </a:cubicBezTo>
                    <a:cubicBezTo>
                      <a:pt x="328315" y="740571"/>
                      <a:pt x="332602" y="737637"/>
                      <a:pt x="334859" y="730642"/>
                    </a:cubicBezTo>
                    <a:cubicBezTo>
                      <a:pt x="339372" y="716426"/>
                      <a:pt x="342305" y="712590"/>
                      <a:pt x="359906" y="708077"/>
                    </a:cubicBezTo>
                    <a:cubicBezTo>
                      <a:pt x="365096" y="706724"/>
                      <a:pt x="369157" y="704918"/>
                      <a:pt x="372542" y="703339"/>
                    </a:cubicBezTo>
                    <a:cubicBezTo>
                      <a:pt x="379762" y="700180"/>
                      <a:pt x="384952" y="697698"/>
                      <a:pt x="391947" y="706047"/>
                    </a:cubicBezTo>
                    <a:cubicBezTo>
                      <a:pt x="393527" y="708077"/>
                      <a:pt x="394881" y="709883"/>
                      <a:pt x="396235" y="711688"/>
                    </a:cubicBezTo>
                    <a:cubicBezTo>
                      <a:pt x="402778" y="720262"/>
                      <a:pt x="405712" y="723647"/>
                      <a:pt x="412707" y="719585"/>
                    </a:cubicBezTo>
                    <a:cubicBezTo>
                      <a:pt x="415866" y="717780"/>
                      <a:pt x="417897" y="717329"/>
                      <a:pt x="419476" y="718232"/>
                    </a:cubicBezTo>
                    <a:cubicBezTo>
                      <a:pt x="420379" y="718683"/>
                      <a:pt x="420830" y="719811"/>
                      <a:pt x="420830" y="721165"/>
                    </a:cubicBezTo>
                    <a:cubicBezTo>
                      <a:pt x="420604" y="725001"/>
                      <a:pt x="414963" y="732222"/>
                      <a:pt x="408194" y="735606"/>
                    </a:cubicBezTo>
                    <a:cubicBezTo>
                      <a:pt x="407066" y="736058"/>
                      <a:pt x="405937" y="736735"/>
                      <a:pt x="404809" y="737186"/>
                    </a:cubicBezTo>
                    <a:cubicBezTo>
                      <a:pt x="400522" y="739217"/>
                      <a:pt x="388788" y="744858"/>
                      <a:pt x="388788" y="747340"/>
                    </a:cubicBezTo>
                    <a:cubicBezTo>
                      <a:pt x="388788" y="747340"/>
                      <a:pt x="388788" y="748242"/>
                      <a:pt x="393301" y="748919"/>
                    </a:cubicBezTo>
                    <a:cubicBezTo>
                      <a:pt x="395332" y="749371"/>
                      <a:pt x="397363" y="749822"/>
                      <a:pt x="399168" y="750048"/>
                    </a:cubicBezTo>
                    <a:cubicBezTo>
                      <a:pt x="410902" y="752530"/>
                      <a:pt x="416317" y="753432"/>
                      <a:pt x="421056" y="748694"/>
                    </a:cubicBezTo>
                    <a:cubicBezTo>
                      <a:pt x="422861" y="746889"/>
                      <a:pt x="424666" y="744406"/>
                      <a:pt x="426697" y="741699"/>
                    </a:cubicBezTo>
                    <a:cubicBezTo>
                      <a:pt x="431210" y="735606"/>
                      <a:pt x="436174" y="728611"/>
                      <a:pt x="443395" y="727483"/>
                    </a:cubicBezTo>
                    <a:cubicBezTo>
                      <a:pt x="445651" y="727257"/>
                      <a:pt x="447231" y="727483"/>
                      <a:pt x="448359" y="728611"/>
                    </a:cubicBezTo>
                    <a:cubicBezTo>
                      <a:pt x="450164" y="730417"/>
                      <a:pt x="449713" y="733124"/>
                      <a:pt x="449261" y="735606"/>
                    </a:cubicBezTo>
                    <a:cubicBezTo>
                      <a:pt x="449036" y="736735"/>
                      <a:pt x="448810" y="738765"/>
                      <a:pt x="449261" y="739217"/>
                    </a:cubicBezTo>
                    <a:cubicBezTo>
                      <a:pt x="449261" y="739217"/>
                      <a:pt x="449713" y="739442"/>
                      <a:pt x="450390" y="739442"/>
                    </a:cubicBezTo>
                    <a:cubicBezTo>
                      <a:pt x="455354" y="738991"/>
                      <a:pt x="459641" y="741473"/>
                      <a:pt x="461446" y="745535"/>
                    </a:cubicBezTo>
                    <a:cubicBezTo>
                      <a:pt x="463026" y="748694"/>
                      <a:pt x="462349" y="752304"/>
                      <a:pt x="459867" y="754561"/>
                    </a:cubicBezTo>
                    <a:cubicBezTo>
                      <a:pt x="458964" y="755463"/>
                      <a:pt x="458739" y="756817"/>
                      <a:pt x="459416" y="757945"/>
                    </a:cubicBezTo>
                    <a:cubicBezTo>
                      <a:pt x="460769" y="760202"/>
                      <a:pt x="466411" y="763135"/>
                      <a:pt x="478596" y="759525"/>
                    </a:cubicBezTo>
                    <a:cubicBezTo>
                      <a:pt x="492134" y="755689"/>
                      <a:pt x="493037" y="755463"/>
                      <a:pt x="497550" y="756591"/>
                    </a:cubicBezTo>
                    <a:cubicBezTo>
                      <a:pt x="499129" y="757043"/>
                      <a:pt x="501160" y="757494"/>
                      <a:pt x="505222" y="758171"/>
                    </a:cubicBezTo>
                    <a:cubicBezTo>
                      <a:pt x="506350" y="758397"/>
                      <a:pt x="507929" y="758397"/>
                      <a:pt x="508381" y="757720"/>
                    </a:cubicBezTo>
                    <a:cubicBezTo>
                      <a:pt x="509509" y="756366"/>
                      <a:pt x="508606" y="751853"/>
                      <a:pt x="507704" y="748468"/>
                    </a:cubicBezTo>
                    <a:cubicBezTo>
                      <a:pt x="506576" y="744181"/>
                      <a:pt x="505673" y="740345"/>
                      <a:pt x="507253" y="738088"/>
                    </a:cubicBezTo>
                    <a:cubicBezTo>
                      <a:pt x="507929" y="737186"/>
                      <a:pt x="508832" y="736509"/>
                      <a:pt x="510186" y="736283"/>
                    </a:cubicBezTo>
                    <a:cubicBezTo>
                      <a:pt x="515376" y="735381"/>
                      <a:pt x="515601" y="735381"/>
                      <a:pt x="519437" y="736058"/>
                    </a:cubicBezTo>
                    <a:cubicBezTo>
                      <a:pt x="521243" y="736283"/>
                      <a:pt x="523725" y="736960"/>
                      <a:pt x="528463" y="737411"/>
                    </a:cubicBezTo>
                    <a:cubicBezTo>
                      <a:pt x="534781" y="738314"/>
                      <a:pt x="535910" y="734704"/>
                      <a:pt x="537489" y="728837"/>
                    </a:cubicBezTo>
                    <a:cubicBezTo>
                      <a:pt x="538392" y="725227"/>
                      <a:pt x="539294" y="721391"/>
                      <a:pt x="542905" y="720488"/>
                    </a:cubicBezTo>
                    <a:cubicBezTo>
                      <a:pt x="548320" y="719360"/>
                      <a:pt x="550351" y="725227"/>
                      <a:pt x="552382" y="730417"/>
                    </a:cubicBezTo>
                    <a:cubicBezTo>
                      <a:pt x="553510" y="733576"/>
                      <a:pt x="554864" y="736735"/>
                      <a:pt x="556443" y="738540"/>
                    </a:cubicBezTo>
                    <a:cubicBezTo>
                      <a:pt x="558023" y="740119"/>
                      <a:pt x="560505" y="739894"/>
                      <a:pt x="564567" y="739442"/>
                    </a:cubicBezTo>
                    <a:cubicBezTo>
                      <a:pt x="569982" y="738991"/>
                      <a:pt x="576526" y="738314"/>
                      <a:pt x="582618" y="743278"/>
                    </a:cubicBezTo>
                    <a:cubicBezTo>
                      <a:pt x="586229" y="746212"/>
                      <a:pt x="591870" y="748694"/>
                      <a:pt x="597737" y="751176"/>
                    </a:cubicBezTo>
                    <a:cubicBezTo>
                      <a:pt x="608342" y="755914"/>
                      <a:pt x="619399" y="760653"/>
                      <a:pt x="620301" y="768776"/>
                    </a:cubicBezTo>
                    <a:cubicBezTo>
                      <a:pt x="620978" y="774643"/>
                      <a:pt x="626168" y="782089"/>
                      <a:pt x="632937" y="786151"/>
                    </a:cubicBezTo>
                    <a:cubicBezTo>
                      <a:pt x="637902" y="789084"/>
                      <a:pt x="642640" y="789987"/>
                      <a:pt x="646702" y="788633"/>
                    </a:cubicBezTo>
                    <a:cubicBezTo>
                      <a:pt x="654148" y="786151"/>
                      <a:pt x="658661" y="785023"/>
                      <a:pt x="662948" y="785023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xmlns="" id="{680F4354-CC7D-4027-A859-93AD0337013D}"/>
                  </a:ext>
                </a:extLst>
              </p:cNvPr>
              <p:cNvSpPr/>
              <p:nvPr/>
            </p:nvSpPr>
            <p:spPr>
              <a:xfrm>
                <a:off x="8895525" y="2006852"/>
                <a:ext cx="361034" cy="428728"/>
              </a:xfrm>
              <a:custGeom>
                <a:avLst/>
                <a:gdLst>
                  <a:gd name="connsiteX0" fmla="*/ 290356 w 361033"/>
                  <a:gd name="connsiteY0" fmla="*/ 439784 h 428727"/>
                  <a:gd name="connsiteX1" fmla="*/ 284264 w 361033"/>
                  <a:gd name="connsiteY1" fmla="*/ 438205 h 428727"/>
                  <a:gd name="connsiteX2" fmla="*/ 281556 w 361033"/>
                  <a:gd name="connsiteY2" fmla="*/ 434594 h 428727"/>
                  <a:gd name="connsiteX3" fmla="*/ 284941 w 361033"/>
                  <a:gd name="connsiteY3" fmla="*/ 420379 h 428727"/>
                  <a:gd name="connsiteX4" fmla="*/ 284264 w 361033"/>
                  <a:gd name="connsiteY4" fmla="*/ 411353 h 428727"/>
                  <a:gd name="connsiteX5" fmla="*/ 284038 w 361033"/>
                  <a:gd name="connsiteY5" fmla="*/ 394881 h 428727"/>
                  <a:gd name="connsiteX6" fmla="*/ 284264 w 361033"/>
                  <a:gd name="connsiteY6" fmla="*/ 394429 h 428727"/>
                  <a:gd name="connsiteX7" fmla="*/ 286069 w 361033"/>
                  <a:gd name="connsiteY7" fmla="*/ 382245 h 428727"/>
                  <a:gd name="connsiteX8" fmla="*/ 283813 w 361033"/>
                  <a:gd name="connsiteY8" fmla="*/ 375250 h 428727"/>
                  <a:gd name="connsiteX9" fmla="*/ 282684 w 361033"/>
                  <a:gd name="connsiteY9" fmla="*/ 371639 h 428727"/>
                  <a:gd name="connsiteX10" fmla="*/ 267792 w 361033"/>
                  <a:gd name="connsiteY10" fmla="*/ 376603 h 428727"/>
                  <a:gd name="connsiteX11" fmla="*/ 265084 w 361033"/>
                  <a:gd name="connsiteY11" fmla="*/ 380439 h 428727"/>
                  <a:gd name="connsiteX12" fmla="*/ 259894 w 361033"/>
                  <a:gd name="connsiteY12" fmla="*/ 389014 h 428727"/>
                  <a:gd name="connsiteX13" fmla="*/ 238684 w 361033"/>
                  <a:gd name="connsiteY13" fmla="*/ 395106 h 428727"/>
                  <a:gd name="connsiteX14" fmla="*/ 234171 w 361033"/>
                  <a:gd name="connsiteY14" fmla="*/ 390593 h 428727"/>
                  <a:gd name="connsiteX15" fmla="*/ 232365 w 361033"/>
                  <a:gd name="connsiteY15" fmla="*/ 385855 h 428727"/>
                  <a:gd name="connsiteX16" fmla="*/ 231012 w 361033"/>
                  <a:gd name="connsiteY16" fmla="*/ 382696 h 428727"/>
                  <a:gd name="connsiteX17" fmla="*/ 224468 w 361033"/>
                  <a:gd name="connsiteY17" fmla="*/ 374573 h 428727"/>
                  <a:gd name="connsiteX18" fmla="*/ 218601 w 361033"/>
                  <a:gd name="connsiteY18" fmla="*/ 378634 h 428727"/>
                  <a:gd name="connsiteX19" fmla="*/ 217473 w 361033"/>
                  <a:gd name="connsiteY19" fmla="*/ 380439 h 428727"/>
                  <a:gd name="connsiteX20" fmla="*/ 207996 w 361033"/>
                  <a:gd name="connsiteY20" fmla="*/ 387660 h 428727"/>
                  <a:gd name="connsiteX21" fmla="*/ 205514 w 361033"/>
                  <a:gd name="connsiteY21" fmla="*/ 388788 h 428727"/>
                  <a:gd name="connsiteX22" fmla="*/ 203031 w 361033"/>
                  <a:gd name="connsiteY22" fmla="*/ 394204 h 428727"/>
                  <a:gd name="connsiteX23" fmla="*/ 197616 w 361033"/>
                  <a:gd name="connsiteY23" fmla="*/ 403907 h 428727"/>
                  <a:gd name="connsiteX24" fmla="*/ 195134 w 361033"/>
                  <a:gd name="connsiteY24" fmla="*/ 410225 h 428727"/>
                  <a:gd name="connsiteX25" fmla="*/ 195359 w 361033"/>
                  <a:gd name="connsiteY25" fmla="*/ 412932 h 428727"/>
                  <a:gd name="connsiteX26" fmla="*/ 193103 w 361033"/>
                  <a:gd name="connsiteY26" fmla="*/ 416317 h 428727"/>
                  <a:gd name="connsiteX27" fmla="*/ 172344 w 361033"/>
                  <a:gd name="connsiteY27" fmla="*/ 415866 h 428727"/>
                  <a:gd name="connsiteX28" fmla="*/ 164672 w 361033"/>
                  <a:gd name="connsiteY28" fmla="*/ 407968 h 428727"/>
                  <a:gd name="connsiteX29" fmla="*/ 167379 w 361033"/>
                  <a:gd name="connsiteY29" fmla="*/ 400071 h 428727"/>
                  <a:gd name="connsiteX30" fmla="*/ 171892 w 361033"/>
                  <a:gd name="connsiteY30" fmla="*/ 388563 h 428727"/>
                  <a:gd name="connsiteX31" fmla="*/ 173246 w 361033"/>
                  <a:gd name="connsiteY31" fmla="*/ 382921 h 428727"/>
                  <a:gd name="connsiteX32" fmla="*/ 175503 w 361033"/>
                  <a:gd name="connsiteY32" fmla="*/ 374121 h 428727"/>
                  <a:gd name="connsiteX33" fmla="*/ 177082 w 361033"/>
                  <a:gd name="connsiteY33" fmla="*/ 368029 h 428727"/>
                  <a:gd name="connsiteX34" fmla="*/ 171667 w 361033"/>
                  <a:gd name="connsiteY34" fmla="*/ 349075 h 428727"/>
                  <a:gd name="connsiteX35" fmla="*/ 157000 w 361033"/>
                  <a:gd name="connsiteY35" fmla="*/ 339597 h 428727"/>
                  <a:gd name="connsiteX36" fmla="*/ 148425 w 361033"/>
                  <a:gd name="connsiteY36" fmla="*/ 334859 h 428727"/>
                  <a:gd name="connsiteX37" fmla="*/ 143461 w 361033"/>
                  <a:gd name="connsiteY37" fmla="*/ 328089 h 428727"/>
                  <a:gd name="connsiteX38" fmla="*/ 127214 w 361033"/>
                  <a:gd name="connsiteY38" fmla="*/ 308910 h 428727"/>
                  <a:gd name="connsiteX39" fmla="*/ 120671 w 361033"/>
                  <a:gd name="connsiteY39" fmla="*/ 298755 h 428727"/>
                  <a:gd name="connsiteX40" fmla="*/ 121348 w 361033"/>
                  <a:gd name="connsiteY40" fmla="*/ 286345 h 428727"/>
                  <a:gd name="connsiteX41" fmla="*/ 119091 w 361033"/>
                  <a:gd name="connsiteY41" fmla="*/ 280027 h 428727"/>
                  <a:gd name="connsiteX42" fmla="*/ 116383 w 361033"/>
                  <a:gd name="connsiteY42" fmla="*/ 268745 h 428727"/>
                  <a:gd name="connsiteX43" fmla="*/ 117286 w 361033"/>
                  <a:gd name="connsiteY43" fmla="*/ 267165 h 428727"/>
                  <a:gd name="connsiteX44" fmla="*/ 117060 w 361033"/>
                  <a:gd name="connsiteY44" fmla="*/ 252047 h 428727"/>
                  <a:gd name="connsiteX45" fmla="*/ 111870 w 361033"/>
                  <a:gd name="connsiteY45" fmla="*/ 243021 h 428727"/>
                  <a:gd name="connsiteX46" fmla="*/ 106229 w 361033"/>
                  <a:gd name="connsiteY46" fmla="*/ 226549 h 428727"/>
                  <a:gd name="connsiteX47" fmla="*/ 103296 w 361033"/>
                  <a:gd name="connsiteY47" fmla="*/ 219102 h 428727"/>
                  <a:gd name="connsiteX48" fmla="*/ 94496 w 361033"/>
                  <a:gd name="connsiteY48" fmla="*/ 217749 h 428727"/>
                  <a:gd name="connsiteX49" fmla="*/ 74864 w 361033"/>
                  <a:gd name="connsiteY49" fmla="*/ 217523 h 428727"/>
                  <a:gd name="connsiteX50" fmla="*/ 66741 w 361033"/>
                  <a:gd name="connsiteY50" fmla="*/ 212559 h 428727"/>
                  <a:gd name="connsiteX51" fmla="*/ 61326 w 361033"/>
                  <a:gd name="connsiteY51" fmla="*/ 209625 h 428727"/>
                  <a:gd name="connsiteX52" fmla="*/ 50720 w 361033"/>
                  <a:gd name="connsiteY52" fmla="*/ 204210 h 428727"/>
                  <a:gd name="connsiteX53" fmla="*/ 48238 w 361033"/>
                  <a:gd name="connsiteY53" fmla="*/ 200599 h 428727"/>
                  <a:gd name="connsiteX54" fmla="*/ 48238 w 361033"/>
                  <a:gd name="connsiteY54" fmla="*/ 200374 h 428727"/>
                  <a:gd name="connsiteX55" fmla="*/ 41243 w 361033"/>
                  <a:gd name="connsiteY55" fmla="*/ 202856 h 428727"/>
                  <a:gd name="connsiteX56" fmla="*/ 31992 w 361033"/>
                  <a:gd name="connsiteY56" fmla="*/ 207369 h 428727"/>
                  <a:gd name="connsiteX57" fmla="*/ 17325 w 361033"/>
                  <a:gd name="connsiteY57" fmla="*/ 209400 h 428727"/>
                  <a:gd name="connsiteX58" fmla="*/ 9878 w 361033"/>
                  <a:gd name="connsiteY58" fmla="*/ 182999 h 428727"/>
                  <a:gd name="connsiteX59" fmla="*/ 10330 w 361033"/>
                  <a:gd name="connsiteY59" fmla="*/ 175553 h 428727"/>
                  <a:gd name="connsiteX60" fmla="*/ 12586 w 361033"/>
                  <a:gd name="connsiteY60" fmla="*/ 164722 h 428727"/>
                  <a:gd name="connsiteX61" fmla="*/ 17776 w 361033"/>
                  <a:gd name="connsiteY61" fmla="*/ 153214 h 428727"/>
                  <a:gd name="connsiteX62" fmla="*/ 16648 w 361033"/>
                  <a:gd name="connsiteY62" fmla="*/ 152086 h 428727"/>
                  <a:gd name="connsiteX63" fmla="*/ 12812 w 361033"/>
                  <a:gd name="connsiteY63" fmla="*/ 150732 h 428727"/>
                  <a:gd name="connsiteX64" fmla="*/ 1078 w 361033"/>
                  <a:gd name="connsiteY64" fmla="*/ 145993 h 428727"/>
                  <a:gd name="connsiteX65" fmla="*/ 627 w 361033"/>
                  <a:gd name="connsiteY65" fmla="*/ 145542 h 428727"/>
                  <a:gd name="connsiteX66" fmla="*/ 401 w 361033"/>
                  <a:gd name="connsiteY66" fmla="*/ 144865 h 428727"/>
                  <a:gd name="connsiteX67" fmla="*/ 1981 w 361033"/>
                  <a:gd name="connsiteY67" fmla="*/ 136065 h 428727"/>
                  <a:gd name="connsiteX68" fmla="*/ 3560 w 361033"/>
                  <a:gd name="connsiteY68" fmla="*/ 133357 h 428727"/>
                  <a:gd name="connsiteX69" fmla="*/ 6945 w 361033"/>
                  <a:gd name="connsiteY69" fmla="*/ 128393 h 428727"/>
                  <a:gd name="connsiteX70" fmla="*/ 7622 w 361033"/>
                  <a:gd name="connsiteY70" fmla="*/ 126362 h 428727"/>
                  <a:gd name="connsiteX71" fmla="*/ 8976 w 361033"/>
                  <a:gd name="connsiteY71" fmla="*/ 123203 h 428727"/>
                  <a:gd name="connsiteX72" fmla="*/ 11458 w 361033"/>
                  <a:gd name="connsiteY72" fmla="*/ 122752 h 428727"/>
                  <a:gd name="connsiteX73" fmla="*/ 23417 w 361033"/>
                  <a:gd name="connsiteY73" fmla="*/ 119818 h 428727"/>
                  <a:gd name="connsiteX74" fmla="*/ 27704 w 361033"/>
                  <a:gd name="connsiteY74" fmla="*/ 118013 h 428727"/>
                  <a:gd name="connsiteX75" fmla="*/ 52300 w 361033"/>
                  <a:gd name="connsiteY75" fmla="*/ 117562 h 428727"/>
                  <a:gd name="connsiteX76" fmla="*/ 56361 w 361033"/>
                  <a:gd name="connsiteY76" fmla="*/ 122752 h 428727"/>
                  <a:gd name="connsiteX77" fmla="*/ 70126 w 361033"/>
                  <a:gd name="connsiteY77" fmla="*/ 133808 h 428727"/>
                  <a:gd name="connsiteX78" fmla="*/ 75993 w 361033"/>
                  <a:gd name="connsiteY78" fmla="*/ 133808 h 428727"/>
                  <a:gd name="connsiteX79" fmla="*/ 91111 w 361033"/>
                  <a:gd name="connsiteY79" fmla="*/ 143285 h 428727"/>
                  <a:gd name="connsiteX80" fmla="*/ 91562 w 361033"/>
                  <a:gd name="connsiteY80" fmla="*/ 156147 h 428727"/>
                  <a:gd name="connsiteX81" fmla="*/ 92690 w 361033"/>
                  <a:gd name="connsiteY81" fmla="*/ 166076 h 428727"/>
                  <a:gd name="connsiteX82" fmla="*/ 103521 w 361033"/>
                  <a:gd name="connsiteY82" fmla="*/ 166076 h 428727"/>
                  <a:gd name="connsiteX83" fmla="*/ 106680 w 361033"/>
                  <a:gd name="connsiteY83" fmla="*/ 159532 h 428727"/>
                  <a:gd name="connsiteX84" fmla="*/ 119091 w 361033"/>
                  <a:gd name="connsiteY84" fmla="*/ 146444 h 428727"/>
                  <a:gd name="connsiteX85" fmla="*/ 131276 w 361033"/>
                  <a:gd name="connsiteY85" fmla="*/ 147798 h 428727"/>
                  <a:gd name="connsiteX86" fmla="*/ 148651 w 361033"/>
                  <a:gd name="connsiteY86" fmla="*/ 147798 h 428727"/>
                  <a:gd name="connsiteX87" fmla="*/ 152487 w 361033"/>
                  <a:gd name="connsiteY87" fmla="*/ 145542 h 428727"/>
                  <a:gd name="connsiteX88" fmla="*/ 176856 w 361033"/>
                  <a:gd name="connsiteY88" fmla="*/ 142383 h 428727"/>
                  <a:gd name="connsiteX89" fmla="*/ 192200 w 361033"/>
                  <a:gd name="connsiteY89" fmla="*/ 140126 h 428727"/>
                  <a:gd name="connsiteX90" fmla="*/ 197390 w 361033"/>
                  <a:gd name="connsiteY90" fmla="*/ 136742 h 428727"/>
                  <a:gd name="connsiteX91" fmla="*/ 206642 w 361033"/>
                  <a:gd name="connsiteY91" fmla="*/ 119818 h 428727"/>
                  <a:gd name="connsiteX92" fmla="*/ 217924 w 361033"/>
                  <a:gd name="connsiteY92" fmla="*/ 102218 h 428727"/>
                  <a:gd name="connsiteX93" fmla="*/ 238007 w 361033"/>
                  <a:gd name="connsiteY93" fmla="*/ 97479 h 428727"/>
                  <a:gd name="connsiteX94" fmla="*/ 248612 w 361033"/>
                  <a:gd name="connsiteY94" fmla="*/ 100638 h 428727"/>
                  <a:gd name="connsiteX95" fmla="*/ 256961 w 361033"/>
                  <a:gd name="connsiteY95" fmla="*/ 98833 h 428727"/>
                  <a:gd name="connsiteX96" fmla="*/ 258315 w 361033"/>
                  <a:gd name="connsiteY96" fmla="*/ 92966 h 428727"/>
                  <a:gd name="connsiteX97" fmla="*/ 262151 w 361033"/>
                  <a:gd name="connsiteY97" fmla="*/ 80556 h 428727"/>
                  <a:gd name="connsiteX98" fmla="*/ 269597 w 361033"/>
                  <a:gd name="connsiteY98" fmla="*/ 67694 h 428727"/>
                  <a:gd name="connsiteX99" fmla="*/ 276818 w 361033"/>
                  <a:gd name="connsiteY99" fmla="*/ 57314 h 428727"/>
                  <a:gd name="connsiteX100" fmla="*/ 292839 w 361033"/>
                  <a:gd name="connsiteY100" fmla="*/ 61150 h 428727"/>
                  <a:gd name="connsiteX101" fmla="*/ 295321 w 361033"/>
                  <a:gd name="connsiteY101" fmla="*/ 62504 h 428727"/>
                  <a:gd name="connsiteX102" fmla="*/ 294418 w 361033"/>
                  <a:gd name="connsiteY102" fmla="*/ 59571 h 428727"/>
                  <a:gd name="connsiteX103" fmla="*/ 291485 w 361033"/>
                  <a:gd name="connsiteY103" fmla="*/ 42873 h 428727"/>
                  <a:gd name="connsiteX104" fmla="*/ 289228 w 361033"/>
                  <a:gd name="connsiteY104" fmla="*/ 30237 h 428727"/>
                  <a:gd name="connsiteX105" fmla="*/ 287197 w 361033"/>
                  <a:gd name="connsiteY105" fmla="*/ 25724 h 428727"/>
                  <a:gd name="connsiteX106" fmla="*/ 284264 w 361033"/>
                  <a:gd name="connsiteY106" fmla="*/ 19180 h 428727"/>
                  <a:gd name="connsiteX107" fmla="*/ 280879 w 361033"/>
                  <a:gd name="connsiteY107" fmla="*/ 8800 h 428727"/>
                  <a:gd name="connsiteX108" fmla="*/ 280879 w 361033"/>
                  <a:gd name="connsiteY108" fmla="*/ 8123 h 428727"/>
                  <a:gd name="connsiteX109" fmla="*/ 281105 w 361033"/>
                  <a:gd name="connsiteY109" fmla="*/ 2257 h 428727"/>
                  <a:gd name="connsiteX110" fmla="*/ 281331 w 361033"/>
                  <a:gd name="connsiteY110" fmla="*/ 1128 h 428727"/>
                  <a:gd name="connsiteX111" fmla="*/ 282233 w 361033"/>
                  <a:gd name="connsiteY111" fmla="*/ 677 h 428727"/>
                  <a:gd name="connsiteX112" fmla="*/ 283361 w 361033"/>
                  <a:gd name="connsiteY112" fmla="*/ 226 h 428727"/>
                  <a:gd name="connsiteX113" fmla="*/ 284264 w 361033"/>
                  <a:gd name="connsiteY113" fmla="*/ 0 h 428727"/>
                  <a:gd name="connsiteX114" fmla="*/ 287874 w 361033"/>
                  <a:gd name="connsiteY114" fmla="*/ 2482 h 428727"/>
                  <a:gd name="connsiteX115" fmla="*/ 296449 w 361033"/>
                  <a:gd name="connsiteY115" fmla="*/ 8349 h 428727"/>
                  <a:gd name="connsiteX116" fmla="*/ 307506 w 361033"/>
                  <a:gd name="connsiteY116" fmla="*/ 15118 h 428727"/>
                  <a:gd name="connsiteX117" fmla="*/ 324655 w 361033"/>
                  <a:gd name="connsiteY117" fmla="*/ 31365 h 428727"/>
                  <a:gd name="connsiteX118" fmla="*/ 339773 w 361033"/>
                  <a:gd name="connsiteY118" fmla="*/ 59119 h 428727"/>
                  <a:gd name="connsiteX119" fmla="*/ 363466 w 361033"/>
                  <a:gd name="connsiteY119" fmla="*/ 69048 h 428727"/>
                  <a:gd name="connsiteX120" fmla="*/ 374297 w 361033"/>
                  <a:gd name="connsiteY120" fmla="*/ 66340 h 428727"/>
                  <a:gd name="connsiteX121" fmla="*/ 376553 w 361033"/>
                  <a:gd name="connsiteY121" fmla="*/ 64986 h 428727"/>
                  <a:gd name="connsiteX122" fmla="*/ 377456 w 361033"/>
                  <a:gd name="connsiteY122" fmla="*/ 67920 h 428727"/>
                  <a:gd name="connsiteX123" fmla="*/ 376553 w 361033"/>
                  <a:gd name="connsiteY123" fmla="*/ 79879 h 428727"/>
                  <a:gd name="connsiteX124" fmla="*/ 363691 w 361033"/>
                  <a:gd name="connsiteY124" fmla="*/ 91838 h 428727"/>
                  <a:gd name="connsiteX125" fmla="*/ 354891 w 361033"/>
                  <a:gd name="connsiteY125" fmla="*/ 100864 h 428727"/>
                  <a:gd name="connsiteX126" fmla="*/ 341804 w 361033"/>
                  <a:gd name="connsiteY126" fmla="*/ 117562 h 428727"/>
                  <a:gd name="connsiteX127" fmla="*/ 334132 w 361033"/>
                  <a:gd name="connsiteY127" fmla="*/ 120269 h 428727"/>
                  <a:gd name="connsiteX128" fmla="*/ 328491 w 361033"/>
                  <a:gd name="connsiteY128" fmla="*/ 128167 h 428727"/>
                  <a:gd name="connsiteX129" fmla="*/ 313824 w 361033"/>
                  <a:gd name="connsiteY129" fmla="*/ 164496 h 428727"/>
                  <a:gd name="connsiteX130" fmla="*/ 309311 w 361033"/>
                  <a:gd name="connsiteY130" fmla="*/ 171491 h 428727"/>
                  <a:gd name="connsiteX131" fmla="*/ 306603 w 361033"/>
                  <a:gd name="connsiteY131" fmla="*/ 185481 h 428727"/>
                  <a:gd name="connsiteX132" fmla="*/ 312921 w 361033"/>
                  <a:gd name="connsiteY132" fmla="*/ 209174 h 428727"/>
                  <a:gd name="connsiteX133" fmla="*/ 317208 w 361033"/>
                  <a:gd name="connsiteY133" fmla="*/ 222036 h 428727"/>
                  <a:gd name="connsiteX134" fmla="*/ 314726 w 361033"/>
                  <a:gd name="connsiteY134" fmla="*/ 233318 h 428727"/>
                  <a:gd name="connsiteX135" fmla="*/ 314049 w 361033"/>
                  <a:gd name="connsiteY135" fmla="*/ 242795 h 428727"/>
                  <a:gd name="connsiteX136" fmla="*/ 321496 w 361033"/>
                  <a:gd name="connsiteY136" fmla="*/ 252949 h 428727"/>
                  <a:gd name="connsiteX137" fmla="*/ 327362 w 361033"/>
                  <a:gd name="connsiteY137" fmla="*/ 264457 h 428727"/>
                  <a:gd name="connsiteX138" fmla="*/ 321044 w 361033"/>
                  <a:gd name="connsiteY138" fmla="*/ 270550 h 428727"/>
                  <a:gd name="connsiteX139" fmla="*/ 309311 w 361033"/>
                  <a:gd name="connsiteY139" fmla="*/ 277545 h 428727"/>
                  <a:gd name="connsiteX140" fmla="*/ 296449 w 361033"/>
                  <a:gd name="connsiteY140" fmla="*/ 287473 h 428727"/>
                  <a:gd name="connsiteX141" fmla="*/ 291485 w 361033"/>
                  <a:gd name="connsiteY141" fmla="*/ 290407 h 428727"/>
                  <a:gd name="connsiteX142" fmla="*/ 286520 w 361033"/>
                  <a:gd name="connsiteY142" fmla="*/ 301689 h 428727"/>
                  <a:gd name="connsiteX143" fmla="*/ 285392 w 361033"/>
                  <a:gd name="connsiteY143" fmla="*/ 308007 h 428727"/>
                  <a:gd name="connsiteX144" fmla="*/ 281105 w 361033"/>
                  <a:gd name="connsiteY144" fmla="*/ 316356 h 428727"/>
                  <a:gd name="connsiteX145" fmla="*/ 279300 w 361033"/>
                  <a:gd name="connsiteY145" fmla="*/ 319289 h 428727"/>
                  <a:gd name="connsiteX146" fmla="*/ 281556 w 361033"/>
                  <a:gd name="connsiteY146" fmla="*/ 320192 h 428727"/>
                  <a:gd name="connsiteX147" fmla="*/ 293741 w 361033"/>
                  <a:gd name="connsiteY147" fmla="*/ 321771 h 428727"/>
                  <a:gd name="connsiteX148" fmla="*/ 312019 w 361033"/>
                  <a:gd name="connsiteY148" fmla="*/ 326510 h 428727"/>
                  <a:gd name="connsiteX149" fmla="*/ 314952 w 361033"/>
                  <a:gd name="connsiteY149" fmla="*/ 331925 h 428727"/>
                  <a:gd name="connsiteX150" fmla="*/ 320593 w 361033"/>
                  <a:gd name="connsiteY150" fmla="*/ 337567 h 428727"/>
                  <a:gd name="connsiteX151" fmla="*/ 324655 w 361033"/>
                  <a:gd name="connsiteY151" fmla="*/ 333956 h 428727"/>
                  <a:gd name="connsiteX152" fmla="*/ 329393 w 361033"/>
                  <a:gd name="connsiteY152" fmla="*/ 327864 h 428727"/>
                  <a:gd name="connsiteX153" fmla="*/ 351281 w 361033"/>
                  <a:gd name="connsiteY153" fmla="*/ 327864 h 428727"/>
                  <a:gd name="connsiteX154" fmla="*/ 356245 w 361033"/>
                  <a:gd name="connsiteY154" fmla="*/ 334408 h 428727"/>
                  <a:gd name="connsiteX155" fmla="*/ 358727 w 361033"/>
                  <a:gd name="connsiteY155" fmla="*/ 344110 h 428727"/>
                  <a:gd name="connsiteX156" fmla="*/ 360532 w 361033"/>
                  <a:gd name="connsiteY156" fmla="*/ 361485 h 428727"/>
                  <a:gd name="connsiteX157" fmla="*/ 360081 w 361033"/>
                  <a:gd name="connsiteY157" fmla="*/ 371188 h 428727"/>
                  <a:gd name="connsiteX158" fmla="*/ 360081 w 361033"/>
                  <a:gd name="connsiteY158" fmla="*/ 384275 h 428727"/>
                  <a:gd name="connsiteX159" fmla="*/ 348122 w 361033"/>
                  <a:gd name="connsiteY159" fmla="*/ 411804 h 428727"/>
                  <a:gd name="connsiteX160" fmla="*/ 346768 w 361033"/>
                  <a:gd name="connsiteY160" fmla="*/ 414286 h 428727"/>
                  <a:gd name="connsiteX161" fmla="*/ 333455 w 361033"/>
                  <a:gd name="connsiteY161" fmla="*/ 421733 h 428727"/>
                  <a:gd name="connsiteX162" fmla="*/ 330973 w 361033"/>
                  <a:gd name="connsiteY162" fmla="*/ 422184 h 428727"/>
                  <a:gd name="connsiteX163" fmla="*/ 323752 w 361033"/>
                  <a:gd name="connsiteY163" fmla="*/ 422861 h 428727"/>
                  <a:gd name="connsiteX164" fmla="*/ 312019 w 361033"/>
                  <a:gd name="connsiteY164" fmla="*/ 425343 h 428727"/>
                  <a:gd name="connsiteX165" fmla="*/ 306829 w 361033"/>
                  <a:gd name="connsiteY165" fmla="*/ 427599 h 428727"/>
                  <a:gd name="connsiteX166" fmla="*/ 298480 w 361033"/>
                  <a:gd name="connsiteY166" fmla="*/ 434594 h 428727"/>
                  <a:gd name="connsiteX167" fmla="*/ 290356 w 361033"/>
                  <a:gd name="connsiteY167" fmla="*/ 439784 h 428727"/>
                  <a:gd name="connsiteX168" fmla="*/ 280202 w 361033"/>
                  <a:gd name="connsiteY168" fmla="*/ 368029 h 428727"/>
                  <a:gd name="connsiteX169" fmla="*/ 283587 w 361033"/>
                  <a:gd name="connsiteY169" fmla="*/ 368254 h 428727"/>
                  <a:gd name="connsiteX170" fmla="*/ 287197 w 361033"/>
                  <a:gd name="connsiteY170" fmla="*/ 374573 h 428727"/>
                  <a:gd name="connsiteX171" fmla="*/ 289003 w 361033"/>
                  <a:gd name="connsiteY171" fmla="*/ 380439 h 428727"/>
                  <a:gd name="connsiteX172" fmla="*/ 287423 w 361033"/>
                  <a:gd name="connsiteY172" fmla="*/ 396009 h 428727"/>
                  <a:gd name="connsiteX173" fmla="*/ 287197 w 361033"/>
                  <a:gd name="connsiteY173" fmla="*/ 396460 h 428727"/>
                  <a:gd name="connsiteX174" fmla="*/ 287649 w 361033"/>
                  <a:gd name="connsiteY174" fmla="*/ 410676 h 428727"/>
                  <a:gd name="connsiteX175" fmla="*/ 287649 w 361033"/>
                  <a:gd name="connsiteY175" fmla="*/ 422410 h 428727"/>
                  <a:gd name="connsiteX176" fmla="*/ 284715 w 361033"/>
                  <a:gd name="connsiteY176" fmla="*/ 433466 h 428727"/>
                  <a:gd name="connsiteX177" fmla="*/ 285618 w 361033"/>
                  <a:gd name="connsiteY177" fmla="*/ 434594 h 428727"/>
                  <a:gd name="connsiteX178" fmla="*/ 295546 w 361033"/>
                  <a:gd name="connsiteY178" fmla="*/ 431661 h 428727"/>
                  <a:gd name="connsiteX179" fmla="*/ 305700 w 361033"/>
                  <a:gd name="connsiteY179" fmla="*/ 423086 h 428727"/>
                  <a:gd name="connsiteX180" fmla="*/ 310665 w 361033"/>
                  <a:gd name="connsiteY180" fmla="*/ 420830 h 428727"/>
                  <a:gd name="connsiteX181" fmla="*/ 323978 w 361033"/>
                  <a:gd name="connsiteY181" fmla="*/ 418122 h 428727"/>
                  <a:gd name="connsiteX182" fmla="*/ 330522 w 361033"/>
                  <a:gd name="connsiteY182" fmla="*/ 417671 h 428727"/>
                  <a:gd name="connsiteX183" fmla="*/ 333004 w 361033"/>
                  <a:gd name="connsiteY183" fmla="*/ 417220 h 428727"/>
                  <a:gd name="connsiteX184" fmla="*/ 343609 w 361033"/>
                  <a:gd name="connsiteY184" fmla="*/ 411804 h 428727"/>
                  <a:gd name="connsiteX185" fmla="*/ 344963 w 361033"/>
                  <a:gd name="connsiteY185" fmla="*/ 409322 h 428727"/>
                  <a:gd name="connsiteX186" fmla="*/ 356471 w 361033"/>
                  <a:gd name="connsiteY186" fmla="*/ 382921 h 428727"/>
                  <a:gd name="connsiteX187" fmla="*/ 356471 w 361033"/>
                  <a:gd name="connsiteY187" fmla="*/ 370962 h 428727"/>
                  <a:gd name="connsiteX188" fmla="*/ 357373 w 361033"/>
                  <a:gd name="connsiteY188" fmla="*/ 359229 h 428727"/>
                  <a:gd name="connsiteX189" fmla="*/ 355343 w 361033"/>
                  <a:gd name="connsiteY189" fmla="*/ 344562 h 428727"/>
                  <a:gd name="connsiteX190" fmla="*/ 352635 w 361033"/>
                  <a:gd name="connsiteY190" fmla="*/ 333956 h 428727"/>
                  <a:gd name="connsiteX191" fmla="*/ 349701 w 361033"/>
                  <a:gd name="connsiteY191" fmla="*/ 330572 h 428727"/>
                  <a:gd name="connsiteX192" fmla="*/ 331650 w 361033"/>
                  <a:gd name="connsiteY192" fmla="*/ 330572 h 428727"/>
                  <a:gd name="connsiteX193" fmla="*/ 328265 w 361033"/>
                  <a:gd name="connsiteY193" fmla="*/ 335085 h 428727"/>
                  <a:gd name="connsiteX194" fmla="*/ 320367 w 361033"/>
                  <a:gd name="connsiteY194" fmla="*/ 340726 h 428727"/>
                  <a:gd name="connsiteX195" fmla="*/ 311567 w 361033"/>
                  <a:gd name="connsiteY195" fmla="*/ 332828 h 428727"/>
                  <a:gd name="connsiteX196" fmla="*/ 308859 w 361033"/>
                  <a:gd name="connsiteY196" fmla="*/ 328089 h 428727"/>
                  <a:gd name="connsiteX197" fmla="*/ 293516 w 361033"/>
                  <a:gd name="connsiteY197" fmla="*/ 324705 h 428727"/>
                  <a:gd name="connsiteX198" fmla="*/ 280428 w 361033"/>
                  <a:gd name="connsiteY198" fmla="*/ 323125 h 428727"/>
                  <a:gd name="connsiteX199" fmla="*/ 275464 w 361033"/>
                  <a:gd name="connsiteY199" fmla="*/ 319741 h 428727"/>
                  <a:gd name="connsiteX200" fmla="*/ 277720 w 361033"/>
                  <a:gd name="connsiteY200" fmla="*/ 313422 h 428727"/>
                  <a:gd name="connsiteX201" fmla="*/ 281331 w 361033"/>
                  <a:gd name="connsiteY201" fmla="*/ 306427 h 428727"/>
                  <a:gd name="connsiteX202" fmla="*/ 282459 w 361033"/>
                  <a:gd name="connsiteY202" fmla="*/ 300335 h 428727"/>
                  <a:gd name="connsiteX203" fmla="*/ 289003 w 361033"/>
                  <a:gd name="connsiteY203" fmla="*/ 286345 h 428727"/>
                  <a:gd name="connsiteX204" fmla="*/ 294418 w 361033"/>
                  <a:gd name="connsiteY204" fmla="*/ 283186 h 428727"/>
                  <a:gd name="connsiteX205" fmla="*/ 306152 w 361033"/>
                  <a:gd name="connsiteY205" fmla="*/ 273934 h 428727"/>
                  <a:gd name="connsiteX206" fmla="*/ 319465 w 361033"/>
                  <a:gd name="connsiteY206" fmla="*/ 266037 h 428727"/>
                  <a:gd name="connsiteX207" fmla="*/ 323301 w 361033"/>
                  <a:gd name="connsiteY207" fmla="*/ 263329 h 428727"/>
                  <a:gd name="connsiteX208" fmla="*/ 318337 w 361033"/>
                  <a:gd name="connsiteY208" fmla="*/ 254754 h 428727"/>
                  <a:gd name="connsiteX209" fmla="*/ 310439 w 361033"/>
                  <a:gd name="connsiteY209" fmla="*/ 243698 h 428727"/>
                  <a:gd name="connsiteX210" fmla="*/ 311342 w 361033"/>
                  <a:gd name="connsiteY210" fmla="*/ 230610 h 428727"/>
                  <a:gd name="connsiteX211" fmla="*/ 313372 w 361033"/>
                  <a:gd name="connsiteY211" fmla="*/ 222036 h 428727"/>
                  <a:gd name="connsiteX212" fmla="*/ 309311 w 361033"/>
                  <a:gd name="connsiteY212" fmla="*/ 209851 h 428727"/>
                  <a:gd name="connsiteX213" fmla="*/ 302767 w 361033"/>
                  <a:gd name="connsiteY213" fmla="*/ 184579 h 428727"/>
                  <a:gd name="connsiteX214" fmla="*/ 306152 w 361033"/>
                  <a:gd name="connsiteY214" fmla="*/ 168332 h 428727"/>
                  <a:gd name="connsiteX215" fmla="*/ 310439 w 361033"/>
                  <a:gd name="connsiteY215" fmla="*/ 161563 h 428727"/>
                  <a:gd name="connsiteX216" fmla="*/ 324655 w 361033"/>
                  <a:gd name="connsiteY216" fmla="*/ 126362 h 428727"/>
                  <a:gd name="connsiteX217" fmla="*/ 333004 w 361033"/>
                  <a:gd name="connsiteY217" fmla="*/ 115756 h 428727"/>
                  <a:gd name="connsiteX218" fmla="*/ 340224 w 361033"/>
                  <a:gd name="connsiteY218" fmla="*/ 113274 h 428727"/>
                  <a:gd name="connsiteX219" fmla="*/ 351055 w 361033"/>
                  <a:gd name="connsiteY219" fmla="*/ 99961 h 428727"/>
                  <a:gd name="connsiteX220" fmla="*/ 361435 w 361033"/>
                  <a:gd name="connsiteY220" fmla="*/ 87776 h 428727"/>
                  <a:gd name="connsiteX221" fmla="*/ 373169 w 361033"/>
                  <a:gd name="connsiteY221" fmla="*/ 76945 h 428727"/>
                  <a:gd name="connsiteX222" fmla="*/ 374297 w 361033"/>
                  <a:gd name="connsiteY222" fmla="*/ 69950 h 428727"/>
                  <a:gd name="connsiteX223" fmla="*/ 362789 w 361033"/>
                  <a:gd name="connsiteY223" fmla="*/ 71981 h 428727"/>
                  <a:gd name="connsiteX224" fmla="*/ 337516 w 361033"/>
                  <a:gd name="connsiteY224" fmla="*/ 61376 h 428727"/>
                  <a:gd name="connsiteX225" fmla="*/ 320819 w 361033"/>
                  <a:gd name="connsiteY225" fmla="*/ 30914 h 428727"/>
                  <a:gd name="connsiteX226" fmla="*/ 305475 w 361033"/>
                  <a:gd name="connsiteY226" fmla="*/ 17600 h 428727"/>
                  <a:gd name="connsiteX227" fmla="*/ 294192 w 361033"/>
                  <a:gd name="connsiteY227" fmla="*/ 10831 h 428727"/>
                  <a:gd name="connsiteX228" fmla="*/ 285618 w 361033"/>
                  <a:gd name="connsiteY228" fmla="*/ 4964 h 428727"/>
                  <a:gd name="connsiteX229" fmla="*/ 284490 w 361033"/>
                  <a:gd name="connsiteY229" fmla="*/ 4287 h 428727"/>
                  <a:gd name="connsiteX230" fmla="*/ 284490 w 361033"/>
                  <a:gd name="connsiteY230" fmla="*/ 7672 h 428727"/>
                  <a:gd name="connsiteX231" fmla="*/ 284490 w 361033"/>
                  <a:gd name="connsiteY231" fmla="*/ 8575 h 428727"/>
                  <a:gd name="connsiteX232" fmla="*/ 287423 w 361033"/>
                  <a:gd name="connsiteY232" fmla="*/ 17375 h 428727"/>
                  <a:gd name="connsiteX233" fmla="*/ 290356 w 361033"/>
                  <a:gd name="connsiteY233" fmla="*/ 24370 h 428727"/>
                  <a:gd name="connsiteX234" fmla="*/ 292162 w 361033"/>
                  <a:gd name="connsiteY234" fmla="*/ 28657 h 428727"/>
                  <a:gd name="connsiteX235" fmla="*/ 294644 w 361033"/>
                  <a:gd name="connsiteY235" fmla="*/ 43098 h 428727"/>
                  <a:gd name="connsiteX236" fmla="*/ 297352 w 361033"/>
                  <a:gd name="connsiteY236" fmla="*/ 58442 h 428727"/>
                  <a:gd name="connsiteX237" fmla="*/ 298028 w 361033"/>
                  <a:gd name="connsiteY237" fmla="*/ 65889 h 428727"/>
                  <a:gd name="connsiteX238" fmla="*/ 290356 w 361033"/>
                  <a:gd name="connsiteY238" fmla="*/ 64535 h 428727"/>
                  <a:gd name="connsiteX239" fmla="*/ 277495 w 361033"/>
                  <a:gd name="connsiteY239" fmla="*/ 60924 h 428727"/>
                  <a:gd name="connsiteX240" fmla="*/ 272530 w 361033"/>
                  <a:gd name="connsiteY240" fmla="*/ 69048 h 428727"/>
                  <a:gd name="connsiteX241" fmla="*/ 263956 w 361033"/>
                  <a:gd name="connsiteY241" fmla="*/ 83715 h 428727"/>
                  <a:gd name="connsiteX242" fmla="*/ 261474 w 361033"/>
                  <a:gd name="connsiteY242" fmla="*/ 92064 h 428727"/>
                  <a:gd name="connsiteX243" fmla="*/ 258766 w 361033"/>
                  <a:gd name="connsiteY243" fmla="*/ 101992 h 428727"/>
                  <a:gd name="connsiteX244" fmla="*/ 246581 w 361033"/>
                  <a:gd name="connsiteY244" fmla="*/ 104474 h 428727"/>
                  <a:gd name="connsiteX245" fmla="*/ 236427 w 361033"/>
                  <a:gd name="connsiteY245" fmla="*/ 101541 h 428727"/>
                  <a:gd name="connsiteX246" fmla="*/ 219504 w 361033"/>
                  <a:gd name="connsiteY246" fmla="*/ 105602 h 428727"/>
                  <a:gd name="connsiteX247" fmla="*/ 209575 w 361033"/>
                  <a:gd name="connsiteY247" fmla="*/ 120495 h 428727"/>
                  <a:gd name="connsiteX248" fmla="*/ 198293 w 361033"/>
                  <a:gd name="connsiteY248" fmla="*/ 140352 h 428727"/>
                  <a:gd name="connsiteX249" fmla="*/ 193554 w 361033"/>
                  <a:gd name="connsiteY249" fmla="*/ 143511 h 428727"/>
                  <a:gd name="connsiteX250" fmla="*/ 173697 w 361033"/>
                  <a:gd name="connsiteY250" fmla="*/ 145767 h 428727"/>
                  <a:gd name="connsiteX251" fmla="*/ 153615 w 361033"/>
                  <a:gd name="connsiteY251" fmla="*/ 149152 h 428727"/>
                  <a:gd name="connsiteX252" fmla="*/ 149553 w 361033"/>
                  <a:gd name="connsiteY252" fmla="*/ 151634 h 428727"/>
                  <a:gd name="connsiteX253" fmla="*/ 129696 w 361033"/>
                  <a:gd name="connsiteY253" fmla="*/ 152086 h 428727"/>
                  <a:gd name="connsiteX254" fmla="*/ 117963 w 361033"/>
                  <a:gd name="connsiteY254" fmla="*/ 150957 h 428727"/>
                  <a:gd name="connsiteX255" fmla="*/ 108937 w 361033"/>
                  <a:gd name="connsiteY255" fmla="*/ 161563 h 428727"/>
                  <a:gd name="connsiteX256" fmla="*/ 104424 w 361033"/>
                  <a:gd name="connsiteY256" fmla="*/ 169912 h 428727"/>
                  <a:gd name="connsiteX257" fmla="*/ 88854 w 361033"/>
                  <a:gd name="connsiteY257" fmla="*/ 169912 h 428727"/>
                  <a:gd name="connsiteX258" fmla="*/ 86372 w 361033"/>
                  <a:gd name="connsiteY258" fmla="*/ 157050 h 428727"/>
                  <a:gd name="connsiteX259" fmla="*/ 85921 w 361033"/>
                  <a:gd name="connsiteY259" fmla="*/ 144639 h 428727"/>
                  <a:gd name="connsiteX260" fmla="*/ 75090 w 361033"/>
                  <a:gd name="connsiteY260" fmla="*/ 138095 h 428727"/>
                  <a:gd name="connsiteX261" fmla="*/ 68772 w 361033"/>
                  <a:gd name="connsiteY261" fmla="*/ 138095 h 428727"/>
                  <a:gd name="connsiteX262" fmla="*/ 52074 w 361033"/>
                  <a:gd name="connsiteY262" fmla="*/ 125459 h 428727"/>
                  <a:gd name="connsiteX263" fmla="*/ 48238 w 361033"/>
                  <a:gd name="connsiteY263" fmla="*/ 120495 h 428727"/>
                  <a:gd name="connsiteX264" fmla="*/ 27704 w 361033"/>
                  <a:gd name="connsiteY264" fmla="*/ 121849 h 428727"/>
                  <a:gd name="connsiteX265" fmla="*/ 23417 w 361033"/>
                  <a:gd name="connsiteY265" fmla="*/ 123654 h 428727"/>
                  <a:gd name="connsiteX266" fmla="*/ 9653 w 361033"/>
                  <a:gd name="connsiteY266" fmla="*/ 127039 h 428727"/>
                  <a:gd name="connsiteX267" fmla="*/ 9653 w 361033"/>
                  <a:gd name="connsiteY267" fmla="*/ 127490 h 428727"/>
                  <a:gd name="connsiteX268" fmla="*/ 7171 w 361033"/>
                  <a:gd name="connsiteY268" fmla="*/ 132229 h 428727"/>
                  <a:gd name="connsiteX269" fmla="*/ 5365 w 361033"/>
                  <a:gd name="connsiteY269" fmla="*/ 135388 h 428727"/>
                  <a:gd name="connsiteX270" fmla="*/ 2658 w 361033"/>
                  <a:gd name="connsiteY270" fmla="*/ 139675 h 428727"/>
                  <a:gd name="connsiteX271" fmla="*/ 2206 w 361033"/>
                  <a:gd name="connsiteY271" fmla="*/ 143962 h 428727"/>
                  <a:gd name="connsiteX272" fmla="*/ 12135 w 361033"/>
                  <a:gd name="connsiteY272" fmla="*/ 147798 h 428727"/>
                  <a:gd name="connsiteX273" fmla="*/ 15971 w 361033"/>
                  <a:gd name="connsiteY273" fmla="*/ 149152 h 428727"/>
                  <a:gd name="connsiteX274" fmla="*/ 19581 w 361033"/>
                  <a:gd name="connsiteY274" fmla="*/ 152762 h 428727"/>
                  <a:gd name="connsiteX275" fmla="*/ 13714 w 361033"/>
                  <a:gd name="connsiteY275" fmla="*/ 167655 h 428727"/>
                  <a:gd name="connsiteX276" fmla="*/ 12360 w 361033"/>
                  <a:gd name="connsiteY276" fmla="*/ 175778 h 428727"/>
                  <a:gd name="connsiteX277" fmla="*/ 11683 w 361033"/>
                  <a:gd name="connsiteY277" fmla="*/ 184353 h 428727"/>
                  <a:gd name="connsiteX278" fmla="*/ 18002 w 361033"/>
                  <a:gd name="connsiteY278" fmla="*/ 206918 h 428727"/>
                  <a:gd name="connsiteX279" fmla="*/ 28381 w 361033"/>
                  <a:gd name="connsiteY279" fmla="*/ 204210 h 428727"/>
                  <a:gd name="connsiteX280" fmla="*/ 37858 w 361033"/>
                  <a:gd name="connsiteY280" fmla="*/ 199471 h 428727"/>
                  <a:gd name="connsiteX281" fmla="*/ 48464 w 361033"/>
                  <a:gd name="connsiteY281" fmla="*/ 197215 h 428727"/>
                  <a:gd name="connsiteX282" fmla="*/ 50043 w 361033"/>
                  <a:gd name="connsiteY282" fmla="*/ 200374 h 428727"/>
                  <a:gd name="connsiteX283" fmla="*/ 50043 w 361033"/>
                  <a:gd name="connsiteY283" fmla="*/ 200599 h 428727"/>
                  <a:gd name="connsiteX284" fmla="*/ 61551 w 361033"/>
                  <a:gd name="connsiteY284" fmla="*/ 206466 h 428727"/>
                  <a:gd name="connsiteX285" fmla="*/ 66515 w 361033"/>
                  <a:gd name="connsiteY285" fmla="*/ 209174 h 428727"/>
                  <a:gd name="connsiteX286" fmla="*/ 75541 w 361033"/>
                  <a:gd name="connsiteY286" fmla="*/ 214815 h 428727"/>
                  <a:gd name="connsiteX287" fmla="*/ 91111 w 361033"/>
                  <a:gd name="connsiteY287" fmla="*/ 214589 h 428727"/>
                  <a:gd name="connsiteX288" fmla="*/ 103747 w 361033"/>
                  <a:gd name="connsiteY288" fmla="*/ 216395 h 428727"/>
                  <a:gd name="connsiteX289" fmla="*/ 108034 w 361033"/>
                  <a:gd name="connsiteY289" fmla="*/ 227226 h 428727"/>
                  <a:gd name="connsiteX290" fmla="*/ 112999 w 361033"/>
                  <a:gd name="connsiteY290" fmla="*/ 241216 h 428727"/>
                  <a:gd name="connsiteX291" fmla="*/ 118414 w 361033"/>
                  <a:gd name="connsiteY291" fmla="*/ 250693 h 428727"/>
                  <a:gd name="connsiteX292" fmla="*/ 118640 w 361033"/>
                  <a:gd name="connsiteY292" fmla="*/ 268970 h 428727"/>
                  <a:gd name="connsiteX293" fmla="*/ 117963 w 361033"/>
                  <a:gd name="connsiteY293" fmla="*/ 270550 h 428727"/>
                  <a:gd name="connsiteX294" fmla="*/ 120445 w 361033"/>
                  <a:gd name="connsiteY294" fmla="*/ 277996 h 428727"/>
                  <a:gd name="connsiteX295" fmla="*/ 123153 w 361033"/>
                  <a:gd name="connsiteY295" fmla="*/ 287924 h 428727"/>
                  <a:gd name="connsiteX296" fmla="*/ 122701 w 361033"/>
                  <a:gd name="connsiteY296" fmla="*/ 298079 h 428727"/>
                  <a:gd name="connsiteX297" fmla="*/ 127214 w 361033"/>
                  <a:gd name="connsiteY297" fmla="*/ 305525 h 428727"/>
                  <a:gd name="connsiteX298" fmla="*/ 145040 w 361033"/>
                  <a:gd name="connsiteY298" fmla="*/ 325833 h 428727"/>
                  <a:gd name="connsiteX299" fmla="*/ 149779 w 361033"/>
                  <a:gd name="connsiteY299" fmla="*/ 332377 h 428727"/>
                  <a:gd name="connsiteX300" fmla="*/ 156774 w 361033"/>
                  <a:gd name="connsiteY300" fmla="*/ 335987 h 428727"/>
                  <a:gd name="connsiteX301" fmla="*/ 173021 w 361033"/>
                  <a:gd name="connsiteY301" fmla="*/ 346818 h 428727"/>
                  <a:gd name="connsiteX302" fmla="*/ 178887 w 361033"/>
                  <a:gd name="connsiteY302" fmla="*/ 369157 h 428727"/>
                  <a:gd name="connsiteX303" fmla="*/ 177533 w 361033"/>
                  <a:gd name="connsiteY303" fmla="*/ 374798 h 428727"/>
                  <a:gd name="connsiteX304" fmla="*/ 175051 w 361033"/>
                  <a:gd name="connsiteY304" fmla="*/ 384275 h 428727"/>
                  <a:gd name="connsiteX305" fmla="*/ 173697 w 361033"/>
                  <a:gd name="connsiteY305" fmla="*/ 389240 h 428727"/>
                  <a:gd name="connsiteX306" fmla="*/ 168282 w 361033"/>
                  <a:gd name="connsiteY306" fmla="*/ 402327 h 428727"/>
                  <a:gd name="connsiteX307" fmla="*/ 166477 w 361033"/>
                  <a:gd name="connsiteY307" fmla="*/ 407291 h 428727"/>
                  <a:gd name="connsiteX308" fmla="*/ 172118 w 361033"/>
                  <a:gd name="connsiteY308" fmla="*/ 412707 h 428727"/>
                  <a:gd name="connsiteX309" fmla="*/ 189493 w 361033"/>
                  <a:gd name="connsiteY309" fmla="*/ 412932 h 428727"/>
                  <a:gd name="connsiteX310" fmla="*/ 189267 w 361033"/>
                  <a:gd name="connsiteY310" fmla="*/ 410902 h 428727"/>
                  <a:gd name="connsiteX311" fmla="*/ 193554 w 361033"/>
                  <a:gd name="connsiteY311" fmla="*/ 400973 h 428727"/>
                  <a:gd name="connsiteX312" fmla="*/ 197390 w 361033"/>
                  <a:gd name="connsiteY312" fmla="*/ 393527 h 428727"/>
                  <a:gd name="connsiteX313" fmla="*/ 201677 w 361033"/>
                  <a:gd name="connsiteY313" fmla="*/ 385855 h 428727"/>
                  <a:gd name="connsiteX314" fmla="*/ 204385 w 361033"/>
                  <a:gd name="connsiteY314" fmla="*/ 384727 h 428727"/>
                  <a:gd name="connsiteX315" fmla="*/ 212283 w 361033"/>
                  <a:gd name="connsiteY315" fmla="*/ 379085 h 428727"/>
                  <a:gd name="connsiteX316" fmla="*/ 213185 w 361033"/>
                  <a:gd name="connsiteY316" fmla="*/ 377280 h 428727"/>
                  <a:gd name="connsiteX317" fmla="*/ 222888 w 361033"/>
                  <a:gd name="connsiteY317" fmla="*/ 371188 h 428727"/>
                  <a:gd name="connsiteX318" fmla="*/ 232591 w 361033"/>
                  <a:gd name="connsiteY318" fmla="*/ 381793 h 428727"/>
                  <a:gd name="connsiteX319" fmla="*/ 233945 w 361033"/>
                  <a:gd name="connsiteY319" fmla="*/ 384952 h 428727"/>
                  <a:gd name="connsiteX320" fmla="*/ 235750 w 361033"/>
                  <a:gd name="connsiteY320" fmla="*/ 390142 h 428727"/>
                  <a:gd name="connsiteX321" fmla="*/ 236427 w 361033"/>
                  <a:gd name="connsiteY321" fmla="*/ 392173 h 428727"/>
                  <a:gd name="connsiteX322" fmla="*/ 254253 w 361033"/>
                  <a:gd name="connsiteY322" fmla="*/ 388111 h 428727"/>
                  <a:gd name="connsiteX323" fmla="*/ 259894 w 361033"/>
                  <a:gd name="connsiteY323" fmla="*/ 379085 h 428727"/>
                  <a:gd name="connsiteX324" fmla="*/ 262602 w 361033"/>
                  <a:gd name="connsiteY324" fmla="*/ 375250 h 428727"/>
                  <a:gd name="connsiteX325" fmla="*/ 280202 w 361033"/>
                  <a:gd name="connsiteY325" fmla="*/ 368029 h 42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</a:cxnLst>
                <a:rect l="l" t="t" r="r" b="b"/>
                <a:pathLst>
                  <a:path w="361033" h="428727">
                    <a:moveTo>
                      <a:pt x="290356" y="439784"/>
                    </a:moveTo>
                    <a:cubicBezTo>
                      <a:pt x="288551" y="439784"/>
                      <a:pt x="286520" y="439333"/>
                      <a:pt x="284264" y="438205"/>
                    </a:cubicBezTo>
                    <a:cubicBezTo>
                      <a:pt x="282910" y="437528"/>
                      <a:pt x="282008" y="436400"/>
                      <a:pt x="281556" y="434594"/>
                    </a:cubicBezTo>
                    <a:cubicBezTo>
                      <a:pt x="280428" y="430533"/>
                      <a:pt x="282459" y="424440"/>
                      <a:pt x="284941" y="420379"/>
                    </a:cubicBezTo>
                    <a:cubicBezTo>
                      <a:pt x="286069" y="418799"/>
                      <a:pt x="285167" y="415189"/>
                      <a:pt x="284264" y="411353"/>
                    </a:cubicBezTo>
                    <a:cubicBezTo>
                      <a:pt x="283136" y="406163"/>
                      <a:pt x="281782" y="400296"/>
                      <a:pt x="284038" y="394881"/>
                    </a:cubicBezTo>
                    <a:lnTo>
                      <a:pt x="284264" y="394429"/>
                    </a:lnTo>
                    <a:cubicBezTo>
                      <a:pt x="287874" y="385855"/>
                      <a:pt x="287874" y="385629"/>
                      <a:pt x="286069" y="382245"/>
                    </a:cubicBezTo>
                    <a:cubicBezTo>
                      <a:pt x="284715" y="379988"/>
                      <a:pt x="284264" y="377506"/>
                      <a:pt x="283813" y="375250"/>
                    </a:cubicBezTo>
                    <a:cubicBezTo>
                      <a:pt x="283587" y="373896"/>
                      <a:pt x="283136" y="372090"/>
                      <a:pt x="282684" y="371639"/>
                    </a:cubicBezTo>
                    <a:cubicBezTo>
                      <a:pt x="280879" y="371188"/>
                      <a:pt x="271628" y="371188"/>
                      <a:pt x="267792" y="376603"/>
                    </a:cubicBezTo>
                    <a:cubicBezTo>
                      <a:pt x="266664" y="378183"/>
                      <a:pt x="265761" y="379311"/>
                      <a:pt x="265084" y="380439"/>
                    </a:cubicBezTo>
                    <a:cubicBezTo>
                      <a:pt x="262602" y="383824"/>
                      <a:pt x="261699" y="385178"/>
                      <a:pt x="259894" y="389014"/>
                    </a:cubicBezTo>
                    <a:cubicBezTo>
                      <a:pt x="257412" y="393978"/>
                      <a:pt x="247032" y="395106"/>
                      <a:pt x="238684" y="395106"/>
                    </a:cubicBezTo>
                    <a:cubicBezTo>
                      <a:pt x="235750" y="395106"/>
                      <a:pt x="235073" y="392850"/>
                      <a:pt x="234171" y="390593"/>
                    </a:cubicBezTo>
                    <a:cubicBezTo>
                      <a:pt x="233719" y="389465"/>
                      <a:pt x="233268" y="387886"/>
                      <a:pt x="232365" y="385855"/>
                    </a:cubicBezTo>
                    <a:cubicBezTo>
                      <a:pt x="231914" y="384727"/>
                      <a:pt x="231463" y="383598"/>
                      <a:pt x="231012" y="382696"/>
                    </a:cubicBezTo>
                    <a:cubicBezTo>
                      <a:pt x="229206" y="377957"/>
                      <a:pt x="227852" y="374798"/>
                      <a:pt x="224468" y="374573"/>
                    </a:cubicBezTo>
                    <a:cubicBezTo>
                      <a:pt x="220857" y="374121"/>
                      <a:pt x="220406" y="375250"/>
                      <a:pt x="218601" y="378634"/>
                    </a:cubicBezTo>
                    <a:cubicBezTo>
                      <a:pt x="218375" y="379311"/>
                      <a:pt x="217924" y="379762"/>
                      <a:pt x="217473" y="380439"/>
                    </a:cubicBezTo>
                    <a:cubicBezTo>
                      <a:pt x="215216" y="384501"/>
                      <a:pt x="211380" y="386081"/>
                      <a:pt x="207996" y="387660"/>
                    </a:cubicBezTo>
                    <a:cubicBezTo>
                      <a:pt x="207093" y="388111"/>
                      <a:pt x="206190" y="388337"/>
                      <a:pt x="205514" y="388788"/>
                    </a:cubicBezTo>
                    <a:cubicBezTo>
                      <a:pt x="204385" y="389240"/>
                      <a:pt x="203708" y="391947"/>
                      <a:pt x="203031" y="394204"/>
                    </a:cubicBezTo>
                    <a:cubicBezTo>
                      <a:pt x="201903" y="397814"/>
                      <a:pt x="200775" y="401876"/>
                      <a:pt x="197616" y="403907"/>
                    </a:cubicBezTo>
                    <a:cubicBezTo>
                      <a:pt x="194683" y="405712"/>
                      <a:pt x="194908" y="407517"/>
                      <a:pt x="195134" y="410225"/>
                    </a:cubicBezTo>
                    <a:cubicBezTo>
                      <a:pt x="195134" y="411127"/>
                      <a:pt x="195359" y="412030"/>
                      <a:pt x="195359" y="412932"/>
                    </a:cubicBezTo>
                    <a:cubicBezTo>
                      <a:pt x="195359" y="413609"/>
                      <a:pt x="195134" y="415189"/>
                      <a:pt x="193103" y="416317"/>
                    </a:cubicBezTo>
                    <a:cubicBezTo>
                      <a:pt x="188590" y="418799"/>
                      <a:pt x="177533" y="418574"/>
                      <a:pt x="172344" y="415866"/>
                    </a:cubicBezTo>
                    <a:cubicBezTo>
                      <a:pt x="169184" y="414061"/>
                      <a:pt x="165574" y="411579"/>
                      <a:pt x="164672" y="407968"/>
                    </a:cubicBezTo>
                    <a:cubicBezTo>
                      <a:pt x="164220" y="405486"/>
                      <a:pt x="165123" y="402778"/>
                      <a:pt x="167379" y="400071"/>
                    </a:cubicBezTo>
                    <a:cubicBezTo>
                      <a:pt x="170538" y="396235"/>
                      <a:pt x="171215" y="392399"/>
                      <a:pt x="171892" y="388563"/>
                    </a:cubicBezTo>
                    <a:cubicBezTo>
                      <a:pt x="172344" y="386532"/>
                      <a:pt x="172569" y="384727"/>
                      <a:pt x="173246" y="382921"/>
                    </a:cubicBezTo>
                    <a:cubicBezTo>
                      <a:pt x="174374" y="380214"/>
                      <a:pt x="174826" y="377055"/>
                      <a:pt x="175503" y="374121"/>
                    </a:cubicBezTo>
                    <a:cubicBezTo>
                      <a:pt x="175954" y="371865"/>
                      <a:pt x="176405" y="369608"/>
                      <a:pt x="177082" y="368029"/>
                    </a:cubicBezTo>
                    <a:cubicBezTo>
                      <a:pt x="178436" y="364193"/>
                      <a:pt x="177533" y="357198"/>
                      <a:pt x="171667" y="349075"/>
                    </a:cubicBezTo>
                    <a:cubicBezTo>
                      <a:pt x="167831" y="343885"/>
                      <a:pt x="162189" y="341628"/>
                      <a:pt x="157000" y="339597"/>
                    </a:cubicBezTo>
                    <a:cubicBezTo>
                      <a:pt x="153389" y="338244"/>
                      <a:pt x="150230" y="336890"/>
                      <a:pt x="148425" y="334859"/>
                    </a:cubicBezTo>
                    <a:cubicBezTo>
                      <a:pt x="147297" y="333505"/>
                      <a:pt x="145492" y="331248"/>
                      <a:pt x="143461" y="328089"/>
                    </a:cubicBezTo>
                    <a:cubicBezTo>
                      <a:pt x="138722" y="321546"/>
                      <a:pt x="130825" y="310489"/>
                      <a:pt x="127214" y="308910"/>
                    </a:cubicBezTo>
                    <a:cubicBezTo>
                      <a:pt x="124055" y="307556"/>
                      <a:pt x="121573" y="303720"/>
                      <a:pt x="120671" y="298755"/>
                    </a:cubicBezTo>
                    <a:cubicBezTo>
                      <a:pt x="119768" y="294243"/>
                      <a:pt x="119994" y="289504"/>
                      <a:pt x="121348" y="286345"/>
                    </a:cubicBezTo>
                    <a:cubicBezTo>
                      <a:pt x="122024" y="284765"/>
                      <a:pt x="120896" y="282735"/>
                      <a:pt x="119091" y="280027"/>
                    </a:cubicBezTo>
                    <a:cubicBezTo>
                      <a:pt x="117060" y="276868"/>
                      <a:pt x="114352" y="273032"/>
                      <a:pt x="116383" y="268745"/>
                    </a:cubicBezTo>
                    <a:lnTo>
                      <a:pt x="117286" y="267165"/>
                    </a:lnTo>
                    <a:cubicBezTo>
                      <a:pt x="119768" y="262201"/>
                      <a:pt x="120671" y="260396"/>
                      <a:pt x="117060" y="252047"/>
                    </a:cubicBezTo>
                    <a:cubicBezTo>
                      <a:pt x="115481" y="248662"/>
                      <a:pt x="113676" y="245729"/>
                      <a:pt x="111870" y="243021"/>
                    </a:cubicBezTo>
                    <a:cubicBezTo>
                      <a:pt x="108486" y="238057"/>
                      <a:pt x="105327" y="233318"/>
                      <a:pt x="106229" y="226549"/>
                    </a:cubicBezTo>
                    <a:cubicBezTo>
                      <a:pt x="106680" y="222713"/>
                      <a:pt x="104875" y="220456"/>
                      <a:pt x="103296" y="219102"/>
                    </a:cubicBezTo>
                    <a:cubicBezTo>
                      <a:pt x="100814" y="217297"/>
                      <a:pt x="96978" y="216620"/>
                      <a:pt x="94496" y="217749"/>
                    </a:cubicBezTo>
                    <a:cubicBezTo>
                      <a:pt x="91337" y="219102"/>
                      <a:pt x="81859" y="223390"/>
                      <a:pt x="74864" y="217523"/>
                    </a:cubicBezTo>
                    <a:cubicBezTo>
                      <a:pt x="71931" y="215041"/>
                      <a:pt x="69449" y="213687"/>
                      <a:pt x="66741" y="212559"/>
                    </a:cubicBezTo>
                    <a:cubicBezTo>
                      <a:pt x="64936" y="211656"/>
                      <a:pt x="63356" y="210979"/>
                      <a:pt x="61326" y="209625"/>
                    </a:cubicBezTo>
                    <a:cubicBezTo>
                      <a:pt x="56587" y="206692"/>
                      <a:pt x="53428" y="204887"/>
                      <a:pt x="50720" y="204210"/>
                    </a:cubicBezTo>
                    <a:cubicBezTo>
                      <a:pt x="48238" y="203758"/>
                      <a:pt x="48238" y="201502"/>
                      <a:pt x="48238" y="200599"/>
                    </a:cubicBezTo>
                    <a:cubicBezTo>
                      <a:pt x="48238" y="200599"/>
                      <a:pt x="48238" y="200374"/>
                      <a:pt x="48238" y="200374"/>
                    </a:cubicBezTo>
                    <a:cubicBezTo>
                      <a:pt x="47561" y="200374"/>
                      <a:pt x="45756" y="200825"/>
                      <a:pt x="41243" y="202856"/>
                    </a:cubicBezTo>
                    <a:cubicBezTo>
                      <a:pt x="37407" y="204661"/>
                      <a:pt x="34474" y="206015"/>
                      <a:pt x="31992" y="207369"/>
                    </a:cubicBezTo>
                    <a:cubicBezTo>
                      <a:pt x="24771" y="210979"/>
                      <a:pt x="20935" y="213010"/>
                      <a:pt x="17325" y="209400"/>
                    </a:cubicBezTo>
                    <a:cubicBezTo>
                      <a:pt x="13263" y="205338"/>
                      <a:pt x="7847" y="190220"/>
                      <a:pt x="9878" y="182999"/>
                    </a:cubicBezTo>
                    <a:cubicBezTo>
                      <a:pt x="10555" y="180743"/>
                      <a:pt x="10555" y="178035"/>
                      <a:pt x="10330" y="175553"/>
                    </a:cubicBezTo>
                    <a:cubicBezTo>
                      <a:pt x="10104" y="171717"/>
                      <a:pt x="10104" y="167881"/>
                      <a:pt x="12586" y="164722"/>
                    </a:cubicBezTo>
                    <a:cubicBezTo>
                      <a:pt x="15519" y="161111"/>
                      <a:pt x="18453" y="155696"/>
                      <a:pt x="17776" y="153214"/>
                    </a:cubicBezTo>
                    <a:cubicBezTo>
                      <a:pt x="17550" y="152762"/>
                      <a:pt x="17550" y="152311"/>
                      <a:pt x="16648" y="152086"/>
                    </a:cubicBezTo>
                    <a:cubicBezTo>
                      <a:pt x="15294" y="151634"/>
                      <a:pt x="14166" y="151183"/>
                      <a:pt x="12812" y="150732"/>
                    </a:cubicBezTo>
                    <a:cubicBezTo>
                      <a:pt x="7847" y="149152"/>
                      <a:pt x="3335" y="147798"/>
                      <a:pt x="1078" y="145993"/>
                    </a:cubicBezTo>
                    <a:lnTo>
                      <a:pt x="627" y="145542"/>
                    </a:lnTo>
                    <a:lnTo>
                      <a:pt x="401" y="144865"/>
                    </a:lnTo>
                    <a:cubicBezTo>
                      <a:pt x="176" y="143737"/>
                      <a:pt x="-953" y="138095"/>
                      <a:pt x="1981" y="136065"/>
                    </a:cubicBezTo>
                    <a:cubicBezTo>
                      <a:pt x="2658" y="135613"/>
                      <a:pt x="3109" y="134485"/>
                      <a:pt x="3560" y="133357"/>
                    </a:cubicBezTo>
                    <a:cubicBezTo>
                      <a:pt x="4237" y="131552"/>
                      <a:pt x="4914" y="129747"/>
                      <a:pt x="6945" y="128393"/>
                    </a:cubicBezTo>
                    <a:cubicBezTo>
                      <a:pt x="7396" y="128167"/>
                      <a:pt x="7396" y="127490"/>
                      <a:pt x="7622" y="126362"/>
                    </a:cubicBezTo>
                    <a:cubicBezTo>
                      <a:pt x="7847" y="125234"/>
                      <a:pt x="8073" y="123880"/>
                      <a:pt x="8976" y="123203"/>
                    </a:cubicBezTo>
                    <a:cubicBezTo>
                      <a:pt x="9427" y="122977"/>
                      <a:pt x="10330" y="122526"/>
                      <a:pt x="11458" y="122752"/>
                    </a:cubicBezTo>
                    <a:cubicBezTo>
                      <a:pt x="15294" y="123428"/>
                      <a:pt x="18679" y="121849"/>
                      <a:pt x="23417" y="119818"/>
                    </a:cubicBezTo>
                    <a:cubicBezTo>
                      <a:pt x="24771" y="119141"/>
                      <a:pt x="26125" y="118690"/>
                      <a:pt x="27704" y="118013"/>
                    </a:cubicBezTo>
                    <a:cubicBezTo>
                      <a:pt x="36505" y="114403"/>
                      <a:pt x="46433" y="111018"/>
                      <a:pt x="52300" y="117562"/>
                    </a:cubicBezTo>
                    <a:cubicBezTo>
                      <a:pt x="53654" y="119141"/>
                      <a:pt x="55007" y="120946"/>
                      <a:pt x="56361" y="122752"/>
                    </a:cubicBezTo>
                    <a:cubicBezTo>
                      <a:pt x="60197" y="127941"/>
                      <a:pt x="64033" y="133583"/>
                      <a:pt x="70126" y="133808"/>
                    </a:cubicBezTo>
                    <a:cubicBezTo>
                      <a:pt x="72157" y="133808"/>
                      <a:pt x="74187" y="133808"/>
                      <a:pt x="75993" y="133808"/>
                    </a:cubicBezTo>
                    <a:cubicBezTo>
                      <a:pt x="82988" y="133131"/>
                      <a:pt x="89757" y="132680"/>
                      <a:pt x="91111" y="143285"/>
                    </a:cubicBezTo>
                    <a:cubicBezTo>
                      <a:pt x="91788" y="148024"/>
                      <a:pt x="91562" y="152311"/>
                      <a:pt x="91562" y="156147"/>
                    </a:cubicBezTo>
                    <a:cubicBezTo>
                      <a:pt x="91562" y="160660"/>
                      <a:pt x="91562" y="164947"/>
                      <a:pt x="92690" y="166076"/>
                    </a:cubicBezTo>
                    <a:cubicBezTo>
                      <a:pt x="95173" y="168106"/>
                      <a:pt x="99234" y="169235"/>
                      <a:pt x="103521" y="166076"/>
                    </a:cubicBezTo>
                    <a:cubicBezTo>
                      <a:pt x="104875" y="164947"/>
                      <a:pt x="105778" y="162240"/>
                      <a:pt x="106680" y="159532"/>
                    </a:cubicBezTo>
                    <a:cubicBezTo>
                      <a:pt x="108711" y="153665"/>
                      <a:pt x="111193" y="146444"/>
                      <a:pt x="119091" y="146444"/>
                    </a:cubicBezTo>
                    <a:cubicBezTo>
                      <a:pt x="122927" y="146444"/>
                      <a:pt x="127214" y="147121"/>
                      <a:pt x="131276" y="147798"/>
                    </a:cubicBezTo>
                    <a:cubicBezTo>
                      <a:pt x="137820" y="148701"/>
                      <a:pt x="144815" y="149829"/>
                      <a:pt x="148651" y="147798"/>
                    </a:cubicBezTo>
                    <a:cubicBezTo>
                      <a:pt x="149779" y="147121"/>
                      <a:pt x="151133" y="146219"/>
                      <a:pt x="152487" y="145542"/>
                    </a:cubicBezTo>
                    <a:cubicBezTo>
                      <a:pt x="159030" y="141480"/>
                      <a:pt x="168056" y="135839"/>
                      <a:pt x="176856" y="142383"/>
                    </a:cubicBezTo>
                    <a:cubicBezTo>
                      <a:pt x="182498" y="146670"/>
                      <a:pt x="186334" y="144188"/>
                      <a:pt x="192200" y="140126"/>
                    </a:cubicBezTo>
                    <a:cubicBezTo>
                      <a:pt x="193780" y="138998"/>
                      <a:pt x="195585" y="137644"/>
                      <a:pt x="197390" y="136742"/>
                    </a:cubicBezTo>
                    <a:cubicBezTo>
                      <a:pt x="203708" y="133357"/>
                      <a:pt x="205739" y="129521"/>
                      <a:pt x="206642" y="119818"/>
                    </a:cubicBezTo>
                    <a:cubicBezTo>
                      <a:pt x="207319" y="113726"/>
                      <a:pt x="211606" y="106731"/>
                      <a:pt x="217924" y="102218"/>
                    </a:cubicBezTo>
                    <a:cubicBezTo>
                      <a:pt x="224016" y="97705"/>
                      <a:pt x="231237" y="96125"/>
                      <a:pt x="238007" y="97479"/>
                    </a:cubicBezTo>
                    <a:cubicBezTo>
                      <a:pt x="243196" y="98607"/>
                      <a:pt x="246356" y="99736"/>
                      <a:pt x="248612" y="100638"/>
                    </a:cubicBezTo>
                    <a:cubicBezTo>
                      <a:pt x="252899" y="102218"/>
                      <a:pt x="252899" y="102218"/>
                      <a:pt x="256961" y="98833"/>
                    </a:cubicBezTo>
                    <a:cubicBezTo>
                      <a:pt x="259443" y="96802"/>
                      <a:pt x="259217" y="95448"/>
                      <a:pt x="258315" y="92966"/>
                    </a:cubicBezTo>
                    <a:cubicBezTo>
                      <a:pt x="257412" y="89807"/>
                      <a:pt x="256058" y="85746"/>
                      <a:pt x="262151" y="80556"/>
                    </a:cubicBezTo>
                    <a:cubicBezTo>
                      <a:pt x="266664" y="76720"/>
                      <a:pt x="268243" y="71981"/>
                      <a:pt x="269597" y="67694"/>
                    </a:cubicBezTo>
                    <a:cubicBezTo>
                      <a:pt x="271177" y="63181"/>
                      <a:pt x="272530" y="58894"/>
                      <a:pt x="276818" y="57314"/>
                    </a:cubicBezTo>
                    <a:cubicBezTo>
                      <a:pt x="282008" y="55283"/>
                      <a:pt x="288326" y="58668"/>
                      <a:pt x="292839" y="61150"/>
                    </a:cubicBezTo>
                    <a:cubicBezTo>
                      <a:pt x="293516" y="61601"/>
                      <a:pt x="294644" y="62053"/>
                      <a:pt x="295321" y="62504"/>
                    </a:cubicBezTo>
                    <a:cubicBezTo>
                      <a:pt x="295095" y="61601"/>
                      <a:pt x="294644" y="60473"/>
                      <a:pt x="294418" y="59571"/>
                    </a:cubicBezTo>
                    <a:cubicBezTo>
                      <a:pt x="293064" y="55509"/>
                      <a:pt x="291259" y="49642"/>
                      <a:pt x="291485" y="42873"/>
                    </a:cubicBezTo>
                    <a:cubicBezTo>
                      <a:pt x="291710" y="35426"/>
                      <a:pt x="290808" y="33396"/>
                      <a:pt x="289228" y="30237"/>
                    </a:cubicBezTo>
                    <a:cubicBezTo>
                      <a:pt x="288551" y="28883"/>
                      <a:pt x="287874" y="27529"/>
                      <a:pt x="287197" y="25724"/>
                    </a:cubicBezTo>
                    <a:cubicBezTo>
                      <a:pt x="286295" y="23467"/>
                      <a:pt x="285392" y="21211"/>
                      <a:pt x="284264" y="19180"/>
                    </a:cubicBezTo>
                    <a:cubicBezTo>
                      <a:pt x="282459" y="15570"/>
                      <a:pt x="280879" y="12185"/>
                      <a:pt x="280879" y="8800"/>
                    </a:cubicBezTo>
                    <a:lnTo>
                      <a:pt x="280879" y="8123"/>
                    </a:lnTo>
                    <a:cubicBezTo>
                      <a:pt x="280879" y="6544"/>
                      <a:pt x="280879" y="4513"/>
                      <a:pt x="281105" y="2257"/>
                    </a:cubicBezTo>
                    <a:lnTo>
                      <a:pt x="281331" y="1128"/>
                    </a:lnTo>
                    <a:lnTo>
                      <a:pt x="282233" y="677"/>
                    </a:lnTo>
                    <a:cubicBezTo>
                      <a:pt x="282233" y="677"/>
                      <a:pt x="282684" y="451"/>
                      <a:pt x="283361" y="226"/>
                    </a:cubicBezTo>
                    <a:lnTo>
                      <a:pt x="284264" y="0"/>
                    </a:lnTo>
                    <a:lnTo>
                      <a:pt x="287874" y="2482"/>
                    </a:lnTo>
                    <a:cubicBezTo>
                      <a:pt x="290808" y="4513"/>
                      <a:pt x="293741" y="6544"/>
                      <a:pt x="296449" y="8349"/>
                    </a:cubicBezTo>
                    <a:cubicBezTo>
                      <a:pt x="300059" y="10831"/>
                      <a:pt x="303895" y="13088"/>
                      <a:pt x="307506" y="15118"/>
                    </a:cubicBezTo>
                    <a:cubicBezTo>
                      <a:pt x="316306" y="20082"/>
                      <a:pt x="323752" y="24595"/>
                      <a:pt x="324655" y="31365"/>
                    </a:cubicBezTo>
                    <a:cubicBezTo>
                      <a:pt x="325557" y="39714"/>
                      <a:pt x="333906" y="55058"/>
                      <a:pt x="339773" y="59119"/>
                    </a:cubicBezTo>
                    <a:cubicBezTo>
                      <a:pt x="347219" y="64309"/>
                      <a:pt x="354440" y="67468"/>
                      <a:pt x="363466" y="69048"/>
                    </a:cubicBezTo>
                    <a:cubicBezTo>
                      <a:pt x="368656" y="69950"/>
                      <a:pt x="371589" y="68145"/>
                      <a:pt x="374297" y="66340"/>
                    </a:cubicBezTo>
                    <a:lnTo>
                      <a:pt x="376553" y="64986"/>
                    </a:lnTo>
                    <a:lnTo>
                      <a:pt x="377456" y="67920"/>
                    </a:lnTo>
                    <a:cubicBezTo>
                      <a:pt x="378810" y="72432"/>
                      <a:pt x="378584" y="76494"/>
                      <a:pt x="376553" y="79879"/>
                    </a:cubicBezTo>
                    <a:cubicBezTo>
                      <a:pt x="373620" y="85069"/>
                      <a:pt x="368430" y="88679"/>
                      <a:pt x="363691" y="91838"/>
                    </a:cubicBezTo>
                    <a:cubicBezTo>
                      <a:pt x="359179" y="94997"/>
                      <a:pt x="354891" y="97930"/>
                      <a:pt x="354891" y="100864"/>
                    </a:cubicBezTo>
                    <a:cubicBezTo>
                      <a:pt x="354891" y="109213"/>
                      <a:pt x="354214" y="112372"/>
                      <a:pt x="341804" y="117562"/>
                    </a:cubicBezTo>
                    <a:cubicBezTo>
                      <a:pt x="338419" y="118916"/>
                      <a:pt x="335937" y="119818"/>
                      <a:pt x="334132" y="120269"/>
                    </a:cubicBezTo>
                    <a:cubicBezTo>
                      <a:pt x="330070" y="121623"/>
                      <a:pt x="330070" y="121623"/>
                      <a:pt x="328491" y="128167"/>
                    </a:cubicBezTo>
                    <a:cubicBezTo>
                      <a:pt x="325332" y="141029"/>
                      <a:pt x="320593" y="153439"/>
                      <a:pt x="313824" y="164496"/>
                    </a:cubicBezTo>
                    <a:cubicBezTo>
                      <a:pt x="311793" y="167881"/>
                      <a:pt x="310439" y="169912"/>
                      <a:pt x="309311" y="171491"/>
                    </a:cubicBezTo>
                    <a:cubicBezTo>
                      <a:pt x="306603" y="175327"/>
                      <a:pt x="306603" y="175327"/>
                      <a:pt x="306603" y="185481"/>
                    </a:cubicBezTo>
                    <a:cubicBezTo>
                      <a:pt x="306603" y="194056"/>
                      <a:pt x="309988" y="202179"/>
                      <a:pt x="312921" y="209174"/>
                    </a:cubicBezTo>
                    <a:cubicBezTo>
                      <a:pt x="314726" y="213687"/>
                      <a:pt x="316531" y="217974"/>
                      <a:pt x="317208" y="222036"/>
                    </a:cubicBezTo>
                    <a:cubicBezTo>
                      <a:pt x="318111" y="227226"/>
                      <a:pt x="316306" y="230610"/>
                      <a:pt x="314726" y="233318"/>
                    </a:cubicBezTo>
                    <a:cubicBezTo>
                      <a:pt x="312921" y="236252"/>
                      <a:pt x="311793" y="238282"/>
                      <a:pt x="314049" y="242795"/>
                    </a:cubicBezTo>
                    <a:cubicBezTo>
                      <a:pt x="316080" y="247083"/>
                      <a:pt x="319014" y="250242"/>
                      <a:pt x="321496" y="252949"/>
                    </a:cubicBezTo>
                    <a:cubicBezTo>
                      <a:pt x="324880" y="256785"/>
                      <a:pt x="327814" y="260170"/>
                      <a:pt x="327362" y="264457"/>
                    </a:cubicBezTo>
                    <a:cubicBezTo>
                      <a:pt x="326911" y="268745"/>
                      <a:pt x="323978" y="269647"/>
                      <a:pt x="321044" y="270550"/>
                    </a:cubicBezTo>
                    <a:cubicBezTo>
                      <a:pt x="317885" y="271452"/>
                      <a:pt x="314049" y="272581"/>
                      <a:pt x="309311" y="277545"/>
                    </a:cubicBezTo>
                    <a:cubicBezTo>
                      <a:pt x="302767" y="284540"/>
                      <a:pt x="299834" y="285894"/>
                      <a:pt x="296449" y="287473"/>
                    </a:cubicBezTo>
                    <a:cubicBezTo>
                      <a:pt x="294869" y="288150"/>
                      <a:pt x="293516" y="288827"/>
                      <a:pt x="291485" y="290407"/>
                    </a:cubicBezTo>
                    <a:cubicBezTo>
                      <a:pt x="287649" y="293114"/>
                      <a:pt x="287197" y="296725"/>
                      <a:pt x="286520" y="301689"/>
                    </a:cubicBezTo>
                    <a:cubicBezTo>
                      <a:pt x="286295" y="303494"/>
                      <a:pt x="286069" y="305750"/>
                      <a:pt x="285392" y="308007"/>
                    </a:cubicBezTo>
                    <a:cubicBezTo>
                      <a:pt x="284490" y="311617"/>
                      <a:pt x="282684" y="314099"/>
                      <a:pt x="281105" y="316356"/>
                    </a:cubicBezTo>
                    <a:cubicBezTo>
                      <a:pt x="280428" y="317258"/>
                      <a:pt x="279300" y="318838"/>
                      <a:pt x="279300" y="319289"/>
                    </a:cubicBezTo>
                    <a:cubicBezTo>
                      <a:pt x="279300" y="319289"/>
                      <a:pt x="279751" y="319741"/>
                      <a:pt x="281556" y="320192"/>
                    </a:cubicBezTo>
                    <a:cubicBezTo>
                      <a:pt x="284715" y="321094"/>
                      <a:pt x="289454" y="321320"/>
                      <a:pt x="293741" y="321771"/>
                    </a:cubicBezTo>
                    <a:cubicBezTo>
                      <a:pt x="301639" y="322223"/>
                      <a:pt x="309085" y="322900"/>
                      <a:pt x="312019" y="326510"/>
                    </a:cubicBezTo>
                    <a:cubicBezTo>
                      <a:pt x="313372" y="328315"/>
                      <a:pt x="314275" y="330346"/>
                      <a:pt x="314952" y="331925"/>
                    </a:cubicBezTo>
                    <a:cubicBezTo>
                      <a:pt x="316531" y="335536"/>
                      <a:pt x="317660" y="337341"/>
                      <a:pt x="320593" y="337567"/>
                    </a:cubicBezTo>
                    <a:cubicBezTo>
                      <a:pt x="322624" y="337792"/>
                      <a:pt x="323301" y="336890"/>
                      <a:pt x="324655" y="333956"/>
                    </a:cubicBezTo>
                    <a:cubicBezTo>
                      <a:pt x="325557" y="331925"/>
                      <a:pt x="326911" y="329443"/>
                      <a:pt x="329393" y="327864"/>
                    </a:cubicBezTo>
                    <a:cubicBezTo>
                      <a:pt x="333681" y="325156"/>
                      <a:pt x="344963" y="324705"/>
                      <a:pt x="351281" y="327864"/>
                    </a:cubicBezTo>
                    <a:cubicBezTo>
                      <a:pt x="355117" y="329669"/>
                      <a:pt x="356019" y="332377"/>
                      <a:pt x="356245" y="334408"/>
                    </a:cubicBezTo>
                    <a:cubicBezTo>
                      <a:pt x="356471" y="337341"/>
                      <a:pt x="357599" y="340726"/>
                      <a:pt x="358727" y="344110"/>
                    </a:cubicBezTo>
                    <a:cubicBezTo>
                      <a:pt x="360758" y="350203"/>
                      <a:pt x="362789" y="356747"/>
                      <a:pt x="360532" y="361485"/>
                    </a:cubicBezTo>
                    <a:cubicBezTo>
                      <a:pt x="359179" y="364644"/>
                      <a:pt x="359404" y="367578"/>
                      <a:pt x="360081" y="371188"/>
                    </a:cubicBezTo>
                    <a:cubicBezTo>
                      <a:pt x="360532" y="374798"/>
                      <a:pt x="360984" y="378860"/>
                      <a:pt x="360081" y="384275"/>
                    </a:cubicBezTo>
                    <a:cubicBezTo>
                      <a:pt x="358276" y="393978"/>
                      <a:pt x="351958" y="405035"/>
                      <a:pt x="348122" y="411804"/>
                    </a:cubicBezTo>
                    <a:lnTo>
                      <a:pt x="346768" y="414286"/>
                    </a:lnTo>
                    <a:cubicBezTo>
                      <a:pt x="343609" y="419927"/>
                      <a:pt x="339096" y="420830"/>
                      <a:pt x="333455" y="421733"/>
                    </a:cubicBezTo>
                    <a:lnTo>
                      <a:pt x="330973" y="422184"/>
                    </a:lnTo>
                    <a:cubicBezTo>
                      <a:pt x="328265" y="422635"/>
                      <a:pt x="326009" y="422635"/>
                      <a:pt x="323752" y="422861"/>
                    </a:cubicBezTo>
                    <a:cubicBezTo>
                      <a:pt x="319916" y="422861"/>
                      <a:pt x="316531" y="423086"/>
                      <a:pt x="312019" y="425343"/>
                    </a:cubicBezTo>
                    <a:cubicBezTo>
                      <a:pt x="309988" y="426471"/>
                      <a:pt x="308183" y="427148"/>
                      <a:pt x="306829" y="427599"/>
                    </a:cubicBezTo>
                    <a:cubicBezTo>
                      <a:pt x="302993" y="429179"/>
                      <a:pt x="300962" y="430082"/>
                      <a:pt x="298480" y="434594"/>
                    </a:cubicBezTo>
                    <a:cubicBezTo>
                      <a:pt x="296900" y="437753"/>
                      <a:pt x="293967" y="439784"/>
                      <a:pt x="290356" y="439784"/>
                    </a:cubicBezTo>
                    <a:close/>
                    <a:moveTo>
                      <a:pt x="280202" y="368029"/>
                    </a:moveTo>
                    <a:cubicBezTo>
                      <a:pt x="281782" y="368029"/>
                      <a:pt x="282910" y="368254"/>
                      <a:pt x="283587" y="368254"/>
                    </a:cubicBezTo>
                    <a:cubicBezTo>
                      <a:pt x="286069" y="368931"/>
                      <a:pt x="286746" y="371639"/>
                      <a:pt x="287197" y="374573"/>
                    </a:cubicBezTo>
                    <a:cubicBezTo>
                      <a:pt x="287649" y="376603"/>
                      <a:pt x="288100" y="378634"/>
                      <a:pt x="289003" y="380439"/>
                    </a:cubicBezTo>
                    <a:cubicBezTo>
                      <a:pt x="291936" y="385629"/>
                      <a:pt x="291033" y="387660"/>
                      <a:pt x="287423" y="396009"/>
                    </a:cubicBezTo>
                    <a:lnTo>
                      <a:pt x="287197" y="396460"/>
                    </a:lnTo>
                    <a:cubicBezTo>
                      <a:pt x="285392" y="400522"/>
                      <a:pt x="286520" y="405937"/>
                      <a:pt x="287649" y="410676"/>
                    </a:cubicBezTo>
                    <a:cubicBezTo>
                      <a:pt x="288777" y="415414"/>
                      <a:pt x="289680" y="419476"/>
                      <a:pt x="287649" y="422410"/>
                    </a:cubicBezTo>
                    <a:cubicBezTo>
                      <a:pt x="285392" y="426020"/>
                      <a:pt x="284038" y="430984"/>
                      <a:pt x="284715" y="433466"/>
                    </a:cubicBezTo>
                    <a:cubicBezTo>
                      <a:pt x="284941" y="434369"/>
                      <a:pt x="285392" y="434594"/>
                      <a:pt x="285618" y="434594"/>
                    </a:cubicBezTo>
                    <a:cubicBezTo>
                      <a:pt x="289003" y="436400"/>
                      <a:pt x="292613" y="437077"/>
                      <a:pt x="295546" y="431661"/>
                    </a:cubicBezTo>
                    <a:cubicBezTo>
                      <a:pt x="298705" y="426020"/>
                      <a:pt x="301639" y="424666"/>
                      <a:pt x="305700" y="423086"/>
                    </a:cubicBezTo>
                    <a:cubicBezTo>
                      <a:pt x="307054" y="422410"/>
                      <a:pt x="308859" y="421733"/>
                      <a:pt x="310665" y="420830"/>
                    </a:cubicBezTo>
                    <a:cubicBezTo>
                      <a:pt x="315854" y="418122"/>
                      <a:pt x="320142" y="418122"/>
                      <a:pt x="323978" y="418122"/>
                    </a:cubicBezTo>
                    <a:cubicBezTo>
                      <a:pt x="326234" y="418122"/>
                      <a:pt x="328265" y="418122"/>
                      <a:pt x="330522" y="417671"/>
                    </a:cubicBezTo>
                    <a:lnTo>
                      <a:pt x="333004" y="417220"/>
                    </a:lnTo>
                    <a:cubicBezTo>
                      <a:pt x="338419" y="416317"/>
                      <a:pt x="341353" y="415866"/>
                      <a:pt x="343609" y="411804"/>
                    </a:cubicBezTo>
                    <a:lnTo>
                      <a:pt x="344963" y="409322"/>
                    </a:lnTo>
                    <a:cubicBezTo>
                      <a:pt x="348573" y="402778"/>
                      <a:pt x="354891" y="391947"/>
                      <a:pt x="356471" y="382921"/>
                    </a:cubicBezTo>
                    <a:cubicBezTo>
                      <a:pt x="357373" y="378183"/>
                      <a:pt x="356922" y="374347"/>
                      <a:pt x="356471" y="370962"/>
                    </a:cubicBezTo>
                    <a:cubicBezTo>
                      <a:pt x="356019" y="367126"/>
                      <a:pt x="355568" y="363290"/>
                      <a:pt x="357373" y="359229"/>
                    </a:cubicBezTo>
                    <a:cubicBezTo>
                      <a:pt x="358953" y="355618"/>
                      <a:pt x="357148" y="349977"/>
                      <a:pt x="355343" y="344562"/>
                    </a:cubicBezTo>
                    <a:cubicBezTo>
                      <a:pt x="354214" y="340951"/>
                      <a:pt x="353086" y="337341"/>
                      <a:pt x="352635" y="333956"/>
                    </a:cubicBezTo>
                    <a:cubicBezTo>
                      <a:pt x="352635" y="333505"/>
                      <a:pt x="352409" y="331925"/>
                      <a:pt x="349701" y="330572"/>
                    </a:cubicBezTo>
                    <a:cubicBezTo>
                      <a:pt x="344512" y="327864"/>
                      <a:pt x="334583" y="328541"/>
                      <a:pt x="331650" y="330572"/>
                    </a:cubicBezTo>
                    <a:cubicBezTo>
                      <a:pt x="330070" y="331700"/>
                      <a:pt x="329168" y="333279"/>
                      <a:pt x="328265" y="335085"/>
                    </a:cubicBezTo>
                    <a:cubicBezTo>
                      <a:pt x="326911" y="337792"/>
                      <a:pt x="325332" y="341177"/>
                      <a:pt x="320367" y="340726"/>
                    </a:cubicBezTo>
                    <a:cubicBezTo>
                      <a:pt x="315178" y="340274"/>
                      <a:pt x="313372" y="336213"/>
                      <a:pt x="311567" y="332828"/>
                    </a:cubicBezTo>
                    <a:cubicBezTo>
                      <a:pt x="310890" y="331248"/>
                      <a:pt x="309988" y="329443"/>
                      <a:pt x="308859" y="328089"/>
                    </a:cubicBezTo>
                    <a:cubicBezTo>
                      <a:pt x="307054" y="325607"/>
                      <a:pt x="299834" y="325156"/>
                      <a:pt x="293516" y="324705"/>
                    </a:cubicBezTo>
                    <a:cubicBezTo>
                      <a:pt x="288777" y="324479"/>
                      <a:pt x="284038" y="324028"/>
                      <a:pt x="280428" y="323125"/>
                    </a:cubicBezTo>
                    <a:cubicBezTo>
                      <a:pt x="278623" y="322674"/>
                      <a:pt x="276141" y="321771"/>
                      <a:pt x="275464" y="319741"/>
                    </a:cubicBezTo>
                    <a:cubicBezTo>
                      <a:pt x="274787" y="317710"/>
                      <a:pt x="276141" y="315679"/>
                      <a:pt x="277720" y="313422"/>
                    </a:cubicBezTo>
                    <a:cubicBezTo>
                      <a:pt x="279074" y="311392"/>
                      <a:pt x="280879" y="309135"/>
                      <a:pt x="281331" y="306427"/>
                    </a:cubicBezTo>
                    <a:cubicBezTo>
                      <a:pt x="281782" y="304397"/>
                      <a:pt x="282008" y="302366"/>
                      <a:pt x="282459" y="300335"/>
                    </a:cubicBezTo>
                    <a:cubicBezTo>
                      <a:pt x="283136" y="295145"/>
                      <a:pt x="283813" y="290181"/>
                      <a:pt x="289003" y="286345"/>
                    </a:cubicBezTo>
                    <a:cubicBezTo>
                      <a:pt x="291259" y="284765"/>
                      <a:pt x="292839" y="284088"/>
                      <a:pt x="294418" y="283186"/>
                    </a:cubicBezTo>
                    <a:cubicBezTo>
                      <a:pt x="297352" y="281832"/>
                      <a:pt x="300059" y="280478"/>
                      <a:pt x="306152" y="273934"/>
                    </a:cubicBezTo>
                    <a:cubicBezTo>
                      <a:pt x="311342" y="268293"/>
                      <a:pt x="316306" y="266939"/>
                      <a:pt x="319465" y="266037"/>
                    </a:cubicBezTo>
                    <a:cubicBezTo>
                      <a:pt x="322624" y="265134"/>
                      <a:pt x="323075" y="264909"/>
                      <a:pt x="323301" y="263329"/>
                    </a:cubicBezTo>
                    <a:cubicBezTo>
                      <a:pt x="323526" y="260621"/>
                      <a:pt x="321270" y="258139"/>
                      <a:pt x="318337" y="254754"/>
                    </a:cubicBezTo>
                    <a:cubicBezTo>
                      <a:pt x="315629" y="251821"/>
                      <a:pt x="312695" y="248436"/>
                      <a:pt x="310439" y="243698"/>
                    </a:cubicBezTo>
                    <a:cubicBezTo>
                      <a:pt x="307280" y="237380"/>
                      <a:pt x="309311" y="233769"/>
                      <a:pt x="311342" y="230610"/>
                    </a:cubicBezTo>
                    <a:cubicBezTo>
                      <a:pt x="312921" y="228128"/>
                      <a:pt x="314049" y="225872"/>
                      <a:pt x="313372" y="222036"/>
                    </a:cubicBezTo>
                    <a:cubicBezTo>
                      <a:pt x="312695" y="218425"/>
                      <a:pt x="310890" y="214364"/>
                      <a:pt x="309311" y="209851"/>
                    </a:cubicBezTo>
                    <a:cubicBezTo>
                      <a:pt x="306152" y="202405"/>
                      <a:pt x="302767" y="194056"/>
                      <a:pt x="302767" y="184579"/>
                    </a:cubicBezTo>
                    <a:cubicBezTo>
                      <a:pt x="302767" y="173748"/>
                      <a:pt x="302767" y="173296"/>
                      <a:pt x="306152" y="168332"/>
                    </a:cubicBezTo>
                    <a:cubicBezTo>
                      <a:pt x="307280" y="166752"/>
                      <a:pt x="308634" y="164722"/>
                      <a:pt x="310439" y="161563"/>
                    </a:cubicBezTo>
                    <a:cubicBezTo>
                      <a:pt x="316983" y="150732"/>
                      <a:pt x="321721" y="138998"/>
                      <a:pt x="324655" y="126362"/>
                    </a:cubicBezTo>
                    <a:cubicBezTo>
                      <a:pt x="326460" y="118464"/>
                      <a:pt x="327362" y="117336"/>
                      <a:pt x="333004" y="115756"/>
                    </a:cubicBezTo>
                    <a:cubicBezTo>
                      <a:pt x="334809" y="115305"/>
                      <a:pt x="337065" y="114628"/>
                      <a:pt x="340224" y="113274"/>
                    </a:cubicBezTo>
                    <a:cubicBezTo>
                      <a:pt x="351055" y="108761"/>
                      <a:pt x="351055" y="106956"/>
                      <a:pt x="351055" y="99961"/>
                    </a:cubicBezTo>
                    <a:cubicBezTo>
                      <a:pt x="351055" y="94997"/>
                      <a:pt x="356019" y="91612"/>
                      <a:pt x="361435" y="87776"/>
                    </a:cubicBezTo>
                    <a:cubicBezTo>
                      <a:pt x="365722" y="84843"/>
                      <a:pt x="370686" y="81458"/>
                      <a:pt x="373169" y="76945"/>
                    </a:cubicBezTo>
                    <a:cubicBezTo>
                      <a:pt x="374297" y="74915"/>
                      <a:pt x="374748" y="72658"/>
                      <a:pt x="374297" y="69950"/>
                    </a:cubicBezTo>
                    <a:cubicBezTo>
                      <a:pt x="371589" y="71530"/>
                      <a:pt x="368204" y="72884"/>
                      <a:pt x="362789" y="71981"/>
                    </a:cubicBezTo>
                    <a:cubicBezTo>
                      <a:pt x="353312" y="70176"/>
                      <a:pt x="345414" y="66791"/>
                      <a:pt x="337516" y="61376"/>
                    </a:cubicBezTo>
                    <a:cubicBezTo>
                      <a:pt x="330070" y="56186"/>
                      <a:pt x="321721" y="39488"/>
                      <a:pt x="320819" y="30914"/>
                    </a:cubicBezTo>
                    <a:cubicBezTo>
                      <a:pt x="320367" y="25949"/>
                      <a:pt x="313372" y="22113"/>
                      <a:pt x="305475" y="17600"/>
                    </a:cubicBezTo>
                    <a:cubicBezTo>
                      <a:pt x="301864" y="15570"/>
                      <a:pt x="298028" y="13313"/>
                      <a:pt x="294192" y="10831"/>
                    </a:cubicBezTo>
                    <a:cubicBezTo>
                      <a:pt x="291485" y="9026"/>
                      <a:pt x="288551" y="6995"/>
                      <a:pt x="285618" y="4964"/>
                    </a:cubicBezTo>
                    <a:lnTo>
                      <a:pt x="284490" y="4287"/>
                    </a:lnTo>
                    <a:cubicBezTo>
                      <a:pt x="284490" y="5416"/>
                      <a:pt x="284490" y="6544"/>
                      <a:pt x="284490" y="7672"/>
                    </a:cubicBezTo>
                    <a:lnTo>
                      <a:pt x="284490" y="8575"/>
                    </a:lnTo>
                    <a:cubicBezTo>
                      <a:pt x="284490" y="11057"/>
                      <a:pt x="285844" y="13990"/>
                      <a:pt x="287423" y="17375"/>
                    </a:cubicBezTo>
                    <a:cubicBezTo>
                      <a:pt x="288326" y="19406"/>
                      <a:pt x="289454" y="21888"/>
                      <a:pt x="290356" y="24370"/>
                    </a:cubicBezTo>
                    <a:cubicBezTo>
                      <a:pt x="291033" y="26175"/>
                      <a:pt x="291485" y="27303"/>
                      <a:pt x="292162" y="28657"/>
                    </a:cubicBezTo>
                    <a:cubicBezTo>
                      <a:pt x="293741" y="32042"/>
                      <a:pt x="295095" y="34750"/>
                      <a:pt x="294644" y="43098"/>
                    </a:cubicBezTo>
                    <a:cubicBezTo>
                      <a:pt x="294418" y="48965"/>
                      <a:pt x="295998" y="54381"/>
                      <a:pt x="297352" y="58442"/>
                    </a:cubicBezTo>
                    <a:cubicBezTo>
                      <a:pt x="298480" y="62053"/>
                      <a:pt x="299157" y="64309"/>
                      <a:pt x="298028" y="65889"/>
                    </a:cubicBezTo>
                    <a:cubicBezTo>
                      <a:pt x="296449" y="67920"/>
                      <a:pt x="293967" y="66566"/>
                      <a:pt x="290356" y="64535"/>
                    </a:cubicBezTo>
                    <a:cubicBezTo>
                      <a:pt x="286520" y="62504"/>
                      <a:pt x="280879" y="59345"/>
                      <a:pt x="277495" y="60924"/>
                    </a:cubicBezTo>
                    <a:cubicBezTo>
                      <a:pt x="275012" y="61827"/>
                      <a:pt x="273884" y="64760"/>
                      <a:pt x="272530" y="69048"/>
                    </a:cubicBezTo>
                    <a:cubicBezTo>
                      <a:pt x="270951" y="73561"/>
                      <a:pt x="269146" y="79202"/>
                      <a:pt x="263956" y="83715"/>
                    </a:cubicBezTo>
                    <a:cubicBezTo>
                      <a:pt x="259894" y="87099"/>
                      <a:pt x="260571" y="89356"/>
                      <a:pt x="261474" y="92064"/>
                    </a:cubicBezTo>
                    <a:cubicBezTo>
                      <a:pt x="262151" y="94771"/>
                      <a:pt x="263279" y="98382"/>
                      <a:pt x="258766" y="101992"/>
                    </a:cubicBezTo>
                    <a:cubicBezTo>
                      <a:pt x="253125" y="106505"/>
                      <a:pt x="251545" y="106279"/>
                      <a:pt x="246581" y="104474"/>
                    </a:cubicBezTo>
                    <a:cubicBezTo>
                      <a:pt x="244325" y="103572"/>
                      <a:pt x="241391" y="102443"/>
                      <a:pt x="236427" y="101541"/>
                    </a:cubicBezTo>
                    <a:cubicBezTo>
                      <a:pt x="230786" y="100413"/>
                      <a:pt x="224693" y="101766"/>
                      <a:pt x="219504" y="105602"/>
                    </a:cubicBezTo>
                    <a:cubicBezTo>
                      <a:pt x="214088" y="109664"/>
                      <a:pt x="210026" y="115531"/>
                      <a:pt x="209575" y="120495"/>
                    </a:cubicBezTo>
                    <a:cubicBezTo>
                      <a:pt x="208447" y="131326"/>
                      <a:pt x="205739" y="136290"/>
                      <a:pt x="198293" y="140352"/>
                    </a:cubicBezTo>
                    <a:cubicBezTo>
                      <a:pt x="196713" y="141255"/>
                      <a:pt x="195134" y="142383"/>
                      <a:pt x="193554" y="143511"/>
                    </a:cubicBezTo>
                    <a:cubicBezTo>
                      <a:pt x="188364" y="147347"/>
                      <a:pt x="182046" y="152086"/>
                      <a:pt x="173697" y="145767"/>
                    </a:cubicBezTo>
                    <a:cubicBezTo>
                      <a:pt x="166928" y="140803"/>
                      <a:pt x="159933" y="145090"/>
                      <a:pt x="153615" y="149152"/>
                    </a:cubicBezTo>
                    <a:cubicBezTo>
                      <a:pt x="152261" y="150055"/>
                      <a:pt x="150682" y="150957"/>
                      <a:pt x="149553" y="151634"/>
                    </a:cubicBezTo>
                    <a:cubicBezTo>
                      <a:pt x="144589" y="154342"/>
                      <a:pt x="137368" y="153214"/>
                      <a:pt x="129696" y="152086"/>
                    </a:cubicBezTo>
                    <a:cubicBezTo>
                      <a:pt x="125860" y="151409"/>
                      <a:pt x="121573" y="150957"/>
                      <a:pt x="117963" y="150957"/>
                    </a:cubicBezTo>
                    <a:cubicBezTo>
                      <a:pt x="112999" y="150957"/>
                      <a:pt x="111193" y="155245"/>
                      <a:pt x="108937" y="161563"/>
                    </a:cubicBezTo>
                    <a:cubicBezTo>
                      <a:pt x="107809" y="164947"/>
                      <a:pt x="106680" y="168106"/>
                      <a:pt x="104424" y="169912"/>
                    </a:cubicBezTo>
                    <a:cubicBezTo>
                      <a:pt x="98557" y="174650"/>
                      <a:pt x="92239" y="172845"/>
                      <a:pt x="88854" y="169912"/>
                    </a:cubicBezTo>
                    <a:cubicBezTo>
                      <a:pt x="86147" y="167655"/>
                      <a:pt x="86372" y="163142"/>
                      <a:pt x="86372" y="157050"/>
                    </a:cubicBezTo>
                    <a:cubicBezTo>
                      <a:pt x="86372" y="153439"/>
                      <a:pt x="86372" y="149152"/>
                      <a:pt x="85921" y="144639"/>
                    </a:cubicBezTo>
                    <a:cubicBezTo>
                      <a:pt x="85018" y="137870"/>
                      <a:pt x="82311" y="137870"/>
                      <a:pt x="75090" y="138095"/>
                    </a:cubicBezTo>
                    <a:cubicBezTo>
                      <a:pt x="73285" y="138095"/>
                      <a:pt x="71028" y="138321"/>
                      <a:pt x="68772" y="138095"/>
                    </a:cubicBezTo>
                    <a:cubicBezTo>
                      <a:pt x="60874" y="137644"/>
                      <a:pt x="56136" y="131326"/>
                      <a:pt x="52074" y="125459"/>
                    </a:cubicBezTo>
                    <a:cubicBezTo>
                      <a:pt x="50720" y="123654"/>
                      <a:pt x="49592" y="121849"/>
                      <a:pt x="48238" y="120495"/>
                    </a:cubicBezTo>
                    <a:cubicBezTo>
                      <a:pt x="43951" y="115756"/>
                      <a:pt x="35376" y="118690"/>
                      <a:pt x="27704" y="121849"/>
                    </a:cubicBezTo>
                    <a:cubicBezTo>
                      <a:pt x="26125" y="122526"/>
                      <a:pt x="24771" y="122977"/>
                      <a:pt x="23417" y="123654"/>
                    </a:cubicBezTo>
                    <a:cubicBezTo>
                      <a:pt x="18679" y="125911"/>
                      <a:pt x="14391" y="127716"/>
                      <a:pt x="9653" y="127039"/>
                    </a:cubicBezTo>
                    <a:cubicBezTo>
                      <a:pt x="9653" y="127264"/>
                      <a:pt x="9653" y="127264"/>
                      <a:pt x="9653" y="127490"/>
                    </a:cubicBezTo>
                    <a:cubicBezTo>
                      <a:pt x="9427" y="128844"/>
                      <a:pt x="9201" y="130875"/>
                      <a:pt x="7171" y="132229"/>
                    </a:cubicBezTo>
                    <a:cubicBezTo>
                      <a:pt x="6494" y="132680"/>
                      <a:pt x="5817" y="134034"/>
                      <a:pt x="5365" y="135388"/>
                    </a:cubicBezTo>
                    <a:cubicBezTo>
                      <a:pt x="4688" y="136967"/>
                      <a:pt x="4012" y="138772"/>
                      <a:pt x="2658" y="139675"/>
                    </a:cubicBezTo>
                    <a:cubicBezTo>
                      <a:pt x="2206" y="140126"/>
                      <a:pt x="1981" y="141931"/>
                      <a:pt x="2206" y="143962"/>
                    </a:cubicBezTo>
                    <a:cubicBezTo>
                      <a:pt x="4237" y="145090"/>
                      <a:pt x="8524" y="146444"/>
                      <a:pt x="12135" y="147798"/>
                    </a:cubicBezTo>
                    <a:cubicBezTo>
                      <a:pt x="13489" y="148249"/>
                      <a:pt x="14843" y="148701"/>
                      <a:pt x="15971" y="149152"/>
                    </a:cubicBezTo>
                    <a:cubicBezTo>
                      <a:pt x="17776" y="149829"/>
                      <a:pt x="19130" y="150957"/>
                      <a:pt x="19581" y="152762"/>
                    </a:cubicBezTo>
                    <a:cubicBezTo>
                      <a:pt x="20935" y="157275"/>
                      <a:pt x="16648" y="164270"/>
                      <a:pt x="13714" y="167655"/>
                    </a:cubicBezTo>
                    <a:cubicBezTo>
                      <a:pt x="12135" y="169686"/>
                      <a:pt x="12135" y="172619"/>
                      <a:pt x="12360" y="175778"/>
                    </a:cubicBezTo>
                    <a:cubicBezTo>
                      <a:pt x="12360" y="178486"/>
                      <a:pt x="12586" y="181419"/>
                      <a:pt x="11683" y="184353"/>
                    </a:cubicBezTo>
                    <a:cubicBezTo>
                      <a:pt x="10104" y="189994"/>
                      <a:pt x="14843" y="203533"/>
                      <a:pt x="18002" y="206918"/>
                    </a:cubicBezTo>
                    <a:cubicBezTo>
                      <a:pt x="19581" y="208497"/>
                      <a:pt x="21386" y="207820"/>
                      <a:pt x="28381" y="204210"/>
                    </a:cubicBezTo>
                    <a:cubicBezTo>
                      <a:pt x="30863" y="202856"/>
                      <a:pt x="34022" y="201276"/>
                      <a:pt x="37858" y="199471"/>
                    </a:cubicBezTo>
                    <a:cubicBezTo>
                      <a:pt x="44628" y="196312"/>
                      <a:pt x="47110" y="196312"/>
                      <a:pt x="48464" y="197215"/>
                    </a:cubicBezTo>
                    <a:cubicBezTo>
                      <a:pt x="49818" y="198117"/>
                      <a:pt x="50043" y="199697"/>
                      <a:pt x="50043" y="200374"/>
                    </a:cubicBezTo>
                    <a:cubicBezTo>
                      <a:pt x="50043" y="200374"/>
                      <a:pt x="50043" y="200599"/>
                      <a:pt x="50043" y="200599"/>
                    </a:cubicBezTo>
                    <a:cubicBezTo>
                      <a:pt x="53428" y="201276"/>
                      <a:pt x="56587" y="203307"/>
                      <a:pt x="61551" y="206466"/>
                    </a:cubicBezTo>
                    <a:cubicBezTo>
                      <a:pt x="63356" y="207594"/>
                      <a:pt x="64936" y="208497"/>
                      <a:pt x="66515" y="209174"/>
                    </a:cubicBezTo>
                    <a:cubicBezTo>
                      <a:pt x="69223" y="210528"/>
                      <a:pt x="72157" y="211882"/>
                      <a:pt x="75541" y="214815"/>
                    </a:cubicBezTo>
                    <a:cubicBezTo>
                      <a:pt x="78926" y="217749"/>
                      <a:pt x="83890" y="217749"/>
                      <a:pt x="91111" y="214589"/>
                    </a:cubicBezTo>
                    <a:cubicBezTo>
                      <a:pt x="94947" y="212784"/>
                      <a:pt x="100137" y="213687"/>
                      <a:pt x="103747" y="216395"/>
                    </a:cubicBezTo>
                    <a:cubicBezTo>
                      <a:pt x="107132" y="218877"/>
                      <a:pt x="108711" y="222938"/>
                      <a:pt x="108034" y="227226"/>
                    </a:cubicBezTo>
                    <a:cubicBezTo>
                      <a:pt x="107357" y="232641"/>
                      <a:pt x="109840" y="236252"/>
                      <a:pt x="112999" y="241216"/>
                    </a:cubicBezTo>
                    <a:cubicBezTo>
                      <a:pt x="114804" y="243923"/>
                      <a:pt x="116835" y="247083"/>
                      <a:pt x="118414" y="250693"/>
                    </a:cubicBezTo>
                    <a:cubicBezTo>
                      <a:pt x="122701" y="260170"/>
                      <a:pt x="121573" y="263103"/>
                      <a:pt x="118640" y="268970"/>
                    </a:cubicBezTo>
                    <a:lnTo>
                      <a:pt x="117963" y="270550"/>
                    </a:lnTo>
                    <a:cubicBezTo>
                      <a:pt x="116835" y="272581"/>
                      <a:pt x="118188" y="274837"/>
                      <a:pt x="120445" y="277996"/>
                    </a:cubicBezTo>
                    <a:cubicBezTo>
                      <a:pt x="122476" y="280929"/>
                      <a:pt x="124732" y="284314"/>
                      <a:pt x="123153" y="287924"/>
                    </a:cubicBezTo>
                    <a:cubicBezTo>
                      <a:pt x="122024" y="290407"/>
                      <a:pt x="122024" y="294243"/>
                      <a:pt x="122701" y="298079"/>
                    </a:cubicBezTo>
                    <a:cubicBezTo>
                      <a:pt x="123604" y="301915"/>
                      <a:pt x="125183" y="304622"/>
                      <a:pt x="127214" y="305525"/>
                    </a:cubicBezTo>
                    <a:cubicBezTo>
                      <a:pt x="131276" y="307330"/>
                      <a:pt x="137820" y="315905"/>
                      <a:pt x="145040" y="325833"/>
                    </a:cubicBezTo>
                    <a:cubicBezTo>
                      <a:pt x="147071" y="328766"/>
                      <a:pt x="148876" y="331023"/>
                      <a:pt x="149779" y="332377"/>
                    </a:cubicBezTo>
                    <a:cubicBezTo>
                      <a:pt x="150907" y="333731"/>
                      <a:pt x="153615" y="334859"/>
                      <a:pt x="156774" y="335987"/>
                    </a:cubicBezTo>
                    <a:cubicBezTo>
                      <a:pt x="161964" y="338018"/>
                      <a:pt x="168508" y="340726"/>
                      <a:pt x="173021" y="346818"/>
                    </a:cubicBezTo>
                    <a:cubicBezTo>
                      <a:pt x="181595" y="358552"/>
                      <a:pt x="179790" y="366901"/>
                      <a:pt x="178887" y="369157"/>
                    </a:cubicBezTo>
                    <a:cubicBezTo>
                      <a:pt x="178436" y="370737"/>
                      <a:pt x="177985" y="372767"/>
                      <a:pt x="177533" y="374798"/>
                    </a:cubicBezTo>
                    <a:cubicBezTo>
                      <a:pt x="176856" y="377732"/>
                      <a:pt x="176180" y="381116"/>
                      <a:pt x="175051" y="384275"/>
                    </a:cubicBezTo>
                    <a:cubicBezTo>
                      <a:pt x="174600" y="385855"/>
                      <a:pt x="174149" y="387434"/>
                      <a:pt x="173697" y="389240"/>
                    </a:cubicBezTo>
                    <a:cubicBezTo>
                      <a:pt x="173021" y="393301"/>
                      <a:pt x="172118" y="397814"/>
                      <a:pt x="168282" y="402327"/>
                    </a:cubicBezTo>
                    <a:cubicBezTo>
                      <a:pt x="166702" y="404132"/>
                      <a:pt x="166251" y="405937"/>
                      <a:pt x="166477" y="407291"/>
                    </a:cubicBezTo>
                    <a:cubicBezTo>
                      <a:pt x="166928" y="409096"/>
                      <a:pt x="168733" y="410676"/>
                      <a:pt x="172118" y="412707"/>
                    </a:cubicBezTo>
                    <a:cubicBezTo>
                      <a:pt x="177082" y="415414"/>
                      <a:pt x="188364" y="414512"/>
                      <a:pt x="189493" y="412932"/>
                    </a:cubicBezTo>
                    <a:cubicBezTo>
                      <a:pt x="189493" y="412481"/>
                      <a:pt x="189267" y="411579"/>
                      <a:pt x="189267" y="410902"/>
                    </a:cubicBezTo>
                    <a:cubicBezTo>
                      <a:pt x="189041" y="407743"/>
                      <a:pt x="188590" y="403907"/>
                      <a:pt x="193554" y="400973"/>
                    </a:cubicBezTo>
                    <a:cubicBezTo>
                      <a:pt x="195585" y="399619"/>
                      <a:pt x="196488" y="396460"/>
                      <a:pt x="197390" y="393527"/>
                    </a:cubicBezTo>
                    <a:cubicBezTo>
                      <a:pt x="198293" y="390142"/>
                      <a:pt x="199195" y="387209"/>
                      <a:pt x="201677" y="385855"/>
                    </a:cubicBezTo>
                    <a:cubicBezTo>
                      <a:pt x="202580" y="385404"/>
                      <a:pt x="203483" y="384952"/>
                      <a:pt x="204385" y="384727"/>
                    </a:cubicBezTo>
                    <a:cubicBezTo>
                      <a:pt x="207319" y="383373"/>
                      <a:pt x="210478" y="382019"/>
                      <a:pt x="212283" y="379085"/>
                    </a:cubicBezTo>
                    <a:cubicBezTo>
                      <a:pt x="212734" y="378409"/>
                      <a:pt x="212960" y="377957"/>
                      <a:pt x="213185" y="377280"/>
                    </a:cubicBezTo>
                    <a:cubicBezTo>
                      <a:pt x="214991" y="373896"/>
                      <a:pt x="216796" y="370511"/>
                      <a:pt x="222888" y="371188"/>
                    </a:cubicBezTo>
                    <a:cubicBezTo>
                      <a:pt x="228529" y="371865"/>
                      <a:pt x="230560" y="376829"/>
                      <a:pt x="232591" y="381793"/>
                    </a:cubicBezTo>
                    <a:cubicBezTo>
                      <a:pt x="233042" y="382921"/>
                      <a:pt x="233494" y="383824"/>
                      <a:pt x="233945" y="384952"/>
                    </a:cubicBezTo>
                    <a:cubicBezTo>
                      <a:pt x="234848" y="386983"/>
                      <a:pt x="235524" y="388788"/>
                      <a:pt x="235750" y="390142"/>
                    </a:cubicBezTo>
                    <a:cubicBezTo>
                      <a:pt x="235976" y="391045"/>
                      <a:pt x="236201" y="391947"/>
                      <a:pt x="236427" y="392173"/>
                    </a:cubicBezTo>
                    <a:cubicBezTo>
                      <a:pt x="248161" y="392173"/>
                      <a:pt x="253350" y="389917"/>
                      <a:pt x="254253" y="388111"/>
                    </a:cubicBezTo>
                    <a:cubicBezTo>
                      <a:pt x="256284" y="384275"/>
                      <a:pt x="257412" y="382470"/>
                      <a:pt x="259894" y="379085"/>
                    </a:cubicBezTo>
                    <a:cubicBezTo>
                      <a:pt x="260571" y="377957"/>
                      <a:pt x="261474" y="376829"/>
                      <a:pt x="262602" y="375250"/>
                    </a:cubicBezTo>
                    <a:cubicBezTo>
                      <a:pt x="268469" y="369157"/>
                      <a:pt x="275689" y="368029"/>
                      <a:pt x="280202" y="368029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xmlns="" id="{C571FECA-BDA1-4A38-A625-A1E846B63F5C}"/>
                  </a:ext>
                </a:extLst>
              </p:cNvPr>
              <p:cNvSpPr/>
              <p:nvPr/>
            </p:nvSpPr>
            <p:spPr>
              <a:xfrm>
                <a:off x="8829109" y="1773760"/>
                <a:ext cx="361034" cy="383598"/>
              </a:xfrm>
              <a:custGeom>
                <a:avLst/>
                <a:gdLst>
                  <a:gd name="connsiteX0" fmla="*/ 164521 w 361033"/>
                  <a:gd name="connsiteY0" fmla="*/ 404809 h 383598"/>
                  <a:gd name="connsiteX1" fmla="*/ 156624 w 361033"/>
                  <a:gd name="connsiteY1" fmla="*/ 401876 h 383598"/>
                  <a:gd name="connsiteX2" fmla="*/ 154142 w 361033"/>
                  <a:gd name="connsiteY2" fmla="*/ 389014 h 383598"/>
                  <a:gd name="connsiteX3" fmla="*/ 153690 w 361033"/>
                  <a:gd name="connsiteY3" fmla="*/ 376603 h 383598"/>
                  <a:gd name="connsiteX4" fmla="*/ 142859 w 361033"/>
                  <a:gd name="connsiteY4" fmla="*/ 370060 h 383598"/>
                  <a:gd name="connsiteX5" fmla="*/ 136541 w 361033"/>
                  <a:gd name="connsiteY5" fmla="*/ 370060 h 383598"/>
                  <a:gd name="connsiteX6" fmla="*/ 119843 w 361033"/>
                  <a:gd name="connsiteY6" fmla="*/ 357423 h 383598"/>
                  <a:gd name="connsiteX7" fmla="*/ 116007 w 361033"/>
                  <a:gd name="connsiteY7" fmla="*/ 352459 h 383598"/>
                  <a:gd name="connsiteX8" fmla="*/ 95474 w 361033"/>
                  <a:gd name="connsiteY8" fmla="*/ 353813 h 383598"/>
                  <a:gd name="connsiteX9" fmla="*/ 91412 w 361033"/>
                  <a:gd name="connsiteY9" fmla="*/ 355618 h 383598"/>
                  <a:gd name="connsiteX10" fmla="*/ 79227 w 361033"/>
                  <a:gd name="connsiteY10" fmla="*/ 359229 h 383598"/>
                  <a:gd name="connsiteX11" fmla="*/ 78550 w 361033"/>
                  <a:gd name="connsiteY11" fmla="*/ 359229 h 383598"/>
                  <a:gd name="connsiteX12" fmla="*/ 77648 w 361033"/>
                  <a:gd name="connsiteY12" fmla="*/ 358100 h 383598"/>
                  <a:gd name="connsiteX13" fmla="*/ 68847 w 361033"/>
                  <a:gd name="connsiteY13" fmla="*/ 356070 h 383598"/>
                  <a:gd name="connsiteX14" fmla="*/ 60950 w 361033"/>
                  <a:gd name="connsiteY14" fmla="*/ 356972 h 383598"/>
                  <a:gd name="connsiteX15" fmla="*/ 38385 w 361033"/>
                  <a:gd name="connsiteY15" fmla="*/ 351331 h 383598"/>
                  <a:gd name="connsiteX16" fmla="*/ 35000 w 361033"/>
                  <a:gd name="connsiteY16" fmla="*/ 350203 h 383598"/>
                  <a:gd name="connsiteX17" fmla="*/ 23041 w 361033"/>
                  <a:gd name="connsiteY17" fmla="*/ 349074 h 383598"/>
                  <a:gd name="connsiteX18" fmla="*/ 16272 w 361033"/>
                  <a:gd name="connsiteY18" fmla="*/ 349751 h 383598"/>
                  <a:gd name="connsiteX19" fmla="*/ 5892 w 361033"/>
                  <a:gd name="connsiteY19" fmla="*/ 345239 h 383598"/>
                  <a:gd name="connsiteX20" fmla="*/ 2733 w 361033"/>
                  <a:gd name="connsiteY20" fmla="*/ 341177 h 383598"/>
                  <a:gd name="connsiteX21" fmla="*/ 4313 w 361033"/>
                  <a:gd name="connsiteY21" fmla="*/ 328766 h 383598"/>
                  <a:gd name="connsiteX22" fmla="*/ 10179 w 361033"/>
                  <a:gd name="connsiteY22" fmla="*/ 322448 h 383598"/>
                  <a:gd name="connsiteX23" fmla="*/ 11082 w 361033"/>
                  <a:gd name="connsiteY23" fmla="*/ 318161 h 383598"/>
                  <a:gd name="connsiteX24" fmla="*/ 10631 w 361033"/>
                  <a:gd name="connsiteY24" fmla="*/ 316581 h 383598"/>
                  <a:gd name="connsiteX25" fmla="*/ 11985 w 361033"/>
                  <a:gd name="connsiteY25" fmla="*/ 315905 h 383598"/>
                  <a:gd name="connsiteX26" fmla="*/ 15369 w 361033"/>
                  <a:gd name="connsiteY26" fmla="*/ 311843 h 383598"/>
                  <a:gd name="connsiteX27" fmla="*/ 14918 w 361033"/>
                  <a:gd name="connsiteY27" fmla="*/ 308458 h 383598"/>
                  <a:gd name="connsiteX28" fmla="*/ 13113 w 361033"/>
                  <a:gd name="connsiteY28" fmla="*/ 306202 h 383598"/>
                  <a:gd name="connsiteX29" fmla="*/ 9277 w 361033"/>
                  <a:gd name="connsiteY29" fmla="*/ 288601 h 383598"/>
                  <a:gd name="connsiteX30" fmla="*/ 10631 w 361033"/>
                  <a:gd name="connsiteY30" fmla="*/ 280929 h 383598"/>
                  <a:gd name="connsiteX31" fmla="*/ 14241 w 361033"/>
                  <a:gd name="connsiteY31" fmla="*/ 272129 h 383598"/>
                  <a:gd name="connsiteX32" fmla="*/ 21010 w 361033"/>
                  <a:gd name="connsiteY32" fmla="*/ 267616 h 383598"/>
                  <a:gd name="connsiteX33" fmla="*/ 29359 w 361033"/>
                  <a:gd name="connsiteY33" fmla="*/ 262201 h 383598"/>
                  <a:gd name="connsiteX34" fmla="*/ 34098 w 361033"/>
                  <a:gd name="connsiteY34" fmla="*/ 257914 h 383598"/>
                  <a:gd name="connsiteX35" fmla="*/ 37483 w 361033"/>
                  <a:gd name="connsiteY35" fmla="*/ 251821 h 383598"/>
                  <a:gd name="connsiteX36" fmla="*/ 43575 w 361033"/>
                  <a:gd name="connsiteY36" fmla="*/ 245277 h 383598"/>
                  <a:gd name="connsiteX37" fmla="*/ 46508 w 361033"/>
                  <a:gd name="connsiteY37" fmla="*/ 242570 h 383598"/>
                  <a:gd name="connsiteX38" fmla="*/ 48991 w 361033"/>
                  <a:gd name="connsiteY38" fmla="*/ 237380 h 383598"/>
                  <a:gd name="connsiteX39" fmla="*/ 55309 w 361033"/>
                  <a:gd name="connsiteY39" fmla="*/ 227677 h 383598"/>
                  <a:gd name="connsiteX40" fmla="*/ 59822 w 361033"/>
                  <a:gd name="connsiteY40" fmla="*/ 221359 h 383598"/>
                  <a:gd name="connsiteX41" fmla="*/ 62981 w 361033"/>
                  <a:gd name="connsiteY41" fmla="*/ 215266 h 383598"/>
                  <a:gd name="connsiteX42" fmla="*/ 64786 w 361033"/>
                  <a:gd name="connsiteY42" fmla="*/ 213461 h 383598"/>
                  <a:gd name="connsiteX43" fmla="*/ 74940 w 361033"/>
                  <a:gd name="connsiteY43" fmla="*/ 207369 h 383598"/>
                  <a:gd name="connsiteX44" fmla="*/ 84643 w 361033"/>
                  <a:gd name="connsiteY44" fmla="*/ 202630 h 383598"/>
                  <a:gd name="connsiteX45" fmla="*/ 89381 w 361033"/>
                  <a:gd name="connsiteY45" fmla="*/ 199922 h 383598"/>
                  <a:gd name="connsiteX46" fmla="*/ 92540 w 361033"/>
                  <a:gd name="connsiteY46" fmla="*/ 198794 h 383598"/>
                  <a:gd name="connsiteX47" fmla="*/ 93894 w 361033"/>
                  <a:gd name="connsiteY47" fmla="*/ 198343 h 383598"/>
                  <a:gd name="connsiteX48" fmla="*/ 93217 w 361033"/>
                  <a:gd name="connsiteY48" fmla="*/ 196763 h 383598"/>
                  <a:gd name="connsiteX49" fmla="*/ 91412 w 361033"/>
                  <a:gd name="connsiteY49" fmla="*/ 193379 h 383598"/>
                  <a:gd name="connsiteX50" fmla="*/ 86448 w 361033"/>
                  <a:gd name="connsiteY50" fmla="*/ 182322 h 383598"/>
                  <a:gd name="connsiteX51" fmla="*/ 86222 w 361033"/>
                  <a:gd name="connsiteY51" fmla="*/ 181419 h 383598"/>
                  <a:gd name="connsiteX52" fmla="*/ 85771 w 361033"/>
                  <a:gd name="connsiteY52" fmla="*/ 164496 h 383598"/>
                  <a:gd name="connsiteX53" fmla="*/ 87576 w 361033"/>
                  <a:gd name="connsiteY53" fmla="*/ 160434 h 383598"/>
                  <a:gd name="connsiteX54" fmla="*/ 94345 w 361033"/>
                  <a:gd name="connsiteY54" fmla="*/ 151634 h 383598"/>
                  <a:gd name="connsiteX55" fmla="*/ 99761 w 361033"/>
                  <a:gd name="connsiteY55" fmla="*/ 147798 h 383598"/>
                  <a:gd name="connsiteX56" fmla="*/ 94797 w 361033"/>
                  <a:gd name="connsiteY56" fmla="*/ 127490 h 383598"/>
                  <a:gd name="connsiteX57" fmla="*/ 92540 w 361033"/>
                  <a:gd name="connsiteY57" fmla="*/ 125234 h 383598"/>
                  <a:gd name="connsiteX58" fmla="*/ 85996 w 361033"/>
                  <a:gd name="connsiteY58" fmla="*/ 104925 h 383598"/>
                  <a:gd name="connsiteX59" fmla="*/ 91412 w 361033"/>
                  <a:gd name="connsiteY59" fmla="*/ 95900 h 383598"/>
                  <a:gd name="connsiteX60" fmla="*/ 99310 w 361033"/>
                  <a:gd name="connsiteY60" fmla="*/ 84392 h 383598"/>
                  <a:gd name="connsiteX61" fmla="*/ 124356 w 361033"/>
                  <a:gd name="connsiteY61" fmla="*/ 68371 h 383598"/>
                  <a:gd name="connsiteX62" fmla="*/ 126387 w 361033"/>
                  <a:gd name="connsiteY62" fmla="*/ 67017 h 383598"/>
                  <a:gd name="connsiteX63" fmla="*/ 143988 w 361033"/>
                  <a:gd name="connsiteY63" fmla="*/ 61827 h 383598"/>
                  <a:gd name="connsiteX64" fmla="*/ 157978 w 361033"/>
                  <a:gd name="connsiteY64" fmla="*/ 61601 h 383598"/>
                  <a:gd name="connsiteX65" fmla="*/ 167003 w 361033"/>
                  <a:gd name="connsiteY65" fmla="*/ 60924 h 383598"/>
                  <a:gd name="connsiteX66" fmla="*/ 181670 w 361033"/>
                  <a:gd name="connsiteY66" fmla="*/ 51673 h 383598"/>
                  <a:gd name="connsiteX67" fmla="*/ 185281 w 361033"/>
                  <a:gd name="connsiteY67" fmla="*/ 43550 h 383598"/>
                  <a:gd name="connsiteX68" fmla="*/ 187312 w 361033"/>
                  <a:gd name="connsiteY68" fmla="*/ 39714 h 383598"/>
                  <a:gd name="connsiteX69" fmla="*/ 184378 w 361033"/>
                  <a:gd name="connsiteY69" fmla="*/ 27078 h 383598"/>
                  <a:gd name="connsiteX70" fmla="*/ 183024 w 361033"/>
                  <a:gd name="connsiteY70" fmla="*/ 24370 h 383598"/>
                  <a:gd name="connsiteX71" fmla="*/ 186183 w 361033"/>
                  <a:gd name="connsiteY71" fmla="*/ 24370 h 383598"/>
                  <a:gd name="connsiteX72" fmla="*/ 201527 w 361033"/>
                  <a:gd name="connsiteY72" fmla="*/ 28431 h 383598"/>
                  <a:gd name="connsiteX73" fmla="*/ 206040 w 361033"/>
                  <a:gd name="connsiteY73" fmla="*/ 30011 h 383598"/>
                  <a:gd name="connsiteX74" fmla="*/ 209876 w 361033"/>
                  <a:gd name="connsiteY74" fmla="*/ 24144 h 383598"/>
                  <a:gd name="connsiteX75" fmla="*/ 221835 w 361033"/>
                  <a:gd name="connsiteY75" fmla="*/ 13087 h 383598"/>
                  <a:gd name="connsiteX76" fmla="*/ 238533 w 361033"/>
                  <a:gd name="connsiteY76" fmla="*/ 6544 h 383598"/>
                  <a:gd name="connsiteX77" fmla="*/ 239662 w 361033"/>
                  <a:gd name="connsiteY77" fmla="*/ 9026 h 383598"/>
                  <a:gd name="connsiteX78" fmla="*/ 241015 w 361033"/>
                  <a:gd name="connsiteY78" fmla="*/ 8575 h 383598"/>
                  <a:gd name="connsiteX79" fmla="*/ 244400 w 361033"/>
                  <a:gd name="connsiteY79" fmla="*/ 16698 h 383598"/>
                  <a:gd name="connsiteX80" fmla="*/ 241015 w 361033"/>
                  <a:gd name="connsiteY80" fmla="*/ 25498 h 383598"/>
                  <a:gd name="connsiteX81" fmla="*/ 234246 w 361033"/>
                  <a:gd name="connsiteY81" fmla="*/ 36780 h 383598"/>
                  <a:gd name="connsiteX82" fmla="*/ 229959 w 361033"/>
                  <a:gd name="connsiteY82" fmla="*/ 49868 h 383598"/>
                  <a:gd name="connsiteX83" fmla="*/ 229056 w 361033"/>
                  <a:gd name="connsiteY83" fmla="*/ 67919 h 383598"/>
                  <a:gd name="connsiteX84" fmla="*/ 236051 w 361033"/>
                  <a:gd name="connsiteY84" fmla="*/ 72884 h 383598"/>
                  <a:gd name="connsiteX85" fmla="*/ 255005 w 361033"/>
                  <a:gd name="connsiteY85" fmla="*/ 98607 h 383598"/>
                  <a:gd name="connsiteX86" fmla="*/ 267190 w 361033"/>
                  <a:gd name="connsiteY86" fmla="*/ 132003 h 383598"/>
                  <a:gd name="connsiteX87" fmla="*/ 275539 w 361033"/>
                  <a:gd name="connsiteY87" fmla="*/ 149829 h 383598"/>
                  <a:gd name="connsiteX88" fmla="*/ 290206 w 361033"/>
                  <a:gd name="connsiteY88" fmla="*/ 161788 h 383598"/>
                  <a:gd name="connsiteX89" fmla="*/ 294042 w 361033"/>
                  <a:gd name="connsiteY89" fmla="*/ 162014 h 383598"/>
                  <a:gd name="connsiteX90" fmla="*/ 324730 w 361033"/>
                  <a:gd name="connsiteY90" fmla="*/ 189317 h 383598"/>
                  <a:gd name="connsiteX91" fmla="*/ 323151 w 361033"/>
                  <a:gd name="connsiteY91" fmla="*/ 199245 h 383598"/>
                  <a:gd name="connsiteX92" fmla="*/ 325858 w 361033"/>
                  <a:gd name="connsiteY92" fmla="*/ 214138 h 383598"/>
                  <a:gd name="connsiteX93" fmla="*/ 352936 w 361033"/>
                  <a:gd name="connsiteY93" fmla="*/ 233544 h 383598"/>
                  <a:gd name="connsiteX94" fmla="*/ 355869 w 361033"/>
                  <a:gd name="connsiteY94" fmla="*/ 235575 h 383598"/>
                  <a:gd name="connsiteX95" fmla="*/ 352485 w 361033"/>
                  <a:gd name="connsiteY95" fmla="*/ 236703 h 383598"/>
                  <a:gd name="connsiteX96" fmla="*/ 352259 w 361033"/>
                  <a:gd name="connsiteY96" fmla="*/ 240990 h 383598"/>
                  <a:gd name="connsiteX97" fmla="*/ 352259 w 361033"/>
                  <a:gd name="connsiteY97" fmla="*/ 241893 h 383598"/>
                  <a:gd name="connsiteX98" fmla="*/ 355192 w 361033"/>
                  <a:gd name="connsiteY98" fmla="*/ 250693 h 383598"/>
                  <a:gd name="connsiteX99" fmla="*/ 358126 w 361033"/>
                  <a:gd name="connsiteY99" fmla="*/ 257688 h 383598"/>
                  <a:gd name="connsiteX100" fmla="*/ 359931 w 361033"/>
                  <a:gd name="connsiteY100" fmla="*/ 261975 h 383598"/>
                  <a:gd name="connsiteX101" fmla="*/ 362413 w 361033"/>
                  <a:gd name="connsiteY101" fmla="*/ 276416 h 383598"/>
                  <a:gd name="connsiteX102" fmla="*/ 365121 w 361033"/>
                  <a:gd name="connsiteY102" fmla="*/ 291760 h 383598"/>
                  <a:gd name="connsiteX103" fmla="*/ 365798 w 361033"/>
                  <a:gd name="connsiteY103" fmla="*/ 299207 h 383598"/>
                  <a:gd name="connsiteX104" fmla="*/ 358126 w 361033"/>
                  <a:gd name="connsiteY104" fmla="*/ 297853 h 383598"/>
                  <a:gd name="connsiteX105" fmla="*/ 345264 w 361033"/>
                  <a:gd name="connsiteY105" fmla="*/ 294243 h 383598"/>
                  <a:gd name="connsiteX106" fmla="*/ 340300 w 361033"/>
                  <a:gd name="connsiteY106" fmla="*/ 302366 h 383598"/>
                  <a:gd name="connsiteX107" fmla="*/ 331725 w 361033"/>
                  <a:gd name="connsiteY107" fmla="*/ 317033 h 383598"/>
                  <a:gd name="connsiteX108" fmla="*/ 329243 w 361033"/>
                  <a:gd name="connsiteY108" fmla="*/ 325382 h 383598"/>
                  <a:gd name="connsiteX109" fmla="*/ 326535 w 361033"/>
                  <a:gd name="connsiteY109" fmla="*/ 335310 h 383598"/>
                  <a:gd name="connsiteX110" fmla="*/ 314350 w 361033"/>
                  <a:gd name="connsiteY110" fmla="*/ 337792 h 383598"/>
                  <a:gd name="connsiteX111" fmla="*/ 304196 w 361033"/>
                  <a:gd name="connsiteY111" fmla="*/ 334859 h 383598"/>
                  <a:gd name="connsiteX112" fmla="*/ 287273 w 361033"/>
                  <a:gd name="connsiteY112" fmla="*/ 338920 h 383598"/>
                  <a:gd name="connsiteX113" fmla="*/ 277344 w 361033"/>
                  <a:gd name="connsiteY113" fmla="*/ 353813 h 383598"/>
                  <a:gd name="connsiteX114" fmla="*/ 266062 w 361033"/>
                  <a:gd name="connsiteY114" fmla="*/ 373670 h 383598"/>
                  <a:gd name="connsiteX115" fmla="*/ 261324 w 361033"/>
                  <a:gd name="connsiteY115" fmla="*/ 376829 h 383598"/>
                  <a:gd name="connsiteX116" fmla="*/ 241467 w 361033"/>
                  <a:gd name="connsiteY116" fmla="*/ 379085 h 383598"/>
                  <a:gd name="connsiteX117" fmla="*/ 221384 w 361033"/>
                  <a:gd name="connsiteY117" fmla="*/ 382470 h 383598"/>
                  <a:gd name="connsiteX118" fmla="*/ 217323 w 361033"/>
                  <a:gd name="connsiteY118" fmla="*/ 384952 h 383598"/>
                  <a:gd name="connsiteX119" fmla="*/ 197466 w 361033"/>
                  <a:gd name="connsiteY119" fmla="*/ 385404 h 383598"/>
                  <a:gd name="connsiteX120" fmla="*/ 185732 w 361033"/>
                  <a:gd name="connsiteY120" fmla="*/ 384275 h 383598"/>
                  <a:gd name="connsiteX121" fmla="*/ 176706 w 361033"/>
                  <a:gd name="connsiteY121" fmla="*/ 394881 h 383598"/>
                  <a:gd name="connsiteX122" fmla="*/ 172193 w 361033"/>
                  <a:gd name="connsiteY122" fmla="*/ 403230 h 383598"/>
                  <a:gd name="connsiteX123" fmla="*/ 164521 w 361033"/>
                  <a:gd name="connsiteY123" fmla="*/ 404809 h 383598"/>
                  <a:gd name="connsiteX124" fmla="*/ 146470 w 361033"/>
                  <a:gd name="connsiteY124" fmla="*/ 366449 h 383598"/>
                  <a:gd name="connsiteX125" fmla="*/ 157526 w 361033"/>
                  <a:gd name="connsiteY125" fmla="*/ 376378 h 383598"/>
                  <a:gd name="connsiteX126" fmla="*/ 157978 w 361033"/>
                  <a:gd name="connsiteY126" fmla="*/ 389240 h 383598"/>
                  <a:gd name="connsiteX127" fmla="*/ 159106 w 361033"/>
                  <a:gd name="connsiteY127" fmla="*/ 399168 h 383598"/>
                  <a:gd name="connsiteX128" fmla="*/ 169937 w 361033"/>
                  <a:gd name="connsiteY128" fmla="*/ 399168 h 383598"/>
                  <a:gd name="connsiteX129" fmla="*/ 173096 w 361033"/>
                  <a:gd name="connsiteY129" fmla="*/ 392624 h 383598"/>
                  <a:gd name="connsiteX130" fmla="*/ 185506 w 361033"/>
                  <a:gd name="connsiteY130" fmla="*/ 379537 h 383598"/>
                  <a:gd name="connsiteX131" fmla="*/ 197691 w 361033"/>
                  <a:gd name="connsiteY131" fmla="*/ 380891 h 383598"/>
                  <a:gd name="connsiteX132" fmla="*/ 215066 w 361033"/>
                  <a:gd name="connsiteY132" fmla="*/ 380891 h 383598"/>
                  <a:gd name="connsiteX133" fmla="*/ 218902 w 361033"/>
                  <a:gd name="connsiteY133" fmla="*/ 378634 h 383598"/>
                  <a:gd name="connsiteX134" fmla="*/ 243272 w 361033"/>
                  <a:gd name="connsiteY134" fmla="*/ 375475 h 383598"/>
                  <a:gd name="connsiteX135" fmla="*/ 258616 w 361033"/>
                  <a:gd name="connsiteY135" fmla="*/ 373219 h 383598"/>
                  <a:gd name="connsiteX136" fmla="*/ 263806 w 361033"/>
                  <a:gd name="connsiteY136" fmla="*/ 369834 h 383598"/>
                  <a:gd name="connsiteX137" fmla="*/ 273057 w 361033"/>
                  <a:gd name="connsiteY137" fmla="*/ 352911 h 383598"/>
                  <a:gd name="connsiteX138" fmla="*/ 284339 w 361033"/>
                  <a:gd name="connsiteY138" fmla="*/ 335310 h 383598"/>
                  <a:gd name="connsiteX139" fmla="*/ 304422 w 361033"/>
                  <a:gd name="connsiteY139" fmla="*/ 330572 h 383598"/>
                  <a:gd name="connsiteX140" fmla="*/ 315027 w 361033"/>
                  <a:gd name="connsiteY140" fmla="*/ 333731 h 383598"/>
                  <a:gd name="connsiteX141" fmla="*/ 323376 w 361033"/>
                  <a:gd name="connsiteY141" fmla="*/ 331925 h 383598"/>
                  <a:gd name="connsiteX142" fmla="*/ 324730 w 361033"/>
                  <a:gd name="connsiteY142" fmla="*/ 326059 h 383598"/>
                  <a:gd name="connsiteX143" fmla="*/ 328566 w 361033"/>
                  <a:gd name="connsiteY143" fmla="*/ 313648 h 383598"/>
                  <a:gd name="connsiteX144" fmla="*/ 336012 w 361033"/>
                  <a:gd name="connsiteY144" fmla="*/ 300786 h 383598"/>
                  <a:gd name="connsiteX145" fmla="*/ 343233 w 361033"/>
                  <a:gd name="connsiteY145" fmla="*/ 290407 h 383598"/>
                  <a:gd name="connsiteX146" fmla="*/ 359254 w 361033"/>
                  <a:gd name="connsiteY146" fmla="*/ 294243 h 383598"/>
                  <a:gd name="connsiteX147" fmla="*/ 361736 w 361033"/>
                  <a:gd name="connsiteY147" fmla="*/ 295596 h 383598"/>
                  <a:gd name="connsiteX148" fmla="*/ 360833 w 361033"/>
                  <a:gd name="connsiteY148" fmla="*/ 292663 h 383598"/>
                  <a:gd name="connsiteX149" fmla="*/ 357900 w 361033"/>
                  <a:gd name="connsiteY149" fmla="*/ 275965 h 383598"/>
                  <a:gd name="connsiteX150" fmla="*/ 355644 w 361033"/>
                  <a:gd name="connsiteY150" fmla="*/ 263329 h 383598"/>
                  <a:gd name="connsiteX151" fmla="*/ 353613 w 361033"/>
                  <a:gd name="connsiteY151" fmla="*/ 258816 h 383598"/>
                  <a:gd name="connsiteX152" fmla="*/ 350679 w 361033"/>
                  <a:gd name="connsiteY152" fmla="*/ 252272 h 383598"/>
                  <a:gd name="connsiteX153" fmla="*/ 347295 w 361033"/>
                  <a:gd name="connsiteY153" fmla="*/ 241893 h 383598"/>
                  <a:gd name="connsiteX154" fmla="*/ 347295 w 361033"/>
                  <a:gd name="connsiteY154" fmla="*/ 241216 h 383598"/>
                  <a:gd name="connsiteX155" fmla="*/ 347520 w 361033"/>
                  <a:gd name="connsiteY155" fmla="*/ 235349 h 383598"/>
                  <a:gd name="connsiteX156" fmla="*/ 322022 w 361033"/>
                  <a:gd name="connsiteY156" fmla="*/ 217072 h 383598"/>
                  <a:gd name="connsiteX157" fmla="*/ 317961 w 361033"/>
                  <a:gd name="connsiteY157" fmla="*/ 198343 h 383598"/>
                  <a:gd name="connsiteX158" fmla="*/ 319540 w 361033"/>
                  <a:gd name="connsiteY158" fmla="*/ 189317 h 383598"/>
                  <a:gd name="connsiteX159" fmla="*/ 292011 w 361033"/>
                  <a:gd name="connsiteY159" fmla="*/ 165850 h 383598"/>
                  <a:gd name="connsiteX160" fmla="*/ 289078 w 361033"/>
                  <a:gd name="connsiteY160" fmla="*/ 165850 h 383598"/>
                  <a:gd name="connsiteX161" fmla="*/ 270801 w 361033"/>
                  <a:gd name="connsiteY161" fmla="*/ 151634 h 383598"/>
                  <a:gd name="connsiteX162" fmla="*/ 262677 w 361033"/>
                  <a:gd name="connsiteY162" fmla="*/ 134259 h 383598"/>
                  <a:gd name="connsiteX163" fmla="*/ 250041 w 361033"/>
                  <a:gd name="connsiteY163" fmla="*/ 99510 h 383598"/>
                  <a:gd name="connsiteX164" fmla="*/ 232666 w 361033"/>
                  <a:gd name="connsiteY164" fmla="*/ 76720 h 383598"/>
                  <a:gd name="connsiteX165" fmla="*/ 225220 w 361033"/>
                  <a:gd name="connsiteY165" fmla="*/ 71530 h 383598"/>
                  <a:gd name="connsiteX166" fmla="*/ 224995 w 361033"/>
                  <a:gd name="connsiteY166" fmla="*/ 48965 h 383598"/>
                  <a:gd name="connsiteX167" fmla="*/ 229056 w 361033"/>
                  <a:gd name="connsiteY167" fmla="*/ 36780 h 383598"/>
                  <a:gd name="connsiteX168" fmla="*/ 237179 w 361033"/>
                  <a:gd name="connsiteY168" fmla="*/ 23242 h 383598"/>
                  <a:gd name="connsiteX169" fmla="*/ 239662 w 361033"/>
                  <a:gd name="connsiteY169" fmla="*/ 18954 h 383598"/>
                  <a:gd name="connsiteX170" fmla="*/ 236954 w 361033"/>
                  <a:gd name="connsiteY170" fmla="*/ 12862 h 383598"/>
                  <a:gd name="connsiteX171" fmla="*/ 220256 w 361033"/>
                  <a:gd name="connsiteY171" fmla="*/ 18503 h 383598"/>
                  <a:gd name="connsiteX172" fmla="*/ 211681 w 361033"/>
                  <a:gd name="connsiteY172" fmla="*/ 27303 h 383598"/>
                  <a:gd name="connsiteX173" fmla="*/ 205589 w 361033"/>
                  <a:gd name="connsiteY173" fmla="*/ 35201 h 383598"/>
                  <a:gd name="connsiteX174" fmla="*/ 197917 w 361033"/>
                  <a:gd name="connsiteY174" fmla="*/ 33170 h 383598"/>
                  <a:gd name="connsiteX175" fmla="*/ 187537 w 361033"/>
                  <a:gd name="connsiteY175" fmla="*/ 29785 h 383598"/>
                  <a:gd name="connsiteX176" fmla="*/ 189342 w 361033"/>
                  <a:gd name="connsiteY176" fmla="*/ 42647 h 383598"/>
                  <a:gd name="connsiteX177" fmla="*/ 187086 w 361033"/>
                  <a:gd name="connsiteY177" fmla="*/ 46934 h 383598"/>
                  <a:gd name="connsiteX178" fmla="*/ 183701 w 361033"/>
                  <a:gd name="connsiteY178" fmla="*/ 53704 h 383598"/>
                  <a:gd name="connsiteX179" fmla="*/ 166327 w 361033"/>
                  <a:gd name="connsiteY179" fmla="*/ 66340 h 383598"/>
                  <a:gd name="connsiteX180" fmla="*/ 156172 w 361033"/>
                  <a:gd name="connsiteY180" fmla="*/ 67243 h 383598"/>
                  <a:gd name="connsiteX181" fmla="*/ 142408 w 361033"/>
                  <a:gd name="connsiteY181" fmla="*/ 67468 h 383598"/>
                  <a:gd name="connsiteX182" fmla="*/ 127290 w 361033"/>
                  <a:gd name="connsiteY182" fmla="*/ 71755 h 383598"/>
                  <a:gd name="connsiteX183" fmla="*/ 123454 w 361033"/>
                  <a:gd name="connsiteY183" fmla="*/ 74012 h 383598"/>
                  <a:gd name="connsiteX184" fmla="*/ 100438 w 361033"/>
                  <a:gd name="connsiteY184" fmla="*/ 88905 h 383598"/>
                  <a:gd name="connsiteX185" fmla="*/ 92992 w 361033"/>
                  <a:gd name="connsiteY185" fmla="*/ 99736 h 383598"/>
                  <a:gd name="connsiteX186" fmla="*/ 87350 w 361033"/>
                  <a:gd name="connsiteY186" fmla="*/ 108761 h 383598"/>
                  <a:gd name="connsiteX187" fmla="*/ 93217 w 361033"/>
                  <a:gd name="connsiteY187" fmla="*/ 124331 h 383598"/>
                  <a:gd name="connsiteX188" fmla="*/ 96376 w 361033"/>
                  <a:gd name="connsiteY188" fmla="*/ 127716 h 383598"/>
                  <a:gd name="connsiteX189" fmla="*/ 101792 w 361033"/>
                  <a:gd name="connsiteY189" fmla="*/ 149603 h 383598"/>
                  <a:gd name="connsiteX190" fmla="*/ 93217 w 361033"/>
                  <a:gd name="connsiteY190" fmla="*/ 157050 h 383598"/>
                  <a:gd name="connsiteX191" fmla="*/ 89381 w 361033"/>
                  <a:gd name="connsiteY191" fmla="*/ 163593 h 383598"/>
                  <a:gd name="connsiteX192" fmla="*/ 87576 w 361033"/>
                  <a:gd name="connsiteY192" fmla="*/ 167655 h 383598"/>
                  <a:gd name="connsiteX193" fmla="*/ 88253 w 361033"/>
                  <a:gd name="connsiteY193" fmla="*/ 181645 h 383598"/>
                  <a:gd name="connsiteX194" fmla="*/ 88479 w 361033"/>
                  <a:gd name="connsiteY194" fmla="*/ 182548 h 383598"/>
                  <a:gd name="connsiteX195" fmla="*/ 93217 w 361033"/>
                  <a:gd name="connsiteY195" fmla="*/ 192927 h 383598"/>
                  <a:gd name="connsiteX196" fmla="*/ 95022 w 361033"/>
                  <a:gd name="connsiteY196" fmla="*/ 196312 h 383598"/>
                  <a:gd name="connsiteX197" fmla="*/ 95699 w 361033"/>
                  <a:gd name="connsiteY197" fmla="*/ 201051 h 383598"/>
                  <a:gd name="connsiteX198" fmla="*/ 91863 w 361033"/>
                  <a:gd name="connsiteY198" fmla="*/ 203533 h 383598"/>
                  <a:gd name="connsiteX199" fmla="*/ 89156 w 361033"/>
                  <a:gd name="connsiteY199" fmla="*/ 204435 h 383598"/>
                  <a:gd name="connsiteX200" fmla="*/ 85094 w 361033"/>
                  <a:gd name="connsiteY200" fmla="*/ 206917 h 383598"/>
                  <a:gd name="connsiteX201" fmla="*/ 74489 w 361033"/>
                  <a:gd name="connsiteY201" fmla="*/ 212107 h 383598"/>
                  <a:gd name="connsiteX202" fmla="*/ 65914 w 361033"/>
                  <a:gd name="connsiteY202" fmla="*/ 217072 h 383598"/>
                  <a:gd name="connsiteX203" fmla="*/ 64109 w 361033"/>
                  <a:gd name="connsiteY203" fmla="*/ 219102 h 383598"/>
                  <a:gd name="connsiteX204" fmla="*/ 61852 w 361033"/>
                  <a:gd name="connsiteY204" fmla="*/ 223615 h 383598"/>
                  <a:gd name="connsiteX205" fmla="*/ 55760 w 361033"/>
                  <a:gd name="connsiteY205" fmla="*/ 231964 h 383598"/>
                  <a:gd name="connsiteX206" fmla="*/ 51021 w 361033"/>
                  <a:gd name="connsiteY206" fmla="*/ 239411 h 383598"/>
                  <a:gd name="connsiteX207" fmla="*/ 47637 w 361033"/>
                  <a:gd name="connsiteY207" fmla="*/ 246180 h 383598"/>
                  <a:gd name="connsiteX208" fmla="*/ 44252 w 361033"/>
                  <a:gd name="connsiteY208" fmla="*/ 249113 h 383598"/>
                  <a:gd name="connsiteX209" fmla="*/ 38836 w 361033"/>
                  <a:gd name="connsiteY209" fmla="*/ 254980 h 383598"/>
                  <a:gd name="connsiteX210" fmla="*/ 36129 w 361033"/>
                  <a:gd name="connsiteY210" fmla="*/ 260170 h 383598"/>
                  <a:gd name="connsiteX211" fmla="*/ 29134 w 361033"/>
                  <a:gd name="connsiteY211" fmla="*/ 266488 h 383598"/>
                  <a:gd name="connsiteX212" fmla="*/ 22139 w 361033"/>
                  <a:gd name="connsiteY212" fmla="*/ 271001 h 383598"/>
                  <a:gd name="connsiteX213" fmla="*/ 14241 w 361033"/>
                  <a:gd name="connsiteY213" fmla="*/ 276416 h 383598"/>
                  <a:gd name="connsiteX214" fmla="*/ 12887 w 361033"/>
                  <a:gd name="connsiteY214" fmla="*/ 280929 h 383598"/>
                  <a:gd name="connsiteX215" fmla="*/ 10631 w 361033"/>
                  <a:gd name="connsiteY215" fmla="*/ 291986 h 383598"/>
                  <a:gd name="connsiteX216" fmla="*/ 14692 w 361033"/>
                  <a:gd name="connsiteY216" fmla="*/ 304397 h 383598"/>
                  <a:gd name="connsiteX217" fmla="*/ 16949 w 361033"/>
                  <a:gd name="connsiteY217" fmla="*/ 306879 h 383598"/>
                  <a:gd name="connsiteX218" fmla="*/ 17851 w 361033"/>
                  <a:gd name="connsiteY218" fmla="*/ 313422 h 383598"/>
                  <a:gd name="connsiteX219" fmla="*/ 13564 w 361033"/>
                  <a:gd name="connsiteY219" fmla="*/ 319289 h 383598"/>
                  <a:gd name="connsiteX220" fmla="*/ 11985 w 361033"/>
                  <a:gd name="connsiteY220" fmla="*/ 325156 h 383598"/>
                  <a:gd name="connsiteX221" fmla="*/ 5667 w 361033"/>
                  <a:gd name="connsiteY221" fmla="*/ 332151 h 383598"/>
                  <a:gd name="connsiteX222" fmla="*/ 4313 w 361033"/>
                  <a:gd name="connsiteY222" fmla="*/ 339146 h 383598"/>
                  <a:gd name="connsiteX223" fmla="*/ 7697 w 361033"/>
                  <a:gd name="connsiteY223" fmla="*/ 343433 h 383598"/>
                  <a:gd name="connsiteX224" fmla="*/ 15144 w 361033"/>
                  <a:gd name="connsiteY224" fmla="*/ 346592 h 383598"/>
                  <a:gd name="connsiteX225" fmla="*/ 21236 w 361033"/>
                  <a:gd name="connsiteY225" fmla="*/ 345915 h 383598"/>
                  <a:gd name="connsiteX226" fmla="*/ 35000 w 361033"/>
                  <a:gd name="connsiteY226" fmla="*/ 347044 h 383598"/>
                  <a:gd name="connsiteX227" fmla="*/ 38385 w 361033"/>
                  <a:gd name="connsiteY227" fmla="*/ 348172 h 383598"/>
                  <a:gd name="connsiteX228" fmla="*/ 60047 w 361033"/>
                  <a:gd name="connsiteY228" fmla="*/ 353587 h 383598"/>
                  <a:gd name="connsiteX229" fmla="*/ 67042 w 361033"/>
                  <a:gd name="connsiteY229" fmla="*/ 352911 h 383598"/>
                  <a:gd name="connsiteX230" fmla="*/ 79227 w 361033"/>
                  <a:gd name="connsiteY230" fmla="*/ 356070 h 383598"/>
                  <a:gd name="connsiteX231" fmla="*/ 88930 w 361033"/>
                  <a:gd name="connsiteY231" fmla="*/ 352911 h 383598"/>
                  <a:gd name="connsiteX232" fmla="*/ 93217 w 361033"/>
                  <a:gd name="connsiteY232" fmla="*/ 351105 h 383598"/>
                  <a:gd name="connsiteX233" fmla="*/ 117813 w 361033"/>
                  <a:gd name="connsiteY233" fmla="*/ 350654 h 383598"/>
                  <a:gd name="connsiteX234" fmla="*/ 121874 w 361033"/>
                  <a:gd name="connsiteY234" fmla="*/ 355844 h 383598"/>
                  <a:gd name="connsiteX235" fmla="*/ 135639 w 361033"/>
                  <a:gd name="connsiteY235" fmla="*/ 366901 h 383598"/>
                  <a:gd name="connsiteX236" fmla="*/ 141505 w 361033"/>
                  <a:gd name="connsiteY236" fmla="*/ 366901 h 383598"/>
                  <a:gd name="connsiteX237" fmla="*/ 146470 w 361033"/>
                  <a:gd name="connsiteY237" fmla="*/ 366449 h 383598"/>
                  <a:gd name="connsiteX238" fmla="*/ 244626 w 361033"/>
                  <a:gd name="connsiteY238" fmla="*/ 6544 h 383598"/>
                  <a:gd name="connsiteX239" fmla="*/ 241918 w 361033"/>
                  <a:gd name="connsiteY239" fmla="*/ 3836 h 383598"/>
                  <a:gd name="connsiteX240" fmla="*/ 242595 w 361033"/>
                  <a:gd name="connsiteY240" fmla="*/ 3159 h 383598"/>
                  <a:gd name="connsiteX241" fmla="*/ 245980 w 361033"/>
                  <a:gd name="connsiteY241" fmla="*/ 0 h 383598"/>
                  <a:gd name="connsiteX242" fmla="*/ 245980 w 361033"/>
                  <a:gd name="connsiteY242" fmla="*/ 0 h 383598"/>
                  <a:gd name="connsiteX243" fmla="*/ 245980 w 361033"/>
                  <a:gd name="connsiteY243" fmla="*/ 0 h 383598"/>
                  <a:gd name="connsiteX244" fmla="*/ 248462 w 361033"/>
                  <a:gd name="connsiteY244" fmla="*/ 2708 h 383598"/>
                  <a:gd name="connsiteX245" fmla="*/ 245303 w 361033"/>
                  <a:gd name="connsiteY245" fmla="*/ 5867 h 383598"/>
                  <a:gd name="connsiteX246" fmla="*/ 244626 w 361033"/>
                  <a:gd name="connsiteY246" fmla="*/ 6544 h 383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</a:cxnLst>
                <a:rect l="l" t="t" r="r" b="b"/>
                <a:pathLst>
                  <a:path w="361033" h="383598">
                    <a:moveTo>
                      <a:pt x="164521" y="404809"/>
                    </a:moveTo>
                    <a:cubicBezTo>
                      <a:pt x="161362" y="404809"/>
                      <a:pt x="158655" y="403455"/>
                      <a:pt x="156624" y="401876"/>
                    </a:cubicBezTo>
                    <a:cubicBezTo>
                      <a:pt x="153916" y="399619"/>
                      <a:pt x="154142" y="395106"/>
                      <a:pt x="154142" y="389014"/>
                    </a:cubicBezTo>
                    <a:cubicBezTo>
                      <a:pt x="154142" y="385404"/>
                      <a:pt x="154142" y="381116"/>
                      <a:pt x="153690" y="376603"/>
                    </a:cubicBezTo>
                    <a:cubicBezTo>
                      <a:pt x="152788" y="369834"/>
                      <a:pt x="150080" y="369834"/>
                      <a:pt x="142859" y="370060"/>
                    </a:cubicBezTo>
                    <a:cubicBezTo>
                      <a:pt x="141054" y="370060"/>
                      <a:pt x="138798" y="370285"/>
                      <a:pt x="136541" y="370060"/>
                    </a:cubicBezTo>
                    <a:cubicBezTo>
                      <a:pt x="128644" y="369608"/>
                      <a:pt x="123905" y="363290"/>
                      <a:pt x="119843" y="357423"/>
                    </a:cubicBezTo>
                    <a:cubicBezTo>
                      <a:pt x="118490" y="355618"/>
                      <a:pt x="117361" y="353813"/>
                      <a:pt x="116007" y="352459"/>
                    </a:cubicBezTo>
                    <a:cubicBezTo>
                      <a:pt x="111720" y="347721"/>
                      <a:pt x="103146" y="350654"/>
                      <a:pt x="95474" y="353813"/>
                    </a:cubicBezTo>
                    <a:cubicBezTo>
                      <a:pt x="93894" y="354490"/>
                      <a:pt x="92540" y="354941"/>
                      <a:pt x="91412" y="355618"/>
                    </a:cubicBezTo>
                    <a:cubicBezTo>
                      <a:pt x="87125" y="357649"/>
                      <a:pt x="83289" y="359229"/>
                      <a:pt x="79227" y="359229"/>
                    </a:cubicBezTo>
                    <a:lnTo>
                      <a:pt x="78550" y="359229"/>
                    </a:lnTo>
                    <a:lnTo>
                      <a:pt x="77648" y="358100"/>
                    </a:lnTo>
                    <a:cubicBezTo>
                      <a:pt x="75617" y="354716"/>
                      <a:pt x="73586" y="355167"/>
                      <a:pt x="68847" y="356070"/>
                    </a:cubicBezTo>
                    <a:cubicBezTo>
                      <a:pt x="66591" y="356521"/>
                      <a:pt x="63883" y="356972"/>
                      <a:pt x="60950" y="356972"/>
                    </a:cubicBezTo>
                    <a:cubicBezTo>
                      <a:pt x="53503" y="356521"/>
                      <a:pt x="46960" y="354264"/>
                      <a:pt x="38385" y="351331"/>
                    </a:cubicBezTo>
                    <a:lnTo>
                      <a:pt x="35000" y="350203"/>
                    </a:lnTo>
                    <a:cubicBezTo>
                      <a:pt x="28908" y="348172"/>
                      <a:pt x="26426" y="348623"/>
                      <a:pt x="23041" y="349074"/>
                    </a:cubicBezTo>
                    <a:cubicBezTo>
                      <a:pt x="21236" y="349300"/>
                      <a:pt x="19205" y="349751"/>
                      <a:pt x="16272" y="349751"/>
                    </a:cubicBezTo>
                    <a:cubicBezTo>
                      <a:pt x="9728" y="349751"/>
                      <a:pt x="8826" y="349074"/>
                      <a:pt x="5892" y="345239"/>
                    </a:cubicBezTo>
                    <a:cubicBezTo>
                      <a:pt x="5215" y="344110"/>
                      <a:pt x="4087" y="342982"/>
                      <a:pt x="2733" y="341177"/>
                    </a:cubicBezTo>
                    <a:cubicBezTo>
                      <a:pt x="-2457" y="335084"/>
                      <a:pt x="702" y="332151"/>
                      <a:pt x="4313" y="328766"/>
                    </a:cubicBezTo>
                    <a:cubicBezTo>
                      <a:pt x="6118" y="327187"/>
                      <a:pt x="8149" y="325156"/>
                      <a:pt x="10179" y="322448"/>
                    </a:cubicBezTo>
                    <a:cubicBezTo>
                      <a:pt x="11082" y="321094"/>
                      <a:pt x="11533" y="319741"/>
                      <a:pt x="11082" y="318161"/>
                    </a:cubicBezTo>
                    <a:lnTo>
                      <a:pt x="10631" y="316581"/>
                    </a:lnTo>
                    <a:lnTo>
                      <a:pt x="11985" y="315905"/>
                    </a:lnTo>
                    <a:cubicBezTo>
                      <a:pt x="13564" y="315228"/>
                      <a:pt x="14918" y="313648"/>
                      <a:pt x="15369" y="311843"/>
                    </a:cubicBezTo>
                    <a:cubicBezTo>
                      <a:pt x="15595" y="311166"/>
                      <a:pt x="15821" y="309812"/>
                      <a:pt x="14918" y="308458"/>
                    </a:cubicBezTo>
                    <a:cubicBezTo>
                      <a:pt x="14467" y="307781"/>
                      <a:pt x="13790" y="307104"/>
                      <a:pt x="13113" y="306202"/>
                    </a:cubicBezTo>
                    <a:cubicBezTo>
                      <a:pt x="9502" y="302366"/>
                      <a:pt x="2959" y="295145"/>
                      <a:pt x="9277" y="288601"/>
                    </a:cubicBezTo>
                    <a:cubicBezTo>
                      <a:pt x="11759" y="286119"/>
                      <a:pt x="11082" y="283637"/>
                      <a:pt x="10631" y="280929"/>
                    </a:cubicBezTo>
                    <a:cubicBezTo>
                      <a:pt x="9954" y="277996"/>
                      <a:pt x="9277" y="274160"/>
                      <a:pt x="14241" y="272129"/>
                    </a:cubicBezTo>
                    <a:cubicBezTo>
                      <a:pt x="17400" y="270775"/>
                      <a:pt x="19205" y="269196"/>
                      <a:pt x="21010" y="267616"/>
                    </a:cubicBezTo>
                    <a:cubicBezTo>
                      <a:pt x="23267" y="265585"/>
                      <a:pt x="25298" y="263555"/>
                      <a:pt x="29359" y="262201"/>
                    </a:cubicBezTo>
                    <a:cubicBezTo>
                      <a:pt x="32970" y="261073"/>
                      <a:pt x="33195" y="260170"/>
                      <a:pt x="34098" y="257914"/>
                    </a:cubicBezTo>
                    <a:cubicBezTo>
                      <a:pt x="34775" y="256560"/>
                      <a:pt x="35452" y="254529"/>
                      <a:pt x="37483" y="251821"/>
                    </a:cubicBezTo>
                    <a:cubicBezTo>
                      <a:pt x="40642" y="247759"/>
                      <a:pt x="41996" y="246631"/>
                      <a:pt x="43575" y="245277"/>
                    </a:cubicBezTo>
                    <a:cubicBezTo>
                      <a:pt x="44478" y="244600"/>
                      <a:pt x="45380" y="243923"/>
                      <a:pt x="46508" y="242570"/>
                    </a:cubicBezTo>
                    <a:cubicBezTo>
                      <a:pt x="47862" y="241216"/>
                      <a:pt x="48314" y="239411"/>
                      <a:pt x="48991" y="237380"/>
                    </a:cubicBezTo>
                    <a:cubicBezTo>
                      <a:pt x="50119" y="233995"/>
                      <a:pt x="51247" y="230385"/>
                      <a:pt x="55309" y="227677"/>
                    </a:cubicBezTo>
                    <a:cubicBezTo>
                      <a:pt x="58242" y="225872"/>
                      <a:pt x="58919" y="223841"/>
                      <a:pt x="59822" y="221359"/>
                    </a:cubicBezTo>
                    <a:cubicBezTo>
                      <a:pt x="60499" y="219328"/>
                      <a:pt x="61175" y="217297"/>
                      <a:pt x="62981" y="215266"/>
                    </a:cubicBezTo>
                    <a:cubicBezTo>
                      <a:pt x="63658" y="214589"/>
                      <a:pt x="64334" y="213913"/>
                      <a:pt x="64786" y="213461"/>
                    </a:cubicBezTo>
                    <a:cubicBezTo>
                      <a:pt x="67268" y="210753"/>
                      <a:pt x="68847" y="209400"/>
                      <a:pt x="74940" y="207369"/>
                    </a:cubicBezTo>
                    <a:cubicBezTo>
                      <a:pt x="79453" y="206015"/>
                      <a:pt x="82161" y="204210"/>
                      <a:pt x="84643" y="202630"/>
                    </a:cubicBezTo>
                    <a:cubicBezTo>
                      <a:pt x="86222" y="201728"/>
                      <a:pt x="87576" y="200599"/>
                      <a:pt x="89381" y="199922"/>
                    </a:cubicBezTo>
                    <a:cubicBezTo>
                      <a:pt x="90509" y="199471"/>
                      <a:pt x="91638" y="199020"/>
                      <a:pt x="92540" y="198794"/>
                    </a:cubicBezTo>
                    <a:cubicBezTo>
                      <a:pt x="92992" y="198569"/>
                      <a:pt x="93668" y="198569"/>
                      <a:pt x="93894" y="198343"/>
                    </a:cubicBezTo>
                    <a:cubicBezTo>
                      <a:pt x="93894" y="198117"/>
                      <a:pt x="93668" y="197666"/>
                      <a:pt x="93217" y="196763"/>
                    </a:cubicBezTo>
                    <a:cubicBezTo>
                      <a:pt x="92540" y="195635"/>
                      <a:pt x="92089" y="194507"/>
                      <a:pt x="91412" y="193379"/>
                    </a:cubicBezTo>
                    <a:cubicBezTo>
                      <a:pt x="89607" y="189994"/>
                      <a:pt x="88027" y="186835"/>
                      <a:pt x="86448" y="182322"/>
                    </a:cubicBezTo>
                    <a:lnTo>
                      <a:pt x="86222" y="181419"/>
                    </a:lnTo>
                    <a:cubicBezTo>
                      <a:pt x="84417" y="176004"/>
                      <a:pt x="82612" y="171040"/>
                      <a:pt x="85771" y="164496"/>
                    </a:cubicBezTo>
                    <a:cubicBezTo>
                      <a:pt x="86448" y="163142"/>
                      <a:pt x="86899" y="161788"/>
                      <a:pt x="87576" y="160434"/>
                    </a:cubicBezTo>
                    <a:cubicBezTo>
                      <a:pt x="89607" y="155696"/>
                      <a:pt x="91186" y="152085"/>
                      <a:pt x="94345" y="151634"/>
                    </a:cubicBezTo>
                    <a:cubicBezTo>
                      <a:pt x="96827" y="151183"/>
                      <a:pt x="99761" y="148701"/>
                      <a:pt x="99761" y="147798"/>
                    </a:cubicBezTo>
                    <a:cubicBezTo>
                      <a:pt x="99761" y="145767"/>
                      <a:pt x="95925" y="129972"/>
                      <a:pt x="94797" y="127490"/>
                    </a:cubicBezTo>
                    <a:cubicBezTo>
                      <a:pt x="94571" y="127039"/>
                      <a:pt x="93443" y="126136"/>
                      <a:pt x="92540" y="125234"/>
                    </a:cubicBezTo>
                    <a:cubicBezTo>
                      <a:pt x="88253" y="121398"/>
                      <a:pt x="80130" y="114177"/>
                      <a:pt x="85996" y="104925"/>
                    </a:cubicBezTo>
                    <a:cubicBezTo>
                      <a:pt x="88253" y="101315"/>
                      <a:pt x="90058" y="98382"/>
                      <a:pt x="91412" y="95900"/>
                    </a:cubicBezTo>
                    <a:cubicBezTo>
                      <a:pt x="94120" y="91387"/>
                      <a:pt x="96151" y="88002"/>
                      <a:pt x="99310" y="84392"/>
                    </a:cubicBezTo>
                    <a:cubicBezTo>
                      <a:pt x="104274" y="78976"/>
                      <a:pt x="119618" y="69273"/>
                      <a:pt x="124356" y="68371"/>
                    </a:cubicBezTo>
                    <a:cubicBezTo>
                      <a:pt x="125033" y="68145"/>
                      <a:pt x="125485" y="67919"/>
                      <a:pt x="126387" y="67017"/>
                    </a:cubicBezTo>
                    <a:cubicBezTo>
                      <a:pt x="128644" y="64986"/>
                      <a:pt x="131577" y="62053"/>
                      <a:pt x="143988" y="61827"/>
                    </a:cubicBezTo>
                    <a:cubicBezTo>
                      <a:pt x="150531" y="61601"/>
                      <a:pt x="154819" y="61601"/>
                      <a:pt x="157978" y="61601"/>
                    </a:cubicBezTo>
                    <a:cubicBezTo>
                      <a:pt x="162716" y="61601"/>
                      <a:pt x="164296" y="61601"/>
                      <a:pt x="167003" y="60924"/>
                    </a:cubicBezTo>
                    <a:cubicBezTo>
                      <a:pt x="171516" y="59571"/>
                      <a:pt x="180542" y="53478"/>
                      <a:pt x="181670" y="51673"/>
                    </a:cubicBezTo>
                    <a:cubicBezTo>
                      <a:pt x="181896" y="50093"/>
                      <a:pt x="183024" y="47837"/>
                      <a:pt x="185281" y="43550"/>
                    </a:cubicBezTo>
                    <a:cubicBezTo>
                      <a:pt x="186183" y="41970"/>
                      <a:pt x="187086" y="40391"/>
                      <a:pt x="187312" y="39714"/>
                    </a:cubicBezTo>
                    <a:cubicBezTo>
                      <a:pt x="187763" y="38585"/>
                      <a:pt x="186860" y="31816"/>
                      <a:pt x="184378" y="27078"/>
                    </a:cubicBezTo>
                    <a:lnTo>
                      <a:pt x="183024" y="24370"/>
                    </a:lnTo>
                    <a:lnTo>
                      <a:pt x="186183" y="24370"/>
                    </a:lnTo>
                    <a:cubicBezTo>
                      <a:pt x="192276" y="24370"/>
                      <a:pt x="197466" y="25724"/>
                      <a:pt x="201527" y="28431"/>
                    </a:cubicBezTo>
                    <a:cubicBezTo>
                      <a:pt x="202881" y="29334"/>
                      <a:pt x="204686" y="30462"/>
                      <a:pt x="206040" y="30011"/>
                    </a:cubicBezTo>
                    <a:cubicBezTo>
                      <a:pt x="207620" y="29560"/>
                      <a:pt x="208522" y="26852"/>
                      <a:pt x="209876" y="24144"/>
                    </a:cubicBezTo>
                    <a:cubicBezTo>
                      <a:pt x="211907" y="19406"/>
                      <a:pt x="214389" y="13087"/>
                      <a:pt x="221835" y="13087"/>
                    </a:cubicBezTo>
                    <a:cubicBezTo>
                      <a:pt x="229733" y="13087"/>
                      <a:pt x="234923" y="9477"/>
                      <a:pt x="238533" y="6544"/>
                    </a:cubicBezTo>
                    <a:lnTo>
                      <a:pt x="239662" y="9026"/>
                    </a:lnTo>
                    <a:lnTo>
                      <a:pt x="241015" y="8575"/>
                    </a:lnTo>
                    <a:cubicBezTo>
                      <a:pt x="241918" y="11508"/>
                      <a:pt x="243497" y="15118"/>
                      <a:pt x="244400" y="16698"/>
                    </a:cubicBezTo>
                    <a:cubicBezTo>
                      <a:pt x="246431" y="20534"/>
                      <a:pt x="243497" y="23242"/>
                      <a:pt x="241015" y="25498"/>
                    </a:cubicBezTo>
                    <a:cubicBezTo>
                      <a:pt x="238308" y="27980"/>
                      <a:pt x="235149" y="30913"/>
                      <a:pt x="234246" y="36780"/>
                    </a:cubicBezTo>
                    <a:cubicBezTo>
                      <a:pt x="233569" y="41293"/>
                      <a:pt x="231764" y="45580"/>
                      <a:pt x="229959" y="49868"/>
                    </a:cubicBezTo>
                    <a:cubicBezTo>
                      <a:pt x="226123" y="58668"/>
                      <a:pt x="224092" y="64083"/>
                      <a:pt x="229056" y="67919"/>
                    </a:cubicBezTo>
                    <a:cubicBezTo>
                      <a:pt x="231087" y="69499"/>
                      <a:pt x="233569" y="71079"/>
                      <a:pt x="236051" y="72884"/>
                    </a:cubicBezTo>
                    <a:cubicBezTo>
                      <a:pt x="244626" y="78299"/>
                      <a:pt x="254329" y="84617"/>
                      <a:pt x="255005" y="98607"/>
                    </a:cubicBezTo>
                    <a:cubicBezTo>
                      <a:pt x="255682" y="109438"/>
                      <a:pt x="261549" y="120946"/>
                      <a:pt x="267190" y="132003"/>
                    </a:cubicBezTo>
                    <a:cubicBezTo>
                      <a:pt x="270124" y="137870"/>
                      <a:pt x="273283" y="143962"/>
                      <a:pt x="275539" y="149829"/>
                    </a:cubicBezTo>
                    <a:cubicBezTo>
                      <a:pt x="280278" y="162014"/>
                      <a:pt x="285468" y="161788"/>
                      <a:pt x="290206" y="161788"/>
                    </a:cubicBezTo>
                    <a:cubicBezTo>
                      <a:pt x="291560" y="161788"/>
                      <a:pt x="292688" y="161788"/>
                      <a:pt x="294042" y="162014"/>
                    </a:cubicBezTo>
                    <a:cubicBezTo>
                      <a:pt x="298781" y="162916"/>
                      <a:pt x="324730" y="177358"/>
                      <a:pt x="324730" y="189317"/>
                    </a:cubicBezTo>
                    <a:cubicBezTo>
                      <a:pt x="324730" y="192927"/>
                      <a:pt x="323828" y="196312"/>
                      <a:pt x="323151" y="199245"/>
                    </a:cubicBezTo>
                    <a:cubicBezTo>
                      <a:pt x="321571" y="205338"/>
                      <a:pt x="320443" y="209851"/>
                      <a:pt x="325858" y="214138"/>
                    </a:cubicBezTo>
                    <a:cubicBezTo>
                      <a:pt x="332402" y="219328"/>
                      <a:pt x="342782" y="226549"/>
                      <a:pt x="352936" y="233544"/>
                    </a:cubicBezTo>
                    <a:lnTo>
                      <a:pt x="355869" y="235575"/>
                    </a:lnTo>
                    <a:lnTo>
                      <a:pt x="352485" y="236703"/>
                    </a:lnTo>
                    <a:cubicBezTo>
                      <a:pt x="352259" y="238282"/>
                      <a:pt x="352259" y="239636"/>
                      <a:pt x="352259" y="240990"/>
                    </a:cubicBezTo>
                    <a:lnTo>
                      <a:pt x="352259" y="241893"/>
                    </a:lnTo>
                    <a:cubicBezTo>
                      <a:pt x="352259" y="244375"/>
                      <a:pt x="353613" y="247308"/>
                      <a:pt x="355192" y="250693"/>
                    </a:cubicBezTo>
                    <a:cubicBezTo>
                      <a:pt x="356095" y="252724"/>
                      <a:pt x="357223" y="255206"/>
                      <a:pt x="358126" y="257688"/>
                    </a:cubicBezTo>
                    <a:cubicBezTo>
                      <a:pt x="358803" y="259493"/>
                      <a:pt x="359254" y="260621"/>
                      <a:pt x="359931" y="261975"/>
                    </a:cubicBezTo>
                    <a:cubicBezTo>
                      <a:pt x="361510" y="265360"/>
                      <a:pt x="362864" y="268068"/>
                      <a:pt x="362413" y="276416"/>
                    </a:cubicBezTo>
                    <a:cubicBezTo>
                      <a:pt x="362187" y="282283"/>
                      <a:pt x="363767" y="287699"/>
                      <a:pt x="365121" y="291760"/>
                    </a:cubicBezTo>
                    <a:cubicBezTo>
                      <a:pt x="366249" y="295371"/>
                      <a:pt x="366926" y="297627"/>
                      <a:pt x="365798" y="299207"/>
                    </a:cubicBezTo>
                    <a:cubicBezTo>
                      <a:pt x="364218" y="301238"/>
                      <a:pt x="361736" y="299884"/>
                      <a:pt x="358126" y="297853"/>
                    </a:cubicBezTo>
                    <a:cubicBezTo>
                      <a:pt x="354290" y="295822"/>
                      <a:pt x="348649" y="292663"/>
                      <a:pt x="345264" y="294243"/>
                    </a:cubicBezTo>
                    <a:cubicBezTo>
                      <a:pt x="342782" y="295145"/>
                      <a:pt x="341654" y="298078"/>
                      <a:pt x="340300" y="302366"/>
                    </a:cubicBezTo>
                    <a:cubicBezTo>
                      <a:pt x="338720" y="306879"/>
                      <a:pt x="336915" y="312520"/>
                      <a:pt x="331725" y="317033"/>
                    </a:cubicBezTo>
                    <a:cubicBezTo>
                      <a:pt x="327664" y="320417"/>
                      <a:pt x="328340" y="322674"/>
                      <a:pt x="329243" y="325382"/>
                    </a:cubicBezTo>
                    <a:cubicBezTo>
                      <a:pt x="329920" y="328089"/>
                      <a:pt x="331048" y="331700"/>
                      <a:pt x="326535" y="335310"/>
                    </a:cubicBezTo>
                    <a:cubicBezTo>
                      <a:pt x="320894" y="339823"/>
                      <a:pt x="319315" y="339597"/>
                      <a:pt x="314350" y="337792"/>
                    </a:cubicBezTo>
                    <a:cubicBezTo>
                      <a:pt x="312094" y="336890"/>
                      <a:pt x="309161" y="335761"/>
                      <a:pt x="304196" y="334859"/>
                    </a:cubicBezTo>
                    <a:cubicBezTo>
                      <a:pt x="298555" y="333731"/>
                      <a:pt x="292463" y="335084"/>
                      <a:pt x="287273" y="338920"/>
                    </a:cubicBezTo>
                    <a:cubicBezTo>
                      <a:pt x="281857" y="342982"/>
                      <a:pt x="277796" y="348849"/>
                      <a:pt x="277344" y="353813"/>
                    </a:cubicBezTo>
                    <a:cubicBezTo>
                      <a:pt x="276216" y="364644"/>
                      <a:pt x="273508" y="369608"/>
                      <a:pt x="266062" y="373670"/>
                    </a:cubicBezTo>
                    <a:cubicBezTo>
                      <a:pt x="264483" y="374573"/>
                      <a:pt x="262903" y="375701"/>
                      <a:pt x="261324" y="376829"/>
                    </a:cubicBezTo>
                    <a:cubicBezTo>
                      <a:pt x="256134" y="380665"/>
                      <a:pt x="249816" y="385404"/>
                      <a:pt x="241467" y="379085"/>
                    </a:cubicBezTo>
                    <a:cubicBezTo>
                      <a:pt x="234697" y="374121"/>
                      <a:pt x="227702" y="378409"/>
                      <a:pt x="221384" y="382470"/>
                    </a:cubicBezTo>
                    <a:cubicBezTo>
                      <a:pt x="220030" y="383373"/>
                      <a:pt x="218451" y="384275"/>
                      <a:pt x="217323" y="384952"/>
                    </a:cubicBezTo>
                    <a:cubicBezTo>
                      <a:pt x="212358" y="387660"/>
                      <a:pt x="205138" y="386532"/>
                      <a:pt x="197466" y="385404"/>
                    </a:cubicBezTo>
                    <a:cubicBezTo>
                      <a:pt x="193630" y="384727"/>
                      <a:pt x="189342" y="384275"/>
                      <a:pt x="185732" y="384275"/>
                    </a:cubicBezTo>
                    <a:cubicBezTo>
                      <a:pt x="180768" y="384275"/>
                      <a:pt x="178963" y="388563"/>
                      <a:pt x="176706" y="394881"/>
                    </a:cubicBezTo>
                    <a:cubicBezTo>
                      <a:pt x="175578" y="398265"/>
                      <a:pt x="174450" y="401424"/>
                      <a:pt x="172193" y="403230"/>
                    </a:cubicBezTo>
                    <a:cubicBezTo>
                      <a:pt x="169711" y="404132"/>
                      <a:pt x="167003" y="404809"/>
                      <a:pt x="164521" y="404809"/>
                    </a:cubicBezTo>
                    <a:close/>
                    <a:moveTo>
                      <a:pt x="146470" y="366449"/>
                    </a:moveTo>
                    <a:cubicBezTo>
                      <a:pt x="151660" y="366449"/>
                      <a:pt x="156398" y="367803"/>
                      <a:pt x="157526" y="376378"/>
                    </a:cubicBezTo>
                    <a:cubicBezTo>
                      <a:pt x="158203" y="381116"/>
                      <a:pt x="157978" y="385404"/>
                      <a:pt x="157978" y="389240"/>
                    </a:cubicBezTo>
                    <a:cubicBezTo>
                      <a:pt x="157978" y="393752"/>
                      <a:pt x="157978" y="398040"/>
                      <a:pt x="159106" y="399168"/>
                    </a:cubicBezTo>
                    <a:cubicBezTo>
                      <a:pt x="161588" y="401199"/>
                      <a:pt x="165650" y="402327"/>
                      <a:pt x="169937" y="399168"/>
                    </a:cubicBezTo>
                    <a:cubicBezTo>
                      <a:pt x="171291" y="398040"/>
                      <a:pt x="172193" y="395332"/>
                      <a:pt x="173096" y="392624"/>
                    </a:cubicBezTo>
                    <a:cubicBezTo>
                      <a:pt x="175127" y="386757"/>
                      <a:pt x="177609" y="379537"/>
                      <a:pt x="185506" y="379537"/>
                    </a:cubicBezTo>
                    <a:cubicBezTo>
                      <a:pt x="189342" y="379537"/>
                      <a:pt x="193630" y="380214"/>
                      <a:pt x="197691" y="380891"/>
                    </a:cubicBezTo>
                    <a:cubicBezTo>
                      <a:pt x="204235" y="381793"/>
                      <a:pt x="211230" y="382921"/>
                      <a:pt x="215066" y="380891"/>
                    </a:cubicBezTo>
                    <a:cubicBezTo>
                      <a:pt x="216194" y="380214"/>
                      <a:pt x="217548" y="379311"/>
                      <a:pt x="218902" y="378634"/>
                    </a:cubicBezTo>
                    <a:cubicBezTo>
                      <a:pt x="225446" y="374573"/>
                      <a:pt x="234472" y="368931"/>
                      <a:pt x="243272" y="375475"/>
                    </a:cubicBezTo>
                    <a:cubicBezTo>
                      <a:pt x="248913" y="379762"/>
                      <a:pt x="252749" y="377280"/>
                      <a:pt x="258616" y="373219"/>
                    </a:cubicBezTo>
                    <a:cubicBezTo>
                      <a:pt x="260195" y="372090"/>
                      <a:pt x="262001" y="370737"/>
                      <a:pt x="263806" y="369834"/>
                    </a:cubicBezTo>
                    <a:cubicBezTo>
                      <a:pt x="270124" y="366449"/>
                      <a:pt x="272155" y="362613"/>
                      <a:pt x="273057" y="352911"/>
                    </a:cubicBezTo>
                    <a:cubicBezTo>
                      <a:pt x="273734" y="346818"/>
                      <a:pt x="278021" y="339823"/>
                      <a:pt x="284339" y="335310"/>
                    </a:cubicBezTo>
                    <a:cubicBezTo>
                      <a:pt x="290432" y="330797"/>
                      <a:pt x="297653" y="329218"/>
                      <a:pt x="304422" y="330572"/>
                    </a:cubicBezTo>
                    <a:cubicBezTo>
                      <a:pt x="309612" y="331700"/>
                      <a:pt x="312771" y="332828"/>
                      <a:pt x="315027" y="333731"/>
                    </a:cubicBezTo>
                    <a:cubicBezTo>
                      <a:pt x="319315" y="335310"/>
                      <a:pt x="319315" y="335310"/>
                      <a:pt x="323376" y="331925"/>
                    </a:cubicBezTo>
                    <a:cubicBezTo>
                      <a:pt x="325858" y="329895"/>
                      <a:pt x="325633" y="328541"/>
                      <a:pt x="324730" y="326059"/>
                    </a:cubicBezTo>
                    <a:cubicBezTo>
                      <a:pt x="323828" y="322900"/>
                      <a:pt x="322474" y="318838"/>
                      <a:pt x="328566" y="313648"/>
                    </a:cubicBezTo>
                    <a:cubicBezTo>
                      <a:pt x="333079" y="309812"/>
                      <a:pt x="334659" y="305074"/>
                      <a:pt x="336012" y="300786"/>
                    </a:cubicBezTo>
                    <a:cubicBezTo>
                      <a:pt x="337592" y="296273"/>
                      <a:pt x="338946" y="291986"/>
                      <a:pt x="343233" y="290407"/>
                    </a:cubicBezTo>
                    <a:cubicBezTo>
                      <a:pt x="348423" y="288376"/>
                      <a:pt x="354741" y="291760"/>
                      <a:pt x="359254" y="294243"/>
                    </a:cubicBezTo>
                    <a:cubicBezTo>
                      <a:pt x="359931" y="294694"/>
                      <a:pt x="361059" y="295145"/>
                      <a:pt x="361736" y="295596"/>
                    </a:cubicBezTo>
                    <a:cubicBezTo>
                      <a:pt x="361510" y="294694"/>
                      <a:pt x="361059" y="293566"/>
                      <a:pt x="360833" y="292663"/>
                    </a:cubicBezTo>
                    <a:cubicBezTo>
                      <a:pt x="359480" y="288601"/>
                      <a:pt x="357674" y="282735"/>
                      <a:pt x="357900" y="275965"/>
                    </a:cubicBezTo>
                    <a:cubicBezTo>
                      <a:pt x="358126" y="268519"/>
                      <a:pt x="357223" y="266488"/>
                      <a:pt x="355644" y="263329"/>
                    </a:cubicBezTo>
                    <a:cubicBezTo>
                      <a:pt x="354967" y="261975"/>
                      <a:pt x="354290" y="260621"/>
                      <a:pt x="353613" y="258816"/>
                    </a:cubicBezTo>
                    <a:cubicBezTo>
                      <a:pt x="352710" y="256560"/>
                      <a:pt x="351808" y="254303"/>
                      <a:pt x="350679" y="252272"/>
                    </a:cubicBezTo>
                    <a:cubicBezTo>
                      <a:pt x="348874" y="248662"/>
                      <a:pt x="347295" y="245277"/>
                      <a:pt x="347295" y="241893"/>
                    </a:cubicBezTo>
                    <a:lnTo>
                      <a:pt x="347295" y="241216"/>
                    </a:lnTo>
                    <a:cubicBezTo>
                      <a:pt x="347295" y="239636"/>
                      <a:pt x="347295" y="237605"/>
                      <a:pt x="347520" y="235349"/>
                    </a:cubicBezTo>
                    <a:cubicBezTo>
                      <a:pt x="338043" y="228805"/>
                      <a:pt x="328340" y="222036"/>
                      <a:pt x="322022" y="217072"/>
                    </a:cubicBezTo>
                    <a:cubicBezTo>
                      <a:pt x="314802" y="211205"/>
                      <a:pt x="316381" y="204661"/>
                      <a:pt x="317961" y="198343"/>
                    </a:cubicBezTo>
                    <a:cubicBezTo>
                      <a:pt x="318638" y="195410"/>
                      <a:pt x="319540" y="192476"/>
                      <a:pt x="319540" y="189317"/>
                    </a:cubicBezTo>
                    <a:cubicBezTo>
                      <a:pt x="319540" y="180517"/>
                      <a:pt x="296524" y="166752"/>
                      <a:pt x="292011" y="165850"/>
                    </a:cubicBezTo>
                    <a:cubicBezTo>
                      <a:pt x="291335" y="165624"/>
                      <a:pt x="290206" y="165850"/>
                      <a:pt x="289078" y="165850"/>
                    </a:cubicBezTo>
                    <a:cubicBezTo>
                      <a:pt x="284114" y="166076"/>
                      <a:pt x="276442" y="166301"/>
                      <a:pt x="270801" y="151634"/>
                    </a:cubicBezTo>
                    <a:cubicBezTo>
                      <a:pt x="268544" y="145993"/>
                      <a:pt x="265611" y="139901"/>
                      <a:pt x="262677" y="134259"/>
                    </a:cubicBezTo>
                    <a:cubicBezTo>
                      <a:pt x="256811" y="122751"/>
                      <a:pt x="250718" y="111018"/>
                      <a:pt x="250041" y="99510"/>
                    </a:cubicBezTo>
                    <a:cubicBezTo>
                      <a:pt x="249364" y="87551"/>
                      <a:pt x="241015" y="82135"/>
                      <a:pt x="232666" y="76720"/>
                    </a:cubicBezTo>
                    <a:cubicBezTo>
                      <a:pt x="229959" y="75140"/>
                      <a:pt x="227477" y="73335"/>
                      <a:pt x="225220" y="71530"/>
                    </a:cubicBezTo>
                    <a:cubicBezTo>
                      <a:pt x="218000" y="65663"/>
                      <a:pt x="221610" y="57088"/>
                      <a:pt x="224995" y="48965"/>
                    </a:cubicBezTo>
                    <a:cubicBezTo>
                      <a:pt x="226800" y="44904"/>
                      <a:pt x="228605" y="40842"/>
                      <a:pt x="229056" y="36780"/>
                    </a:cubicBezTo>
                    <a:cubicBezTo>
                      <a:pt x="230184" y="29560"/>
                      <a:pt x="234246" y="25949"/>
                      <a:pt x="237179" y="23242"/>
                    </a:cubicBezTo>
                    <a:cubicBezTo>
                      <a:pt x="239887" y="20759"/>
                      <a:pt x="240338" y="20082"/>
                      <a:pt x="239662" y="18954"/>
                    </a:cubicBezTo>
                    <a:cubicBezTo>
                      <a:pt x="238985" y="17600"/>
                      <a:pt x="237856" y="15344"/>
                      <a:pt x="236954" y="12862"/>
                    </a:cubicBezTo>
                    <a:cubicBezTo>
                      <a:pt x="233118" y="15795"/>
                      <a:pt x="227702" y="18503"/>
                      <a:pt x="220256" y="18503"/>
                    </a:cubicBezTo>
                    <a:cubicBezTo>
                      <a:pt x="215743" y="18503"/>
                      <a:pt x="213938" y="21888"/>
                      <a:pt x="211681" y="27303"/>
                    </a:cubicBezTo>
                    <a:cubicBezTo>
                      <a:pt x="210102" y="30913"/>
                      <a:pt x="208748" y="34298"/>
                      <a:pt x="205589" y="35201"/>
                    </a:cubicBezTo>
                    <a:cubicBezTo>
                      <a:pt x="203332" y="35878"/>
                      <a:pt x="200850" y="35201"/>
                      <a:pt x="197917" y="33170"/>
                    </a:cubicBezTo>
                    <a:cubicBezTo>
                      <a:pt x="195209" y="31365"/>
                      <a:pt x="191825" y="30237"/>
                      <a:pt x="187537" y="29785"/>
                    </a:cubicBezTo>
                    <a:cubicBezTo>
                      <a:pt x="189342" y="34524"/>
                      <a:pt x="190245" y="40616"/>
                      <a:pt x="189342" y="42647"/>
                    </a:cubicBezTo>
                    <a:cubicBezTo>
                      <a:pt x="188891" y="43550"/>
                      <a:pt x="188214" y="45129"/>
                      <a:pt x="187086" y="46934"/>
                    </a:cubicBezTo>
                    <a:cubicBezTo>
                      <a:pt x="185958" y="48965"/>
                      <a:pt x="183927" y="52801"/>
                      <a:pt x="183701" y="53704"/>
                    </a:cubicBezTo>
                    <a:cubicBezTo>
                      <a:pt x="183701" y="57314"/>
                      <a:pt x="170614" y="65212"/>
                      <a:pt x="166327" y="66340"/>
                    </a:cubicBezTo>
                    <a:cubicBezTo>
                      <a:pt x="162942" y="67243"/>
                      <a:pt x="160911" y="67243"/>
                      <a:pt x="156172" y="67243"/>
                    </a:cubicBezTo>
                    <a:cubicBezTo>
                      <a:pt x="153239" y="67243"/>
                      <a:pt x="148952" y="67243"/>
                      <a:pt x="142408" y="67468"/>
                    </a:cubicBezTo>
                    <a:cubicBezTo>
                      <a:pt x="131351" y="67694"/>
                      <a:pt x="129095" y="69950"/>
                      <a:pt x="127290" y="71755"/>
                    </a:cubicBezTo>
                    <a:cubicBezTo>
                      <a:pt x="126387" y="72658"/>
                      <a:pt x="125259" y="73561"/>
                      <a:pt x="123454" y="74012"/>
                    </a:cubicBezTo>
                    <a:cubicBezTo>
                      <a:pt x="119843" y="74915"/>
                      <a:pt x="105176" y="83715"/>
                      <a:pt x="100438" y="88905"/>
                    </a:cubicBezTo>
                    <a:cubicBezTo>
                      <a:pt x="97504" y="92064"/>
                      <a:pt x="95699" y="95223"/>
                      <a:pt x="92992" y="99736"/>
                    </a:cubicBezTo>
                    <a:cubicBezTo>
                      <a:pt x="91412" y="102218"/>
                      <a:pt x="89833" y="105151"/>
                      <a:pt x="87350" y="108761"/>
                    </a:cubicBezTo>
                    <a:cubicBezTo>
                      <a:pt x="83514" y="114854"/>
                      <a:pt x="88027" y="119592"/>
                      <a:pt x="93217" y="124331"/>
                    </a:cubicBezTo>
                    <a:cubicBezTo>
                      <a:pt x="94797" y="125685"/>
                      <a:pt x="95925" y="126587"/>
                      <a:pt x="96376" y="127716"/>
                    </a:cubicBezTo>
                    <a:cubicBezTo>
                      <a:pt x="97956" y="130875"/>
                      <a:pt x="101792" y="147121"/>
                      <a:pt x="101792" y="149603"/>
                    </a:cubicBezTo>
                    <a:cubicBezTo>
                      <a:pt x="101792" y="153214"/>
                      <a:pt x="96602" y="156598"/>
                      <a:pt x="93217" y="157050"/>
                    </a:cubicBezTo>
                    <a:cubicBezTo>
                      <a:pt x="92089" y="157275"/>
                      <a:pt x="90509" y="160660"/>
                      <a:pt x="89381" y="163593"/>
                    </a:cubicBezTo>
                    <a:cubicBezTo>
                      <a:pt x="88930" y="164947"/>
                      <a:pt x="88253" y="166301"/>
                      <a:pt x="87576" y="167655"/>
                    </a:cubicBezTo>
                    <a:cubicBezTo>
                      <a:pt x="85320" y="172845"/>
                      <a:pt x="86673" y="176681"/>
                      <a:pt x="88253" y="181645"/>
                    </a:cubicBezTo>
                    <a:lnTo>
                      <a:pt x="88479" y="182548"/>
                    </a:lnTo>
                    <a:cubicBezTo>
                      <a:pt x="89833" y="186609"/>
                      <a:pt x="91412" y="189768"/>
                      <a:pt x="93217" y="192927"/>
                    </a:cubicBezTo>
                    <a:cubicBezTo>
                      <a:pt x="93894" y="194056"/>
                      <a:pt x="94345" y="195184"/>
                      <a:pt x="95022" y="196312"/>
                    </a:cubicBezTo>
                    <a:cubicBezTo>
                      <a:pt x="95699" y="197892"/>
                      <a:pt x="96376" y="199471"/>
                      <a:pt x="95699" y="201051"/>
                    </a:cubicBezTo>
                    <a:cubicBezTo>
                      <a:pt x="95022" y="202630"/>
                      <a:pt x="93443" y="203081"/>
                      <a:pt x="91863" y="203533"/>
                    </a:cubicBezTo>
                    <a:cubicBezTo>
                      <a:pt x="91186" y="203758"/>
                      <a:pt x="90284" y="203984"/>
                      <a:pt x="89156" y="204435"/>
                    </a:cubicBezTo>
                    <a:cubicBezTo>
                      <a:pt x="87802" y="205112"/>
                      <a:pt x="86448" y="205789"/>
                      <a:pt x="85094" y="206917"/>
                    </a:cubicBezTo>
                    <a:cubicBezTo>
                      <a:pt x="82386" y="208723"/>
                      <a:pt x="79453" y="210528"/>
                      <a:pt x="74489" y="212107"/>
                    </a:cubicBezTo>
                    <a:cubicBezTo>
                      <a:pt x="68847" y="213913"/>
                      <a:pt x="67945" y="214815"/>
                      <a:pt x="65914" y="217072"/>
                    </a:cubicBezTo>
                    <a:cubicBezTo>
                      <a:pt x="65463" y="217748"/>
                      <a:pt x="64786" y="218425"/>
                      <a:pt x="64109" y="219102"/>
                    </a:cubicBezTo>
                    <a:cubicBezTo>
                      <a:pt x="62755" y="220456"/>
                      <a:pt x="62304" y="221810"/>
                      <a:pt x="61852" y="223615"/>
                    </a:cubicBezTo>
                    <a:cubicBezTo>
                      <a:pt x="60950" y="226323"/>
                      <a:pt x="60047" y="229482"/>
                      <a:pt x="55760" y="231964"/>
                    </a:cubicBezTo>
                    <a:cubicBezTo>
                      <a:pt x="52827" y="233769"/>
                      <a:pt x="51924" y="236477"/>
                      <a:pt x="51021" y="239411"/>
                    </a:cubicBezTo>
                    <a:cubicBezTo>
                      <a:pt x="50344" y="241893"/>
                      <a:pt x="49442" y="244375"/>
                      <a:pt x="47637" y="246180"/>
                    </a:cubicBezTo>
                    <a:cubicBezTo>
                      <a:pt x="46283" y="247534"/>
                      <a:pt x="45155" y="248436"/>
                      <a:pt x="44252" y="249113"/>
                    </a:cubicBezTo>
                    <a:cubicBezTo>
                      <a:pt x="42898" y="250242"/>
                      <a:pt x="41544" y="251144"/>
                      <a:pt x="38836" y="254980"/>
                    </a:cubicBezTo>
                    <a:cubicBezTo>
                      <a:pt x="37257" y="257011"/>
                      <a:pt x="36580" y="258590"/>
                      <a:pt x="36129" y="260170"/>
                    </a:cubicBezTo>
                    <a:cubicBezTo>
                      <a:pt x="35000" y="263103"/>
                      <a:pt x="33872" y="264908"/>
                      <a:pt x="29134" y="266488"/>
                    </a:cubicBezTo>
                    <a:cubicBezTo>
                      <a:pt x="25975" y="267616"/>
                      <a:pt x="24169" y="269196"/>
                      <a:pt x="22139" y="271001"/>
                    </a:cubicBezTo>
                    <a:cubicBezTo>
                      <a:pt x="20108" y="272806"/>
                      <a:pt x="17851" y="274837"/>
                      <a:pt x="14241" y="276416"/>
                    </a:cubicBezTo>
                    <a:cubicBezTo>
                      <a:pt x="12210" y="277093"/>
                      <a:pt x="12210" y="277770"/>
                      <a:pt x="12887" y="280929"/>
                    </a:cubicBezTo>
                    <a:cubicBezTo>
                      <a:pt x="13564" y="283863"/>
                      <a:pt x="14467" y="287924"/>
                      <a:pt x="10631" y="291986"/>
                    </a:cubicBezTo>
                    <a:cubicBezTo>
                      <a:pt x="7246" y="295822"/>
                      <a:pt x="10405" y="299884"/>
                      <a:pt x="14692" y="304397"/>
                    </a:cubicBezTo>
                    <a:cubicBezTo>
                      <a:pt x="15595" y="305299"/>
                      <a:pt x="16272" y="306202"/>
                      <a:pt x="16949" y="306879"/>
                    </a:cubicBezTo>
                    <a:cubicBezTo>
                      <a:pt x="18303" y="308684"/>
                      <a:pt x="18528" y="310940"/>
                      <a:pt x="17851" y="313422"/>
                    </a:cubicBezTo>
                    <a:cubicBezTo>
                      <a:pt x="17174" y="315679"/>
                      <a:pt x="15595" y="317935"/>
                      <a:pt x="13564" y="319289"/>
                    </a:cubicBezTo>
                    <a:cubicBezTo>
                      <a:pt x="13790" y="321320"/>
                      <a:pt x="13113" y="323351"/>
                      <a:pt x="11985" y="325156"/>
                    </a:cubicBezTo>
                    <a:cubicBezTo>
                      <a:pt x="9728" y="328315"/>
                      <a:pt x="7472" y="330572"/>
                      <a:pt x="5667" y="332151"/>
                    </a:cubicBezTo>
                    <a:cubicBezTo>
                      <a:pt x="2056" y="335536"/>
                      <a:pt x="1605" y="335987"/>
                      <a:pt x="4313" y="339146"/>
                    </a:cubicBezTo>
                    <a:cubicBezTo>
                      <a:pt x="5892" y="340951"/>
                      <a:pt x="6795" y="342305"/>
                      <a:pt x="7697" y="343433"/>
                    </a:cubicBezTo>
                    <a:cubicBezTo>
                      <a:pt x="9954" y="346367"/>
                      <a:pt x="9954" y="346592"/>
                      <a:pt x="15144" y="346592"/>
                    </a:cubicBezTo>
                    <a:cubicBezTo>
                      <a:pt x="17626" y="346592"/>
                      <a:pt x="19657" y="346367"/>
                      <a:pt x="21236" y="345915"/>
                    </a:cubicBezTo>
                    <a:cubicBezTo>
                      <a:pt x="24846" y="345239"/>
                      <a:pt x="28005" y="344787"/>
                      <a:pt x="35000" y="347044"/>
                    </a:cubicBezTo>
                    <a:lnTo>
                      <a:pt x="38385" y="348172"/>
                    </a:lnTo>
                    <a:cubicBezTo>
                      <a:pt x="46734" y="350880"/>
                      <a:pt x="53278" y="353136"/>
                      <a:pt x="60047" y="353587"/>
                    </a:cubicBezTo>
                    <a:cubicBezTo>
                      <a:pt x="62529" y="353813"/>
                      <a:pt x="64786" y="353362"/>
                      <a:pt x="67042" y="352911"/>
                    </a:cubicBezTo>
                    <a:cubicBezTo>
                      <a:pt x="71330" y="352008"/>
                      <a:pt x="75842" y="351105"/>
                      <a:pt x="79227" y="356070"/>
                    </a:cubicBezTo>
                    <a:cubicBezTo>
                      <a:pt x="82161" y="355844"/>
                      <a:pt x="85094" y="354490"/>
                      <a:pt x="88930" y="352911"/>
                    </a:cubicBezTo>
                    <a:cubicBezTo>
                      <a:pt x="90284" y="352234"/>
                      <a:pt x="91638" y="351782"/>
                      <a:pt x="93217" y="351105"/>
                    </a:cubicBezTo>
                    <a:cubicBezTo>
                      <a:pt x="102017" y="347495"/>
                      <a:pt x="111946" y="344110"/>
                      <a:pt x="117813" y="350654"/>
                    </a:cubicBezTo>
                    <a:cubicBezTo>
                      <a:pt x="119166" y="352234"/>
                      <a:pt x="120520" y="354039"/>
                      <a:pt x="121874" y="355844"/>
                    </a:cubicBezTo>
                    <a:cubicBezTo>
                      <a:pt x="125710" y="361034"/>
                      <a:pt x="129546" y="366675"/>
                      <a:pt x="135639" y="366901"/>
                    </a:cubicBezTo>
                    <a:cubicBezTo>
                      <a:pt x="137669" y="366901"/>
                      <a:pt x="139700" y="366901"/>
                      <a:pt x="141505" y="366901"/>
                    </a:cubicBezTo>
                    <a:cubicBezTo>
                      <a:pt x="144213" y="366449"/>
                      <a:pt x="145341" y="366449"/>
                      <a:pt x="146470" y="366449"/>
                    </a:cubicBezTo>
                    <a:close/>
                    <a:moveTo>
                      <a:pt x="244626" y="6544"/>
                    </a:moveTo>
                    <a:lnTo>
                      <a:pt x="241918" y="3836"/>
                    </a:lnTo>
                    <a:lnTo>
                      <a:pt x="242595" y="3159"/>
                    </a:lnTo>
                    <a:cubicBezTo>
                      <a:pt x="243723" y="2031"/>
                      <a:pt x="244851" y="903"/>
                      <a:pt x="245980" y="0"/>
                    </a:cubicBezTo>
                    <a:cubicBezTo>
                      <a:pt x="245980" y="0"/>
                      <a:pt x="245980" y="0"/>
                      <a:pt x="245980" y="0"/>
                    </a:cubicBezTo>
                    <a:lnTo>
                      <a:pt x="245980" y="0"/>
                    </a:lnTo>
                    <a:lnTo>
                      <a:pt x="248462" y="2708"/>
                    </a:lnTo>
                    <a:cubicBezTo>
                      <a:pt x="247334" y="3610"/>
                      <a:pt x="246431" y="4739"/>
                      <a:pt x="245303" y="5867"/>
                    </a:cubicBezTo>
                    <a:lnTo>
                      <a:pt x="244626" y="6544"/>
                    </a:ln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xmlns="" id="{49B75FFD-A846-47A6-911F-F7D23A2AFF09}"/>
                  </a:ext>
                </a:extLst>
              </p:cNvPr>
              <p:cNvSpPr/>
              <p:nvPr/>
            </p:nvSpPr>
            <p:spPr>
              <a:xfrm>
                <a:off x="9051046" y="1695634"/>
                <a:ext cx="383598" cy="361034"/>
              </a:xfrm>
              <a:custGeom>
                <a:avLst/>
                <a:gdLst>
                  <a:gd name="connsiteX0" fmla="*/ 211780 w 383598"/>
                  <a:gd name="connsiteY0" fmla="*/ 383424 h 361033"/>
                  <a:gd name="connsiteX1" fmla="*/ 208396 w 383598"/>
                  <a:gd name="connsiteY1" fmla="*/ 383199 h 361033"/>
                  <a:gd name="connsiteX2" fmla="*/ 183123 w 383598"/>
                  <a:gd name="connsiteY2" fmla="*/ 372593 h 361033"/>
                  <a:gd name="connsiteX3" fmla="*/ 166426 w 383598"/>
                  <a:gd name="connsiteY3" fmla="*/ 342131 h 361033"/>
                  <a:gd name="connsiteX4" fmla="*/ 151082 w 383598"/>
                  <a:gd name="connsiteY4" fmla="*/ 328818 h 361033"/>
                  <a:gd name="connsiteX5" fmla="*/ 139799 w 383598"/>
                  <a:gd name="connsiteY5" fmla="*/ 322049 h 361033"/>
                  <a:gd name="connsiteX6" fmla="*/ 130999 w 383598"/>
                  <a:gd name="connsiteY6" fmla="*/ 315956 h 361033"/>
                  <a:gd name="connsiteX7" fmla="*/ 100988 w 383598"/>
                  <a:gd name="connsiteY7" fmla="*/ 294520 h 361033"/>
                  <a:gd name="connsiteX8" fmla="*/ 96927 w 383598"/>
                  <a:gd name="connsiteY8" fmla="*/ 275791 h 361033"/>
                  <a:gd name="connsiteX9" fmla="*/ 98506 w 383598"/>
                  <a:gd name="connsiteY9" fmla="*/ 266765 h 361033"/>
                  <a:gd name="connsiteX10" fmla="*/ 70977 w 383598"/>
                  <a:gd name="connsiteY10" fmla="*/ 243298 h 361033"/>
                  <a:gd name="connsiteX11" fmla="*/ 68044 w 383598"/>
                  <a:gd name="connsiteY11" fmla="*/ 243298 h 361033"/>
                  <a:gd name="connsiteX12" fmla="*/ 49767 w 383598"/>
                  <a:gd name="connsiteY12" fmla="*/ 229082 h 361033"/>
                  <a:gd name="connsiteX13" fmla="*/ 41643 w 383598"/>
                  <a:gd name="connsiteY13" fmla="*/ 211708 h 361033"/>
                  <a:gd name="connsiteX14" fmla="*/ 29007 w 383598"/>
                  <a:gd name="connsiteY14" fmla="*/ 176958 h 361033"/>
                  <a:gd name="connsiteX15" fmla="*/ 11632 w 383598"/>
                  <a:gd name="connsiteY15" fmla="*/ 154168 h 361033"/>
                  <a:gd name="connsiteX16" fmla="*/ 4186 w 383598"/>
                  <a:gd name="connsiteY16" fmla="*/ 148978 h 361033"/>
                  <a:gd name="connsiteX17" fmla="*/ 3960 w 383598"/>
                  <a:gd name="connsiteY17" fmla="*/ 126414 h 361033"/>
                  <a:gd name="connsiteX18" fmla="*/ 8022 w 383598"/>
                  <a:gd name="connsiteY18" fmla="*/ 114229 h 361033"/>
                  <a:gd name="connsiteX19" fmla="*/ 16145 w 383598"/>
                  <a:gd name="connsiteY19" fmla="*/ 100690 h 361033"/>
                  <a:gd name="connsiteX20" fmla="*/ 18627 w 383598"/>
                  <a:gd name="connsiteY20" fmla="*/ 96403 h 361033"/>
                  <a:gd name="connsiteX21" fmla="*/ 15017 w 383598"/>
                  <a:gd name="connsiteY21" fmla="*/ 87828 h 361033"/>
                  <a:gd name="connsiteX22" fmla="*/ 14566 w 383598"/>
                  <a:gd name="connsiteY22" fmla="*/ 86700 h 361033"/>
                  <a:gd name="connsiteX23" fmla="*/ 15468 w 383598"/>
                  <a:gd name="connsiteY23" fmla="*/ 85797 h 361033"/>
                  <a:gd name="connsiteX24" fmla="*/ 20433 w 383598"/>
                  <a:gd name="connsiteY24" fmla="*/ 81284 h 361033"/>
                  <a:gd name="connsiteX25" fmla="*/ 23592 w 383598"/>
                  <a:gd name="connsiteY25" fmla="*/ 78125 h 361033"/>
                  <a:gd name="connsiteX26" fmla="*/ 28782 w 383598"/>
                  <a:gd name="connsiteY26" fmla="*/ 50596 h 361033"/>
                  <a:gd name="connsiteX27" fmla="*/ 25171 w 383598"/>
                  <a:gd name="connsiteY27" fmla="*/ 44053 h 361033"/>
                  <a:gd name="connsiteX28" fmla="*/ 22915 w 383598"/>
                  <a:gd name="connsiteY28" fmla="*/ 37509 h 361033"/>
                  <a:gd name="connsiteX29" fmla="*/ 34648 w 383598"/>
                  <a:gd name="connsiteY29" fmla="*/ 30063 h 361033"/>
                  <a:gd name="connsiteX30" fmla="*/ 60823 w 383598"/>
                  <a:gd name="connsiteY30" fmla="*/ 15396 h 361033"/>
                  <a:gd name="connsiteX31" fmla="*/ 96024 w 383598"/>
                  <a:gd name="connsiteY31" fmla="*/ 1631 h 361033"/>
                  <a:gd name="connsiteX32" fmla="*/ 110014 w 383598"/>
                  <a:gd name="connsiteY32" fmla="*/ 729 h 361033"/>
                  <a:gd name="connsiteX33" fmla="*/ 136415 w 383598"/>
                  <a:gd name="connsiteY33" fmla="*/ 5467 h 361033"/>
                  <a:gd name="connsiteX34" fmla="*/ 137092 w 383598"/>
                  <a:gd name="connsiteY34" fmla="*/ 5918 h 361033"/>
                  <a:gd name="connsiteX35" fmla="*/ 196437 w 383598"/>
                  <a:gd name="connsiteY35" fmla="*/ 41796 h 361033"/>
                  <a:gd name="connsiteX36" fmla="*/ 203883 w 383598"/>
                  <a:gd name="connsiteY36" fmla="*/ 40668 h 361033"/>
                  <a:gd name="connsiteX37" fmla="*/ 250140 w 383598"/>
                  <a:gd name="connsiteY37" fmla="*/ 45407 h 361033"/>
                  <a:gd name="connsiteX38" fmla="*/ 256458 w 383598"/>
                  <a:gd name="connsiteY38" fmla="*/ 62781 h 361033"/>
                  <a:gd name="connsiteX39" fmla="*/ 264582 w 383598"/>
                  <a:gd name="connsiteY39" fmla="*/ 75417 h 361033"/>
                  <a:gd name="connsiteX40" fmla="*/ 281731 w 383598"/>
                  <a:gd name="connsiteY40" fmla="*/ 73838 h 361033"/>
                  <a:gd name="connsiteX41" fmla="*/ 310162 w 383598"/>
                  <a:gd name="connsiteY41" fmla="*/ 74741 h 361033"/>
                  <a:gd name="connsiteX42" fmla="*/ 311516 w 383598"/>
                  <a:gd name="connsiteY42" fmla="*/ 80156 h 361033"/>
                  <a:gd name="connsiteX43" fmla="*/ 312419 w 383598"/>
                  <a:gd name="connsiteY43" fmla="*/ 86700 h 361033"/>
                  <a:gd name="connsiteX44" fmla="*/ 323250 w 383598"/>
                  <a:gd name="connsiteY44" fmla="*/ 90310 h 361033"/>
                  <a:gd name="connsiteX45" fmla="*/ 324378 w 383598"/>
                  <a:gd name="connsiteY45" fmla="*/ 90310 h 361033"/>
                  <a:gd name="connsiteX46" fmla="*/ 324829 w 383598"/>
                  <a:gd name="connsiteY46" fmla="*/ 91213 h 361033"/>
                  <a:gd name="connsiteX47" fmla="*/ 327311 w 383598"/>
                  <a:gd name="connsiteY47" fmla="*/ 104075 h 361033"/>
                  <a:gd name="connsiteX48" fmla="*/ 328891 w 383598"/>
                  <a:gd name="connsiteY48" fmla="*/ 114454 h 361033"/>
                  <a:gd name="connsiteX49" fmla="*/ 345363 w 383598"/>
                  <a:gd name="connsiteY49" fmla="*/ 139275 h 361033"/>
                  <a:gd name="connsiteX50" fmla="*/ 347845 w 383598"/>
                  <a:gd name="connsiteY50" fmla="*/ 142434 h 361033"/>
                  <a:gd name="connsiteX51" fmla="*/ 358676 w 383598"/>
                  <a:gd name="connsiteY51" fmla="*/ 177861 h 361033"/>
                  <a:gd name="connsiteX52" fmla="*/ 356871 w 383598"/>
                  <a:gd name="connsiteY52" fmla="*/ 188241 h 361033"/>
                  <a:gd name="connsiteX53" fmla="*/ 358225 w 383598"/>
                  <a:gd name="connsiteY53" fmla="*/ 199297 h 361033"/>
                  <a:gd name="connsiteX54" fmla="*/ 364317 w 383598"/>
                  <a:gd name="connsiteY54" fmla="*/ 223216 h 361033"/>
                  <a:gd name="connsiteX55" fmla="*/ 370635 w 383598"/>
                  <a:gd name="connsiteY55" fmla="*/ 247585 h 361033"/>
                  <a:gd name="connsiteX56" fmla="*/ 370635 w 383598"/>
                  <a:gd name="connsiteY56" fmla="*/ 247585 h 361033"/>
                  <a:gd name="connsiteX57" fmla="*/ 380789 w 383598"/>
                  <a:gd name="connsiteY57" fmla="*/ 252098 h 361033"/>
                  <a:gd name="connsiteX58" fmla="*/ 382369 w 383598"/>
                  <a:gd name="connsiteY58" fmla="*/ 252098 h 361033"/>
                  <a:gd name="connsiteX59" fmla="*/ 382595 w 383598"/>
                  <a:gd name="connsiteY59" fmla="*/ 253678 h 361033"/>
                  <a:gd name="connsiteX60" fmla="*/ 387333 w 383598"/>
                  <a:gd name="connsiteY60" fmla="*/ 265637 h 361033"/>
                  <a:gd name="connsiteX61" fmla="*/ 390944 w 383598"/>
                  <a:gd name="connsiteY61" fmla="*/ 276017 h 361033"/>
                  <a:gd name="connsiteX62" fmla="*/ 362512 w 383598"/>
                  <a:gd name="connsiteY62" fmla="*/ 287074 h 361033"/>
                  <a:gd name="connsiteX63" fmla="*/ 354615 w 383598"/>
                  <a:gd name="connsiteY63" fmla="*/ 279402 h 361033"/>
                  <a:gd name="connsiteX64" fmla="*/ 347619 w 383598"/>
                  <a:gd name="connsiteY64" fmla="*/ 269924 h 361033"/>
                  <a:gd name="connsiteX65" fmla="*/ 343784 w 383598"/>
                  <a:gd name="connsiteY65" fmla="*/ 265863 h 361033"/>
                  <a:gd name="connsiteX66" fmla="*/ 339496 w 383598"/>
                  <a:gd name="connsiteY66" fmla="*/ 263606 h 361033"/>
                  <a:gd name="connsiteX67" fmla="*/ 321445 w 383598"/>
                  <a:gd name="connsiteY67" fmla="*/ 263155 h 361033"/>
                  <a:gd name="connsiteX68" fmla="*/ 313547 w 383598"/>
                  <a:gd name="connsiteY68" fmla="*/ 266540 h 361033"/>
                  <a:gd name="connsiteX69" fmla="*/ 304070 w 383598"/>
                  <a:gd name="connsiteY69" fmla="*/ 269699 h 361033"/>
                  <a:gd name="connsiteX70" fmla="*/ 283987 w 383598"/>
                  <a:gd name="connsiteY70" fmla="*/ 273986 h 361033"/>
                  <a:gd name="connsiteX71" fmla="*/ 271577 w 383598"/>
                  <a:gd name="connsiteY71" fmla="*/ 276243 h 361033"/>
                  <a:gd name="connsiteX72" fmla="*/ 261423 w 383598"/>
                  <a:gd name="connsiteY72" fmla="*/ 278725 h 361033"/>
                  <a:gd name="connsiteX73" fmla="*/ 255556 w 383598"/>
                  <a:gd name="connsiteY73" fmla="*/ 290910 h 361033"/>
                  <a:gd name="connsiteX74" fmla="*/ 244499 w 383598"/>
                  <a:gd name="connsiteY74" fmla="*/ 312346 h 361033"/>
                  <a:gd name="connsiteX75" fmla="*/ 242243 w 383598"/>
                  <a:gd name="connsiteY75" fmla="*/ 339875 h 361033"/>
                  <a:gd name="connsiteX76" fmla="*/ 244499 w 383598"/>
                  <a:gd name="connsiteY76" fmla="*/ 355896 h 361033"/>
                  <a:gd name="connsiteX77" fmla="*/ 230735 w 383598"/>
                  <a:gd name="connsiteY77" fmla="*/ 375527 h 361033"/>
                  <a:gd name="connsiteX78" fmla="*/ 222386 w 383598"/>
                  <a:gd name="connsiteY78" fmla="*/ 379363 h 361033"/>
                  <a:gd name="connsiteX79" fmla="*/ 211780 w 383598"/>
                  <a:gd name="connsiteY79" fmla="*/ 383424 h 361033"/>
                  <a:gd name="connsiteX80" fmla="*/ 69623 w 383598"/>
                  <a:gd name="connsiteY80" fmla="*/ 239237 h 361033"/>
                  <a:gd name="connsiteX81" fmla="*/ 71654 w 383598"/>
                  <a:gd name="connsiteY81" fmla="*/ 239462 h 361033"/>
                  <a:gd name="connsiteX82" fmla="*/ 102342 w 383598"/>
                  <a:gd name="connsiteY82" fmla="*/ 266765 h 361033"/>
                  <a:gd name="connsiteX83" fmla="*/ 100763 w 383598"/>
                  <a:gd name="connsiteY83" fmla="*/ 276694 h 361033"/>
                  <a:gd name="connsiteX84" fmla="*/ 103470 w 383598"/>
                  <a:gd name="connsiteY84" fmla="*/ 291586 h 361033"/>
                  <a:gd name="connsiteX85" fmla="*/ 133256 w 383598"/>
                  <a:gd name="connsiteY85" fmla="*/ 312797 h 361033"/>
                  <a:gd name="connsiteX86" fmla="*/ 142056 w 383598"/>
                  <a:gd name="connsiteY86" fmla="*/ 318890 h 361033"/>
                  <a:gd name="connsiteX87" fmla="*/ 153113 w 383598"/>
                  <a:gd name="connsiteY87" fmla="*/ 325659 h 361033"/>
                  <a:gd name="connsiteX88" fmla="*/ 170262 w 383598"/>
                  <a:gd name="connsiteY88" fmla="*/ 341906 h 361033"/>
                  <a:gd name="connsiteX89" fmla="*/ 185380 w 383598"/>
                  <a:gd name="connsiteY89" fmla="*/ 369660 h 361033"/>
                  <a:gd name="connsiteX90" fmla="*/ 209073 w 383598"/>
                  <a:gd name="connsiteY90" fmla="*/ 379588 h 361033"/>
                  <a:gd name="connsiteX91" fmla="*/ 220355 w 383598"/>
                  <a:gd name="connsiteY91" fmla="*/ 376429 h 361033"/>
                  <a:gd name="connsiteX92" fmla="*/ 230058 w 383598"/>
                  <a:gd name="connsiteY92" fmla="*/ 371917 h 361033"/>
                  <a:gd name="connsiteX93" fmla="*/ 240663 w 383598"/>
                  <a:gd name="connsiteY93" fmla="*/ 355896 h 361033"/>
                  <a:gd name="connsiteX94" fmla="*/ 238407 w 383598"/>
                  <a:gd name="connsiteY94" fmla="*/ 340777 h 361033"/>
                  <a:gd name="connsiteX95" fmla="*/ 242468 w 383598"/>
                  <a:gd name="connsiteY95" fmla="*/ 309187 h 361033"/>
                  <a:gd name="connsiteX96" fmla="*/ 251720 w 383598"/>
                  <a:gd name="connsiteY96" fmla="*/ 290233 h 361033"/>
                  <a:gd name="connsiteX97" fmla="*/ 261197 w 383598"/>
                  <a:gd name="connsiteY97" fmla="*/ 275114 h 361033"/>
                  <a:gd name="connsiteX98" fmla="*/ 269772 w 383598"/>
                  <a:gd name="connsiteY98" fmla="*/ 273083 h 361033"/>
                  <a:gd name="connsiteX99" fmla="*/ 283987 w 383598"/>
                  <a:gd name="connsiteY99" fmla="*/ 270601 h 361033"/>
                  <a:gd name="connsiteX100" fmla="*/ 302265 w 383598"/>
                  <a:gd name="connsiteY100" fmla="*/ 266540 h 361033"/>
                  <a:gd name="connsiteX101" fmla="*/ 312419 w 383598"/>
                  <a:gd name="connsiteY101" fmla="*/ 263155 h 361033"/>
                  <a:gd name="connsiteX102" fmla="*/ 319188 w 383598"/>
                  <a:gd name="connsiteY102" fmla="*/ 260222 h 361033"/>
                  <a:gd name="connsiteX103" fmla="*/ 341076 w 383598"/>
                  <a:gd name="connsiteY103" fmla="*/ 260447 h 361033"/>
                  <a:gd name="connsiteX104" fmla="*/ 349199 w 383598"/>
                  <a:gd name="connsiteY104" fmla="*/ 266765 h 361033"/>
                  <a:gd name="connsiteX105" fmla="*/ 349650 w 383598"/>
                  <a:gd name="connsiteY105" fmla="*/ 267217 h 361033"/>
                  <a:gd name="connsiteX106" fmla="*/ 357999 w 383598"/>
                  <a:gd name="connsiteY106" fmla="*/ 278499 h 361033"/>
                  <a:gd name="connsiteX107" fmla="*/ 362963 w 383598"/>
                  <a:gd name="connsiteY107" fmla="*/ 283914 h 361033"/>
                  <a:gd name="connsiteX108" fmla="*/ 387108 w 383598"/>
                  <a:gd name="connsiteY108" fmla="*/ 276017 h 361033"/>
                  <a:gd name="connsiteX109" fmla="*/ 383949 w 383598"/>
                  <a:gd name="connsiteY109" fmla="*/ 267894 h 361033"/>
                  <a:gd name="connsiteX110" fmla="*/ 379210 w 383598"/>
                  <a:gd name="connsiteY110" fmla="*/ 256611 h 361033"/>
                  <a:gd name="connsiteX111" fmla="*/ 367251 w 383598"/>
                  <a:gd name="connsiteY111" fmla="*/ 250519 h 361033"/>
                  <a:gd name="connsiteX112" fmla="*/ 360481 w 383598"/>
                  <a:gd name="connsiteY112" fmla="*/ 222990 h 361033"/>
                  <a:gd name="connsiteX113" fmla="*/ 355291 w 383598"/>
                  <a:gd name="connsiteY113" fmla="*/ 202682 h 361033"/>
                  <a:gd name="connsiteX114" fmla="*/ 353035 w 383598"/>
                  <a:gd name="connsiteY114" fmla="*/ 188015 h 361033"/>
                  <a:gd name="connsiteX115" fmla="*/ 354840 w 383598"/>
                  <a:gd name="connsiteY115" fmla="*/ 178763 h 361033"/>
                  <a:gd name="connsiteX116" fmla="*/ 344912 w 383598"/>
                  <a:gd name="connsiteY116" fmla="*/ 145593 h 361033"/>
                  <a:gd name="connsiteX117" fmla="*/ 342430 w 383598"/>
                  <a:gd name="connsiteY117" fmla="*/ 142434 h 361033"/>
                  <a:gd name="connsiteX118" fmla="*/ 325506 w 383598"/>
                  <a:gd name="connsiteY118" fmla="*/ 116485 h 361033"/>
                  <a:gd name="connsiteX119" fmla="*/ 323701 w 383598"/>
                  <a:gd name="connsiteY119" fmla="*/ 104751 h 361033"/>
                  <a:gd name="connsiteX120" fmla="*/ 322122 w 383598"/>
                  <a:gd name="connsiteY120" fmla="*/ 94597 h 361033"/>
                  <a:gd name="connsiteX121" fmla="*/ 309711 w 383598"/>
                  <a:gd name="connsiteY121" fmla="*/ 89633 h 361033"/>
                  <a:gd name="connsiteX122" fmla="*/ 308131 w 383598"/>
                  <a:gd name="connsiteY122" fmla="*/ 79930 h 361033"/>
                  <a:gd name="connsiteX123" fmla="*/ 307906 w 383598"/>
                  <a:gd name="connsiteY123" fmla="*/ 77900 h 361033"/>
                  <a:gd name="connsiteX124" fmla="*/ 282633 w 383598"/>
                  <a:gd name="connsiteY124" fmla="*/ 78125 h 361033"/>
                  <a:gd name="connsiteX125" fmla="*/ 264807 w 383598"/>
                  <a:gd name="connsiteY125" fmla="*/ 79705 h 361033"/>
                  <a:gd name="connsiteX126" fmla="*/ 253074 w 383598"/>
                  <a:gd name="connsiteY126" fmla="*/ 63910 h 361033"/>
                  <a:gd name="connsiteX127" fmla="*/ 247658 w 383598"/>
                  <a:gd name="connsiteY127" fmla="*/ 48340 h 361033"/>
                  <a:gd name="connsiteX128" fmla="*/ 204786 w 383598"/>
                  <a:gd name="connsiteY128" fmla="*/ 44730 h 361033"/>
                  <a:gd name="connsiteX129" fmla="*/ 197339 w 383598"/>
                  <a:gd name="connsiteY129" fmla="*/ 45858 h 361033"/>
                  <a:gd name="connsiteX130" fmla="*/ 135061 w 383598"/>
                  <a:gd name="connsiteY130" fmla="*/ 8852 h 361033"/>
                  <a:gd name="connsiteX131" fmla="*/ 134384 w 383598"/>
                  <a:gd name="connsiteY131" fmla="*/ 8401 h 361033"/>
                  <a:gd name="connsiteX132" fmla="*/ 110917 w 383598"/>
                  <a:gd name="connsiteY132" fmla="*/ 4790 h 361033"/>
                  <a:gd name="connsiteX133" fmla="*/ 96701 w 383598"/>
                  <a:gd name="connsiteY133" fmla="*/ 5918 h 361033"/>
                  <a:gd name="connsiteX134" fmla="*/ 63982 w 383598"/>
                  <a:gd name="connsiteY134" fmla="*/ 18555 h 361033"/>
                  <a:gd name="connsiteX135" fmla="*/ 36454 w 383598"/>
                  <a:gd name="connsiteY135" fmla="*/ 33899 h 361033"/>
                  <a:gd name="connsiteX136" fmla="*/ 26976 w 383598"/>
                  <a:gd name="connsiteY136" fmla="*/ 39088 h 361033"/>
                  <a:gd name="connsiteX137" fmla="*/ 28556 w 383598"/>
                  <a:gd name="connsiteY137" fmla="*/ 42248 h 361033"/>
                  <a:gd name="connsiteX138" fmla="*/ 32617 w 383598"/>
                  <a:gd name="connsiteY138" fmla="*/ 49694 h 361033"/>
                  <a:gd name="connsiteX139" fmla="*/ 26525 w 383598"/>
                  <a:gd name="connsiteY139" fmla="*/ 81284 h 361033"/>
                  <a:gd name="connsiteX140" fmla="*/ 23366 w 383598"/>
                  <a:gd name="connsiteY140" fmla="*/ 84218 h 361033"/>
                  <a:gd name="connsiteX141" fmla="*/ 19304 w 383598"/>
                  <a:gd name="connsiteY141" fmla="*/ 88054 h 361033"/>
                  <a:gd name="connsiteX142" fmla="*/ 22238 w 383598"/>
                  <a:gd name="connsiteY142" fmla="*/ 94823 h 361033"/>
                  <a:gd name="connsiteX143" fmla="*/ 18853 w 383598"/>
                  <a:gd name="connsiteY143" fmla="*/ 103623 h 361033"/>
                  <a:gd name="connsiteX144" fmla="*/ 12084 w 383598"/>
                  <a:gd name="connsiteY144" fmla="*/ 114906 h 361033"/>
                  <a:gd name="connsiteX145" fmla="*/ 7796 w 383598"/>
                  <a:gd name="connsiteY145" fmla="*/ 127993 h 361033"/>
                  <a:gd name="connsiteX146" fmla="*/ 6894 w 383598"/>
                  <a:gd name="connsiteY146" fmla="*/ 146045 h 361033"/>
                  <a:gd name="connsiteX147" fmla="*/ 13889 w 383598"/>
                  <a:gd name="connsiteY147" fmla="*/ 151009 h 361033"/>
                  <a:gd name="connsiteX148" fmla="*/ 32843 w 383598"/>
                  <a:gd name="connsiteY148" fmla="*/ 176733 h 361033"/>
                  <a:gd name="connsiteX149" fmla="*/ 45028 w 383598"/>
                  <a:gd name="connsiteY149" fmla="*/ 210128 h 361033"/>
                  <a:gd name="connsiteX150" fmla="*/ 53377 w 383598"/>
                  <a:gd name="connsiteY150" fmla="*/ 227954 h 361033"/>
                  <a:gd name="connsiteX151" fmla="*/ 68044 w 383598"/>
                  <a:gd name="connsiteY151" fmla="*/ 239913 h 361033"/>
                  <a:gd name="connsiteX152" fmla="*/ 69623 w 383598"/>
                  <a:gd name="connsiteY152" fmla="*/ 239237 h 361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383598" h="361033">
                    <a:moveTo>
                      <a:pt x="211780" y="383424"/>
                    </a:moveTo>
                    <a:cubicBezTo>
                      <a:pt x="210652" y="383424"/>
                      <a:pt x="209524" y="383424"/>
                      <a:pt x="208396" y="383199"/>
                    </a:cubicBezTo>
                    <a:cubicBezTo>
                      <a:pt x="198919" y="381394"/>
                      <a:pt x="191021" y="378009"/>
                      <a:pt x="183123" y="372593"/>
                    </a:cubicBezTo>
                    <a:cubicBezTo>
                      <a:pt x="175677" y="367404"/>
                      <a:pt x="167328" y="350706"/>
                      <a:pt x="166426" y="342131"/>
                    </a:cubicBezTo>
                    <a:cubicBezTo>
                      <a:pt x="165974" y="337167"/>
                      <a:pt x="158979" y="333331"/>
                      <a:pt x="151082" y="328818"/>
                    </a:cubicBezTo>
                    <a:cubicBezTo>
                      <a:pt x="147471" y="326787"/>
                      <a:pt x="143635" y="324531"/>
                      <a:pt x="139799" y="322049"/>
                    </a:cubicBezTo>
                    <a:cubicBezTo>
                      <a:pt x="137092" y="320244"/>
                      <a:pt x="134158" y="318213"/>
                      <a:pt x="130999" y="315956"/>
                    </a:cubicBezTo>
                    <a:cubicBezTo>
                      <a:pt x="120394" y="308736"/>
                      <a:pt x="108435" y="300612"/>
                      <a:pt x="100988" y="294520"/>
                    </a:cubicBezTo>
                    <a:cubicBezTo>
                      <a:pt x="93768" y="288653"/>
                      <a:pt x="95347" y="282109"/>
                      <a:pt x="96927" y="275791"/>
                    </a:cubicBezTo>
                    <a:cubicBezTo>
                      <a:pt x="97604" y="272858"/>
                      <a:pt x="98506" y="269924"/>
                      <a:pt x="98506" y="266765"/>
                    </a:cubicBezTo>
                    <a:cubicBezTo>
                      <a:pt x="98506" y="257965"/>
                      <a:pt x="75490" y="244201"/>
                      <a:pt x="70977" y="243298"/>
                    </a:cubicBezTo>
                    <a:cubicBezTo>
                      <a:pt x="70300" y="243073"/>
                      <a:pt x="69172" y="243298"/>
                      <a:pt x="68044" y="243298"/>
                    </a:cubicBezTo>
                    <a:cubicBezTo>
                      <a:pt x="63080" y="243524"/>
                      <a:pt x="55408" y="243750"/>
                      <a:pt x="49767" y="229082"/>
                    </a:cubicBezTo>
                    <a:cubicBezTo>
                      <a:pt x="47510" y="223441"/>
                      <a:pt x="44577" y="217349"/>
                      <a:pt x="41643" y="211708"/>
                    </a:cubicBezTo>
                    <a:cubicBezTo>
                      <a:pt x="35777" y="200200"/>
                      <a:pt x="29684" y="188466"/>
                      <a:pt x="29007" y="176958"/>
                    </a:cubicBezTo>
                    <a:cubicBezTo>
                      <a:pt x="28330" y="164999"/>
                      <a:pt x="19981" y="159583"/>
                      <a:pt x="11632" y="154168"/>
                    </a:cubicBezTo>
                    <a:cubicBezTo>
                      <a:pt x="8925" y="152588"/>
                      <a:pt x="6443" y="150783"/>
                      <a:pt x="4186" y="148978"/>
                    </a:cubicBezTo>
                    <a:cubicBezTo>
                      <a:pt x="-3035" y="143111"/>
                      <a:pt x="576" y="134537"/>
                      <a:pt x="3960" y="126414"/>
                    </a:cubicBezTo>
                    <a:cubicBezTo>
                      <a:pt x="5766" y="122352"/>
                      <a:pt x="7571" y="118290"/>
                      <a:pt x="8022" y="114229"/>
                    </a:cubicBezTo>
                    <a:cubicBezTo>
                      <a:pt x="9150" y="107008"/>
                      <a:pt x="13212" y="103398"/>
                      <a:pt x="16145" y="100690"/>
                    </a:cubicBezTo>
                    <a:cubicBezTo>
                      <a:pt x="18853" y="98208"/>
                      <a:pt x="19304" y="97531"/>
                      <a:pt x="18627" y="96403"/>
                    </a:cubicBezTo>
                    <a:cubicBezTo>
                      <a:pt x="17725" y="94597"/>
                      <a:pt x="16145" y="90987"/>
                      <a:pt x="15017" y="87828"/>
                    </a:cubicBezTo>
                    <a:lnTo>
                      <a:pt x="14566" y="86700"/>
                    </a:lnTo>
                    <a:lnTo>
                      <a:pt x="15468" y="85797"/>
                    </a:lnTo>
                    <a:cubicBezTo>
                      <a:pt x="17274" y="84443"/>
                      <a:pt x="18853" y="82864"/>
                      <a:pt x="20433" y="81284"/>
                    </a:cubicBezTo>
                    <a:cubicBezTo>
                      <a:pt x="21561" y="80156"/>
                      <a:pt x="22689" y="79253"/>
                      <a:pt x="23592" y="78125"/>
                    </a:cubicBezTo>
                    <a:cubicBezTo>
                      <a:pt x="29007" y="73161"/>
                      <a:pt x="32392" y="60976"/>
                      <a:pt x="28782" y="50596"/>
                    </a:cubicBezTo>
                    <a:cubicBezTo>
                      <a:pt x="27879" y="47889"/>
                      <a:pt x="26299" y="45632"/>
                      <a:pt x="25171" y="44053"/>
                    </a:cubicBezTo>
                    <a:cubicBezTo>
                      <a:pt x="23592" y="41796"/>
                      <a:pt x="22238" y="39765"/>
                      <a:pt x="22915" y="37509"/>
                    </a:cubicBezTo>
                    <a:cubicBezTo>
                      <a:pt x="23817" y="35027"/>
                      <a:pt x="26751" y="32996"/>
                      <a:pt x="34648" y="30063"/>
                    </a:cubicBezTo>
                    <a:cubicBezTo>
                      <a:pt x="52474" y="23293"/>
                      <a:pt x="53151" y="22842"/>
                      <a:pt x="60823" y="15396"/>
                    </a:cubicBezTo>
                    <a:cubicBezTo>
                      <a:pt x="69623" y="7272"/>
                      <a:pt x="76393" y="2308"/>
                      <a:pt x="96024" y="1631"/>
                    </a:cubicBezTo>
                    <a:cubicBezTo>
                      <a:pt x="101214" y="1406"/>
                      <a:pt x="105952" y="954"/>
                      <a:pt x="110014" y="729"/>
                    </a:cubicBezTo>
                    <a:cubicBezTo>
                      <a:pt x="121296" y="-400"/>
                      <a:pt x="129194" y="-1077"/>
                      <a:pt x="136415" y="5467"/>
                    </a:cubicBezTo>
                    <a:lnTo>
                      <a:pt x="137092" y="5918"/>
                    </a:lnTo>
                    <a:cubicBezTo>
                      <a:pt x="164395" y="31416"/>
                      <a:pt x="184252" y="43376"/>
                      <a:pt x="196437" y="41796"/>
                    </a:cubicBezTo>
                    <a:cubicBezTo>
                      <a:pt x="198919" y="41571"/>
                      <a:pt x="201401" y="41119"/>
                      <a:pt x="203883" y="40668"/>
                    </a:cubicBezTo>
                    <a:cubicBezTo>
                      <a:pt x="222160" y="37960"/>
                      <a:pt x="241115" y="35478"/>
                      <a:pt x="250140" y="45407"/>
                    </a:cubicBezTo>
                    <a:cubicBezTo>
                      <a:pt x="254653" y="50371"/>
                      <a:pt x="255556" y="56915"/>
                      <a:pt x="256458" y="62781"/>
                    </a:cubicBezTo>
                    <a:cubicBezTo>
                      <a:pt x="257587" y="70905"/>
                      <a:pt x="258489" y="75192"/>
                      <a:pt x="264582" y="75417"/>
                    </a:cubicBezTo>
                    <a:cubicBezTo>
                      <a:pt x="268869" y="75643"/>
                      <a:pt x="274961" y="74741"/>
                      <a:pt x="281731" y="73838"/>
                    </a:cubicBezTo>
                    <a:cubicBezTo>
                      <a:pt x="294367" y="72033"/>
                      <a:pt x="306101" y="70453"/>
                      <a:pt x="310162" y="74741"/>
                    </a:cubicBezTo>
                    <a:cubicBezTo>
                      <a:pt x="311065" y="75643"/>
                      <a:pt x="311967" y="77448"/>
                      <a:pt x="311516" y="80156"/>
                    </a:cubicBezTo>
                    <a:cubicBezTo>
                      <a:pt x="310839" y="83089"/>
                      <a:pt x="311290" y="85120"/>
                      <a:pt x="312419" y="86700"/>
                    </a:cubicBezTo>
                    <a:cubicBezTo>
                      <a:pt x="313998" y="88956"/>
                      <a:pt x="317609" y="90084"/>
                      <a:pt x="323250" y="90310"/>
                    </a:cubicBezTo>
                    <a:lnTo>
                      <a:pt x="324378" y="90310"/>
                    </a:lnTo>
                    <a:lnTo>
                      <a:pt x="324829" y="91213"/>
                    </a:lnTo>
                    <a:cubicBezTo>
                      <a:pt x="327086" y="95951"/>
                      <a:pt x="327311" y="100013"/>
                      <a:pt x="327311" y="104075"/>
                    </a:cubicBezTo>
                    <a:cubicBezTo>
                      <a:pt x="327311" y="107459"/>
                      <a:pt x="327311" y="110844"/>
                      <a:pt x="328891" y="114454"/>
                    </a:cubicBezTo>
                    <a:cubicBezTo>
                      <a:pt x="331599" y="121901"/>
                      <a:pt x="339271" y="131603"/>
                      <a:pt x="345363" y="139275"/>
                    </a:cubicBezTo>
                    <a:lnTo>
                      <a:pt x="347845" y="142434"/>
                    </a:lnTo>
                    <a:cubicBezTo>
                      <a:pt x="354840" y="151460"/>
                      <a:pt x="358676" y="167481"/>
                      <a:pt x="358676" y="177861"/>
                    </a:cubicBezTo>
                    <a:cubicBezTo>
                      <a:pt x="358676" y="181922"/>
                      <a:pt x="357548" y="185307"/>
                      <a:pt x="356871" y="188241"/>
                    </a:cubicBezTo>
                    <a:cubicBezTo>
                      <a:pt x="355517" y="192753"/>
                      <a:pt x="354615" y="195461"/>
                      <a:pt x="358225" y="199297"/>
                    </a:cubicBezTo>
                    <a:cubicBezTo>
                      <a:pt x="366122" y="207195"/>
                      <a:pt x="367251" y="211933"/>
                      <a:pt x="364317" y="223216"/>
                    </a:cubicBezTo>
                    <a:cubicBezTo>
                      <a:pt x="361610" y="233144"/>
                      <a:pt x="366122" y="241042"/>
                      <a:pt x="370635" y="247585"/>
                    </a:cubicBezTo>
                    <a:lnTo>
                      <a:pt x="370635" y="247585"/>
                    </a:lnTo>
                    <a:cubicBezTo>
                      <a:pt x="373569" y="251873"/>
                      <a:pt x="378307" y="252098"/>
                      <a:pt x="380789" y="252098"/>
                    </a:cubicBezTo>
                    <a:lnTo>
                      <a:pt x="382369" y="252098"/>
                    </a:lnTo>
                    <a:lnTo>
                      <a:pt x="382595" y="253678"/>
                    </a:lnTo>
                    <a:cubicBezTo>
                      <a:pt x="383272" y="257514"/>
                      <a:pt x="385528" y="261801"/>
                      <a:pt x="387333" y="265637"/>
                    </a:cubicBezTo>
                    <a:cubicBezTo>
                      <a:pt x="389590" y="269924"/>
                      <a:pt x="391395" y="273535"/>
                      <a:pt x="390944" y="276017"/>
                    </a:cubicBezTo>
                    <a:cubicBezTo>
                      <a:pt x="389590" y="283463"/>
                      <a:pt x="369733" y="287976"/>
                      <a:pt x="362512" y="287074"/>
                    </a:cubicBezTo>
                    <a:cubicBezTo>
                      <a:pt x="357548" y="286397"/>
                      <a:pt x="355968" y="282786"/>
                      <a:pt x="354615" y="279402"/>
                    </a:cubicBezTo>
                    <a:cubicBezTo>
                      <a:pt x="353261" y="276243"/>
                      <a:pt x="351681" y="272632"/>
                      <a:pt x="347619" y="269924"/>
                    </a:cubicBezTo>
                    <a:cubicBezTo>
                      <a:pt x="345363" y="268345"/>
                      <a:pt x="343784" y="267217"/>
                      <a:pt x="343784" y="265863"/>
                    </a:cubicBezTo>
                    <a:cubicBezTo>
                      <a:pt x="342204" y="264960"/>
                      <a:pt x="340399" y="264058"/>
                      <a:pt x="339496" y="263606"/>
                    </a:cubicBezTo>
                    <a:cubicBezTo>
                      <a:pt x="329568" y="258191"/>
                      <a:pt x="325957" y="260447"/>
                      <a:pt x="321445" y="263155"/>
                    </a:cubicBezTo>
                    <a:cubicBezTo>
                      <a:pt x="319188" y="264509"/>
                      <a:pt x="316706" y="265863"/>
                      <a:pt x="313547" y="266540"/>
                    </a:cubicBezTo>
                    <a:cubicBezTo>
                      <a:pt x="310388" y="267217"/>
                      <a:pt x="307229" y="268571"/>
                      <a:pt x="304070" y="269699"/>
                    </a:cubicBezTo>
                    <a:cubicBezTo>
                      <a:pt x="298203" y="272181"/>
                      <a:pt x="292111" y="274663"/>
                      <a:pt x="283987" y="273986"/>
                    </a:cubicBezTo>
                    <a:cubicBezTo>
                      <a:pt x="277669" y="273535"/>
                      <a:pt x="274736" y="274889"/>
                      <a:pt x="271577" y="276243"/>
                    </a:cubicBezTo>
                    <a:cubicBezTo>
                      <a:pt x="268869" y="277371"/>
                      <a:pt x="266161" y="278725"/>
                      <a:pt x="261423" y="278725"/>
                    </a:cubicBezTo>
                    <a:cubicBezTo>
                      <a:pt x="258264" y="278725"/>
                      <a:pt x="256910" y="284591"/>
                      <a:pt x="255556" y="290910"/>
                    </a:cubicBezTo>
                    <a:cubicBezTo>
                      <a:pt x="253751" y="299033"/>
                      <a:pt x="251494" y="308510"/>
                      <a:pt x="244499" y="312346"/>
                    </a:cubicBezTo>
                    <a:cubicBezTo>
                      <a:pt x="237279" y="316182"/>
                      <a:pt x="239761" y="328141"/>
                      <a:pt x="242243" y="339875"/>
                    </a:cubicBezTo>
                    <a:cubicBezTo>
                      <a:pt x="243371" y="345742"/>
                      <a:pt x="244499" y="351157"/>
                      <a:pt x="244499" y="355896"/>
                    </a:cubicBezTo>
                    <a:cubicBezTo>
                      <a:pt x="244499" y="370563"/>
                      <a:pt x="241340" y="373496"/>
                      <a:pt x="230735" y="375527"/>
                    </a:cubicBezTo>
                    <a:cubicBezTo>
                      <a:pt x="227124" y="376204"/>
                      <a:pt x="224868" y="377783"/>
                      <a:pt x="222386" y="379363"/>
                    </a:cubicBezTo>
                    <a:cubicBezTo>
                      <a:pt x="219452" y="381619"/>
                      <a:pt x="216519" y="383424"/>
                      <a:pt x="211780" y="383424"/>
                    </a:cubicBezTo>
                    <a:close/>
                    <a:moveTo>
                      <a:pt x="69623" y="239237"/>
                    </a:moveTo>
                    <a:cubicBezTo>
                      <a:pt x="70300" y="239237"/>
                      <a:pt x="70977" y="239237"/>
                      <a:pt x="71654" y="239462"/>
                    </a:cubicBezTo>
                    <a:cubicBezTo>
                      <a:pt x="76393" y="240365"/>
                      <a:pt x="102342" y="254806"/>
                      <a:pt x="102342" y="266765"/>
                    </a:cubicBezTo>
                    <a:cubicBezTo>
                      <a:pt x="102342" y="270376"/>
                      <a:pt x="101440" y="273760"/>
                      <a:pt x="100763" y="276694"/>
                    </a:cubicBezTo>
                    <a:cubicBezTo>
                      <a:pt x="99183" y="282786"/>
                      <a:pt x="98055" y="287299"/>
                      <a:pt x="103470" y="291586"/>
                    </a:cubicBezTo>
                    <a:cubicBezTo>
                      <a:pt x="110691" y="297453"/>
                      <a:pt x="122650" y="305577"/>
                      <a:pt x="133256" y="312797"/>
                    </a:cubicBezTo>
                    <a:cubicBezTo>
                      <a:pt x="136415" y="314828"/>
                      <a:pt x="139348" y="316859"/>
                      <a:pt x="142056" y="318890"/>
                    </a:cubicBezTo>
                    <a:cubicBezTo>
                      <a:pt x="145666" y="321372"/>
                      <a:pt x="149502" y="323628"/>
                      <a:pt x="153113" y="325659"/>
                    </a:cubicBezTo>
                    <a:cubicBezTo>
                      <a:pt x="161913" y="330623"/>
                      <a:pt x="169359" y="335136"/>
                      <a:pt x="170262" y="341906"/>
                    </a:cubicBezTo>
                    <a:cubicBezTo>
                      <a:pt x="171164" y="350254"/>
                      <a:pt x="179513" y="365598"/>
                      <a:pt x="185380" y="369660"/>
                    </a:cubicBezTo>
                    <a:cubicBezTo>
                      <a:pt x="192826" y="374850"/>
                      <a:pt x="200047" y="378009"/>
                      <a:pt x="209073" y="379588"/>
                    </a:cubicBezTo>
                    <a:cubicBezTo>
                      <a:pt x="214488" y="380491"/>
                      <a:pt x="216970" y="378686"/>
                      <a:pt x="220355" y="376429"/>
                    </a:cubicBezTo>
                    <a:cubicBezTo>
                      <a:pt x="222837" y="374850"/>
                      <a:pt x="225771" y="372819"/>
                      <a:pt x="230058" y="371917"/>
                    </a:cubicBezTo>
                    <a:cubicBezTo>
                      <a:pt x="238632" y="370111"/>
                      <a:pt x="240663" y="369209"/>
                      <a:pt x="240663" y="355896"/>
                    </a:cubicBezTo>
                    <a:cubicBezTo>
                      <a:pt x="240663" y="351608"/>
                      <a:pt x="239535" y="346418"/>
                      <a:pt x="238407" y="340777"/>
                    </a:cubicBezTo>
                    <a:cubicBezTo>
                      <a:pt x="235925" y="328367"/>
                      <a:pt x="232991" y="314377"/>
                      <a:pt x="242468" y="309187"/>
                    </a:cubicBezTo>
                    <a:cubicBezTo>
                      <a:pt x="248110" y="306254"/>
                      <a:pt x="249915" y="297679"/>
                      <a:pt x="251720" y="290233"/>
                    </a:cubicBezTo>
                    <a:cubicBezTo>
                      <a:pt x="253525" y="282335"/>
                      <a:pt x="255105" y="275114"/>
                      <a:pt x="261197" y="275114"/>
                    </a:cubicBezTo>
                    <a:cubicBezTo>
                      <a:pt x="265033" y="275114"/>
                      <a:pt x="267290" y="274212"/>
                      <a:pt x="269772" y="273083"/>
                    </a:cubicBezTo>
                    <a:cubicBezTo>
                      <a:pt x="272931" y="271730"/>
                      <a:pt x="276767" y="269924"/>
                      <a:pt x="283987" y="270601"/>
                    </a:cubicBezTo>
                    <a:cubicBezTo>
                      <a:pt x="291208" y="271053"/>
                      <a:pt x="296849" y="268796"/>
                      <a:pt x="302265" y="266540"/>
                    </a:cubicBezTo>
                    <a:cubicBezTo>
                      <a:pt x="305424" y="265186"/>
                      <a:pt x="308808" y="263832"/>
                      <a:pt x="312419" y="263155"/>
                    </a:cubicBezTo>
                    <a:cubicBezTo>
                      <a:pt x="315126" y="262704"/>
                      <a:pt x="316932" y="261350"/>
                      <a:pt x="319188" y="260222"/>
                    </a:cubicBezTo>
                    <a:cubicBezTo>
                      <a:pt x="324152" y="257288"/>
                      <a:pt x="329116" y="254355"/>
                      <a:pt x="341076" y="260447"/>
                    </a:cubicBezTo>
                    <a:cubicBezTo>
                      <a:pt x="349650" y="264960"/>
                      <a:pt x="349876" y="265186"/>
                      <a:pt x="349199" y="266765"/>
                    </a:cubicBezTo>
                    <a:cubicBezTo>
                      <a:pt x="349425" y="266991"/>
                      <a:pt x="349650" y="266991"/>
                      <a:pt x="349650" y="267217"/>
                    </a:cubicBezTo>
                    <a:cubicBezTo>
                      <a:pt x="354615" y="270827"/>
                      <a:pt x="356420" y="274889"/>
                      <a:pt x="357999" y="278499"/>
                    </a:cubicBezTo>
                    <a:cubicBezTo>
                      <a:pt x="359579" y="282109"/>
                      <a:pt x="360256" y="283689"/>
                      <a:pt x="362963" y="283914"/>
                    </a:cubicBezTo>
                    <a:cubicBezTo>
                      <a:pt x="370635" y="284817"/>
                      <a:pt x="386656" y="279853"/>
                      <a:pt x="387108" y="276017"/>
                    </a:cubicBezTo>
                    <a:cubicBezTo>
                      <a:pt x="387333" y="274663"/>
                      <a:pt x="385528" y="271053"/>
                      <a:pt x="383949" y="267894"/>
                    </a:cubicBezTo>
                    <a:cubicBezTo>
                      <a:pt x="382143" y="264509"/>
                      <a:pt x="380113" y="260447"/>
                      <a:pt x="379210" y="256611"/>
                    </a:cubicBezTo>
                    <a:cubicBezTo>
                      <a:pt x="375825" y="256611"/>
                      <a:pt x="370861" y="255483"/>
                      <a:pt x="367251" y="250519"/>
                    </a:cubicBezTo>
                    <a:cubicBezTo>
                      <a:pt x="362512" y="243750"/>
                      <a:pt x="357322" y="234724"/>
                      <a:pt x="360481" y="222990"/>
                    </a:cubicBezTo>
                    <a:cubicBezTo>
                      <a:pt x="363189" y="212610"/>
                      <a:pt x="361835" y="209226"/>
                      <a:pt x="355291" y="202682"/>
                    </a:cubicBezTo>
                    <a:cubicBezTo>
                      <a:pt x="350102" y="197492"/>
                      <a:pt x="351456" y="192753"/>
                      <a:pt x="353035" y="188015"/>
                    </a:cubicBezTo>
                    <a:cubicBezTo>
                      <a:pt x="353938" y="185307"/>
                      <a:pt x="354840" y="182374"/>
                      <a:pt x="354840" y="178763"/>
                    </a:cubicBezTo>
                    <a:cubicBezTo>
                      <a:pt x="354840" y="168835"/>
                      <a:pt x="351230" y="153717"/>
                      <a:pt x="344912" y="145593"/>
                    </a:cubicBezTo>
                    <a:lnTo>
                      <a:pt x="342430" y="142434"/>
                    </a:lnTo>
                    <a:cubicBezTo>
                      <a:pt x="336112" y="134537"/>
                      <a:pt x="328440" y="124608"/>
                      <a:pt x="325506" y="116485"/>
                    </a:cubicBezTo>
                    <a:cubicBezTo>
                      <a:pt x="323927" y="112198"/>
                      <a:pt x="323927" y="108362"/>
                      <a:pt x="323701" y="104751"/>
                    </a:cubicBezTo>
                    <a:cubicBezTo>
                      <a:pt x="323701" y="101367"/>
                      <a:pt x="323701" y="97982"/>
                      <a:pt x="322122" y="94597"/>
                    </a:cubicBezTo>
                    <a:cubicBezTo>
                      <a:pt x="317834" y="94372"/>
                      <a:pt x="312644" y="93244"/>
                      <a:pt x="309711" y="89633"/>
                    </a:cubicBezTo>
                    <a:cubicBezTo>
                      <a:pt x="307906" y="87151"/>
                      <a:pt x="307229" y="83992"/>
                      <a:pt x="308131" y="79930"/>
                    </a:cubicBezTo>
                    <a:cubicBezTo>
                      <a:pt x="308357" y="78802"/>
                      <a:pt x="308131" y="78125"/>
                      <a:pt x="307906" y="77900"/>
                    </a:cubicBezTo>
                    <a:cubicBezTo>
                      <a:pt x="305198" y="74966"/>
                      <a:pt x="292111" y="76771"/>
                      <a:pt x="282633" y="78125"/>
                    </a:cubicBezTo>
                    <a:cubicBezTo>
                      <a:pt x="275864" y="79028"/>
                      <a:pt x="269320" y="79930"/>
                      <a:pt x="264807" y="79705"/>
                    </a:cubicBezTo>
                    <a:cubicBezTo>
                      <a:pt x="255330" y="79253"/>
                      <a:pt x="254202" y="71356"/>
                      <a:pt x="253074" y="63910"/>
                    </a:cubicBezTo>
                    <a:cubicBezTo>
                      <a:pt x="252171" y="58268"/>
                      <a:pt x="251494" y="52627"/>
                      <a:pt x="247658" y="48340"/>
                    </a:cubicBezTo>
                    <a:cubicBezTo>
                      <a:pt x="240212" y="39765"/>
                      <a:pt x="221258" y="42473"/>
                      <a:pt x="204786" y="44730"/>
                    </a:cubicBezTo>
                    <a:cubicBezTo>
                      <a:pt x="202303" y="45181"/>
                      <a:pt x="199821" y="45407"/>
                      <a:pt x="197339" y="45858"/>
                    </a:cubicBezTo>
                    <a:cubicBezTo>
                      <a:pt x="177482" y="48340"/>
                      <a:pt x="145441" y="18780"/>
                      <a:pt x="135061" y="8852"/>
                    </a:cubicBezTo>
                    <a:lnTo>
                      <a:pt x="134384" y="8401"/>
                    </a:lnTo>
                    <a:cubicBezTo>
                      <a:pt x="128517" y="2985"/>
                      <a:pt x="121973" y="3662"/>
                      <a:pt x="110917" y="4790"/>
                    </a:cubicBezTo>
                    <a:cubicBezTo>
                      <a:pt x="106855" y="5242"/>
                      <a:pt x="102117" y="5693"/>
                      <a:pt x="96701" y="5918"/>
                    </a:cubicBezTo>
                    <a:cubicBezTo>
                      <a:pt x="77972" y="6595"/>
                      <a:pt x="72106" y="11108"/>
                      <a:pt x="63982" y="18555"/>
                    </a:cubicBezTo>
                    <a:cubicBezTo>
                      <a:pt x="55408" y="26452"/>
                      <a:pt x="54505" y="27129"/>
                      <a:pt x="36454" y="33899"/>
                    </a:cubicBezTo>
                    <a:cubicBezTo>
                      <a:pt x="30361" y="36155"/>
                      <a:pt x="27202" y="37960"/>
                      <a:pt x="26976" y="39088"/>
                    </a:cubicBezTo>
                    <a:cubicBezTo>
                      <a:pt x="26751" y="39540"/>
                      <a:pt x="27653" y="41119"/>
                      <a:pt x="28556" y="42248"/>
                    </a:cubicBezTo>
                    <a:cubicBezTo>
                      <a:pt x="29910" y="44053"/>
                      <a:pt x="31489" y="46535"/>
                      <a:pt x="32617" y="49694"/>
                    </a:cubicBezTo>
                    <a:cubicBezTo>
                      <a:pt x="36454" y="60525"/>
                      <a:pt x="33746" y="74741"/>
                      <a:pt x="26525" y="81284"/>
                    </a:cubicBezTo>
                    <a:cubicBezTo>
                      <a:pt x="25397" y="82187"/>
                      <a:pt x="24494" y="83315"/>
                      <a:pt x="23366" y="84218"/>
                    </a:cubicBezTo>
                    <a:cubicBezTo>
                      <a:pt x="22012" y="85572"/>
                      <a:pt x="20658" y="86925"/>
                      <a:pt x="19304" y="88054"/>
                    </a:cubicBezTo>
                    <a:cubicBezTo>
                      <a:pt x="20207" y="90761"/>
                      <a:pt x="21561" y="93469"/>
                      <a:pt x="22238" y="94823"/>
                    </a:cubicBezTo>
                    <a:cubicBezTo>
                      <a:pt x="24269" y="98659"/>
                      <a:pt x="21335" y="101367"/>
                      <a:pt x="18853" y="103623"/>
                    </a:cubicBezTo>
                    <a:cubicBezTo>
                      <a:pt x="16145" y="106105"/>
                      <a:pt x="12986" y="109039"/>
                      <a:pt x="12084" y="114906"/>
                    </a:cubicBezTo>
                    <a:cubicBezTo>
                      <a:pt x="11407" y="119419"/>
                      <a:pt x="9602" y="123706"/>
                      <a:pt x="7796" y="127993"/>
                    </a:cubicBezTo>
                    <a:cubicBezTo>
                      <a:pt x="3960" y="136793"/>
                      <a:pt x="1930" y="142209"/>
                      <a:pt x="6894" y="146045"/>
                    </a:cubicBezTo>
                    <a:cubicBezTo>
                      <a:pt x="8925" y="147624"/>
                      <a:pt x="11407" y="149204"/>
                      <a:pt x="13889" y="151009"/>
                    </a:cubicBezTo>
                    <a:cubicBezTo>
                      <a:pt x="22463" y="156424"/>
                      <a:pt x="32166" y="162743"/>
                      <a:pt x="32843" y="176733"/>
                    </a:cubicBezTo>
                    <a:cubicBezTo>
                      <a:pt x="33520" y="187564"/>
                      <a:pt x="39387" y="199072"/>
                      <a:pt x="45028" y="210128"/>
                    </a:cubicBezTo>
                    <a:cubicBezTo>
                      <a:pt x="47961" y="215995"/>
                      <a:pt x="51120" y="222087"/>
                      <a:pt x="53377" y="227954"/>
                    </a:cubicBezTo>
                    <a:cubicBezTo>
                      <a:pt x="58116" y="240139"/>
                      <a:pt x="63305" y="239913"/>
                      <a:pt x="68044" y="239913"/>
                    </a:cubicBezTo>
                    <a:cubicBezTo>
                      <a:pt x="68495" y="239237"/>
                      <a:pt x="69172" y="239237"/>
                      <a:pt x="69623" y="239237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xmlns="" id="{2474BBB3-619F-4A0C-BF7E-B26A613B9A13}"/>
                  </a:ext>
                </a:extLst>
              </p:cNvPr>
              <p:cNvSpPr/>
              <p:nvPr/>
            </p:nvSpPr>
            <p:spPr>
              <a:xfrm>
                <a:off x="8710807" y="1150167"/>
                <a:ext cx="880020" cy="654374"/>
              </a:xfrm>
              <a:custGeom>
                <a:avLst/>
                <a:gdLst>
                  <a:gd name="connsiteX0" fmla="*/ 323440 w 880019"/>
                  <a:gd name="connsiteY0" fmla="*/ 658342 h 654373"/>
                  <a:gd name="connsiteX1" fmla="*/ 317348 w 880019"/>
                  <a:gd name="connsiteY1" fmla="*/ 656085 h 654373"/>
                  <a:gd name="connsiteX2" fmla="*/ 304035 w 880019"/>
                  <a:gd name="connsiteY2" fmla="*/ 652701 h 654373"/>
                  <a:gd name="connsiteX3" fmla="*/ 302907 w 880019"/>
                  <a:gd name="connsiteY3" fmla="*/ 652701 h 654373"/>
                  <a:gd name="connsiteX4" fmla="*/ 302455 w 880019"/>
                  <a:gd name="connsiteY4" fmla="*/ 651573 h 654373"/>
                  <a:gd name="connsiteX5" fmla="*/ 299522 w 880019"/>
                  <a:gd name="connsiteY5" fmla="*/ 647737 h 654373"/>
                  <a:gd name="connsiteX6" fmla="*/ 292527 w 880019"/>
                  <a:gd name="connsiteY6" fmla="*/ 642547 h 654373"/>
                  <a:gd name="connsiteX7" fmla="*/ 275829 w 880019"/>
                  <a:gd name="connsiteY7" fmla="*/ 631716 h 654373"/>
                  <a:gd name="connsiteX8" fmla="*/ 266126 w 880019"/>
                  <a:gd name="connsiteY8" fmla="*/ 631716 h 654373"/>
                  <a:gd name="connsiteX9" fmla="*/ 244690 w 880019"/>
                  <a:gd name="connsiteY9" fmla="*/ 630587 h 654373"/>
                  <a:gd name="connsiteX10" fmla="*/ 241080 w 880019"/>
                  <a:gd name="connsiteY10" fmla="*/ 629459 h 654373"/>
                  <a:gd name="connsiteX11" fmla="*/ 232505 w 880019"/>
                  <a:gd name="connsiteY11" fmla="*/ 624269 h 654373"/>
                  <a:gd name="connsiteX12" fmla="*/ 231377 w 880019"/>
                  <a:gd name="connsiteY12" fmla="*/ 622690 h 654373"/>
                  <a:gd name="connsiteX13" fmla="*/ 228443 w 880019"/>
                  <a:gd name="connsiteY13" fmla="*/ 611633 h 654373"/>
                  <a:gd name="connsiteX14" fmla="*/ 228669 w 880019"/>
                  <a:gd name="connsiteY14" fmla="*/ 590648 h 654373"/>
                  <a:gd name="connsiteX15" fmla="*/ 223479 w 880019"/>
                  <a:gd name="connsiteY15" fmla="*/ 589971 h 654373"/>
                  <a:gd name="connsiteX16" fmla="*/ 200689 w 880019"/>
                  <a:gd name="connsiteY16" fmla="*/ 586361 h 654373"/>
                  <a:gd name="connsiteX17" fmla="*/ 171355 w 880019"/>
                  <a:gd name="connsiteY17" fmla="*/ 572145 h 654373"/>
                  <a:gd name="connsiteX18" fmla="*/ 167745 w 880019"/>
                  <a:gd name="connsiteY18" fmla="*/ 569212 h 654373"/>
                  <a:gd name="connsiteX19" fmla="*/ 166165 w 880019"/>
                  <a:gd name="connsiteY19" fmla="*/ 568084 h 654373"/>
                  <a:gd name="connsiteX20" fmla="*/ 147662 w 880019"/>
                  <a:gd name="connsiteY20" fmla="*/ 557704 h 654373"/>
                  <a:gd name="connsiteX21" fmla="*/ 128256 w 880019"/>
                  <a:gd name="connsiteY21" fmla="*/ 549581 h 654373"/>
                  <a:gd name="connsiteX22" fmla="*/ 111559 w 880019"/>
                  <a:gd name="connsiteY22" fmla="*/ 522052 h 654373"/>
                  <a:gd name="connsiteX23" fmla="*/ 109979 w 880019"/>
                  <a:gd name="connsiteY23" fmla="*/ 514831 h 654373"/>
                  <a:gd name="connsiteX24" fmla="*/ 107948 w 880019"/>
                  <a:gd name="connsiteY24" fmla="*/ 471281 h 654373"/>
                  <a:gd name="connsiteX25" fmla="*/ 109753 w 880019"/>
                  <a:gd name="connsiteY25" fmla="*/ 417352 h 654373"/>
                  <a:gd name="connsiteX26" fmla="*/ 109077 w 880019"/>
                  <a:gd name="connsiteY26" fmla="*/ 410583 h 654373"/>
                  <a:gd name="connsiteX27" fmla="*/ 105918 w 880019"/>
                  <a:gd name="connsiteY27" fmla="*/ 386213 h 654373"/>
                  <a:gd name="connsiteX28" fmla="*/ 102758 w 880019"/>
                  <a:gd name="connsiteY28" fmla="*/ 376736 h 654373"/>
                  <a:gd name="connsiteX29" fmla="*/ 101179 w 880019"/>
                  <a:gd name="connsiteY29" fmla="*/ 350335 h 654373"/>
                  <a:gd name="connsiteX30" fmla="*/ 121036 w 880019"/>
                  <a:gd name="connsiteY30" fmla="*/ 334765 h 654373"/>
                  <a:gd name="connsiteX31" fmla="*/ 125549 w 880019"/>
                  <a:gd name="connsiteY31" fmla="*/ 332283 h 654373"/>
                  <a:gd name="connsiteX32" fmla="*/ 124872 w 880019"/>
                  <a:gd name="connsiteY32" fmla="*/ 325288 h 654373"/>
                  <a:gd name="connsiteX33" fmla="*/ 124646 w 880019"/>
                  <a:gd name="connsiteY33" fmla="*/ 312426 h 654373"/>
                  <a:gd name="connsiteX34" fmla="*/ 133221 w 880019"/>
                  <a:gd name="connsiteY34" fmla="*/ 308365 h 654373"/>
                  <a:gd name="connsiteX35" fmla="*/ 155334 w 880019"/>
                  <a:gd name="connsiteY35" fmla="*/ 292344 h 654373"/>
                  <a:gd name="connsiteX36" fmla="*/ 163457 w 880019"/>
                  <a:gd name="connsiteY36" fmla="*/ 283092 h 654373"/>
                  <a:gd name="connsiteX37" fmla="*/ 165939 w 880019"/>
                  <a:gd name="connsiteY37" fmla="*/ 275872 h 654373"/>
                  <a:gd name="connsiteX38" fmla="*/ 149693 w 880019"/>
                  <a:gd name="connsiteY38" fmla="*/ 244733 h 654373"/>
                  <a:gd name="connsiteX39" fmla="*/ 135928 w 880019"/>
                  <a:gd name="connsiteY39" fmla="*/ 227584 h 654373"/>
                  <a:gd name="connsiteX40" fmla="*/ 126903 w 880019"/>
                  <a:gd name="connsiteY40" fmla="*/ 215173 h 654373"/>
                  <a:gd name="connsiteX41" fmla="*/ 109302 w 880019"/>
                  <a:gd name="connsiteY41" fmla="*/ 206598 h 654373"/>
                  <a:gd name="connsiteX42" fmla="*/ 92604 w 880019"/>
                  <a:gd name="connsiteY42" fmla="*/ 198926 h 654373"/>
                  <a:gd name="connsiteX43" fmla="*/ 77260 w 880019"/>
                  <a:gd name="connsiteY43" fmla="*/ 180875 h 654373"/>
                  <a:gd name="connsiteX44" fmla="*/ 49732 w 880019"/>
                  <a:gd name="connsiteY44" fmla="*/ 153346 h 654373"/>
                  <a:gd name="connsiteX45" fmla="*/ 42511 w 880019"/>
                  <a:gd name="connsiteY45" fmla="*/ 153120 h 654373"/>
                  <a:gd name="connsiteX46" fmla="*/ 10921 w 880019"/>
                  <a:gd name="connsiteY46" fmla="*/ 147254 h 654373"/>
                  <a:gd name="connsiteX47" fmla="*/ 89 w 880019"/>
                  <a:gd name="connsiteY47" fmla="*/ 111827 h 654373"/>
                  <a:gd name="connsiteX48" fmla="*/ 7987 w 880019"/>
                  <a:gd name="connsiteY48" fmla="*/ 95129 h 654373"/>
                  <a:gd name="connsiteX49" fmla="*/ 27393 w 880019"/>
                  <a:gd name="connsiteY49" fmla="*/ 84073 h 654373"/>
                  <a:gd name="connsiteX50" fmla="*/ 46798 w 880019"/>
                  <a:gd name="connsiteY50" fmla="*/ 72790 h 654373"/>
                  <a:gd name="connsiteX51" fmla="*/ 57404 w 880019"/>
                  <a:gd name="connsiteY51" fmla="*/ 54513 h 654373"/>
                  <a:gd name="connsiteX52" fmla="*/ 63722 w 880019"/>
                  <a:gd name="connsiteY52" fmla="*/ 41877 h 654373"/>
                  <a:gd name="connsiteX53" fmla="*/ 92830 w 880019"/>
                  <a:gd name="connsiteY53" fmla="*/ 29918 h 654373"/>
                  <a:gd name="connsiteX54" fmla="*/ 119005 w 880019"/>
                  <a:gd name="connsiteY54" fmla="*/ 31723 h 654373"/>
                  <a:gd name="connsiteX55" fmla="*/ 150144 w 880019"/>
                  <a:gd name="connsiteY55" fmla="*/ 32625 h 654373"/>
                  <a:gd name="connsiteX56" fmla="*/ 172934 w 880019"/>
                  <a:gd name="connsiteY56" fmla="*/ 23148 h 654373"/>
                  <a:gd name="connsiteX57" fmla="*/ 181735 w 880019"/>
                  <a:gd name="connsiteY57" fmla="*/ 18410 h 654373"/>
                  <a:gd name="connsiteX58" fmla="*/ 183314 w 880019"/>
                  <a:gd name="connsiteY58" fmla="*/ 17733 h 654373"/>
                  <a:gd name="connsiteX59" fmla="*/ 223479 w 880019"/>
                  <a:gd name="connsiteY59" fmla="*/ 3968 h 654373"/>
                  <a:gd name="connsiteX60" fmla="*/ 241531 w 880019"/>
                  <a:gd name="connsiteY60" fmla="*/ 2163 h 654373"/>
                  <a:gd name="connsiteX61" fmla="*/ 255972 w 880019"/>
                  <a:gd name="connsiteY61" fmla="*/ 132 h 654373"/>
                  <a:gd name="connsiteX62" fmla="*/ 271993 w 880019"/>
                  <a:gd name="connsiteY62" fmla="*/ 3743 h 654373"/>
                  <a:gd name="connsiteX63" fmla="*/ 288917 w 880019"/>
                  <a:gd name="connsiteY63" fmla="*/ 8932 h 654373"/>
                  <a:gd name="connsiteX64" fmla="*/ 309450 w 880019"/>
                  <a:gd name="connsiteY64" fmla="*/ 6676 h 654373"/>
                  <a:gd name="connsiteX65" fmla="*/ 330887 w 880019"/>
                  <a:gd name="connsiteY65" fmla="*/ 8707 h 654373"/>
                  <a:gd name="connsiteX66" fmla="*/ 343523 w 880019"/>
                  <a:gd name="connsiteY66" fmla="*/ 23374 h 654373"/>
                  <a:gd name="connsiteX67" fmla="*/ 378949 w 880019"/>
                  <a:gd name="connsiteY67" fmla="*/ 59928 h 654373"/>
                  <a:gd name="connsiteX68" fmla="*/ 401514 w 880019"/>
                  <a:gd name="connsiteY68" fmla="*/ 72790 h 654373"/>
                  <a:gd name="connsiteX69" fmla="*/ 425207 w 880019"/>
                  <a:gd name="connsiteY69" fmla="*/ 86329 h 654373"/>
                  <a:gd name="connsiteX70" fmla="*/ 447997 w 880019"/>
                  <a:gd name="connsiteY70" fmla="*/ 106412 h 654373"/>
                  <a:gd name="connsiteX71" fmla="*/ 460859 w 880019"/>
                  <a:gd name="connsiteY71" fmla="*/ 118822 h 654373"/>
                  <a:gd name="connsiteX72" fmla="*/ 465597 w 880019"/>
                  <a:gd name="connsiteY72" fmla="*/ 122207 h 654373"/>
                  <a:gd name="connsiteX73" fmla="*/ 489742 w 880019"/>
                  <a:gd name="connsiteY73" fmla="*/ 148156 h 654373"/>
                  <a:gd name="connsiteX74" fmla="*/ 491998 w 880019"/>
                  <a:gd name="connsiteY74" fmla="*/ 156731 h 654373"/>
                  <a:gd name="connsiteX75" fmla="*/ 498542 w 880019"/>
                  <a:gd name="connsiteY75" fmla="*/ 177039 h 654373"/>
                  <a:gd name="connsiteX76" fmla="*/ 549087 w 880019"/>
                  <a:gd name="connsiteY76" fmla="*/ 197347 h 654373"/>
                  <a:gd name="connsiteX77" fmla="*/ 565333 w 880019"/>
                  <a:gd name="connsiteY77" fmla="*/ 210886 h 654373"/>
                  <a:gd name="connsiteX78" fmla="*/ 586769 w 880019"/>
                  <a:gd name="connsiteY78" fmla="*/ 221040 h 654373"/>
                  <a:gd name="connsiteX79" fmla="*/ 628288 w 880019"/>
                  <a:gd name="connsiteY79" fmla="*/ 212014 h 654373"/>
                  <a:gd name="connsiteX80" fmla="*/ 640022 w 880019"/>
                  <a:gd name="connsiteY80" fmla="*/ 203214 h 654373"/>
                  <a:gd name="connsiteX81" fmla="*/ 684474 w 880019"/>
                  <a:gd name="connsiteY81" fmla="*/ 174105 h 654373"/>
                  <a:gd name="connsiteX82" fmla="*/ 726219 w 880019"/>
                  <a:gd name="connsiteY82" fmla="*/ 171849 h 654373"/>
                  <a:gd name="connsiteX83" fmla="*/ 752168 w 880019"/>
                  <a:gd name="connsiteY83" fmla="*/ 170946 h 654373"/>
                  <a:gd name="connsiteX84" fmla="*/ 757809 w 880019"/>
                  <a:gd name="connsiteY84" fmla="*/ 167336 h 654373"/>
                  <a:gd name="connsiteX85" fmla="*/ 774281 w 880019"/>
                  <a:gd name="connsiteY85" fmla="*/ 162146 h 654373"/>
                  <a:gd name="connsiteX86" fmla="*/ 802036 w 880019"/>
                  <a:gd name="connsiteY86" fmla="*/ 173880 h 654373"/>
                  <a:gd name="connsiteX87" fmla="*/ 833626 w 880019"/>
                  <a:gd name="connsiteY87" fmla="*/ 189224 h 654373"/>
                  <a:gd name="connsiteX88" fmla="*/ 869730 w 880019"/>
                  <a:gd name="connsiteY88" fmla="*/ 207727 h 654373"/>
                  <a:gd name="connsiteX89" fmla="*/ 874017 w 880019"/>
                  <a:gd name="connsiteY89" fmla="*/ 211563 h 654373"/>
                  <a:gd name="connsiteX90" fmla="*/ 871986 w 880019"/>
                  <a:gd name="connsiteY90" fmla="*/ 259400 h 654373"/>
                  <a:gd name="connsiteX91" fmla="*/ 853032 w 880019"/>
                  <a:gd name="connsiteY91" fmla="*/ 310847 h 654373"/>
                  <a:gd name="connsiteX92" fmla="*/ 852581 w 880019"/>
                  <a:gd name="connsiteY92" fmla="*/ 312426 h 654373"/>
                  <a:gd name="connsiteX93" fmla="*/ 832949 w 880019"/>
                  <a:gd name="connsiteY93" fmla="*/ 339730 h 654373"/>
                  <a:gd name="connsiteX94" fmla="*/ 827534 w 880019"/>
                  <a:gd name="connsiteY94" fmla="*/ 342663 h 654373"/>
                  <a:gd name="connsiteX95" fmla="*/ 817606 w 880019"/>
                  <a:gd name="connsiteY95" fmla="*/ 353720 h 654373"/>
                  <a:gd name="connsiteX96" fmla="*/ 804969 w 880019"/>
                  <a:gd name="connsiteY96" fmla="*/ 364776 h 654373"/>
                  <a:gd name="connsiteX97" fmla="*/ 797297 w 880019"/>
                  <a:gd name="connsiteY97" fmla="*/ 367935 h 654373"/>
                  <a:gd name="connsiteX98" fmla="*/ 788723 w 880019"/>
                  <a:gd name="connsiteY98" fmla="*/ 389823 h 654373"/>
                  <a:gd name="connsiteX99" fmla="*/ 781502 w 880019"/>
                  <a:gd name="connsiteY99" fmla="*/ 416224 h 654373"/>
                  <a:gd name="connsiteX100" fmla="*/ 763676 w 880019"/>
                  <a:gd name="connsiteY100" fmla="*/ 420962 h 654373"/>
                  <a:gd name="connsiteX101" fmla="*/ 743594 w 880019"/>
                  <a:gd name="connsiteY101" fmla="*/ 423670 h 654373"/>
                  <a:gd name="connsiteX102" fmla="*/ 722383 w 880019"/>
                  <a:gd name="connsiteY102" fmla="*/ 438788 h 654373"/>
                  <a:gd name="connsiteX103" fmla="*/ 728926 w 880019"/>
                  <a:gd name="connsiteY103" fmla="*/ 455260 h 654373"/>
                  <a:gd name="connsiteX104" fmla="*/ 735922 w 880019"/>
                  <a:gd name="connsiteY104" fmla="*/ 477825 h 654373"/>
                  <a:gd name="connsiteX105" fmla="*/ 730055 w 880019"/>
                  <a:gd name="connsiteY105" fmla="*/ 484143 h 654373"/>
                  <a:gd name="connsiteX106" fmla="*/ 722383 w 880019"/>
                  <a:gd name="connsiteY106" fmla="*/ 498359 h 654373"/>
                  <a:gd name="connsiteX107" fmla="*/ 722383 w 880019"/>
                  <a:gd name="connsiteY107" fmla="*/ 500390 h 654373"/>
                  <a:gd name="connsiteX108" fmla="*/ 733439 w 880019"/>
                  <a:gd name="connsiteY108" fmla="*/ 518441 h 654373"/>
                  <a:gd name="connsiteX109" fmla="*/ 737727 w 880019"/>
                  <a:gd name="connsiteY109" fmla="*/ 519344 h 654373"/>
                  <a:gd name="connsiteX110" fmla="*/ 776764 w 880019"/>
                  <a:gd name="connsiteY110" fmla="*/ 534011 h 654373"/>
                  <a:gd name="connsiteX111" fmla="*/ 776538 w 880019"/>
                  <a:gd name="connsiteY111" fmla="*/ 548904 h 654373"/>
                  <a:gd name="connsiteX112" fmla="*/ 779020 w 880019"/>
                  <a:gd name="connsiteY112" fmla="*/ 571694 h 654373"/>
                  <a:gd name="connsiteX113" fmla="*/ 781953 w 880019"/>
                  <a:gd name="connsiteY113" fmla="*/ 574627 h 654373"/>
                  <a:gd name="connsiteX114" fmla="*/ 793913 w 880019"/>
                  <a:gd name="connsiteY114" fmla="*/ 606669 h 654373"/>
                  <a:gd name="connsiteX115" fmla="*/ 776989 w 880019"/>
                  <a:gd name="connsiteY115" fmla="*/ 626300 h 654373"/>
                  <a:gd name="connsiteX116" fmla="*/ 773379 w 880019"/>
                  <a:gd name="connsiteY116" fmla="*/ 625849 h 654373"/>
                  <a:gd name="connsiteX117" fmla="*/ 756004 w 880019"/>
                  <a:gd name="connsiteY117" fmla="*/ 633295 h 654373"/>
                  <a:gd name="connsiteX118" fmla="*/ 752845 w 880019"/>
                  <a:gd name="connsiteY118" fmla="*/ 636906 h 654373"/>
                  <a:gd name="connsiteX119" fmla="*/ 730055 w 880019"/>
                  <a:gd name="connsiteY119" fmla="*/ 652249 h 654373"/>
                  <a:gd name="connsiteX120" fmla="*/ 712229 w 880019"/>
                  <a:gd name="connsiteY120" fmla="*/ 642547 h 654373"/>
                  <a:gd name="connsiteX121" fmla="*/ 709070 w 880019"/>
                  <a:gd name="connsiteY121" fmla="*/ 640065 h 654373"/>
                  <a:gd name="connsiteX122" fmla="*/ 703880 w 880019"/>
                  <a:gd name="connsiteY122" fmla="*/ 632393 h 654373"/>
                  <a:gd name="connsiteX123" fmla="*/ 693726 w 880019"/>
                  <a:gd name="connsiteY123" fmla="*/ 619531 h 654373"/>
                  <a:gd name="connsiteX124" fmla="*/ 675900 w 880019"/>
                  <a:gd name="connsiteY124" fmla="*/ 622916 h 654373"/>
                  <a:gd name="connsiteX125" fmla="*/ 668905 w 880019"/>
                  <a:gd name="connsiteY125" fmla="*/ 624946 h 654373"/>
                  <a:gd name="connsiteX126" fmla="*/ 664392 w 880019"/>
                  <a:gd name="connsiteY126" fmla="*/ 628557 h 654373"/>
                  <a:gd name="connsiteX127" fmla="*/ 664617 w 880019"/>
                  <a:gd name="connsiteY127" fmla="*/ 637131 h 654373"/>
                  <a:gd name="connsiteX128" fmla="*/ 664843 w 880019"/>
                  <a:gd name="connsiteY128" fmla="*/ 637808 h 654373"/>
                  <a:gd name="connsiteX129" fmla="*/ 666197 w 880019"/>
                  <a:gd name="connsiteY129" fmla="*/ 640742 h 654373"/>
                  <a:gd name="connsiteX130" fmla="*/ 663038 w 880019"/>
                  <a:gd name="connsiteY130" fmla="*/ 640742 h 654373"/>
                  <a:gd name="connsiteX131" fmla="*/ 649499 w 880019"/>
                  <a:gd name="connsiteY131" fmla="*/ 635552 h 654373"/>
                  <a:gd name="connsiteX132" fmla="*/ 647920 w 880019"/>
                  <a:gd name="connsiteY132" fmla="*/ 625849 h 654373"/>
                  <a:gd name="connsiteX133" fmla="*/ 647694 w 880019"/>
                  <a:gd name="connsiteY133" fmla="*/ 623818 h 654373"/>
                  <a:gd name="connsiteX134" fmla="*/ 622422 w 880019"/>
                  <a:gd name="connsiteY134" fmla="*/ 624044 h 654373"/>
                  <a:gd name="connsiteX135" fmla="*/ 604596 w 880019"/>
                  <a:gd name="connsiteY135" fmla="*/ 625623 h 654373"/>
                  <a:gd name="connsiteX136" fmla="*/ 592862 w 880019"/>
                  <a:gd name="connsiteY136" fmla="*/ 609828 h 654373"/>
                  <a:gd name="connsiteX137" fmla="*/ 587446 w 880019"/>
                  <a:gd name="connsiteY137" fmla="*/ 594258 h 654373"/>
                  <a:gd name="connsiteX138" fmla="*/ 544574 w 880019"/>
                  <a:gd name="connsiteY138" fmla="*/ 590648 h 654373"/>
                  <a:gd name="connsiteX139" fmla="*/ 537127 w 880019"/>
                  <a:gd name="connsiteY139" fmla="*/ 591776 h 654373"/>
                  <a:gd name="connsiteX140" fmla="*/ 474849 w 880019"/>
                  <a:gd name="connsiteY140" fmla="*/ 554770 h 654373"/>
                  <a:gd name="connsiteX141" fmla="*/ 474172 w 880019"/>
                  <a:gd name="connsiteY141" fmla="*/ 554319 h 654373"/>
                  <a:gd name="connsiteX142" fmla="*/ 450705 w 880019"/>
                  <a:gd name="connsiteY142" fmla="*/ 550709 h 654373"/>
                  <a:gd name="connsiteX143" fmla="*/ 436489 w 880019"/>
                  <a:gd name="connsiteY143" fmla="*/ 551837 h 654373"/>
                  <a:gd name="connsiteX144" fmla="*/ 403770 w 880019"/>
                  <a:gd name="connsiteY144" fmla="*/ 564473 h 654373"/>
                  <a:gd name="connsiteX145" fmla="*/ 376242 w 880019"/>
                  <a:gd name="connsiteY145" fmla="*/ 579817 h 654373"/>
                  <a:gd name="connsiteX146" fmla="*/ 366764 w 880019"/>
                  <a:gd name="connsiteY146" fmla="*/ 585007 h 654373"/>
                  <a:gd name="connsiteX147" fmla="*/ 368344 w 880019"/>
                  <a:gd name="connsiteY147" fmla="*/ 588166 h 654373"/>
                  <a:gd name="connsiteX148" fmla="*/ 372406 w 880019"/>
                  <a:gd name="connsiteY148" fmla="*/ 595612 h 654373"/>
                  <a:gd name="connsiteX149" fmla="*/ 366313 w 880019"/>
                  <a:gd name="connsiteY149" fmla="*/ 627203 h 654373"/>
                  <a:gd name="connsiteX150" fmla="*/ 363154 w 880019"/>
                  <a:gd name="connsiteY150" fmla="*/ 630136 h 654373"/>
                  <a:gd name="connsiteX151" fmla="*/ 339236 w 880019"/>
                  <a:gd name="connsiteY151" fmla="*/ 642095 h 654373"/>
                  <a:gd name="connsiteX152" fmla="*/ 330661 w 880019"/>
                  <a:gd name="connsiteY152" fmla="*/ 650896 h 654373"/>
                  <a:gd name="connsiteX153" fmla="*/ 324569 w 880019"/>
                  <a:gd name="connsiteY153" fmla="*/ 658793 h 654373"/>
                  <a:gd name="connsiteX154" fmla="*/ 323440 w 880019"/>
                  <a:gd name="connsiteY154" fmla="*/ 658342 h 654373"/>
                  <a:gd name="connsiteX155" fmla="*/ 305389 w 880019"/>
                  <a:gd name="connsiteY155" fmla="*/ 648865 h 654373"/>
                  <a:gd name="connsiteX156" fmla="*/ 319604 w 880019"/>
                  <a:gd name="connsiteY156" fmla="*/ 652926 h 654373"/>
                  <a:gd name="connsiteX157" fmla="*/ 324117 w 880019"/>
                  <a:gd name="connsiteY157" fmla="*/ 654506 h 654373"/>
                  <a:gd name="connsiteX158" fmla="*/ 327953 w 880019"/>
                  <a:gd name="connsiteY158" fmla="*/ 648639 h 654373"/>
                  <a:gd name="connsiteX159" fmla="*/ 339913 w 880019"/>
                  <a:gd name="connsiteY159" fmla="*/ 637583 h 654373"/>
                  <a:gd name="connsiteX160" fmla="*/ 361123 w 880019"/>
                  <a:gd name="connsiteY160" fmla="*/ 626752 h 654373"/>
                  <a:gd name="connsiteX161" fmla="*/ 364282 w 880019"/>
                  <a:gd name="connsiteY161" fmla="*/ 623592 h 654373"/>
                  <a:gd name="connsiteX162" fmla="*/ 369472 w 880019"/>
                  <a:gd name="connsiteY162" fmla="*/ 596064 h 654373"/>
                  <a:gd name="connsiteX163" fmla="*/ 365862 w 880019"/>
                  <a:gd name="connsiteY163" fmla="*/ 589520 h 654373"/>
                  <a:gd name="connsiteX164" fmla="*/ 363605 w 880019"/>
                  <a:gd name="connsiteY164" fmla="*/ 582976 h 654373"/>
                  <a:gd name="connsiteX165" fmla="*/ 375339 w 880019"/>
                  <a:gd name="connsiteY165" fmla="*/ 575530 h 654373"/>
                  <a:gd name="connsiteX166" fmla="*/ 401514 w 880019"/>
                  <a:gd name="connsiteY166" fmla="*/ 560863 h 654373"/>
                  <a:gd name="connsiteX167" fmla="*/ 436715 w 880019"/>
                  <a:gd name="connsiteY167" fmla="*/ 547098 h 654373"/>
                  <a:gd name="connsiteX168" fmla="*/ 450705 w 880019"/>
                  <a:gd name="connsiteY168" fmla="*/ 546196 h 654373"/>
                  <a:gd name="connsiteX169" fmla="*/ 477105 w 880019"/>
                  <a:gd name="connsiteY169" fmla="*/ 550934 h 654373"/>
                  <a:gd name="connsiteX170" fmla="*/ 477782 w 880019"/>
                  <a:gd name="connsiteY170" fmla="*/ 551386 h 654373"/>
                  <a:gd name="connsiteX171" fmla="*/ 537127 w 880019"/>
                  <a:gd name="connsiteY171" fmla="*/ 587263 h 654373"/>
                  <a:gd name="connsiteX172" fmla="*/ 544574 w 880019"/>
                  <a:gd name="connsiteY172" fmla="*/ 586135 h 654373"/>
                  <a:gd name="connsiteX173" fmla="*/ 590831 w 880019"/>
                  <a:gd name="connsiteY173" fmla="*/ 590874 h 654373"/>
                  <a:gd name="connsiteX174" fmla="*/ 597149 w 880019"/>
                  <a:gd name="connsiteY174" fmla="*/ 608249 h 654373"/>
                  <a:gd name="connsiteX175" fmla="*/ 605272 w 880019"/>
                  <a:gd name="connsiteY175" fmla="*/ 620885 h 654373"/>
                  <a:gd name="connsiteX176" fmla="*/ 622422 w 880019"/>
                  <a:gd name="connsiteY176" fmla="*/ 619305 h 654373"/>
                  <a:gd name="connsiteX177" fmla="*/ 650853 w 880019"/>
                  <a:gd name="connsiteY177" fmla="*/ 620208 h 654373"/>
                  <a:gd name="connsiteX178" fmla="*/ 652207 w 880019"/>
                  <a:gd name="connsiteY178" fmla="*/ 625623 h 654373"/>
                  <a:gd name="connsiteX179" fmla="*/ 653109 w 880019"/>
                  <a:gd name="connsiteY179" fmla="*/ 632167 h 654373"/>
                  <a:gd name="connsiteX180" fmla="*/ 660781 w 880019"/>
                  <a:gd name="connsiteY180" fmla="*/ 635552 h 654373"/>
                  <a:gd name="connsiteX181" fmla="*/ 661684 w 880019"/>
                  <a:gd name="connsiteY181" fmla="*/ 625623 h 654373"/>
                  <a:gd name="connsiteX182" fmla="*/ 669582 w 880019"/>
                  <a:gd name="connsiteY182" fmla="*/ 619982 h 654373"/>
                  <a:gd name="connsiteX183" fmla="*/ 675223 w 880019"/>
                  <a:gd name="connsiteY183" fmla="*/ 618177 h 654373"/>
                  <a:gd name="connsiteX184" fmla="*/ 695531 w 880019"/>
                  <a:gd name="connsiteY184" fmla="*/ 614792 h 654373"/>
                  <a:gd name="connsiteX185" fmla="*/ 707490 w 880019"/>
                  <a:gd name="connsiteY185" fmla="*/ 629459 h 654373"/>
                  <a:gd name="connsiteX186" fmla="*/ 711326 w 880019"/>
                  <a:gd name="connsiteY186" fmla="*/ 635552 h 654373"/>
                  <a:gd name="connsiteX187" fmla="*/ 714936 w 880019"/>
                  <a:gd name="connsiteY187" fmla="*/ 638485 h 654373"/>
                  <a:gd name="connsiteX188" fmla="*/ 730506 w 880019"/>
                  <a:gd name="connsiteY188" fmla="*/ 647285 h 654373"/>
                  <a:gd name="connsiteX189" fmla="*/ 750363 w 880019"/>
                  <a:gd name="connsiteY189" fmla="*/ 633295 h 654373"/>
                  <a:gd name="connsiteX190" fmla="*/ 753522 w 880019"/>
                  <a:gd name="connsiteY190" fmla="*/ 629685 h 654373"/>
                  <a:gd name="connsiteX191" fmla="*/ 774281 w 880019"/>
                  <a:gd name="connsiteY191" fmla="*/ 621110 h 654373"/>
                  <a:gd name="connsiteX192" fmla="*/ 777666 w 880019"/>
                  <a:gd name="connsiteY192" fmla="*/ 621562 h 654373"/>
                  <a:gd name="connsiteX193" fmla="*/ 790754 w 880019"/>
                  <a:gd name="connsiteY193" fmla="*/ 604864 h 654373"/>
                  <a:gd name="connsiteX194" fmla="*/ 779697 w 880019"/>
                  <a:gd name="connsiteY194" fmla="*/ 576432 h 654373"/>
                  <a:gd name="connsiteX195" fmla="*/ 776764 w 880019"/>
                  <a:gd name="connsiteY195" fmla="*/ 573273 h 654373"/>
                  <a:gd name="connsiteX196" fmla="*/ 773379 w 880019"/>
                  <a:gd name="connsiteY196" fmla="*/ 547324 h 654373"/>
                  <a:gd name="connsiteX197" fmla="*/ 773830 w 880019"/>
                  <a:gd name="connsiteY197" fmla="*/ 534688 h 654373"/>
                  <a:gd name="connsiteX198" fmla="*/ 737501 w 880019"/>
                  <a:gd name="connsiteY198" fmla="*/ 522052 h 654373"/>
                  <a:gd name="connsiteX199" fmla="*/ 733214 w 880019"/>
                  <a:gd name="connsiteY199" fmla="*/ 521149 h 654373"/>
                  <a:gd name="connsiteX200" fmla="*/ 718998 w 880019"/>
                  <a:gd name="connsiteY200" fmla="*/ 499713 h 654373"/>
                  <a:gd name="connsiteX201" fmla="*/ 718998 w 880019"/>
                  <a:gd name="connsiteY201" fmla="*/ 497682 h 654373"/>
                  <a:gd name="connsiteX202" fmla="*/ 728250 w 880019"/>
                  <a:gd name="connsiteY202" fmla="*/ 480307 h 654373"/>
                  <a:gd name="connsiteX203" fmla="*/ 732763 w 880019"/>
                  <a:gd name="connsiteY203" fmla="*/ 475794 h 654373"/>
                  <a:gd name="connsiteX204" fmla="*/ 725767 w 880019"/>
                  <a:gd name="connsiteY204" fmla="*/ 456163 h 654373"/>
                  <a:gd name="connsiteX205" fmla="*/ 718772 w 880019"/>
                  <a:gd name="connsiteY205" fmla="*/ 438337 h 654373"/>
                  <a:gd name="connsiteX206" fmla="*/ 742691 w 880019"/>
                  <a:gd name="connsiteY206" fmla="*/ 419608 h 654373"/>
                  <a:gd name="connsiteX207" fmla="*/ 763676 w 880019"/>
                  <a:gd name="connsiteY207" fmla="*/ 416675 h 654373"/>
                  <a:gd name="connsiteX208" fmla="*/ 778569 w 880019"/>
                  <a:gd name="connsiteY208" fmla="*/ 413516 h 654373"/>
                  <a:gd name="connsiteX209" fmla="*/ 785112 w 880019"/>
                  <a:gd name="connsiteY209" fmla="*/ 389823 h 654373"/>
                  <a:gd name="connsiteX210" fmla="*/ 795492 w 880019"/>
                  <a:gd name="connsiteY210" fmla="*/ 364099 h 654373"/>
                  <a:gd name="connsiteX211" fmla="*/ 804067 w 880019"/>
                  <a:gd name="connsiteY211" fmla="*/ 360489 h 654373"/>
                  <a:gd name="connsiteX212" fmla="*/ 814221 w 880019"/>
                  <a:gd name="connsiteY212" fmla="*/ 351915 h 654373"/>
                  <a:gd name="connsiteX213" fmla="*/ 826180 w 880019"/>
                  <a:gd name="connsiteY213" fmla="*/ 338376 h 654373"/>
                  <a:gd name="connsiteX214" fmla="*/ 831370 w 880019"/>
                  <a:gd name="connsiteY214" fmla="*/ 335668 h 654373"/>
                  <a:gd name="connsiteX215" fmla="*/ 849422 w 880019"/>
                  <a:gd name="connsiteY215" fmla="*/ 310396 h 654373"/>
                  <a:gd name="connsiteX216" fmla="*/ 849873 w 880019"/>
                  <a:gd name="connsiteY216" fmla="*/ 308816 h 654373"/>
                  <a:gd name="connsiteX217" fmla="*/ 868827 w 880019"/>
                  <a:gd name="connsiteY217" fmla="*/ 257143 h 654373"/>
                  <a:gd name="connsiteX218" fmla="*/ 871760 w 880019"/>
                  <a:gd name="connsiteY218" fmla="*/ 213593 h 654373"/>
                  <a:gd name="connsiteX219" fmla="*/ 867473 w 880019"/>
                  <a:gd name="connsiteY219" fmla="*/ 209757 h 654373"/>
                  <a:gd name="connsiteX220" fmla="*/ 832949 w 880019"/>
                  <a:gd name="connsiteY220" fmla="*/ 192157 h 654373"/>
                  <a:gd name="connsiteX221" fmla="*/ 800231 w 880019"/>
                  <a:gd name="connsiteY221" fmla="*/ 176362 h 654373"/>
                  <a:gd name="connsiteX222" fmla="*/ 774507 w 880019"/>
                  <a:gd name="connsiteY222" fmla="*/ 165305 h 654373"/>
                  <a:gd name="connsiteX223" fmla="*/ 760743 w 880019"/>
                  <a:gd name="connsiteY223" fmla="*/ 169367 h 654373"/>
                  <a:gd name="connsiteX224" fmla="*/ 753748 w 880019"/>
                  <a:gd name="connsiteY224" fmla="*/ 173880 h 654373"/>
                  <a:gd name="connsiteX225" fmla="*/ 726444 w 880019"/>
                  <a:gd name="connsiteY225" fmla="*/ 175008 h 654373"/>
                  <a:gd name="connsiteX226" fmla="*/ 686054 w 880019"/>
                  <a:gd name="connsiteY226" fmla="*/ 177039 h 654373"/>
                  <a:gd name="connsiteX227" fmla="*/ 642504 w 880019"/>
                  <a:gd name="connsiteY227" fmla="*/ 205470 h 654373"/>
                  <a:gd name="connsiteX228" fmla="*/ 630770 w 880019"/>
                  <a:gd name="connsiteY228" fmla="*/ 214270 h 654373"/>
                  <a:gd name="connsiteX229" fmla="*/ 586995 w 880019"/>
                  <a:gd name="connsiteY229" fmla="*/ 223973 h 654373"/>
                  <a:gd name="connsiteX230" fmla="*/ 562851 w 880019"/>
                  <a:gd name="connsiteY230" fmla="*/ 212917 h 654373"/>
                  <a:gd name="connsiteX231" fmla="*/ 547056 w 880019"/>
                  <a:gd name="connsiteY231" fmla="*/ 199829 h 654373"/>
                  <a:gd name="connsiteX232" fmla="*/ 497639 w 880019"/>
                  <a:gd name="connsiteY232" fmla="*/ 179972 h 654373"/>
                  <a:gd name="connsiteX233" fmla="*/ 488388 w 880019"/>
                  <a:gd name="connsiteY233" fmla="*/ 156956 h 654373"/>
                  <a:gd name="connsiteX234" fmla="*/ 486131 w 880019"/>
                  <a:gd name="connsiteY234" fmla="*/ 148607 h 654373"/>
                  <a:gd name="connsiteX235" fmla="*/ 463341 w 880019"/>
                  <a:gd name="connsiteY235" fmla="*/ 124689 h 654373"/>
                  <a:gd name="connsiteX236" fmla="*/ 458602 w 880019"/>
                  <a:gd name="connsiteY236" fmla="*/ 121304 h 654373"/>
                  <a:gd name="connsiteX237" fmla="*/ 445064 w 880019"/>
                  <a:gd name="connsiteY237" fmla="*/ 108217 h 654373"/>
                  <a:gd name="connsiteX238" fmla="*/ 422950 w 880019"/>
                  <a:gd name="connsiteY238" fmla="*/ 88811 h 654373"/>
                  <a:gd name="connsiteX239" fmla="*/ 399483 w 880019"/>
                  <a:gd name="connsiteY239" fmla="*/ 75498 h 654373"/>
                  <a:gd name="connsiteX240" fmla="*/ 376467 w 880019"/>
                  <a:gd name="connsiteY240" fmla="*/ 62411 h 654373"/>
                  <a:gd name="connsiteX241" fmla="*/ 340138 w 880019"/>
                  <a:gd name="connsiteY241" fmla="*/ 25179 h 654373"/>
                  <a:gd name="connsiteX242" fmla="*/ 328630 w 880019"/>
                  <a:gd name="connsiteY242" fmla="*/ 10963 h 654373"/>
                  <a:gd name="connsiteX243" fmla="*/ 310579 w 880019"/>
                  <a:gd name="connsiteY243" fmla="*/ 9835 h 654373"/>
                  <a:gd name="connsiteX244" fmla="*/ 288917 w 880019"/>
                  <a:gd name="connsiteY244" fmla="*/ 12091 h 654373"/>
                  <a:gd name="connsiteX245" fmla="*/ 270639 w 880019"/>
                  <a:gd name="connsiteY245" fmla="*/ 6450 h 654373"/>
                  <a:gd name="connsiteX246" fmla="*/ 256649 w 880019"/>
                  <a:gd name="connsiteY246" fmla="*/ 3291 h 654373"/>
                  <a:gd name="connsiteX247" fmla="*/ 242433 w 880019"/>
                  <a:gd name="connsiteY247" fmla="*/ 5322 h 654373"/>
                  <a:gd name="connsiteX248" fmla="*/ 223705 w 880019"/>
                  <a:gd name="connsiteY248" fmla="*/ 7127 h 654373"/>
                  <a:gd name="connsiteX249" fmla="*/ 185345 w 880019"/>
                  <a:gd name="connsiteY249" fmla="*/ 20440 h 654373"/>
                  <a:gd name="connsiteX250" fmla="*/ 183765 w 880019"/>
                  <a:gd name="connsiteY250" fmla="*/ 21117 h 654373"/>
                  <a:gd name="connsiteX251" fmla="*/ 175191 w 880019"/>
                  <a:gd name="connsiteY251" fmla="*/ 25856 h 654373"/>
                  <a:gd name="connsiteX252" fmla="*/ 151498 w 880019"/>
                  <a:gd name="connsiteY252" fmla="*/ 35784 h 654373"/>
                  <a:gd name="connsiteX253" fmla="*/ 119231 w 880019"/>
                  <a:gd name="connsiteY253" fmla="*/ 34882 h 654373"/>
                  <a:gd name="connsiteX254" fmla="*/ 93507 w 880019"/>
                  <a:gd name="connsiteY254" fmla="*/ 33302 h 654373"/>
                  <a:gd name="connsiteX255" fmla="*/ 67558 w 880019"/>
                  <a:gd name="connsiteY255" fmla="*/ 43682 h 654373"/>
                  <a:gd name="connsiteX256" fmla="*/ 61465 w 880019"/>
                  <a:gd name="connsiteY256" fmla="*/ 55641 h 654373"/>
                  <a:gd name="connsiteX257" fmla="*/ 49280 w 880019"/>
                  <a:gd name="connsiteY257" fmla="*/ 75498 h 654373"/>
                  <a:gd name="connsiteX258" fmla="*/ 29649 w 880019"/>
                  <a:gd name="connsiteY258" fmla="*/ 87006 h 654373"/>
                  <a:gd name="connsiteX259" fmla="*/ 10244 w 880019"/>
                  <a:gd name="connsiteY259" fmla="*/ 98063 h 654373"/>
                  <a:gd name="connsiteX260" fmla="*/ 4151 w 880019"/>
                  <a:gd name="connsiteY260" fmla="*/ 111601 h 654373"/>
                  <a:gd name="connsiteX261" fmla="*/ 13628 w 880019"/>
                  <a:gd name="connsiteY261" fmla="*/ 143869 h 654373"/>
                  <a:gd name="connsiteX262" fmla="*/ 42962 w 880019"/>
                  <a:gd name="connsiteY262" fmla="*/ 148833 h 654373"/>
                  <a:gd name="connsiteX263" fmla="*/ 50183 w 880019"/>
                  <a:gd name="connsiteY263" fmla="*/ 149059 h 654373"/>
                  <a:gd name="connsiteX264" fmla="*/ 80645 w 880019"/>
                  <a:gd name="connsiteY264" fmla="*/ 177941 h 654373"/>
                  <a:gd name="connsiteX265" fmla="*/ 95086 w 880019"/>
                  <a:gd name="connsiteY265" fmla="*/ 195090 h 654373"/>
                  <a:gd name="connsiteX266" fmla="*/ 111107 w 880019"/>
                  <a:gd name="connsiteY266" fmla="*/ 202311 h 654373"/>
                  <a:gd name="connsiteX267" fmla="*/ 129836 w 880019"/>
                  <a:gd name="connsiteY267" fmla="*/ 211563 h 654373"/>
                  <a:gd name="connsiteX268" fmla="*/ 139764 w 880019"/>
                  <a:gd name="connsiteY268" fmla="*/ 224876 h 654373"/>
                  <a:gd name="connsiteX269" fmla="*/ 152401 w 880019"/>
                  <a:gd name="connsiteY269" fmla="*/ 240897 h 654373"/>
                  <a:gd name="connsiteX270" fmla="*/ 170001 w 880019"/>
                  <a:gd name="connsiteY270" fmla="*/ 275195 h 654373"/>
                  <a:gd name="connsiteX271" fmla="*/ 166165 w 880019"/>
                  <a:gd name="connsiteY271" fmla="*/ 285349 h 654373"/>
                  <a:gd name="connsiteX272" fmla="*/ 158719 w 880019"/>
                  <a:gd name="connsiteY272" fmla="*/ 293923 h 654373"/>
                  <a:gd name="connsiteX273" fmla="*/ 133898 w 880019"/>
                  <a:gd name="connsiteY273" fmla="*/ 311524 h 654373"/>
                  <a:gd name="connsiteX274" fmla="*/ 128031 w 880019"/>
                  <a:gd name="connsiteY274" fmla="*/ 314006 h 654373"/>
                  <a:gd name="connsiteX275" fmla="*/ 128708 w 880019"/>
                  <a:gd name="connsiteY275" fmla="*/ 323709 h 654373"/>
                  <a:gd name="connsiteX276" fmla="*/ 127805 w 880019"/>
                  <a:gd name="connsiteY276" fmla="*/ 334991 h 654373"/>
                  <a:gd name="connsiteX277" fmla="*/ 123067 w 880019"/>
                  <a:gd name="connsiteY277" fmla="*/ 337473 h 654373"/>
                  <a:gd name="connsiteX278" fmla="*/ 104564 w 880019"/>
                  <a:gd name="connsiteY278" fmla="*/ 351915 h 654373"/>
                  <a:gd name="connsiteX279" fmla="*/ 106594 w 880019"/>
                  <a:gd name="connsiteY279" fmla="*/ 374705 h 654373"/>
                  <a:gd name="connsiteX280" fmla="*/ 109979 w 880019"/>
                  <a:gd name="connsiteY280" fmla="*/ 384859 h 654373"/>
                  <a:gd name="connsiteX281" fmla="*/ 113138 w 880019"/>
                  <a:gd name="connsiteY281" fmla="*/ 409680 h 654373"/>
                  <a:gd name="connsiteX282" fmla="*/ 113815 w 880019"/>
                  <a:gd name="connsiteY282" fmla="*/ 416449 h 654373"/>
                  <a:gd name="connsiteX283" fmla="*/ 112010 w 880019"/>
                  <a:gd name="connsiteY283" fmla="*/ 471507 h 654373"/>
                  <a:gd name="connsiteX284" fmla="*/ 114041 w 880019"/>
                  <a:gd name="connsiteY284" fmla="*/ 513477 h 654373"/>
                  <a:gd name="connsiteX285" fmla="*/ 115846 w 880019"/>
                  <a:gd name="connsiteY285" fmla="*/ 520923 h 654373"/>
                  <a:gd name="connsiteX286" fmla="*/ 130513 w 880019"/>
                  <a:gd name="connsiteY286" fmla="*/ 545970 h 654373"/>
                  <a:gd name="connsiteX287" fmla="*/ 149467 w 880019"/>
                  <a:gd name="connsiteY287" fmla="*/ 553868 h 654373"/>
                  <a:gd name="connsiteX288" fmla="*/ 168873 w 880019"/>
                  <a:gd name="connsiteY288" fmla="*/ 564699 h 654373"/>
                  <a:gd name="connsiteX289" fmla="*/ 170452 w 880019"/>
                  <a:gd name="connsiteY289" fmla="*/ 565827 h 654373"/>
                  <a:gd name="connsiteX290" fmla="*/ 174288 w 880019"/>
                  <a:gd name="connsiteY290" fmla="*/ 568986 h 654373"/>
                  <a:gd name="connsiteX291" fmla="*/ 202043 w 880019"/>
                  <a:gd name="connsiteY291" fmla="*/ 582525 h 654373"/>
                  <a:gd name="connsiteX292" fmla="*/ 224382 w 880019"/>
                  <a:gd name="connsiteY292" fmla="*/ 585910 h 654373"/>
                  <a:gd name="connsiteX293" fmla="*/ 232731 w 880019"/>
                  <a:gd name="connsiteY293" fmla="*/ 588166 h 654373"/>
                  <a:gd name="connsiteX294" fmla="*/ 232956 w 880019"/>
                  <a:gd name="connsiteY294" fmla="*/ 590422 h 654373"/>
                  <a:gd name="connsiteX295" fmla="*/ 232505 w 880019"/>
                  <a:gd name="connsiteY295" fmla="*/ 610956 h 654373"/>
                  <a:gd name="connsiteX296" fmla="*/ 234761 w 880019"/>
                  <a:gd name="connsiteY296" fmla="*/ 619982 h 654373"/>
                  <a:gd name="connsiteX297" fmla="*/ 236115 w 880019"/>
                  <a:gd name="connsiteY297" fmla="*/ 621787 h 654373"/>
                  <a:gd name="connsiteX298" fmla="*/ 242659 w 880019"/>
                  <a:gd name="connsiteY298" fmla="*/ 625398 h 654373"/>
                  <a:gd name="connsiteX299" fmla="*/ 246495 w 880019"/>
                  <a:gd name="connsiteY299" fmla="*/ 626526 h 654373"/>
                  <a:gd name="connsiteX300" fmla="*/ 266578 w 880019"/>
                  <a:gd name="connsiteY300" fmla="*/ 627428 h 654373"/>
                  <a:gd name="connsiteX301" fmla="*/ 276732 w 880019"/>
                  <a:gd name="connsiteY301" fmla="*/ 627428 h 654373"/>
                  <a:gd name="connsiteX302" fmla="*/ 295460 w 880019"/>
                  <a:gd name="connsiteY302" fmla="*/ 639162 h 654373"/>
                  <a:gd name="connsiteX303" fmla="*/ 302230 w 880019"/>
                  <a:gd name="connsiteY303" fmla="*/ 644126 h 654373"/>
                  <a:gd name="connsiteX304" fmla="*/ 305389 w 880019"/>
                  <a:gd name="connsiteY304" fmla="*/ 648865 h 65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</a:cxnLst>
                <a:rect l="l" t="t" r="r" b="b"/>
                <a:pathLst>
                  <a:path w="880019" h="654373">
                    <a:moveTo>
                      <a:pt x="323440" y="658342"/>
                    </a:moveTo>
                    <a:cubicBezTo>
                      <a:pt x="321635" y="658342"/>
                      <a:pt x="319604" y="657665"/>
                      <a:pt x="317348" y="656085"/>
                    </a:cubicBezTo>
                    <a:cubicBezTo>
                      <a:pt x="313963" y="653829"/>
                      <a:pt x="309676" y="652701"/>
                      <a:pt x="304035" y="652701"/>
                    </a:cubicBezTo>
                    <a:lnTo>
                      <a:pt x="302907" y="652701"/>
                    </a:lnTo>
                    <a:lnTo>
                      <a:pt x="302455" y="651573"/>
                    </a:lnTo>
                    <a:cubicBezTo>
                      <a:pt x="301553" y="649767"/>
                      <a:pt x="300425" y="648414"/>
                      <a:pt x="299522" y="647737"/>
                    </a:cubicBezTo>
                    <a:cubicBezTo>
                      <a:pt x="297717" y="646608"/>
                      <a:pt x="295460" y="644803"/>
                      <a:pt x="292527" y="642547"/>
                    </a:cubicBezTo>
                    <a:cubicBezTo>
                      <a:pt x="287337" y="638259"/>
                      <a:pt x="279214" y="631941"/>
                      <a:pt x="275829" y="631716"/>
                    </a:cubicBezTo>
                    <a:cubicBezTo>
                      <a:pt x="274024" y="631490"/>
                      <a:pt x="270188" y="631716"/>
                      <a:pt x="266126" y="631716"/>
                    </a:cubicBezTo>
                    <a:cubicBezTo>
                      <a:pt x="257777" y="631941"/>
                      <a:pt x="248526" y="631941"/>
                      <a:pt x="244690" y="630587"/>
                    </a:cubicBezTo>
                    <a:cubicBezTo>
                      <a:pt x="243336" y="630136"/>
                      <a:pt x="242208" y="629685"/>
                      <a:pt x="241080" y="629459"/>
                    </a:cubicBezTo>
                    <a:cubicBezTo>
                      <a:pt x="237695" y="628557"/>
                      <a:pt x="234536" y="627654"/>
                      <a:pt x="232505" y="624269"/>
                    </a:cubicBezTo>
                    <a:cubicBezTo>
                      <a:pt x="232054" y="623592"/>
                      <a:pt x="231602" y="623141"/>
                      <a:pt x="231377" y="622690"/>
                    </a:cubicBezTo>
                    <a:cubicBezTo>
                      <a:pt x="229572" y="620208"/>
                      <a:pt x="228895" y="618854"/>
                      <a:pt x="228443" y="611633"/>
                    </a:cubicBezTo>
                    <a:cubicBezTo>
                      <a:pt x="228218" y="605766"/>
                      <a:pt x="227766" y="595161"/>
                      <a:pt x="228669" y="590648"/>
                    </a:cubicBezTo>
                    <a:cubicBezTo>
                      <a:pt x="227541" y="590422"/>
                      <a:pt x="225510" y="590197"/>
                      <a:pt x="223479" y="589971"/>
                    </a:cubicBezTo>
                    <a:cubicBezTo>
                      <a:pt x="218515" y="589520"/>
                      <a:pt x="210843" y="588843"/>
                      <a:pt x="200689" y="586361"/>
                    </a:cubicBezTo>
                    <a:cubicBezTo>
                      <a:pt x="184217" y="582525"/>
                      <a:pt x="176770" y="576432"/>
                      <a:pt x="171355" y="572145"/>
                    </a:cubicBezTo>
                    <a:cubicBezTo>
                      <a:pt x="170001" y="571017"/>
                      <a:pt x="168873" y="570114"/>
                      <a:pt x="167745" y="569212"/>
                    </a:cubicBezTo>
                    <a:lnTo>
                      <a:pt x="166165" y="568084"/>
                    </a:lnTo>
                    <a:cubicBezTo>
                      <a:pt x="160749" y="564248"/>
                      <a:pt x="155560" y="560637"/>
                      <a:pt x="147662" y="557704"/>
                    </a:cubicBezTo>
                    <a:cubicBezTo>
                      <a:pt x="147211" y="557478"/>
                      <a:pt x="135928" y="553417"/>
                      <a:pt x="128256" y="549581"/>
                    </a:cubicBezTo>
                    <a:cubicBezTo>
                      <a:pt x="120359" y="545745"/>
                      <a:pt x="114266" y="535590"/>
                      <a:pt x="111559" y="522052"/>
                    </a:cubicBezTo>
                    <a:cubicBezTo>
                      <a:pt x="111107" y="519570"/>
                      <a:pt x="110430" y="517313"/>
                      <a:pt x="109979" y="514831"/>
                    </a:cubicBezTo>
                    <a:cubicBezTo>
                      <a:pt x="107271" y="504000"/>
                      <a:pt x="104338" y="491815"/>
                      <a:pt x="107948" y="471281"/>
                    </a:cubicBezTo>
                    <a:cubicBezTo>
                      <a:pt x="112236" y="446912"/>
                      <a:pt x="111107" y="430665"/>
                      <a:pt x="109753" y="417352"/>
                    </a:cubicBezTo>
                    <a:lnTo>
                      <a:pt x="109077" y="410583"/>
                    </a:lnTo>
                    <a:cubicBezTo>
                      <a:pt x="108174" y="401557"/>
                      <a:pt x="107497" y="394336"/>
                      <a:pt x="105918" y="386213"/>
                    </a:cubicBezTo>
                    <a:cubicBezTo>
                      <a:pt x="105466" y="383279"/>
                      <a:pt x="104112" y="380120"/>
                      <a:pt x="102758" y="376736"/>
                    </a:cubicBezTo>
                    <a:cubicBezTo>
                      <a:pt x="99374" y="368161"/>
                      <a:pt x="95763" y="358233"/>
                      <a:pt x="101179" y="350335"/>
                    </a:cubicBezTo>
                    <a:cubicBezTo>
                      <a:pt x="106820" y="342212"/>
                      <a:pt x="114718" y="337924"/>
                      <a:pt x="121036" y="334765"/>
                    </a:cubicBezTo>
                    <a:cubicBezTo>
                      <a:pt x="122615" y="333863"/>
                      <a:pt x="124195" y="333186"/>
                      <a:pt x="125549" y="332283"/>
                    </a:cubicBezTo>
                    <a:cubicBezTo>
                      <a:pt x="126677" y="331606"/>
                      <a:pt x="125774" y="328222"/>
                      <a:pt x="124872" y="325288"/>
                    </a:cubicBezTo>
                    <a:cubicBezTo>
                      <a:pt x="123518" y="321001"/>
                      <a:pt x="122164" y="316037"/>
                      <a:pt x="124646" y="312426"/>
                    </a:cubicBezTo>
                    <a:cubicBezTo>
                      <a:pt x="126226" y="310170"/>
                      <a:pt x="128933" y="308816"/>
                      <a:pt x="133221" y="308365"/>
                    </a:cubicBezTo>
                    <a:cubicBezTo>
                      <a:pt x="144277" y="307237"/>
                      <a:pt x="149918" y="299565"/>
                      <a:pt x="155334" y="292344"/>
                    </a:cubicBezTo>
                    <a:cubicBezTo>
                      <a:pt x="158042" y="288734"/>
                      <a:pt x="160524" y="285349"/>
                      <a:pt x="163457" y="283092"/>
                    </a:cubicBezTo>
                    <a:cubicBezTo>
                      <a:pt x="165488" y="281513"/>
                      <a:pt x="165939" y="278354"/>
                      <a:pt x="165939" y="275872"/>
                    </a:cubicBezTo>
                    <a:cubicBezTo>
                      <a:pt x="165714" y="265943"/>
                      <a:pt x="157816" y="250374"/>
                      <a:pt x="149693" y="244733"/>
                    </a:cubicBezTo>
                    <a:cubicBezTo>
                      <a:pt x="143149" y="239994"/>
                      <a:pt x="139539" y="233676"/>
                      <a:pt x="135928" y="227584"/>
                    </a:cubicBezTo>
                    <a:cubicBezTo>
                      <a:pt x="133221" y="222845"/>
                      <a:pt x="130513" y="218332"/>
                      <a:pt x="126903" y="215173"/>
                    </a:cubicBezTo>
                    <a:cubicBezTo>
                      <a:pt x="122390" y="211337"/>
                      <a:pt x="116072" y="209081"/>
                      <a:pt x="109302" y="206598"/>
                    </a:cubicBezTo>
                    <a:cubicBezTo>
                      <a:pt x="103435" y="204568"/>
                      <a:pt x="97343" y="202311"/>
                      <a:pt x="92604" y="198926"/>
                    </a:cubicBezTo>
                    <a:cubicBezTo>
                      <a:pt x="88543" y="196219"/>
                      <a:pt x="83353" y="188998"/>
                      <a:pt x="77260" y="180875"/>
                    </a:cubicBezTo>
                    <a:cubicBezTo>
                      <a:pt x="68460" y="168916"/>
                      <a:pt x="57404" y="153797"/>
                      <a:pt x="49732" y="153346"/>
                    </a:cubicBezTo>
                    <a:cubicBezTo>
                      <a:pt x="47475" y="153346"/>
                      <a:pt x="44993" y="153120"/>
                      <a:pt x="42511" y="153120"/>
                    </a:cubicBezTo>
                    <a:cubicBezTo>
                      <a:pt x="30326" y="152669"/>
                      <a:pt x="17690" y="152443"/>
                      <a:pt x="10921" y="147254"/>
                    </a:cubicBezTo>
                    <a:cubicBezTo>
                      <a:pt x="5279" y="143192"/>
                      <a:pt x="-813" y="126043"/>
                      <a:pt x="89" y="111827"/>
                    </a:cubicBezTo>
                    <a:cubicBezTo>
                      <a:pt x="541" y="103704"/>
                      <a:pt x="3249" y="98063"/>
                      <a:pt x="7987" y="95129"/>
                    </a:cubicBezTo>
                    <a:cubicBezTo>
                      <a:pt x="14080" y="91519"/>
                      <a:pt x="20849" y="87683"/>
                      <a:pt x="27393" y="84073"/>
                    </a:cubicBezTo>
                    <a:cubicBezTo>
                      <a:pt x="35516" y="79560"/>
                      <a:pt x="42962" y="75047"/>
                      <a:pt x="46798" y="72790"/>
                    </a:cubicBezTo>
                    <a:cubicBezTo>
                      <a:pt x="50634" y="70308"/>
                      <a:pt x="54245" y="61959"/>
                      <a:pt x="57404" y="54513"/>
                    </a:cubicBezTo>
                    <a:cubicBezTo>
                      <a:pt x="59660" y="49549"/>
                      <a:pt x="61691" y="44810"/>
                      <a:pt x="63722" y="41877"/>
                    </a:cubicBezTo>
                    <a:cubicBezTo>
                      <a:pt x="68912" y="34882"/>
                      <a:pt x="72522" y="29918"/>
                      <a:pt x="92830" y="29918"/>
                    </a:cubicBezTo>
                    <a:cubicBezTo>
                      <a:pt x="100953" y="29918"/>
                      <a:pt x="110205" y="30820"/>
                      <a:pt x="119005" y="31723"/>
                    </a:cubicBezTo>
                    <a:cubicBezTo>
                      <a:pt x="131416" y="32851"/>
                      <a:pt x="143149" y="33979"/>
                      <a:pt x="150144" y="32625"/>
                    </a:cubicBezTo>
                    <a:cubicBezTo>
                      <a:pt x="159170" y="30820"/>
                      <a:pt x="165037" y="27661"/>
                      <a:pt x="172934" y="23148"/>
                    </a:cubicBezTo>
                    <a:cubicBezTo>
                      <a:pt x="175642" y="21569"/>
                      <a:pt x="178350" y="19989"/>
                      <a:pt x="181735" y="18410"/>
                    </a:cubicBezTo>
                    <a:lnTo>
                      <a:pt x="183314" y="17733"/>
                    </a:lnTo>
                    <a:cubicBezTo>
                      <a:pt x="196176" y="10963"/>
                      <a:pt x="209715" y="3968"/>
                      <a:pt x="223479" y="3968"/>
                    </a:cubicBezTo>
                    <a:cubicBezTo>
                      <a:pt x="231377" y="3968"/>
                      <a:pt x="236115" y="3066"/>
                      <a:pt x="241531" y="2163"/>
                    </a:cubicBezTo>
                    <a:cubicBezTo>
                      <a:pt x="245367" y="1486"/>
                      <a:pt x="249880" y="809"/>
                      <a:pt x="255972" y="132"/>
                    </a:cubicBezTo>
                    <a:cubicBezTo>
                      <a:pt x="263870" y="-545"/>
                      <a:pt x="267931" y="1486"/>
                      <a:pt x="271993" y="3743"/>
                    </a:cubicBezTo>
                    <a:cubicBezTo>
                      <a:pt x="275829" y="5773"/>
                      <a:pt x="280116" y="8030"/>
                      <a:pt x="288917" y="8932"/>
                    </a:cubicBezTo>
                    <a:cubicBezTo>
                      <a:pt x="296814" y="9609"/>
                      <a:pt x="303358" y="8030"/>
                      <a:pt x="309450" y="6676"/>
                    </a:cubicBezTo>
                    <a:cubicBezTo>
                      <a:pt x="317574" y="4645"/>
                      <a:pt x="324794" y="3066"/>
                      <a:pt x="330887" y="8707"/>
                    </a:cubicBezTo>
                    <a:cubicBezTo>
                      <a:pt x="334046" y="11640"/>
                      <a:pt x="338559" y="17056"/>
                      <a:pt x="343523" y="23374"/>
                    </a:cubicBezTo>
                    <a:cubicBezTo>
                      <a:pt x="353677" y="36010"/>
                      <a:pt x="366313" y="51805"/>
                      <a:pt x="378949" y="59928"/>
                    </a:cubicBezTo>
                    <a:cubicBezTo>
                      <a:pt x="388652" y="66247"/>
                      <a:pt x="394970" y="69406"/>
                      <a:pt x="401514" y="72790"/>
                    </a:cubicBezTo>
                    <a:cubicBezTo>
                      <a:pt x="408058" y="76175"/>
                      <a:pt x="414827" y="79560"/>
                      <a:pt x="425207" y="86329"/>
                    </a:cubicBezTo>
                    <a:cubicBezTo>
                      <a:pt x="437392" y="94001"/>
                      <a:pt x="443033" y="100545"/>
                      <a:pt x="447997" y="106412"/>
                    </a:cubicBezTo>
                    <a:cubicBezTo>
                      <a:pt x="451833" y="110699"/>
                      <a:pt x="455218" y="114760"/>
                      <a:pt x="460859" y="118822"/>
                    </a:cubicBezTo>
                    <a:cubicBezTo>
                      <a:pt x="462438" y="119950"/>
                      <a:pt x="464018" y="121079"/>
                      <a:pt x="465597" y="122207"/>
                    </a:cubicBezTo>
                    <a:cubicBezTo>
                      <a:pt x="477557" y="130781"/>
                      <a:pt x="486808" y="137551"/>
                      <a:pt x="489742" y="148156"/>
                    </a:cubicBezTo>
                    <a:cubicBezTo>
                      <a:pt x="490419" y="150638"/>
                      <a:pt x="491096" y="153572"/>
                      <a:pt x="491998" y="156731"/>
                    </a:cubicBezTo>
                    <a:cubicBezTo>
                      <a:pt x="493803" y="163951"/>
                      <a:pt x="496737" y="175685"/>
                      <a:pt x="498542" y="177039"/>
                    </a:cubicBezTo>
                    <a:cubicBezTo>
                      <a:pt x="501250" y="177490"/>
                      <a:pt x="527876" y="183131"/>
                      <a:pt x="549087" y="197347"/>
                    </a:cubicBezTo>
                    <a:cubicBezTo>
                      <a:pt x="556759" y="202537"/>
                      <a:pt x="561723" y="207050"/>
                      <a:pt x="565333" y="210886"/>
                    </a:cubicBezTo>
                    <a:cubicBezTo>
                      <a:pt x="571877" y="217204"/>
                      <a:pt x="575262" y="220589"/>
                      <a:pt x="586769" y="221040"/>
                    </a:cubicBezTo>
                    <a:cubicBezTo>
                      <a:pt x="605949" y="221717"/>
                      <a:pt x="615652" y="221040"/>
                      <a:pt x="628288" y="212014"/>
                    </a:cubicBezTo>
                    <a:cubicBezTo>
                      <a:pt x="631447" y="209757"/>
                      <a:pt x="635509" y="206598"/>
                      <a:pt x="640022" y="203214"/>
                    </a:cubicBezTo>
                    <a:cubicBezTo>
                      <a:pt x="654689" y="191931"/>
                      <a:pt x="672966" y="178167"/>
                      <a:pt x="684474" y="174105"/>
                    </a:cubicBezTo>
                    <a:cubicBezTo>
                      <a:pt x="693274" y="171172"/>
                      <a:pt x="710649" y="171623"/>
                      <a:pt x="726219" y="171849"/>
                    </a:cubicBezTo>
                    <a:cubicBezTo>
                      <a:pt x="737727" y="172075"/>
                      <a:pt x="748558" y="172300"/>
                      <a:pt x="752168" y="170946"/>
                    </a:cubicBezTo>
                    <a:cubicBezTo>
                      <a:pt x="755101" y="169818"/>
                      <a:pt x="756230" y="168690"/>
                      <a:pt x="757809" y="167336"/>
                    </a:cubicBezTo>
                    <a:cubicBezTo>
                      <a:pt x="760517" y="164854"/>
                      <a:pt x="763225" y="162146"/>
                      <a:pt x="774281" y="162146"/>
                    </a:cubicBezTo>
                    <a:cubicBezTo>
                      <a:pt x="783082" y="162146"/>
                      <a:pt x="791882" y="167562"/>
                      <a:pt x="802036" y="173880"/>
                    </a:cubicBezTo>
                    <a:cubicBezTo>
                      <a:pt x="811062" y="179521"/>
                      <a:pt x="821441" y="186065"/>
                      <a:pt x="833626" y="189224"/>
                    </a:cubicBezTo>
                    <a:cubicBezTo>
                      <a:pt x="856191" y="195316"/>
                      <a:pt x="861381" y="200055"/>
                      <a:pt x="869730" y="207727"/>
                    </a:cubicBezTo>
                    <a:cubicBezTo>
                      <a:pt x="871084" y="208855"/>
                      <a:pt x="872438" y="210209"/>
                      <a:pt x="874017" y="211563"/>
                    </a:cubicBezTo>
                    <a:cubicBezTo>
                      <a:pt x="886653" y="222619"/>
                      <a:pt x="884848" y="226907"/>
                      <a:pt x="871986" y="259400"/>
                    </a:cubicBezTo>
                    <a:cubicBezTo>
                      <a:pt x="859350" y="291216"/>
                      <a:pt x="857094" y="298211"/>
                      <a:pt x="853032" y="310847"/>
                    </a:cubicBezTo>
                    <a:lnTo>
                      <a:pt x="852581" y="312426"/>
                    </a:lnTo>
                    <a:cubicBezTo>
                      <a:pt x="848068" y="326191"/>
                      <a:pt x="842201" y="334540"/>
                      <a:pt x="832949" y="339730"/>
                    </a:cubicBezTo>
                    <a:cubicBezTo>
                      <a:pt x="830919" y="340858"/>
                      <a:pt x="829113" y="341760"/>
                      <a:pt x="827534" y="342663"/>
                    </a:cubicBezTo>
                    <a:cubicBezTo>
                      <a:pt x="822344" y="345145"/>
                      <a:pt x="819862" y="346273"/>
                      <a:pt x="817606" y="353720"/>
                    </a:cubicBezTo>
                    <a:cubicBezTo>
                      <a:pt x="815349" y="361843"/>
                      <a:pt x="809933" y="363422"/>
                      <a:pt x="804969" y="364776"/>
                    </a:cubicBezTo>
                    <a:cubicBezTo>
                      <a:pt x="802487" y="365453"/>
                      <a:pt x="799779" y="366356"/>
                      <a:pt x="797297" y="367935"/>
                    </a:cubicBezTo>
                    <a:cubicBezTo>
                      <a:pt x="789851" y="372448"/>
                      <a:pt x="786918" y="379895"/>
                      <a:pt x="788723" y="389823"/>
                    </a:cubicBezTo>
                    <a:cubicBezTo>
                      <a:pt x="790754" y="401331"/>
                      <a:pt x="786015" y="409906"/>
                      <a:pt x="781502" y="416224"/>
                    </a:cubicBezTo>
                    <a:cubicBezTo>
                      <a:pt x="778569" y="420285"/>
                      <a:pt x="772025" y="420737"/>
                      <a:pt x="763676" y="420962"/>
                    </a:cubicBezTo>
                    <a:cubicBezTo>
                      <a:pt x="757358" y="421188"/>
                      <a:pt x="749912" y="421639"/>
                      <a:pt x="743594" y="423670"/>
                    </a:cubicBezTo>
                    <a:cubicBezTo>
                      <a:pt x="728926" y="428860"/>
                      <a:pt x="721706" y="431568"/>
                      <a:pt x="722383" y="438788"/>
                    </a:cubicBezTo>
                    <a:cubicBezTo>
                      <a:pt x="722608" y="442399"/>
                      <a:pt x="725767" y="448942"/>
                      <a:pt x="728926" y="455260"/>
                    </a:cubicBezTo>
                    <a:cubicBezTo>
                      <a:pt x="733439" y="464512"/>
                      <a:pt x="737727" y="473312"/>
                      <a:pt x="735922" y="477825"/>
                    </a:cubicBezTo>
                    <a:cubicBezTo>
                      <a:pt x="734793" y="480984"/>
                      <a:pt x="732311" y="482564"/>
                      <a:pt x="730055" y="484143"/>
                    </a:cubicBezTo>
                    <a:cubicBezTo>
                      <a:pt x="726219" y="486851"/>
                      <a:pt x="722383" y="489333"/>
                      <a:pt x="722383" y="498359"/>
                    </a:cubicBezTo>
                    <a:lnTo>
                      <a:pt x="722383" y="500390"/>
                    </a:lnTo>
                    <a:cubicBezTo>
                      <a:pt x="722383" y="514154"/>
                      <a:pt x="722383" y="516411"/>
                      <a:pt x="733439" y="518441"/>
                    </a:cubicBezTo>
                    <a:lnTo>
                      <a:pt x="737727" y="519344"/>
                    </a:lnTo>
                    <a:cubicBezTo>
                      <a:pt x="756230" y="522729"/>
                      <a:pt x="773379" y="526339"/>
                      <a:pt x="776764" y="534011"/>
                    </a:cubicBezTo>
                    <a:cubicBezTo>
                      <a:pt x="778569" y="537847"/>
                      <a:pt x="777666" y="543037"/>
                      <a:pt x="776538" y="548904"/>
                    </a:cubicBezTo>
                    <a:cubicBezTo>
                      <a:pt x="775184" y="556801"/>
                      <a:pt x="773604" y="566053"/>
                      <a:pt x="779020" y="571694"/>
                    </a:cubicBezTo>
                    <a:cubicBezTo>
                      <a:pt x="779923" y="572822"/>
                      <a:pt x="781051" y="573725"/>
                      <a:pt x="781953" y="574627"/>
                    </a:cubicBezTo>
                    <a:cubicBezTo>
                      <a:pt x="790754" y="583653"/>
                      <a:pt x="798200" y="591551"/>
                      <a:pt x="793913" y="606669"/>
                    </a:cubicBezTo>
                    <a:cubicBezTo>
                      <a:pt x="789625" y="622239"/>
                      <a:pt x="785338" y="626977"/>
                      <a:pt x="776989" y="626300"/>
                    </a:cubicBezTo>
                    <a:cubicBezTo>
                      <a:pt x="775635" y="626075"/>
                      <a:pt x="774507" y="626075"/>
                      <a:pt x="773379" y="625849"/>
                    </a:cubicBezTo>
                    <a:cubicBezTo>
                      <a:pt x="768189" y="624946"/>
                      <a:pt x="764127" y="624269"/>
                      <a:pt x="756004" y="633295"/>
                    </a:cubicBezTo>
                    <a:lnTo>
                      <a:pt x="752845" y="636906"/>
                    </a:lnTo>
                    <a:cubicBezTo>
                      <a:pt x="744045" y="646834"/>
                      <a:pt x="738855" y="652926"/>
                      <a:pt x="730055" y="652249"/>
                    </a:cubicBezTo>
                    <a:cubicBezTo>
                      <a:pt x="722834" y="651798"/>
                      <a:pt x="716516" y="646157"/>
                      <a:pt x="712229" y="642547"/>
                    </a:cubicBezTo>
                    <a:cubicBezTo>
                      <a:pt x="710875" y="641418"/>
                      <a:pt x="709747" y="640516"/>
                      <a:pt x="709070" y="640065"/>
                    </a:cubicBezTo>
                    <a:cubicBezTo>
                      <a:pt x="707490" y="639162"/>
                      <a:pt x="706136" y="636680"/>
                      <a:pt x="703880" y="632393"/>
                    </a:cubicBezTo>
                    <a:cubicBezTo>
                      <a:pt x="701172" y="627428"/>
                      <a:pt x="697336" y="620659"/>
                      <a:pt x="693726" y="619531"/>
                    </a:cubicBezTo>
                    <a:cubicBezTo>
                      <a:pt x="689664" y="618177"/>
                      <a:pt x="681541" y="621110"/>
                      <a:pt x="675900" y="622916"/>
                    </a:cubicBezTo>
                    <a:cubicBezTo>
                      <a:pt x="672289" y="624269"/>
                      <a:pt x="670259" y="624946"/>
                      <a:pt x="668905" y="624946"/>
                    </a:cubicBezTo>
                    <a:cubicBezTo>
                      <a:pt x="668002" y="624946"/>
                      <a:pt x="665746" y="626075"/>
                      <a:pt x="664392" y="628557"/>
                    </a:cubicBezTo>
                    <a:cubicBezTo>
                      <a:pt x="663263" y="630362"/>
                      <a:pt x="662361" y="633295"/>
                      <a:pt x="664617" y="637131"/>
                    </a:cubicBezTo>
                    <a:cubicBezTo>
                      <a:pt x="664843" y="637357"/>
                      <a:pt x="664843" y="637583"/>
                      <a:pt x="664843" y="637808"/>
                    </a:cubicBezTo>
                    <a:lnTo>
                      <a:pt x="666197" y="640742"/>
                    </a:lnTo>
                    <a:lnTo>
                      <a:pt x="663038" y="640742"/>
                    </a:lnTo>
                    <a:cubicBezTo>
                      <a:pt x="658751" y="640516"/>
                      <a:pt x="652658" y="639839"/>
                      <a:pt x="649499" y="635552"/>
                    </a:cubicBezTo>
                    <a:cubicBezTo>
                      <a:pt x="647694" y="633070"/>
                      <a:pt x="647017" y="629911"/>
                      <a:pt x="647920" y="625849"/>
                    </a:cubicBezTo>
                    <a:cubicBezTo>
                      <a:pt x="648145" y="624721"/>
                      <a:pt x="647920" y="624044"/>
                      <a:pt x="647694" y="623818"/>
                    </a:cubicBezTo>
                    <a:cubicBezTo>
                      <a:pt x="644986" y="620885"/>
                      <a:pt x="631899" y="622690"/>
                      <a:pt x="622422" y="624044"/>
                    </a:cubicBezTo>
                    <a:cubicBezTo>
                      <a:pt x="615652" y="624946"/>
                      <a:pt x="609108" y="625849"/>
                      <a:pt x="604596" y="625623"/>
                    </a:cubicBezTo>
                    <a:cubicBezTo>
                      <a:pt x="595118" y="625172"/>
                      <a:pt x="593990" y="617274"/>
                      <a:pt x="592862" y="609828"/>
                    </a:cubicBezTo>
                    <a:cubicBezTo>
                      <a:pt x="591959" y="604187"/>
                      <a:pt x="591282" y="598546"/>
                      <a:pt x="587446" y="594258"/>
                    </a:cubicBezTo>
                    <a:cubicBezTo>
                      <a:pt x="580000" y="585684"/>
                      <a:pt x="561046" y="588392"/>
                      <a:pt x="544574" y="590648"/>
                    </a:cubicBezTo>
                    <a:cubicBezTo>
                      <a:pt x="542092" y="591099"/>
                      <a:pt x="539609" y="591325"/>
                      <a:pt x="537127" y="591776"/>
                    </a:cubicBezTo>
                    <a:cubicBezTo>
                      <a:pt x="517270" y="594258"/>
                      <a:pt x="485229" y="564699"/>
                      <a:pt x="474849" y="554770"/>
                    </a:cubicBezTo>
                    <a:lnTo>
                      <a:pt x="474172" y="554319"/>
                    </a:lnTo>
                    <a:cubicBezTo>
                      <a:pt x="468305" y="548904"/>
                      <a:pt x="461761" y="549581"/>
                      <a:pt x="450705" y="550709"/>
                    </a:cubicBezTo>
                    <a:cubicBezTo>
                      <a:pt x="446643" y="551160"/>
                      <a:pt x="441905" y="551611"/>
                      <a:pt x="436489" y="551837"/>
                    </a:cubicBezTo>
                    <a:cubicBezTo>
                      <a:pt x="417761" y="552514"/>
                      <a:pt x="411894" y="557027"/>
                      <a:pt x="403770" y="564473"/>
                    </a:cubicBezTo>
                    <a:cubicBezTo>
                      <a:pt x="395196" y="572371"/>
                      <a:pt x="394293" y="573048"/>
                      <a:pt x="376242" y="579817"/>
                    </a:cubicBezTo>
                    <a:cubicBezTo>
                      <a:pt x="370149" y="582074"/>
                      <a:pt x="366990" y="583879"/>
                      <a:pt x="366764" y="585007"/>
                    </a:cubicBezTo>
                    <a:cubicBezTo>
                      <a:pt x="366539" y="585458"/>
                      <a:pt x="367441" y="587038"/>
                      <a:pt x="368344" y="588166"/>
                    </a:cubicBezTo>
                    <a:cubicBezTo>
                      <a:pt x="369698" y="589971"/>
                      <a:pt x="371277" y="592453"/>
                      <a:pt x="372406" y="595612"/>
                    </a:cubicBezTo>
                    <a:cubicBezTo>
                      <a:pt x="376242" y="606443"/>
                      <a:pt x="373534" y="620659"/>
                      <a:pt x="366313" y="627203"/>
                    </a:cubicBezTo>
                    <a:cubicBezTo>
                      <a:pt x="365185" y="628105"/>
                      <a:pt x="364282" y="629234"/>
                      <a:pt x="363154" y="630136"/>
                    </a:cubicBezTo>
                    <a:cubicBezTo>
                      <a:pt x="357739" y="635552"/>
                      <a:pt x="350969" y="642095"/>
                      <a:pt x="339236" y="642095"/>
                    </a:cubicBezTo>
                    <a:cubicBezTo>
                      <a:pt x="334723" y="642095"/>
                      <a:pt x="332918" y="645480"/>
                      <a:pt x="330661" y="650896"/>
                    </a:cubicBezTo>
                    <a:cubicBezTo>
                      <a:pt x="329082" y="654506"/>
                      <a:pt x="327728" y="657891"/>
                      <a:pt x="324569" y="658793"/>
                    </a:cubicBezTo>
                    <a:cubicBezTo>
                      <a:pt x="324794" y="658116"/>
                      <a:pt x="324117" y="658342"/>
                      <a:pt x="323440" y="658342"/>
                    </a:cubicBezTo>
                    <a:close/>
                    <a:moveTo>
                      <a:pt x="305389" y="648865"/>
                    </a:moveTo>
                    <a:cubicBezTo>
                      <a:pt x="311030" y="649090"/>
                      <a:pt x="315768" y="650444"/>
                      <a:pt x="319604" y="652926"/>
                    </a:cubicBezTo>
                    <a:cubicBezTo>
                      <a:pt x="320958" y="653829"/>
                      <a:pt x="322763" y="654957"/>
                      <a:pt x="324117" y="654506"/>
                    </a:cubicBezTo>
                    <a:cubicBezTo>
                      <a:pt x="325697" y="654055"/>
                      <a:pt x="326599" y="651347"/>
                      <a:pt x="327953" y="648639"/>
                    </a:cubicBezTo>
                    <a:cubicBezTo>
                      <a:pt x="329984" y="643901"/>
                      <a:pt x="332466" y="637583"/>
                      <a:pt x="339913" y="637583"/>
                    </a:cubicBezTo>
                    <a:cubicBezTo>
                      <a:pt x="350067" y="637583"/>
                      <a:pt x="355933" y="631716"/>
                      <a:pt x="361123" y="626752"/>
                    </a:cubicBezTo>
                    <a:cubicBezTo>
                      <a:pt x="362252" y="625623"/>
                      <a:pt x="363380" y="624721"/>
                      <a:pt x="364282" y="623592"/>
                    </a:cubicBezTo>
                    <a:cubicBezTo>
                      <a:pt x="369698" y="618628"/>
                      <a:pt x="373083" y="606443"/>
                      <a:pt x="369472" y="596064"/>
                    </a:cubicBezTo>
                    <a:cubicBezTo>
                      <a:pt x="368570" y="593356"/>
                      <a:pt x="366990" y="591099"/>
                      <a:pt x="365862" y="589520"/>
                    </a:cubicBezTo>
                    <a:cubicBezTo>
                      <a:pt x="364282" y="587263"/>
                      <a:pt x="362929" y="585233"/>
                      <a:pt x="363605" y="582976"/>
                    </a:cubicBezTo>
                    <a:cubicBezTo>
                      <a:pt x="364508" y="580494"/>
                      <a:pt x="367441" y="578463"/>
                      <a:pt x="375339" y="575530"/>
                    </a:cubicBezTo>
                    <a:cubicBezTo>
                      <a:pt x="393165" y="568760"/>
                      <a:pt x="393842" y="568309"/>
                      <a:pt x="401514" y="560863"/>
                    </a:cubicBezTo>
                    <a:cubicBezTo>
                      <a:pt x="410314" y="552740"/>
                      <a:pt x="417084" y="547775"/>
                      <a:pt x="436715" y="547098"/>
                    </a:cubicBezTo>
                    <a:cubicBezTo>
                      <a:pt x="441905" y="546873"/>
                      <a:pt x="446643" y="546422"/>
                      <a:pt x="450705" y="546196"/>
                    </a:cubicBezTo>
                    <a:cubicBezTo>
                      <a:pt x="461987" y="545068"/>
                      <a:pt x="469885" y="544391"/>
                      <a:pt x="477105" y="550934"/>
                    </a:cubicBezTo>
                    <a:lnTo>
                      <a:pt x="477782" y="551386"/>
                    </a:lnTo>
                    <a:cubicBezTo>
                      <a:pt x="505086" y="576884"/>
                      <a:pt x="525168" y="588843"/>
                      <a:pt x="537127" y="587263"/>
                    </a:cubicBezTo>
                    <a:cubicBezTo>
                      <a:pt x="539609" y="587038"/>
                      <a:pt x="542092" y="586586"/>
                      <a:pt x="544574" y="586135"/>
                    </a:cubicBezTo>
                    <a:cubicBezTo>
                      <a:pt x="562851" y="583427"/>
                      <a:pt x="581805" y="580945"/>
                      <a:pt x="590831" y="590874"/>
                    </a:cubicBezTo>
                    <a:cubicBezTo>
                      <a:pt x="595344" y="595838"/>
                      <a:pt x="596247" y="602382"/>
                      <a:pt x="597149" y="608249"/>
                    </a:cubicBezTo>
                    <a:cubicBezTo>
                      <a:pt x="598277" y="616372"/>
                      <a:pt x="599180" y="620659"/>
                      <a:pt x="605272" y="620885"/>
                    </a:cubicBezTo>
                    <a:cubicBezTo>
                      <a:pt x="609560" y="621110"/>
                      <a:pt x="615652" y="620208"/>
                      <a:pt x="622422" y="619305"/>
                    </a:cubicBezTo>
                    <a:cubicBezTo>
                      <a:pt x="635058" y="617500"/>
                      <a:pt x="646791" y="615921"/>
                      <a:pt x="650853" y="620208"/>
                    </a:cubicBezTo>
                    <a:cubicBezTo>
                      <a:pt x="651756" y="621110"/>
                      <a:pt x="652658" y="622916"/>
                      <a:pt x="652207" y="625623"/>
                    </a:cubicBezTo>
                    <a:cubicBezTo>
                      <a:pt x="651530" y="628557"/>
                      <a:pt x="651981" y="630587"/>
                      <a:pt x="653109" y="632167"/>
                    </a:cubicBezTo>
                    <a:cubicBezTo>
                      <a:pt x="654463" y="633972"/>
                      <a:pt x="656945" y="635100"/>
                      <a:pt x="660781" y="635552"/>
                    </a:cubicBezTo>
                    <a:cubicBezTo>
                      <a:pt x="659653" y="631941"/>
                      <a:pt x="659879" y="628557"/>
                      <a:pt x="661684" y="625623"/>
                    </a:cubicBezTo>
                    <a:cubicBezTo>
                      <a:pt x="663489" y="622464"/>
                      <a:pt x="666874" y="619982"/>
                      <a:pt x="669582" y="619982"/>
                    </a:cubicBezTo>
                    <a:cubicBezTo>
                      <a:pt x="670259" y="619982"/>
                      <a:pt x="672966" y="619080"/>
                      <a:pt x="675223" y="618177"/>
                    </a:cubicBezTo>
                    <a:cubicBezTo>
                      <a:pt x="681541" y="615921"/>
                      <a:pt x="690341" y="612761"/>
                      <a:pt x="695531" y="614792"/>
                    </a:cubicBezTo>
                    <a:cubicBezTo>
                      <a:pt x="700495" y="616597"/>
                      <a:pt x="704331" y="623818"/>
                      <a:pt x="707490" y="629459"/>
                    </a:cubicBezTo>
                    <a:cubicBezTo>
                      <a:pt x="708844" y="631941"/>
                      <a:pt x="710649" y="635100"/>
                      <a:pt x="711326" y="635552"/>
                    </a:cubicBezTo>
                    <a:cubicBezTo>
                      <a:pt x="712229" y="636003"/>
                      <a:pt x="713357" y="637131"/>
                      <a:pt x="714936" y="638485"/>
                    </a:cubicBezTo>
                    <a:cubicBezTo>
                      <a:pt x="718772" y="641870"/>
                      <a:pt x="724639" y="646834"/>
                      <a:pt x="730506" y="647285"/>
                    </a:cubicBezTo>
                    <a:cubicBezTo>
                      <a:pt x="737501" y="647737"/>
                      <a:pt x="742014" y="642547"/>
                      <a:pt x="750363" y="633295"/>
                    </a:cubicBezTo>
                    <a:lnTo>
                      <a:pt x="753522" y="629685"/>
                    </a:lnTo>
                    <a:cubicBezTo>
                      <a:pt x="762999" y="619080"/>
                      <a:pt x="768866" y="619982"/>
                      <a:pt x="774281" y="621110"/>
                    </a:cubicBezTo>
                    <a:cubicBezTo>
                      <a:pt x="775410" y="621336"/>
                      <a:pt x="776538" y="621562"/>
                      <a:pt x="777666" y="621562"/>
                    </a:cubicBezTo>
                    <a:cubicBezTo>
                      <a:pt x="782630" y="622013"/>
                      <a:pt x="786241" y="621110"/>
                      <a:pt x="790754" y="604864"/>
                    </a:cubicBezTo>
                    <a:cubicBezTo>
                      <a:pt x="794364" y="591776"/>
                      <a:pt x="788271" y="585458"/>
                      <a:pt x="779697" y="576432"/>
                    </a:cubicBezTo>
                    <a:cubicBezTo>
                      <a:pt x="778794" y="575530"/>
                      <a:pt x="777666" y="574402"/>
                      <a:pt x="776764" y="573273"/>
                    </a:cubicBezTo>
                    <a:cubicBezTo>
                      <a:pt x="769994" y="566278"/>
                      <a:pt x="772025" y="555673"/>
                      <a:pt x="773379" y="547324"/>
                    </a:cubicBezTo>
                    <a:cubicBezTo>
                      <a:pt x="774281" y="542134"/>
                      <a:pt x="775184" y="537396"/>
                      <a:pt x="773830" y="534688"/>
                    </a:cubicBezTo>
                    <a:cubicBezTo>
                      <a:pt x="770897" y="528144"/>
                      <a:pt x="749912" y="524308"/>
                      <a:pt x="737501" y="522052"/>
                    </a:cubicBezTo>
                    <a:lnTo>
                      <a:pt x="733214" y="521149"/>
                    </a:lnTo>
                    <a:cubicBezTo>
                      <a:pt x="718998" y="518893"/>
                      <a:pt x="718998" y="513703"/>
                      <a:pt x="718998" y="499713"/>
                    </a:cubicBezTo>
                    <a:lnTo>
                      <a:pt x="718998" y="497682"/>
                    </a:lnTo>
                    <a:cubicBezTo>
                      <a:pt x="718998" y="486851"/>
                      <a:pt x="724188" y="483241"/>
                      <a:pt x="728250" y="480307"/>
                    </a:cubicBezTo>
                    <a:cubicBezTo>
                      <a:pt x="730506" y="478728"/>
                      <a:pt x="732086" y="477599"/>
                      <a:pt x="732763" y="475794"/>
                    </a:cubicBezTo>
                    <a:cubicBezTo>
                      <a:pt x="733891" y="472635"/>
                      <a:pt x="729378" y="463609"/>
                      <a:pt x="725767" y="456163"/>
                    </a:cubicBezTo>
                    <a:cubicBezTo>
                      <a:pt x="722383" y="449168"/>
                      <a:pt x="719224" y="442624"/>
                      <a:pt x="718772" y="438337"/>
                    </a:cubicBezTo>
                    <a:cubicBezTo>
                      <a:pt x="718095" y="427957"/>
                      <a:pt x="728250" y="424573"/>
                      <a:pt x="742691" y="419608"/>
                    </a:cubicBezTo>
                    <a:cubicBezTo>
                      <a:pt x="749686" y="417126"/>
                      <a:pt x="757132" y="416901"/>
                      <a:pt x="763676" y="416675"/>
                    </a:cubicBezTo>
                    <a:cubicBezTo>
                      <a:pt x="770445" y="416449"/>
                      <a:pt x="776764" y="415998"/>
                      <a:pt x="778569" y="413516"/>
                    </a:cubicBezTo>
                    <a:cubicBezTo>
                      <a:pt x="782856" y="407423"/>
                      <a:pt x="786918" y="399977"/>
                      <a:pt x="785112" y="389823"/>
                    </a:cubicBezTo>
                    <a:cubicBezTo>
                      <a:pt x="783082" y="378315"/>
                      <a:pt x="786692" y="369515"/>
                      <a:pt x="795492" y="364099"/>
                    </a:cubicBezTo>
                    <a:cubicBezTo>
                      <a:pt x="798426" y="362294"/>
                      <a:pt x="801359" y="361392"/>
                      <a:pt x="804067" y="360489"/>
                    </a:cubicBezTo>
                    <a:cubicBezTo>
                      <a:pt x="808805" y="359135"/>
                      <a:pt x="812416" y="358007"/>
                      <a:pt x="814221" y="351915"/>
                    </a:cubicBezTo>
                    <a:cubicBezTo>
                      <a:pt x="816928" y="342889"/>
                      <a:pt x="820765" y="341084"/>
                      <a:pt x="826180" y="338376"/>
                    </a:cubicBezTo>
                    <a:cubicBezTo>
                      <a:pt x="827760" y="337699"/>
                      <a:pt x="829565" y="336796"/>
                      <a:pt x="831370" y="335668"/>
                    </a:cubicBezTo>
                    <a:cubicBezTo>
                      <a:pt x="839944" y="330704"/>
                      <a:pt x="845134" y="323483"/>
                      <a:pt x="849422" y="310396"/>
                    </a:cubicBezTo>
                    <a:lnTo>
                      <a:pt x="849873" y="308816"/>
                    </a:lnTo>
                    <a:cubicBezTo>
                      <a:pt x="853935" y="295954"/>
                      <a:pt x="856191" y="288959"/>
                      <a:pt x="868827" y="257143"/>
                    </a:cubicBezTo>
                    <a:cubicBezTo>
                      <a:pt x="881915" y="223748"/>
                      <a:pt x="882140" y="222619"/>
                      <a:pt x="871760" y="213593"/>
                    </a:cubicBezTo>
                    <a:cubicBezTo>
                      <a:pt x="870181" y="212240"/>
                      <a:pt x="868827" y="210886"/>
                      <a:pt x="867473" y="209757"/>
                    </a:cubicBezTo>
                    <a:cubicBezTo>
                      <a:pt x="859576" y="202311"/>
                      <a:pt x="854837" y="198024"/>
                      <a:pt x="832949" y="192157"/>
                    </a:cubicBezTo>
                    <a:cubicBezTo>
                      <a:pt x="820088" y="188772"/>
                      <a:pt x="809708" y="182229"/>
                      <a:pt x="800231" y="176362"/>
                    </a:cubicBezTo>
                    <a:cubicBezTo>
                      <a:pt x="790528" y="170495"/>
                      <a:pt x="782405" y="165305"/>
                      <a:pt x="774507" y="165305"/>
                    </a:cubicBezTo>
                    <a:cubicBezTo>
                      <a:pt x="765030" y="165305"/>
                      <a:pt x="762999" y="167336"/>
                      <a:pt x="760743" y="169367"/>
                    </a:cubicBezTo>
                    <a:cubicBezTo>
                      <a:pt x="759163" y="170946"/>
                      <a:pt x="757358" y="172526"/>
                      <a:pt x="753748" y="173880"/>
                    </a:cubicBezTo>
                    <a:cubicBezTo>
                      <a:pt x="749460" y="175459"/>
                      <a:pt x="738855" y="175234"/>
                      <a:pt x="726444" y="175008"/>
                    </a:cubicBezTo>
                    <a:cubicBezTo>
                      <a:pt x="711326" y="174782"/>
                      <a:pt x="694177" y="174331"/>
                      <a:pt x="686054" y="177039"/>
                    </a:cubicBezTo>
                    <a:cubicBezTo>
                      <a:pt x="674997" y="180649"/>
                      <a:pt x="656268" y="195090"/>
                      <a:pt x="642504" y="205470"/>
                    </a:cubicBezTo>
                    <a:cubicBezTo>
                      <a:pt x="637991" y="208855"/>
                      <a:pt x="633929" y="212014"/>
                      <a:pt x="630770" y="214270"/>
                    </a:cubicBezTo>
                    <a:cubicBezTo>
                      <a:pt x="617232" y="223973"/>
                      <a:pt x="607078" y="224650"/>
                      <a:pt x="586995" y="223973"/>
                    </a:cubicBezTo>
                    <a:cubicBezTo>
                      <a:pt x="573908" y="223522"/>
                      <a:pt x="569620" y="219235"/>
                      <a:pt x="562851" y="212917"/>
                    </a:cubicBezTo>
                    <a:cubicBezTo>
                      <a:pt x="559241" y="209306"/>
                      <a:pt x="554502" y="204793"/>
                      <a:pt x="547056" y="199829"/>
                    </a:cubicBezTo>
                    <a:cubicBezTo>
                      <a:pt x="526522" y="186065"/>
                      <a:pt x="500573" y="180649"/>
                      <a:pt x="497639" y="179972"/>
                    </a:cubicBezTo>
                    <a:cubicBezTo>
                      <a:pt x="494480" y="179295"/>
                      <a:pt x="492449" y="172752"/>
                      <a:pt x="488388" y="156956"/>
                    </a:cubicBezTo>
                    <a:cubicBezTo>
                      <a:pt x="487711" y="154023"/>
                      <a:pt x="486808" y="151089"/>
                      <a:pt x="486131" y="148607"/>
                    </a:cubicBezTo>
                    <a:cubicBezTo>
                      <a:pt x="483649" y="139356"/>
                      <a:pt x="474623" y="132812"/>
                      <a:pt x="463341" y="124689"/>
                    </a:cubicBezTo>
                    <a:cubicBezTo>
                      <a:pt x="461761" y="123561"/>
                      <a:pt x="460182" y="122432"/>
                      <a:pt x="458602" y="121304"/>
                    </a:cubicBezTo>
                    <a:cubicBezTo>
                      <a:pt x="452510" y="117017"/>
                      <a:pt x="448900" y="112730"/>
                      <a:pt x="445064" y="108217"/>
                    </a:cubicBezTo>
                    <a:cubicBezTo>
                      <a:pt x="439874" y="102350"/>
                      <a:pt x="434684" y="96257"/>
                      <a:pt x="422950" y="88811"/>
                    </a:cubicBezTo>
                    <a:cubicBezTo>
                      <a:pt x="412796" y="82267"/>
                      <a:pt x="406027" y="78883"/>
                      <a:pt x="399483" y="75498"/>
                    </a:cubicBezTo>
                    <a:cubicBezTo>
                      <a:pt x="392714" y="72113"/>
                      <a:pt x="386396" y="68729"/>
                      <a:pt x="376467" y="62411"/>
                    </a:cubicBezTo>
                    <a:cubicBezTo>
                      <a:pt x="363380" y="53836"/>
                      <a:pt x="350518" y="38041"/>
                      <a:pt x="340138" y="25179"/>
                    </a:cubicBezTo>
                    <a:cubicBezTo>
                      <a:pt x="335851" y="19087"/>
                      <a:pt x="331564" y="13671"/>
                      <a:pt x="328630" y="10963"/>
                    </a:cubicBezTo>
                    <a:cubicBezTo>
                      <a:pt x="324117" y="6676"/>
                      <a:pt x="318476" y="8030"/>
                      <a:pt x="310579" y="9835"/>
                    </a:cubicBezTo>
                    <a:cubicBezTo>
                      <a:pt x="304260" y="11189"/>
                      <a:pt x="297265" y="12994"/>
                      <a:pt x="288917" y="12091"/>
                    </a:cubicBezTo>
                    <a:cubicBezTo>
                      <a:pt x="279439" y="11189"/>
                      <a:pt x="274475" y="8481"/>
                      <a:pt x="270639" y="6450"/>
                    </a:cubicBezTo>
                    <a:cubicBezTo>
                      <a:pt x="266803" y="4420"/>
                      <a:pt x="263644" y="2614"/>
                      <a:pt x="256649" y="3291"/>
                    </a:cubicBezTo>
                    <a:cubicBezTo>
                      <a:pt x="250782" y="3743"/>
                      <a:pt x="246495" y="4645"/>
                      <a:pt x="242433" y="5322"/>
                    </a:cubicBezTo>
                    <a:cubicBezTo>
                      <a:pt x="236792" y="6225"/>
                      <a:pt x="232054" y="7127"/>
                      <a:pt x="223705" y="7127"/>
                    </a:cubicBezTo>
                    <a:cubicBezTo>
                      <a:pt x="210843" y="7127"/>
                      <a:pt x="197981" y="13897"/>
                      <a:pt x="185345" y="20440"/>
                    </a:cubicBezTo>
                    <a:lnTo>
                      <a:pt x="183765" y="21117"/>
                    </a:lnTo>
                    <a:cubicBezTo>
                      <a:pt x="180606" y="22923"/>
                      <a:pt x="177673" y="24502"/>
                      <a:pt x="175191" y="25856"/>
                    </a:cubicBezTo>
                    <a:cubicBezTo>
                      <a:pt x="167293" y="30369"/>
                      <a:pt x="161201" y="33754"/>
                      <a:pt x="151498" y="35784"/>
                    </a:cubicBezTo>
                    <a:cubicBezTo>
                      <a:pt x="143826" y="37364"/>
                      <a:pt x="131867" y="36236"/>
                      <a:pt x="119231" y="34882"/>
                    </a:cubicBezTo>
                    <a:cubicBezTo>
                      <a:pt x="110430" y="33979"/>
                      <a:pt x="101405" y="33302"/>
                      <a:pt x="93507" y="33302"/>
                    </a:cubicBezTo>
                    <a:cubicBezTo>
                      <a:pt x="75004" y="33302"/>
                      <a:pt x="72296" y="37138"/>
                      <a:pt x="67558" y="43682"/>
                    </a:cubicBezTo>
                    <a:cubicBezTo>
                      <a:pt x="65752" y="46164"/>
                      <a:pt x="63722" y="50903"/>
                      <a:pt x="61465" y="55641"/>
                    </a:cubicBezTo>
                    <a:cubicBezTo>
                      <a:pt x="57855" y="63990"/>
                      <a:pt x="54019" y="72565"/>
                      <a:pt x="49280" y="75498"/>
                    </a:cubicBezTo>
                    <a:cubicBezTo>
                      <a:pt x="45444" y="77980"/>
                      <a:pt x="37998" y="82042"/>
                      <a:pt x="29649" y="87006"/>
                    </a:cubicBezTo>
                    <a:cubicBezTo>
                      <a:pt x="23331" y="90616"/>
                      <a:pt x="16336" y="94678"/>
                      <a:pt x="10244" y="98063"/>
                    </a:cubicBezTo>
                    <a:cubicBezTo>
                      <a:pt x="5731" y="100770"/>
                      <a:pt x="4377" y="106863"/>
                      <a:pt x="4151" y="111601"/>
                    </a:cubicBezTo>
                    <a:cubicBezTo>
                      <a:pt x="3474" y="124689"/>
                      <a:pt x="9341" y="140710"/>
                      <a:pt x="13628" y="143869"/>
                    </a:cubicBezTo>
                    <a:cubicBezTo>
                      <a:pt x="19495" y="148156"/>
                      <a:pt x="31454" y="148607"/>
                      <a:pt x="42962" y="148833"/>
                    </a:cubicBezTo>
                    <a:cubicBezTo>
                      <a:pt x="45444" y="148833"/>
                      <a:pt x="47701" y="149059"/>
                      <a:pt x="50183" y="149059"/>
                    </a:cubicBezTo>
                    <a:cubicBezTo>
                      <a:pt x="59660" y="149510"/>
                      <a:pt x="70717" y="164628"/>
                      <a:pt x="80645" y="177941"/>
                    </a:cubicBezTo>
                    <a:cubicBezTo>
                      <a:pt x="86286" y="185613"/>
                      <a:pt x="91476" y="192608"/>
                      <a:pt x="95086" y="195090"/>
                    </a:cubicBezTo>
                    <a:cubicBezTo>
                      <a:pt x="99599" y="198250"/>
                      <a:pt x="105466" y="200280"/>
                      <a:pt x="111107" y="202311"/>
                    </a:cubicBezTo>
                    <a:cubicBezTo>
                      <a:pt x="117877" y="204793"/>
                      <a:pt x="124872" y="207275"/>
                      <a:pt x="129836" y="211563"/>
                    </a:cubicBezTo>
                    <a:cubicBezTo>
                      <a:pt x="134123" y="215173"/>
                      <a:pt x="136831" y="219912"/>
                      <a:pt x="139764" y="224876"/>
                    </a:cubicBezTo>
                    <a:cubicBezTo>
                      <a:pt x="143149" y="230743"/>
                      <a:pt x="146534" y="236609"/>
                      <a:pt x="152401" y="240897"/>
                    </a:cubicBezTo>
                    <a:cubicBezTo>
                      <a:pt x="161201" y="247215"/>
                      <a:pt x="169775" y="263913"/>
                      <a:pt x="170001" y="275195"/>
                    </a:cubicBezTo>
                    <a:cubicBezTo>
                      <a:pt x="170001" y="279708"/>
                      <a:pt x="168873" y="283318"/>
                      <a:pt x="166165" y="285349"/>
                    </a:cubicBezTo>
                    <a:cubicBezTo>
                      <a:pt x="163457" y="287380"/>
                      <a:pt x="161201" y="290539"/>
                      <a:pt x="158719" y="293923"/>
                    </a:cubicBezTo>
                    <a:cubicBezTo>
                      <a:pt x="153078" y="301595"/>
                      <a:pt x="146534" y="310170"/>
                      <a:pt x="133898" y="311524"/>
                    </a:cubicBezTo>
                    <a:cubicBezTo>
                      <a:pt x="130964" y="311750"/>
                      <a:pt x="128933" y="312652"/>
                      <a:pt x="128031" y="314006"/>
                    </a:cubicBezTo>
                    <a:cubicBezTo>
                      <a:pt x="126451" y="316262"/>
                      <a:pt x="127805" y="320324"/>
                      <a:pt x="128708" y="323709"/>
                    </a:cubicBezTo>
                    <a:cubicBezTo>
                      <a:pt x="130062" y="328222"/>
                      <a:pt x="131416" y="332735"/>
                      <a:pt x="127805" y="334991"/>
                    </a:cubicBezTo>
                    <a:cubicBezTo>
                      <a:pt x="126451" y="335894"/>
                      <a:pt x="124872" y="336571"/>
                      <a:pt x="123067" y="337473"/>
                    </a:cubicBezTo>
                    <a:cubicBezTo>
                      <a:pt x="117200" y="340632"/>
                      <a:pt x="109753" y="344468"/>
                      <a:pt x="104564" y="351915"/>
                    </a:cubicBezTo>
                    <a:cubicBezTo>
                      <a:pt x="100276" y="358233"/>
                      <a:pt x="103435" y="366582"/>
                      <a:pt x="106594" y="374705"/>
                    </a:cubicBezTo>
                    <a:cubicBezTo>
                      <a:pt x="107948" y="378315"/>
                      <a:pt x="109302" y="381700"/>
                      <a:pt x="109979" y="384859"/>
                    </a:cubicBezTo>
                    <a:cubicBezTo>
                      <a:pt x="111559" y="392982"/>
                      <a:pt x="112236" y="400428"/>
                      <a:pt x="113138" y="409680"/>
                    </a:cubicBezTo>
                    <a:lnTo>
                      <a:pt x="113815" y="416449"/>
                    </a:lnTo>
                    <a:cubicBezTo>
                      <a:pt x="114718" y="426378"/>
                      <a:pt x="116523" y="444655"/>
                      <a:pt x="112010" y="471507"/>
                    </a:cubicBezTo>
                    <a:cubicBezTo>
                      <a:pt x="108625" y="491364"/>
                      <a:pt x="111559" y="503097"/>
                      <a:pt x="114041" y="513477"/>
                    </a:cubicBezTo>
                    <a:cubicBezTo>
                      <a:pt x="114718" y="515959"/>
                      <a:pt x="115169" y="518441"/>
                      <a:pt x="115846" y="520923"/>
                    </a:cubicBezTo>
                    <a:cubicBezTo>
                      <a:pt x="118328" y="533334"/>
                      <a:pt x="123744" y="542586"/>
                      <a:pt x="130513" y="545970"/>
                    </a:cubicBezTo>
                    <a:cubicBezTo>
                      <a:pt x="137959" y="549581"/>
                      <a:pt x="149242" y="553868"/>
                      <a:pt x="149467" y="553868"/>
                    </a:cubicBezTo>
                    <a:cubicBezTo>
                      <a:pt x="157816" y="557027"/>
                      <a:pt x="163457" y="560863"/>
                      <a:pt x="168873" y="564699"/>
                    </a:cubicBezTo>
                    <a:lnTo>
                      <a:pt x="170452" y="565827"/>
                    </a:lnTo>
                    <a:cubicBezTo>
                      <a:pt x="171806" y="566730"/>
                      <a:pt x="172934" y="567858"/>
                      <a:pt x="174288" y="568986"/>
                    </a:cubicBezTo>
                    <a:cubicBezTo>
                      <a:pt x="179478" y="573273"/>
                      <a:pt x="186473" y="578915"/>
                      <a:pt x="202043" y="582525"/>
                    </a:cubicBezTo>
                    <a:cubicBezTo>
                      <a:pt x="211971" y="584781"/>
                      <a:pt x="219418" y="585458"/>
                      <a:pt x="224382" y="585910"/>
                    </a:cubicBezTo>
                    <a:cubicBezTo>
                      <a:pt x="229572" y="586361"/>
                      <a:pt x="231828" y="586586"/>
                      <a:pt x="232731" y="588166"/>
                    </a:cubicBezTo>
                    <a:cubicBezTo>
                      <a:pt x="233182" y="588843"/>
                      <a:pt x="233182" y="589746"/>
                      <a:pt x="232956" y="590422"/>
                    </a:cubicBezTo>
                    <a:cubicBezTo>
                      <a:pt x="232279" y="592679"/>
                      <a:pt x="232054" y="601479"/>
                      <a:pt x="232505" y="610956"/>
                    </a:cubicBezTo>
                    <a:cubicBezTo>
                      <a:pt x="232956" y="617274"/>
                      <a:pt x="233408" y="618177"/>
                      <a:pt x="234761" y="619982"/>
                    </a:cubicBezTo>
                    <a:cubicBezTo>
                      <a:pt x="235213" y="620433"/>
                      <a:pt x="235438" y="621110"/>
                      <a:pt x="236115" y="621787"/>
                    </a:cubicBezTo>
                    <a:cubicBezTo>
                      <a:pt x="237469" y="624044"/>
                      <a:pt x="239500" y="624495"/>
                      <a:pt x="242659" y="625398"/>
                    </a:cubicBezTo>
                    <a:cubicBezTo>
                      <a:pt x="243787" y="625849"/>
                      <a:pt x="245141" y="626075"/>
                      <a:pt x="246495" y="626526"/>
                    </a:cubicBezTo>
                    <a:cubicBezTo>
                      <a:pt x="249428" y="627654"/>
                      <a:pt x="259357" y="627428"/>
                      <a:pt x="266578" y="627428"/>
                    </a:cubicBezTo>
                    <a:cubicBezTo>
                      <a:pt x="270865" y="627428"/>
                      <a:pt x="274475" y="627203"/>
                      <a:pt x="276732" y="627428"/>
                    </a:cubicBezTo>
                    <a:cubicBezTo>
                      <a:pt x="280793" y="627880"/>
                      <a:pt x="287337" y="632618"/>
                      <a:pt x="295460" y="639162"/>
                    </a:cubicBezTo>
                    <a:cubicBezTo>
                      <a:pt x="298168" y="641418"/>
                      <a:pt x="300650" y="643224"/>
                      <a:pt x="302230" y="644126"/>
                    </a:cubicBezTo>
                    <a:cubicBezTo>
                      <a:pt x="303132" y="645480"/>
                      <a:pt x="304260" y="646834"/>
                      <a:pt x="305389" y="648865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xmlns="" id="{B042FB65-9EFA-4E50-A475-43A748E8043B}"/>
                  </a:ext>
                </a:extLst>
              </p:cNvPr>
              <p:cNvSpPr/>
              <p:nvPr/>
            </p:nvSpPr>
            <p:spPr>
              <a:xfrm>
                <a:off x="9269596" y="1940608"/>
                <a:ext cx="383598" cy="361034"/>
              </a:xfrm>
              <a:custGeom>
                <a:avLst/>
                <a:gdLst>
                  <a:gd name="connsiteX0" fmla="*/ 286796 w 383598"/>
                  <a:gd name="connsiteY0" fmla="*/ 363645 h 361033"/>
                  <a:gd name="connsiteX1" fmla="*/ 278899 w 383598"/>
                  <a:gd name="connsiteY1" fmla="*/ 357102 h 361033"/>
                  <a:gd name="connsiteX2" fmla="*/ 273032 w 383598"/>
                  <a:gd name="connsiteY2" fmla="*/ 349204 h 361033"/>
                  <a:gd name="connsiteX3" fmla="*/ 260170 w 383598"/>
                  <a:gd name="connsiteY3" fmla="*/ 347399 h 361033"/>
                  <a:gd name="connsiteX4" fmla="*/ 244375 w 383598"/>
                  <a:gd name="connsiteY4" fmla="*/ 349881 h 361033"/>
                  <a:gd name="connsiteX5" fmla="*/ 216169 w 383598"/>
                  <a:gd name="connsiteY5" fmla="*/ 337245 h 361033"/>
                  <a:gd name="connsiteX6" fmla="*/ 207143 w 383598"/>
                  <a:gd name="connsiteY6" fmla="*/ 332732 h 361033"/>
                  <a:gd name="connsiteX7" fmla="*/ 185932 w 383598"/>
                  <a:gd name="connsiteY7" fmla="*/ 319644 h 361033"/>
                  <a:gd name="connsiteX8" fmla="*/ 172619 w 383598"/>
                  <a:gd name="connsiteY8" fmla="*/ 314003 h 361033"/>
                  <a:gd name="connsiteX9" fmla="*/ 160209 w 383598"/>
                  <a:gd name="connsiteY9" fmla="*/ 305880 h 361033"/>
                  <a:gd name="connsiteX10" fmla="*/ 143060 w 383598"/>
                  <a:gd name="connsiteY10" fmla="*/ 293695 h 361033"/>
                  <a:gd name="connsiteX11" fmla="*/ 135613 w 383598"/>
                  <a:gd name="connsiteY11" fmla="*/ 290536 h 361033"/>
                  <a:gd name="connsiteX12" fmla="*/ 133808 w 383598"/>
                  <a:gd name="connsiteY12" fmla="*/ 287151 h 361033"/>
                  <a:gd name="connsiteX13" fmla="*/ 138321 w 383598"/>
                  <a:gd name="connsiteY13" fmla="*/ 282413 h 361033"/>
                  <a:gd name="connsiteX14" fmla="*/ 142383 w 383598"/>
                  <a:gd name="connsiteY14" fmla="*/ 279479 h 361033"/>
                  <a:gd name="connsiteX15" fmla="*/ 148250 w 383598"/>
                  <a:gd name="connsiteY15" fmla="*/ 275192 h 361033"/>
                  <a:gd name="connsiteX16" fmla="*/ 154342 w 383598"/>
                  <a:gd name="connsiteY16" fmla="*/ 270228 h 361033"/>
                  <a:gd name="connsiteX17" fmla="*/ 145090 w 383598"/>
                  <a:gd name="connsiteY17" fmla="*/ 265038 h 361033"/>
                  <a:gd name="connsiteX18" fmla="*/ 134485 w 383598"/>
                  <a:gd name="connsiteY18" fmla="*/ 260525 h 361033"/>
                  <a:gd name="connsiteX19" fmla="*/ 117110 w 383598"/>
                  <a:gd name="connsiteY19" fmla="*/ 251499 h 361033"/>
                  <a:gd name="connsiteX20" fmla="*/ 110115 w 383598"/>
                  <a:gd name="connsiteY20" fmla="*/ 247663 h 361033"/>
                  <a:gd name="connsiteX21" fmla="*/ 100864 w 383598"/>
                  <a:gd name="connsiteY21" fmla="*/ 237735 h 361033"/>
                  <a:gd name="connsiteX22" fmla="*/ 98156 w 383598"/>
                  <a:gd name="connsiteY22" fmla="*/ 234125 h 361033"/>
                  <a:gd name="connsiteX23" fmla="*/ 94094 w 383598"/>
                  <a:gd name="connsiteY23" fmla="*/ 235027 h 361033"/>
                  <a:gd name="connsiteX24" fmla="*/ 85294 w 383598"/>
                  <a:gd name="connsiteY24" fmla="*/ 239089 h 361033"/>
                  <a:gd name="connsiteX25" fmla="*/ 71304 w 383598"/>
                  <a:gd name="connsiteY25" fmla="*/ 247663 h 361033"/>
                  <a:gd name="connsiteX26" fmla="*/ 60022 w 383598"/>
                  <a:gd name="connsiteY26" fmla="*/ 257817 h 361033"/>
                  <a:gd name="connsiteX27" fmla="*/ 52124 w 383598"/>
                  <a:gd name="connsiteY27" fmla="*/ 254658 h 361033"/>
                  <a:gd name="connsiteX28" fmla="*/ 38134 w 383598"/>
                  <a:gd name="connsiteY28" fmla="*/ 244279 h 361033"/>
                  <a:gd name="connsiteX29" fmla="*/ 36103 w 383598"/>
                  <a:gd name="connsiteY29" fmla="*/ 243150 h 361033"/>
                  <a:gd name="connsiteX30" fmla="*/ 20082 w 383598"/>
                  <a:gd name="connsiteY30" fmla="*/ 217427 h 361033"/>
                  <a:gd name="connsiteX31" fmla="*/ 23016 w 383598"/>
                  <a:gd name="connsiteY31" fmla="*/ 205016 h 361033"/>
                  <a:gd name="connsiteX32" fmla="*/ 25724 w 383598"/>
                  <a:gd name="connsiteY32" fmla="*/ 200278 h 361033"/>
                  <a:gd name="connsiteX33" fmla="*/ 32042 w 383598"/>
                  <a:gd name="connsiteY33" fmla="*/ 187641 h 361033"/>
                  <a:gd name="connsiteX34" fmla="*/ 36780 w 383598"/>
                  <a:gd name="connsiteY34" fmla="*/ 179969 h 361033"/>
                  <a:gd name="connsiteX35" fmla="*/ 39488 w 383598"/>
                  <a:gd name="connsiteY35" fmla="*/ 175682 h 361033"/>
                  <a:gd name="connsiteX36" fmla="*/ 37683 w 383598"/>
                  <a:gd name="connsiteY36" fmla="*/ 166205 h 361033"/>
                  <a:gd name="connsiteX37" fmla="*/ 30913 w 383598"/>
                  <a:gd name="connsiteY37" fmla="*/ 159661 h 361033"/>
                  <a:gd name="connsiteX38" fmla="*/ 21888 w 383598"/>
                  <a:gd name="connsiteY38" fmla="*/ 151312 h 361033"/>
                  <a:gd name="connsiteX39" fmla="*/ 14441 w 383598"/>
                  <a:gd name="connsiteY39" fmla="*/ 146799 h 361033"/>
                  <a:gd name="connsiteX40" fmla="*/ 6092 w 383598"/>
                  <a:gd name="connsiteY40" fmla="*/ 142061 h 361033"/>
                  <a:gd name="connsiteX41" fmla="*/ 451 w 383598"/>
                  <a:gd name="connsiteY41" fmla="*/ 134840 h 361033"/>
                  <a:gd name="connsiteX42" fmla="*/ 0 w 383598"/>
                  <a:gd name="connsiteY42" fmla="*/ 133712 h 361033"/>
                  <a:gd name="connsiteX43" fmla="*/ 1805 w 383598"/>
                  <a:gd name="connsiteY43" fmla="*/ 131907 h 361033"/>
                  <a:gd name="connsiteX44" fmla="*/ 11508 w 383598"/>
                  <a:gd name="connsiteY44" fmla="*/ 127394 h 361033"/>
                  <a:gd name="connsiteX45" fmla="*/ 22113 w 383598"/>
                  <a:gd name="connsiteY45" fmla="*/ 111373 h 361033"/>
                  <a:gd name="connsiteX46" fmla="*/ 19857 w 383598"/>
                  <a:gd name="connsiteY46" fmla="*/ 96255 h 361033"/>
                  <a:gd name="connsiteX47" fmla="*/ 23918 w 383598"/>
                  <a:gd name="connsiteY47" fmla="*/ 64664 h 361033"/>
                  <a:gd name="connsiteX48" fmla="*/ 33170 w 383598"/>
                  <a:gd name="connsiteY48" fmla="*/ 45710 h 361033"/>
                  <a:gd name="connsiteX49" fmla="*/ 42647 w 383598"/>
                  <a:gd name="connsiteY49" fmla="*/ 30592 h 361033"/>
                  <a:gd name="connsiteX50" fmla="*/ 51222 w 383598"/>
                  <a:gd name="connsiteY50" fmla="*/ 28561 h 361033"/>
                  <a:gd name="connsiteX51" fmla="*/ 65437 w 383598"/>
                  <a:gd name="connsiteY51" fmla="*/ 26079 h 361033"/>
                  <a:gd name="connsiteX52" fmla="*/ 83715 w 383598"/>
                  <a:gd name="connsiteY52" fmla="*/ 22017 h 361033"/>
                  <a:gd name="connsiteX53" fmla="*/ 93869 w 383598"/>
                  <a:gd name="connsiteY53" fmla="*/ 18632 h 361033"/>
                  <a:gd name="connsiteX54" fmla="*/ 100638 w 383598"/>
                  <a:gd name="connsiteY54" fmla="*/ 15699 h 361033"/>
                  <a:gd name="connsiteX55" fmla="*/ 122526 w 383598"/>
                  <a:gd name="connsiteY55" fmla="*/ 15925 h 361033"/>
                  <a:gd name="connsiteX56" fmla="*/ 130649 w 383598"/>
                  <a:gd name="connsiteY56" fmla="*/ 22243 h 361033"/>
                  <a:gd name="connsiteX57" fmla="*/ 131100 w 383598"/>
                  <a:gd name="connsiteY57" fmla="*/ 22694 h 361033"/>
                  <a:gd name="connsiteX58" fmla="*/ 139449 w 383598"/>
                  <a:gd name="connsiteY58" fmla="*/ 33976 h 361033"/>
                  <a:gd name="connsiteX59" fmla="*/ 144413 w 383598"/>
                  <a:gd name="connsiteY59" fmla="*/ 39392 h 361033"/>
                  <a:gd name="connsiteX60" fmla="*/ 168558 w 383598"/>
                  <a:gd name="connsiteY60" fmla="*/ 31494 h 361033"/>
                  <a:gd name="connsiteX61" fmla="*/ 165399 w 383598"/>
                  <a:gd name="connsiteY61" fmla="*/ 23371 h 361033"/>
                  <a:gd name="connsiteX62" fmla="*/ 160209 w 383598"/>
                  <a:gd name="connsiteY62" fmla="*/ 10509 h 361033"/>
                  <a:gd name="connsiteX63" fmla="*/ 159757 w 383598"/>
                  <a:gd name="connsiteY63" fmla="*/ 8478 h 361033"/>
                  <a:gd name="connsiteX64" fmla="*/ 162014 w 383598"/>
                  <a:gd name="connsiteY64" fmla="*/ 8253 h 361033"/>
                  <a:gd name="connsiteX65" fmla="*/ 166075 w 383598"/>
                  <a:gd name="connsiteY65" fmla="*/ 7350 h 361033"/>
                  <a:gd name="connsiteX66" fmla="*/ 168783 w 383598"/>
                  <a:gd name="connsiteY66" fmla="*/ 5771 h 361033"/>
                  <a:gd name="connsiteX67" fmla="*/ 188189 w 383598"/>
                  <a:gd name="connsiteY67" fmla="*/ 806 h 361033"/>
                  <a:gd name="connsiteX68" fmla="*/ 206015 w 383598"/>
                  <a:gd name="connsiteY68" fmla="*/ 24048 h 361033"/>
                  <a:gd name="connsiteX69" fmla="*/ 206917 w 383598"/>
                  <a:gd name="connsiteY69" fmla="*/ 25627 h 361033"/>
                  <a:gd name="connsiteX70" fmla="*/ 240313 w 383598"/>
                  <a:gd name="connsiteY70" fmla="*/ 52479 h 361033"/>
                  <a:gd name="connsiteX71" fmla="*/ 254303 w 383598"/>
                  <a:gd name="connsiteY71" fmla="*/ 52931 h 361033"/>
                  <a:gd name="connsiteX72" fmla="*/ 268293 w 383598"/>
                  <a:gd name="connsiteY72" fmla="*/ 55413 h 361033"/>
                  <a:gd name="connsiteX73" fmla="*/ 291084 w 383598"/>
                  <a:gd name="connsiteY73" fmla="*/ 69854 h 361033"/>
                  <a:gd name="connsiteX74" fmla="*/ 299884 w 383598"/>
                  <a:gd name="connsiteY74" fmla="*/ 75721 h 361033"/>
                  <a:gd name="connsiteX75" fmla="*/ 311617 w 383598"/>
                  <a:gd name="connsiteY75" fmla="*/ 86552 h 361033"/>
                  <a:gd name="connsiteX76" fmla="*/ 318612 w 383598"/>
                  <a:gd name="connsiteY76" fmla="*/ 94224 h 361033"/>
                  <a:gd name="connsiteX77" fmla="*/ 324705 w 383598"/>
                  <a:gd name="connsiteY77" fmla="*/ 100542 h 361033"/>
                  <a:gd name="connsiteX78" fmla="*/ 340274 w 383598"/>
                  <a:gd name="connsiteY78" fmla="*/ 113404 h 361033"/>
                  <a:gd name="connsiteX79" fmla="*/ 367126 w 383598"/>
                  <a:gd name="connsiteY79" fmla="*/ 124461 h 361033"/>
                  <a:gd name="connsiteX80" fmla="*/ 387209 w 383598"/>
                  <a:gd name="connsiteY80" fmla="*/ 146123 h 361033"/>
                  <a:gd name="connsiteX81" fmla="*/ 389465 w 383598"/>
                  <a:gd name="connsiteY81" fmla="*/ 150184 h 361033"/>
                  <a:gd name="connsiteX82" fmla="*/ 373896 w 383598"/>
                  <a:gd name="connsiteY82" fmla="*/ 187867 h 361033"/>
                  <a:gd name="connsiteX83" fmla="*/ 368706 w 383598"/>
                  <a:gd name="connsiteY83" fmla="*/ 194411 h 361033"/>
                  <a:gd name="connsiteX84" fmla="*/ 357198 w 383598"/>
                  <a:gd name="connsiteY84" fmla="*/ 203888 h 361033"/>
                  <a:gd name="connsiteX85" fmla="*/ 344336 w 383598"/>
                  <a:gd name="connsiteY85" fmla="*/ 217427 h 361033"/>
                  <a:gd name="connsiteX86" fmla="*/ 340726 w 383598"/>
                  <a:gd name="connsiteY86" fmla="*/ 231417 h 361033"/>
                  <a:gd name="connsiteX87" fmla="*/ 329669 w 383598"/>
                  <a:gd name="connsiteY87" fmla="*/ 255787 h 361033"/>
                  <a:gd name="connsiteX88" fmla="*/ 315228 w 383598"/>
                  <a:gd name="connsiteY88" fmla="*/ 288054 h 361033"/>
                  <a:gd name="connsiteX89" fmla="*/ 304622 w 383598"/>
                  <a:gd name="connsiteY89" fmla="*/ 324383 h 361033"/>
                  <a:gd name="connsiteX90" fmla="*/ 299207 w 383598"/>
                  <a:gd name="connsiteY90" fmla="*/ 338373 h 361033"/>
                  <a:gd name="connsiteX91" fmla="*/ 301689 w 383598"/>
                  <a:gd name="connsiteY91" fmla="*/ 345368 h 361033"/>
                  <a:gd name="connsiteX92" fmla="*/ 302366 w 383598"/>
                  <a:gd name="connsiteY92" fmla="*/ 346496 h 361033"/>
                  <a:gd name="connsiteX93" fmla="*/ 301463 w 383598"/>
                  <a:gd name="connsiteY93" fmla="*/ 347625 h 361033"/>
                  <a:gd name="connsiteX94" fmla="*/ 296273 w 383598"/>
                  <a:gd name="connsiteY94" fmla="*/ 354845 h 361033"/>
                  <a:gd name="connsiteX95" fmla="*/ 287247 w 383598"/>
                  <a:gd name="connsiteY95" fmla="*/ 364322 h 361033"/>
                  <a:gd name="connsiteX96" fmla="*/ 286796 w 383598"/>
                  <a:gd name="connsiteY96" fmla="*/ 363645 h 361033"/>
                  <a:gd name="connsiteX97" fmla="*/ 266939 w 383598"/>
                  <a:gd name="connsiteY97" fmla="*/ 342209 h 361033"/>
                  <a:gd name="connsiteX98" fmla="*/ 275965 w 383598"/>
                  <a:gd name="connsiteY98" fmla="*/ 346722 h 361033"/>
                  <a:gd name="connsiteX99" fmla="*/ 282058 w 383598"/>
                  <a:gd name="connsiteY99" fmla="*/ 354845 h 361033"/>
                  <a:gd name="connsiteX100" fmla="*/ 287247 w 383598"/>
                  <a:gd name="connsiteY100" fmla="*/ 359809 h 361033"/>
                  <a:gd name="connsiteX101" fmla="*/ 293566 w 383598"/>
                  <a:gd name="connsiteY101" fmla="*/ 351912 h 361033"/>
                  <a:gd name="connsiteX102" fmla="*/ 298079 w 383598"/>
                  <a:gd name="connsiteY102" fmla="*/ 345594 h 361033"/>
                  <a:gd name="connsiteX103" fmla="*/ 295596 w 383598"/>
                  <a:gd name="connsiteY103" fmla="*/ 337245 h 361033"/>
                  <a:gd name="connsiteX104" fmla="*/ 301463 w 383598"/>
                  <a:gd name="connsiteY104" fmla="*/ 322126 h 361033"/>
                  <a:gd name="connsiteX105" fmla="*/ 311617 w 383598"/>
                  <a:gd name="connsiteY105" fmla="*/ 287828 h 361033"/>
                  <a:gd name="connsiteX106" fmla="*/ 327187 w 383598"/>
                  <a:gd name="connsiteY106" fmla="*/ 252402 h 361033"/>
                  <a:gd name="connsiteX107" fmla="*/ 337115 w 383598"/>
                  <a:gd name="connsiteY107" fmla="*/ 230063 h 361033"/>
                  <a:gd name="connsiteX108" fmla="*/ 340951 w 383598"/>
                  <a:gd name="connsiteY108" fmla="*/ 215396 h 361033"/>
                  <a:gd name="connsiteX109" fmla="*/ 355393 w 383598"/>
                  <a:gd name="connsiteY109" fmla="*/ 200052 h 361033"/>
                  <a:gd name="connsiteX110" fmla="*/ 365772 w 383598"/>
                  <a:gd name="connsiteY110" fmla="*/ 191477 h 361033"/>
                  <a:gd name="connsiteX111" fmla="*/ 370962 w 383598"/>
                  <a:gd name="connsiteY111" fmla="*/ 184708 h 361033"/>
                  <a:gd name="connsiteX112" fmla="*/ 386306 w 383598"/>
                  <a:gd name="connsiteY112" fmla="*/ 151087 h 361033"/>
                  <a:gd name="connsiteX113" fmla="*/ 384050 w 383598"/>
                  <a:gd name="connsiteY113" fmla="*/ 147025 h 361033"/>
                  <a:gd name="connsiteX114" fmla="*/ 366224 w 383598"/>
                  <a:gd name="connsiteY114" fmla="*/ 127168 h 361033"/>
                  <a:gd name="connsiteX115" fmla="*/ 338469 w 383598"/>
                  <a:gd name="connsiteY115" fmla="*/ 115660 h 361033"/>
                  <a:gd name="connsiteX116" fmla="*/ 321997 w 383598"/>
                  <a:gd name="connsiteY116" fmla="*/ 102122 h 361033"/>
                  <a:gd name="connsiteX117" fmla="*/ 315905 w 383598"/>
                  <a:gd name="connsiteY117" fmla="*/ 96029 h 361033"/>
                  <a:gd name="connsiteX118" fmla="*/ 308684 w 383598"/>
                  <a:gd name="connsiteY118" fmla="*/ 87906 h 361033"/>
                  <a:gd name="connsiteX119" fmla="*/ 297853 w 383598"/>
                  <a:gd name="connsiteY119" fmla="*/ 77752 h 361033"/>
                  <a:gd name="connsiteX120" fmla="*/ 288827 w 383598"/>
                  <a:gd name="connsiteY120" fmla="*/ 71885 h 361033"/>
                  <a:gd name="connsiteX121" fmla="*/ 266488 w 383598"/>
                  <a:gd name="connsiteY121" fmla="*/ 57669 h 361033"/>
                  <a:gd name="connsiteX122" fmla="*/ 254303 w 383598"/>
                  <a:gd name="connsiteY122" fmla="*/ 55638 h 361033"/>
                  <a:gd name="connsiteX123" fmla="*/ 239862 w 383598"/>
                  <a:gd name="connsiteY123" fmla="*/ 54961 h 361033"/>
                  <a:gd name="connsiteX124" fmla="*/ 203758 w 383598"/>
                  <a:gd name="connsiteY124" fmla="*/ 26304 h 361033"/>
                  <a:gd name="connsiteX125" fmla="*/ 202856 w 383598"/>
                  <a:gd name="connsiteY125" fmla="*/ 24725 h 361033"/>
                  <a:gd name="connsiteX126" fmla="*/ 186835 w 383598"/>
                  <a:gd name="connsiteY126" fmla="*/ 3289 h 361033"/>
                  <a:gd name="connsiteX127" fmla="*/ 170814 w 383598"/>
                  <a:gd name="connsiteY127" fmla="*/ 8027 h 361033"/>
                  <a:gd name="connsiteX128" fmla="*/ 167655 w 383598"/>
                  <a:gd name="connsiteY128" fmla="*/ 9832 h 361033"/>
                  <a:gd name="connsiteX129" fmla="*/ 164722 w 383598"/>
                  <a:gd name="connsiteY129" fmla="*/ 10735 h 361033"/>
                  <a:gd name="connsiteX130" fmla="*/ 169009 w 383598"/>
                  <a:gd name="connsiteY130" fmla="*/ 20663 h 361033"/>
                  <a:gd name="connsiteX131" fmla="*/ 172619 w 383598"/>
                  <a:gd name="connsiteY131" fmla="*/ 31043 h 361033"/>
                  <a:gd name="connsiteX132" fmla="*/ 144188 w 383598"/>
                  <a:gd name="connsiteY132" fmla="*/ 42100 h 361033"/>
                  <a:gd name="connsiteX133" fmla="*/ 136290 w 383598"/>
                  <a:gd name="connsiteY133" fmla="*/ 34428 h 361033"/>
                  <a:gd name="connsiteX134" fmla="*/ 129295 w 383598"/>
                  <a:gd name="connsiteY134" fmla="*/ 24951 h 361033"/>
                  <a:gd name="connsiteX135" fmla="*/ 125459 w 383598"/>
                  <a:gd name="connsiteY135" fmla="*/ 20889 h 361033"/>
                  <a:gd name="connsiteX136" fmla="*/ 121172 w 383598"/>
                  <a:gd name="connsiteY136" fmla="*/ 18632 h 361033"/>
                  <a:gd name="connsiteX137" fmla="*/ 103120 w 383598"/>
                  <a:gd name="connsiteY137" fmla="*/ 18181 h 361033"/>
                  <a:gd name="connsiteX138" fmla="*/ 95223 w 383598"/>
                  <a:gd name="connsiteY138" fmla="*/ 21566 h 361033"/>
                  <a:gd name="connsiteX139" fmla="*/ 85746 w 383598"/>
                  <a:gd name="connsiteY139" fmla="*/ 24725 h 361033"/>
                  <a:gd name="connsiteX140" fmla="*/ 65663 w 383598"/>
                  <a:gd name="connsiteY140" fmla="*/ 29012 h 361033"/>
                  <a:gd name="connsiteX141" fmla="*/ 53252 w 383598"/>
                  <a:gd name="connsiteY141" fmla="*/ 31269 h 361033"/>
                  <a:gd name="connsiteX142" fmla="*/ 43098 w 383598"/>
                  <a:gd name="connsiteY142" fmla="*/ 33751 h 361033"/>
                  <a:gd name="connsiteX143" fmla="*/ 37232 w 383598"/>
                  <a:gd name="connsiteY143" fmla="*/ 45936 h 361033"/>
                  <a:gd name="connsiteX144" fmla="*/ 26175 w 383598"/>
                  <a:gd name="connsiteY144" fmla="*/ 67372 h 361033"/>
                  <a:gd name="connsiteX145" fmla="*/ 23918 w 383598"/>
                  <a:gd name="connsiteY145" fmla="*/ 94901 h 361033"/>
                  <a:gd name="connsiteX146" fmla="*/ 26175 w 383598"/>
                  <a:gd name="connsiteY146" fmla="*/ 110922 h 361033"/>
                  <a:gd name="connsiteX147" fmla="*/ 12411 w 383598"/>
                  <a:gd name="connsiteY147" fmla="*/ 130553 h 361033"/>
                  <a:gd name="connsiteX148" fmla="*/ 4739 w 383598"/>
                  <a:gd name="connsiteY148" fmla="*/ 134163 h 361033"/>
                  <a:gd name="connsiteX149" fmla="*/ 8349 w 383598"/>
                  <a:gd name="connsiteY149" fmla="*/ 138451 h 361033"/>
                  <a:gd name="connsiteX150" fmla="*/ 16472 w 383598"/>
                  <a:gd name="connsiteY150" fmla="*/ 142963 h 361033"/>
                  <a:gd name="connsiteX151" fmla="*/ 24595 w 383598"/>
                  <a:gd name="connsiteY151" fmla="*/ 147928 h 361033"/>
                  <a:gd name="connsiteX152" fmla="*/ 34073 w 383598"/>
                  <a:gd name="connsiteY152" fmla="*/ 156502 h 361033"/>
                  <a:gd name="connsiteX153" fmla="*/ 40616 w 383598"/>
                  <a:gd name="connsiteY153" fmla="*/ 163046 h 361033"/>
                  <a:gd name="connsiteX154" fmla="*/ 43098 w 383598"/>
                  <a:gd name="connsiteY154" fmla="*/ 177262 h 361033"/>
                  <a:gd name="connsiteX155" fmla="*/ 40616 w 383598"/>
                  <a:gd name="connsiteY155" fmla="*/ 181323 h 361033"/>
                  <a:gd name="connsiteX156" fmla="*/ 35878 w 383598"/>
                  <a:gd name="connsiteY156" fmla="*/ 189221 h 361033"/>
                  <a:gd name="connsiteX157" fmla="*/ 30011 w 383598"/>
                  <a:gd name="connsiteY157" fmla="*/ 200729 h 361033"/>
                  <a:gd name="connsiteX158" fmla="*/ 26401 w 383598"/>
                  <a:gd name="connsiteY158" fmla="*/ 207047 h 361033"/>
                  <a:gd name="connsiteX159" fmla="*/ 24370 w 383598"/>
                  <a:gd name="connsiteY159" fmla="*/ 216524 h 361033"/>
                  <a:gd name="connsiteX160" fmla="*/ 38585 w 383598"/>
                  <a:gd name="connsiteY160" fmla="*/ 239540 h 361033"/>
                  <a:gd name="connsiteX161" fmla="*/ 40616 w 383598"/>
                  <a:gd name="connsiteY161" fmla="*/ 240668 h 361033"/>
                  <a:gd name="connsiteX162" fmla="*/ 55283 w 383598"/>
                  <a:gd name="connsiteY162" fmla="*/ 251499 h 361033"/>
                  <a:gd name="connsiteX163" fmla="*/ 60247 w 383598"/>
                  <a:gd name="connsiteY163" fmla="*/ 253756 h 361033"/>
                  <a:gd name="connsiteX164" fmla="*/ 68822 w 383598"/>
                  <a:gd name="connsiteY164" fmla="*/ 245407 h 361033"/>
                  <a:gd name="connsiteX165" fmla="*/ 85069 w 383598"/>
                  <a:gd name="connsiteY165" fmla="*/ 235253 h 361033"/>
                  <a:gd name="connsiteX166" fmla="*/ 92740 w 383598"/>
                  <a:gd name="connsiteY166" fmla="*/ 231642 h 361033"/>
                  <a:gd name="connsiteX167" fmla="*/ 100638 w 383598"/>
                  <a:gd name="connsiteY167" fmla="*/ 230514 h 361033"/>
                  <a:gd name="connsiteX168" fmla="*/ 104925 w 383598"/>
                  <a:gd name="connsiteY168" fmla="*/ 235930 h 361033"/>
                  <a:gd name="connsiteX169" fmla="*/ 112372 w 383598"/>
                  <a:gd name="connsiteY169" fmla="*/ 244279 h 361033"/>
                  <a:gd name="connsiteX170" fmla="*/ 119367 w 383598"/>
                  <a:gd name="connsiteY170" fmla="*/ 248115 h 361033"/>
                  <a:gd name="connsiteX171" fmla="*/ 136742 w 383598"/>
                  <a:gd name="connsiteY171" fmla="*/ 256915 h 361033"/>
                  <a:gd name="connsiteX172" fmla="*/ 147121 w 383598"/>
                  <a:gd name="connsiteY172" fmla="*/ 261428 h 361033"/>
                  <a:gd name="connsiteX173" fmla="*/ 158404 w 383598"/>
                  <a:gd name="connsiteY173" fmla="*/ 268648 h 361033"/>
                  <a:gd name="connsiteX174" fmla="*/ 150957 w 383598"/>
                  <a:gd name="connsiteY174" fmla="*/ 278125 h 361033"/>
                  <a:gd name="connsiteX175" fmla="*/ 145767 w 383598"/>
                  <a:gd name="connsiteY175" fmla="*/ 281736 h 361033"/>
                  <a:gd name="connsiteX176" fmla="*/ 141029 w 383598"/>
                  <a:gd name="connsiteY176" fmla="*/ 285121 h 361033"/>
                  <a:gd name="connsiteX177" fmla="*/ 138321 w 383598"/>
                  <a:gd name="connsiteY177" fmla="*/ 286926 h 361033"/>
                  <a:gd name="connsiteX178" fmla="*/ 138772 w 383598"/>
                  <a:gd name="connsiteY178" fmla="*/ 287377 h 361033"/>
                  <a:gd name="connsiteX179" fmla="*/ 144865 w 383598"/>
                  <a:gd name="connsiteY179" fmla="*/ 289633 h 361033"/>
                  <a:gd name="connsiteX180" fmla="*/ 164722 w 383598"/>
                  <a:gd name="connsiteY180" fmla="*/ 304977 h 361033"/>
                  <a:gd name="connsiteX181" fmla="*/ 173522 w 383598"/>
                  <a:gd name="connsiteY181" fmla="*/ 309942 h 361033"/>
                  <a:gd name="connsiteX182" fmla="*/ 189768 w 383598"/>
                  <a:gd name="connsiteY182" fmla="*/ 317388 h 361033"/>
                  <a:gd name="connsiteX183" fmla="*/ 208948 w 383598"/>
                  <a:gd name="connsiteY183" fmla="*/ 328896 h 361033"/>
                  <a:gd name="connsiteX184" fmla="*/ 220456 w 383598"/>
                  <a:gd name="connsiteY184" fmla="*/ 337019 h 361033"/>
                  <a:gd name="connsiteX185" fmla="*/ 244826 w 383598"/>
                  <a:gd name="connsiteY185" fmla="*/ 345819 h 361033"/>
                  <a:gd name="connsiteX186" fmla="*/ 259493 w 383598"/>
                  <a:gd name="connsiteY186" fmla="*/ 343337 h 361033"/>
                  <a:gd name="connsiteX187" fmla="*/ 266939 w 383598"/>
                  <a:gd name="connsiteY187" fmla="*/ 342209 h 3610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383598" h="361033">
                    <a:moveTo>
                      <a:pt x="286796" y="363645"/>
                    </a:moveTo>
                    <a:cubicBezTo>
                      <a:pt x="283412" y="363645"/>
                      <a:pt x="281381" y="360712"/>
                      <a:pt x="278899" y="357102"/>
                    </a:cubicBezTo>
                    <a:cubicBezTo>
                      <a:pt x="277319" y="354845"/>
                      <a:pt x="275514" y="352363"/>
                      <a:pt x="273032" y="349204"/>
                    </a:cubicBezTo>
                    <a:cubicBezTo>
                      <a:pt x="269196" y="344691"/>
                      <a:pt x="266262" y="345594"/>
                      <a:pt x="260170" y="347399"/>
                    </a:cubicBezTo>
                    <a:cubicBezTo>
                      <a:pt x="256108" y="348527"/>
                      <a:pt x="251144" y="349881"/>
                      <a:pt x="244375" y="349881"/>
                    </a:cubicBezTo>
                    <a:cubicBezTo>
                      <a:pt x="227000" y="349881"/>
                      <a:pt x="216169" y="345142"/>
                      <a:pt x="216169" y="337245"/>
                    </a:cubicBezTo>
                    <a:cubicBezTo>
                      <a:pt x="216169" y="335891"/>
                      <a:pt x="211205" y="334086"/>
                      <a:pt x="207143" y="332732"/>
                    </a:cubicBezTo>
                    <a:cubicBezTo>
                      <a:pt x="199697" y="330250"/>
                      <a:pt x="190445" y="327091"/>
                      <a:pt x="185932" y="319644"/>
                    </a:cubicBezTo>
                    <a:cubicBezTo>
                      <a:pt x="182773" y="314455"/>
                      <a:pt x="177583" y="314229"/>
                      <a:pt x="172619" y="314003"/>
                    </a:cubicBezTo>
                    <a:cubicBezTo>
                      <a:pt x="167429" y="313778"/>
                      <a:pt x="161337" y="313552"/>
                      <a:pt x="160209" y="305880"/>
                    </a:cubicBezTo>
                    <a:cubicBezTo>
                      <a:pt x="159081" y="298434"/>
                      <a:pt x="149829" y="295726"/>
                      <a:pt x="143060" y="293695"/>
                    </a:cubicBezTo>
                    <a:cubicBezTo>
                      <a:pt x="139675" y="292567"/>
                      <a:pt x="136967" y="291890"/>
                      <a:pt x="135613" y="290536"/>
                    </a:cubicBezTo>
                    <a:cubicBezTo>
                      <a:pt x="134485" y="289408"/>
                      <a:pt x="133808" y="288280"/>
                      <a:pt x="133808" y="287151"/>
                    </a:cubicBezTo>
                    <a:cubicBezTo>
                      <a:pt x="134034" y="285121"/>
                      <a:pt x="136065" y="283767"/>
                      <a:pt x="138321" y="282413"/>
                    </a:cubicBezTo>
                    <a:cubicBezTo>
                      <a:pt x="139675" y="281510"/>
                      <a:pt x="141254" y="280608"/>
                      <a:pt x="142383" y="279479"/>
                    </a:cubicBezTo>
                    <a:cubicBezTo>
                      <a:pt x="143962" y="278125"/>
                      <a:pt x="145993" y="276546"/>
                      <a:pt x="148250" y="275192"/>
                    </a:cubicBezTo>
                    <a:cubicBezTo>
                      <a:pt x="150055" y="274064"/>
                      <a:pt x="154568" y="271130"/>
                      <a:pt x="154342" y="270228"/>
                    </a:cubicBezTo>
                    <a:cubicBezTo>
                      <a:pt x="153665" y="268423"/>
                      <a:pt x="150055" y="267069"/>
                      <a:pt x="145090" y="265038"/>
                    </a:cubicBezTo>
                    <a:cubicBezTo>
                      <a:pt x="142157" y="263910"/>
                      <a:pt x="138547" y="262330"/>
                      <a:pt x="134485" y="260525"/>
                    </a:cubicBezTo>
                    <a:cubicBezTo>
                      <a:pt x="126136" y="256463"/>
                      <a:pt x="122075" y="254207"/>
                      <a:pt x="117110" y="251499"/>
                    </a:cubicBezTo>
                    <a:cubicBezTo>
                      <a:pt x="115080" y="250371"/>
                      <a:pt x="112823" y="249243"/>
                      <a:pt x="110115" y="247663"/>
                    </a:cubicBezTo>
                    <a:cubicBezTo>
                      <a:pt x="104248" y="244504"/>
                      <a:pt x="102443" y="240668"/>
                      <a:pt x="100864" y="237735"/>
                    </a:cubicBezTo>
                    <a:cubicBezTo>
                      <a:pt x="99961" y="235704"/>
                      <a:pt x="99284" y="234576"/>
                      <a:pt x="98156" y="234125"/>
                    </a:cubicBezTo>
                    <a:cubicBezTo>
                      <a:pt x="96802" y="233448"/>
                      <a:pt x="96577" y="233673"/>
                      <a:pt x="94094" y="235027"/>
                    </a:cubicBezTo>
                    <a:cubicBezTo>
                      <a:pt x="92289" y="236155"/>
                      <a:pt x="89581" y="237960"/>
                      <a:pt x="85294" y="239089"/>
                    </a:cubicBezTo>
                    <a:cubicBezTo>
                      <a:pt x="76494" y="241345"/>
                      <a:pt x="74238" y="243150"/>
                      <a:pt x="71304" y="247663"/>
                    </a:cubicBezTo>
                    <a:cubicBezTo>
                      <a:pt x="69048" y="251274"/>
                      <a:pt x="65212" y="257140"/>
                      <a:pt x="60022" y="257817"/>
                    </a:cubicBezTo>
                    <a:cubicBezTo>
                      <a:pt x="57314" y="258269"/>
                      <a:pt x="54606" y="257140"/>
                      <a:pt x="52124" y="254658"/>
                    </a:cubicBezTo>
                    <a:cubicBezTo>
                      <a:pt x="45580" y="248566"/>
                      <a:pt x="43775" y="247438"/>
                      <a:pt x="38134" y="244279"/>
                    </a:cubicBezTo>
                    <a:lnTo>
                      <a:pt x="36103" y="243150"/>
                    </a:lnTo>
                    <a:cubicBezTo>
                      <a:pt x="28206" y="238637"/>
                      <a:pt x="22113" y="228935"/>
                      <a:pt x="20082" y="217427"/>
                    </a:cubicBezTo>
                    <a:cubicBezTo>
                      <a:pt x="18729" y="209755"/>
                      <a:pt x="20985" y="207273"/>
                      <a:pt x="23016" y="205016"/>
                    </a:cubicBezTo>
                    <a:cubicBezTo>
                      <a:pt x="24144" y="203662"/>
                      <a:pt x="25272" y="202534"/>
                      <a:pt x="25724" y="200278"/>
                    </a:cubicBezTo>
                    <a:cubicBezTo>
                      <a:pt x="27077" y="195313"/>
                      <a:pt x="29334" y="191929"/>
                      <a:pt x="32042" y="187641"/>
                    </a:cubicBezTo>
                    <a:cubicBezTo>
                      <a:pt x="33396" y="185385"/>
                      <a:pt x="34975" y="182903"/>
                      <a:pt x="36780" y="179969"/>
                    </a:cubicBezTo>
                    <a:cubicBezTo>
                      <a:pt x="37683" y="178164"/>
                      <a:pt x="38585" y="176810"/>
                      <a:pt x="39488" y="175682"/>
                    </a:cubicBezTo>
                    <a:cubicBezTo>
                      <a:pt x="42421" y="171169"/>
                      <a:pt x="42647" y="170944"/>
                      <a:pt x="37683" y="166205"/>
                    </a:cubicBezTo>
                    <a:cubicBezTo>
                      <a:pt x="34749" y="163497"/>
                      <a:pt x="32719" y="161466"/>
                      <a:pt x="30913" y="159661"/>
                    </a:cubicBezTo>
                    <a:cubicBezTo>
                      <a:pt x="27980" y="156728"/>
                      <a:pt x="25724" y="154471"/>
                      <a:pt x="21888" y="151312"/>
                    </a:cubicBezTo>
                    <a:cubicBezTo>
                      <a:pt x="18503" y="148605"/>
                      <a:pt x="16698" y="147702"/>
                      <a:pt x="14441" y="146799"/>
                    </a:cubicBezTo>
                    <a:cubicBezTo>
                      <a:pt x="12411" y="145897"/>
                      <a:pt x="10154" y="144769"/>
                      <a:pt x="6092" y="142061"/>
                    </a:cubicBezTo>
                    <a:cubicBezTo>
                      <a:pt x="3610" y="140481"/>
                      <a:pt x="1805" y="137999"/>
                      <a:pt x="451" y="134840"/>
                    </a:cubicBezTo>
                    <a:lnTo>
                      <a:pt x="0" y="133712"/>
                    </a:lnTo>
                    <a:lnTo>
                      <a:pt x="1805" y="131907"/>
                    </a:lnTo>
                    <a:cubicBezTo>
                      <a:pt x="4287" y="130327"/>
                      <a:pt x="7221" y="128296"/>
                      <a:pt x="11508" y="127394"/>
                    </a:cubicBezTo>
                    <a:cubicBezTo>
                      <a:pt x="20082" y="125589"/>
                      <a:pt x="22113" y="124686"/>
                      <a:pt x="22113" y="111373"/>
                    </a:cubicBezTo>
                    <a:cubicBezTo>
                      <a:pt x="22113" y="107086"/>
                      <a:pt x="20985" y="101896"/>
                      <a:pt x="19857" y="96255"/>
                    </a:cubicBezTo>
                    <a:cubicBezTo>
                      <a:pt x="17375" y="83844"/>
                      <a:pt x="14441" y="69854"/>
                      <a:pt x="23918" y="64664"/>
                    </a:cubicBezTo>
                    <a:cubicBezTo>
                      <a:pt x="29560" y="61731"/>
                      <a:pt x="31365" y="53156"/>
                      <a:pt x="33170" y="45710"/>
                    </a:cubicBezTo>
                    <a:cubicBezTo>
                      <a:pt x="34975" y="37812"/>
                      <a:pt x="36555" y="30592"/>
                      <a:pt x="42647" y="30592"/>
                    </a:cubicBezTo>
                    <a:cubicBezTo>
                      <a:pt x="46483" y="30592"/>
                      <a:pt x="48740" y="29689"/>
                      <a:pt x="51222" y="28561"/>
                    </a:cubicBezTo>
                    <a:cubicBezTo>
                      <a:pt x="54381" y="27207"/>
                      <a:pt x="58217" y="25402"/>
                      <a:pt x="65437" y="26079"/>
                    </a:cubicBezTo>
                    <a:cubicBezTo>
                      <a:pt x="72658" y="26530"/>
                      <a:pt x="78299" y="24274"/>
                      <a:pt x="83715" y="22017"/>
                    </a:cubicBezTo>
                    <a:cubicBezTo>
                      <a:pt x="86874" y="20663"/>
                      <a:pt x="90258" y="19309"/>
                      <a:pt x="93869" y="18632"/>
                    </a:cubicBezTo>
                    <a:cubicBezTo>
                      <a:pt x="96577" y="18181"/>
                      <a:pt x="98382" y="16827"/>
                      <a:pt x="100638" y="15699"/>
                    </a:cubicBezTo>
                    <a:cubicBezTo>
                      <a:pt x="105602" y="12766"/>
                      <a:pt x="110567" y="9832"/>
                      <a:pt x="122526" y="15925"/>
                    </a:cubicBezTo>
                    <a:cubicBezTo>
                      <a:pt x="131100" y="20438"/>
                      <a:pt x="131326" y="20663"/>
                      <a:pt x="130649" y="22243"/>
                    </a:cubicBezTo>
                    <a:cubicBezTo>
                      <a:pt x="130875" y="22468"/>
                      <a:pt x="131100" y="22468"/>
                      <a:pt x="131100" y="22694"/>
                    </a:cubicBezTo>
                    <a:cubicBezTo>
                      <a:pt x="136065" y="26304"/>
                      <a:pt x="137870" y="30366"/>
                      <a:pt x="139449" y="33976"/>
                    </a:cubicBezTo>
                    <a:cubicBezTo>
                      <a:pt x="141029" y="37587"/>
                      <a:pt x="141706" y="39166"/>
                      <a:pt x="144413" y="39392"/>
                    </a:cubicBezTo>
                    <a:cubicBezTo>
                      <a:pt x="152085" y="40295"/>
                      <a:pt x="168106" y="35330"/>
                      <a:pt x="168558" y="31494"/>
                    </a:cubicBezTo>
                    <a:cubicBezTo>
                      <a:pt x="168783" y="30140"/>
                      <a:pt x="166978" y="26530"/>
                      <a:pt x="165399" y="23371"/>
                    </a:cubicBezTo>
                    <a:cubicBezTo>
                      <a:pt x="163368" y="19309"/>
                      <a:pt x="161111" y="15022"/>
                      <a:pt x="160209" y="10509"/>
                    </a:cubicBezTo>
                    <a:lnTo>
                      <a:pt x="159757" y="8478"/>
                    </a:lnTo>
                    <a:lnTo>
                      <a:pt x="162014" y="8253"/>
                    </a:lnTo>
                    <a:cubicBezTo>
                      <a:pt x="163593" y="8253"/>
                      <a:pt x="164947" y="7801"/>
                      <a:pt x="166075" y="7350"/>
                    </a:cubicBezTo>
                    <a:cubicBezTo>
                      <a:pt x="166752" y="7125"/>
                      <a:pt x="167655" y="6448"/>
                      <a:pt x="168783" y="5771"/>
                    </a:cubicBezTo>
                    <a:cubicBezTo>
                      <a:pt x="173522" y="2837"/>
                      <a:pt x="181645" y="-1901"/>
                      <a:pt x="188189" y="806"/>
                    </a:cubicBezTo>
                    <a:cubicBezTo>
                      <a:pt x="194281" y="3289"/>
                      <a:pt x="200374" y="13443"/>
                      <a:pt x="206015" y="24048"/>
                    </a:cubicBezTo>
                    <a:lnTo>
                      <a:pt x="206917" y="25627"/>
                    </a:lnTo>
                    <a:cubicBezTo>
                      <a:pt x="210077" y="31269"/>
                      <a:pt x="226323" y="50674"/>
                      <a:pt x="240313" y="52479"/>
                    </a:cubicBezTo>
                    <a:cubicBezTo>
                      <a:pt x="246406" y="53156"/>
                      <a:pt x="250693" y="53156"/>
                      <a:pt x="254303" y="52931"/>
                    </a:cubicBezTo>
                    <a:cubicBezTo>
                      <a:pt x="259493" y="52705"/>
                      <a:pt x="263103" y="52705"/>
                      <a:pt x="268293" y="55413"/>
                    </a:cubicBezTo>
                    <a:cubicBezTo>
                      <a:pt x="274160" y="58572"/>
                      <a:pt x="283186" y="64439"/>
                      <a:pt x="291084" y="69854"/>
                    </a:cubicBezTo>
                    <a:cubicBezTo>
                      <a:pt x="294243" y="71885"/>
                      <a:pt x="297402" y="73916"/>
                      <a:pt x="299884" y="75721"/>
                    </a:cubicBezTo>
                    <a:cubicBezTo>
                      <a:pt x="305750" y="79557"/>
                      <a:pt x="308684" y="82942"/>
                      <a:pt x="311617" y="86552"/>
                    </a:cubicBezTo>
                    <a:cubicBezTo>
                      <a:pt x="313422" y="88808"/>
                      <a:pt x="315453" y="91291"/>
                      <a:pt x="318612" y="94224"/>
                    </a:cubicBezTo>
                    <a:cubicBezTo>
                      <a:pt x="320869" y="96480"/>
                      <a:pt x="322900" y="98511"/>
                      <a:pt x="324705" y="100542"/>
                    </a:cubicBezTo>
                    <a:cubicBezTo>
                      <a:pt x="328992" y="105055"/>
                      <a:pt x="332828" y="109117"/>
                      <a:pt x="340274" y="113404"/>
                    </a:cubicBezTo>
                    <a:cubicBezTo>
                      <a:pt x="351105" y="119496"/>
                      <a:pt x="356521" y="121301"/>
                      <a:pt x="367126" y="124461"/>
                    </a:cubicBezTo>
                    <a:cubicBezTo>
                      <a:pt x="377506" y="127620"/>
                      <a:pt x="381793" y="135743"/>
                      <a:pt x="387209" y="146123"/>
                    </a:cubicBezTo>
                    <a:cubicBezTo>
                      <a:pt x="387886" y="147476"/>
                      <a:pt x="388563" y="148830"/>
                      <a:pt x="389465" y="150184"/>
                    </a:cubicBezTo>
                    <a:cubicBezTo>
                      <a:pt x="395332" y="161241"/>
                      <a:pt x="382922" y="176585"/>
                      <a:pt x="373896" y="187867"/>
                    </a:cubicBezTo>
                    <a:cubicBezTo>
                      <a:pt x="371865" y="190349"/>
                      <a:pt x="370060" y="192606"/>
                      <a:pt x="368706" y="194411"/>
                    </a:cubicBezTo>
                    <a:cubicBezTo>
                      <a:pt x="365321" y="199149"/>
                      <a:pt x="361260" y="201631"/>
                      <a:pt x="357198" y="203888"/>
                    </a:cubicBezTo>
                    <a:cubicBezTo>
                      <a:pt x="352234" y="207047"/>
                      <a:pt x="347495" y="209755"/>
                      <a:pt x="344336" y="217427"/>
                    </a:cubicBezTo>
                    <a:cubicBezTo>
                      <a:pt x="342305" y="222391"/>
                      <a:pt x="341628" y="226904"/>
                      <a:pt x="340726" y="231417"/>
                    </a:cubicBezTo>
                    <a:cubicBezTo>
                      <a:pt x="339372" y="239766"/>
                      <a:pt x="338018" y="247438"/>
                      <a:pt x="329669" y="255787"/>
                    </a:cubicBezTo>
                    <a:cubicBezTo>
                      <a:pt x="317484" y="267971"/>
                      <a:pt x="313422" y="272936"/>
                      <a:pt x="315228" y="288054"/>
                    </a:cubicBezTo>
                    <a:cubicBezTo>
                      <a:pt x="316582" y="298885"/>
                      <a:pt x="310038" y="312875"/>
                      <a:pt x="304622" y="324383"/>
                    </a:cubicBezTo>
                    <a:cubicBezTo>
                      <a:pt x="301914" y="330475"/>
                      <a:pt x="299432" y="335665"/>
                      <a:pt x="299207" y="338373"/>
                    </a:cubicBezTo>
                    <a:cubicBezTo>
                      <a:pt x="298981" y="339953"/>
                      <a:pt x="299884" y="342435"/>
                      <a:pt x="301689" y="345368"/>
                    </a:cubicBezTo>
                    <a:lnTo>
                      <a:pt x="302366" y="346496"/>
                    </a:lnTo>
                    <a:lnTo>
                      <a:pt x="301463" y="347625"/>
                    </a:lnTo>
                    <a:cubicBezTo>
                      <a:pt x="299658" y="349881"/>
                      <a:pt x="297853" y="352363"/>
                      <a:pt x="296273" y="354845"/>
                    </a:cubicBezTo>
                    <a:cubicBezTo>
                      <a:pt x="292212" y="360712"/>
                      <a:pt x="289955" y="363871"/>
                      <a:pt x="287247" y="364322"/>
                    </a:cubicBezTo>
                    <a:cubicBezTo>
                      <a:pt x="287473" y="363645"/>
                      <a:pt x="287247" y="363645"/>
                      <a:pt x="286796" y="363645"/>
                    </a:cubicBezTo>
                    <a:close/>
                    <a:moveTo>
                      <a:pt x="266939" y="342209"/>
                    </a:moveTo>
                    <a:cubicBezTo>
                      <a:pt x="270098" y="342209"/>
                      <a:pt x="273032" y="343337"/>
                      <a:pt x="275965" y="346722"/>
                    </a:cubicBezTo>
                    <a:cubicBezTo>
                      <a:pt x="278673" y="349881"/>
                      <a:pt x="280704" y="352589"/>
                      <a:pt x="282058" y="354845"/>
                    </a:cubicBezTo>
                    <a:cubicBezTo>
                      <a:pt x="284991" y="358907"/>
                      <a:pt x="285894" y="360035"/>
                      <a:pt x="287247" y="359809"/>
                    </a:cubicBezTo>
                    <a:cubicBezTo>
                      <a:pt x="288376" y="359584"/>
                      <a:pt x="291309" y="355071"/>
                      <a:pt x="293566" y="351912"/>
                    </a:cubicBezTo>
                    <a:cubicBezTo>
                      <a:pt x="294920" y="349881"/>
                      <a:pt x="296499" y="347625"/>
                      <a:pt x="298079" y="345594"/>
                    </a:cubicBezTo>
                    <a:cubicBezTo>
                      <a:pt x="296273" y="342435"/>
                      <a:pt x="295371" y="339727"/>
                      <a:pt x="295596" y="337245"/>
                    </a:cubicBezTo>
                    <a:cubicBezTo>
                      <a:pt x="296048" y="333860"/>
                      <a:pt x="298304" y="328670"/>
                      <a:pt x="301463" y="322126"/>
                    </a:cubicBezTo>
                    <a:cubicBezTo>
                      <a:pt x="306428" y="311070"/>
                      <a:pt x="312746" y="297531"/>
                      <a:pt x="311617" y="287828"/>
                    </a:cubicBezTo>
                    <a:cubicBezTo>
                      <a:pt x="309587" y="270905"/>
                      <a:pt x="315002" y="264587"/>
                      <a:pt x="327187" y="252402"/>
                    </a:cubicBezTo>
                    <a:cubicBezTo>
                      <a:pt x="334633" y="244956"/>
                      <a:pt x="335761" y="238186"/>
                      <a:pt x="337115" y="230063"/>
                    </a:cubicBezTo>
                    <a:cubicBezTo>
                      <a:pt x="338018" y="225324"/>
                      <a:pt x="338695" y="220586"/>
                      <a:pt x="340951" y="215396"/>
                    </a:cubicBezTo>
                    <a:cubicBezTo>
                      <a:pt x="344336" y="206596"/>
                      <a:pt x="349977" y="203211"/>
                      <a:pt x="355393" y="200052"/>
                    </a:cubicBezTo>
                    <a:cubicBezTo>
                      <a:pt x="359229" y="197796"/>
                      <a:pt x="362839" y="195539"/>
                      <a:pt x="365772" y="191477"/>
                    </a:cubicBezTo>
                    <a:cubicBezTo>
                      <a:pt x="367126" y="189447"/>
                      <a:pt x="368931" y="187190"/>
                      <a:pt x="370962" y="184708"/>
                    </a:cubicBezTo>
                    <a:cubicBezTo>
                      <a:pt x="378860" y="174780"/>
                      <a:pt x="391045" y="159887"/>
                      <a:pt x="386306" y="151087"/>
                    </a:cubicBezTo>
                    <a:cubicBezTo>
                      <a:pt x="385629" y="149733"/>
                      <a:pt x="384727" y="148379"/>
                      <a:pt x="384050" y="147025"/>
                    </a:cubicBezTo>
                    <a:cubicBezTo>
                      <a:pt x="378860" y="137097"/>
                      <a:pt x="375024" y="129876"/>
                      <a:pt x="366224" y="127168"/>
                    </a:cubicBezTo>
                    <a:cubicBezTo>
                      <a:pt x="355618" y="124009"/>
                      <a:pt x="349752" y="121978"/>
                      <a:pt x="338469" y="115660"/>
                    </a:cubicBezTo>
                    <a:cubicBezTo>
                      <a:pt x="330572" y="111147"/>
                      <a:pt x="326510" y="107086"/>
                      <a:pt x="321997" y="102122"/>
                    </a:cubicBezTo>
                    <a:cubicBezTo>
                      <a:pt x="320192" y="100316"/>
                      <a:pt x="318387" y="98286"/>
                      <a:pt x="315905" y="96029"/>
                    </a:cubicBezTo>
                    <a:cubicBezTo>
                      <a:pt x="312746" y="92870"/>
                      <a:pt x="310489" y="90388"/>
                      <a:pt x="308684" y="87906"/>
                    </a:cubicBezTo>
                    <a:cubicBezTo>
                      <a:pt x="305750" y="84295"/>
                      <a:pt x="303268" y="81362"/>
                      <a:pt x="297853" y="77752"/>
                    </a:cubicBezTo>
                    <a:cubicBezTo>
                      <a:pt x="295145" y="75947"/>
                      <a:pt x="292212" y="73916"/>
                      <a:pt x="288827" y="71885"/>
                    </a:cubicBezTo>
                    <a:cubicBezTo>
                      <a:pt x="280929" y="66695"/>
                      <a:pt x="272129" y="60603"/>
                      <a:pt x="266488" y="57669"/>
                    </a:cubicBezTo>
                    <a:cubicBezTo>
                      <a:pt x="262201" y="55413"/>
                      <a:pt x="259267" y="55413"/>
                      <a:pt x="254303" y="55638"/>
                    </a:cubicBezTo>
                    <a:cubicBezTo>
                      <a:pt x="250693" y="55638"/>
                      <a:pt x="246180" y="55864"/>
                      <a:pt x="239862" y="54961"/>
                    </a:cubicBezTo>
                    <a:cubicBezTo>
                      <a:pt x="223615" y="52931"/>
                      <a:pt x="206241" y="30817"/>
                      <a:pt x="203758" y="26304"/>
                    </a:cubicBezTo>
                    <a:lnTo>
                      <a:pt x="202856" y="24725"/>
                    </a:lnTo>
                    <a:cubicBezTo>
                      <a:pt x="199697" y="19084"/>
                      <a:pt x="192702" y="5545"/>
                      <a:pt x="186835" y="3289"/>
                    </a:cubicBezTo>
                    <a:cubicBezTo>
                      <a:pt x="182096" y="1483"/>
                      <a:pt x="175101" y="5545"/>
                      <a:pt x="170814" y="8027"/>
                    </a:cubicBezTo>
                    <a:cubicBezTo>
                      <a:pt x="169460" y="8930"/>
                      <a:pt x="168332" y="9381"/>
                      <a:pt x="167655" y="9832"/>
                    </a:cubicBezTo>
                    <a:cubicBezTo>
                      <a:pt x="166752" y="10284"/>
                      <a:pt x="165850" y="10509"/>
                      <a:pt x="164722" y="10735"/>
                    </a:cubicBezTo>
                    <a:cubicBezTo>
                      <a:pt x="165624" y="14120"/>
                      <a:pt x="167429" y="17504"/>
                      <a:pt x="169009" y="20663"/>
                    </a:cubicBezTo>
                    <a:cubicBezTo>
                      <a:pt x="171265" y="24951"/>
                      <a:pt x="173071" y="28561"/>
                      <a:pt x="172619" y="31043"/>
                    </a:cubicBezTo>
                    <a:cubicBezTo>
                      <a:pt x="171265" y="38489"/>
                      <a:pt x="151409" y="43002"/>
                      <a:pt x="144188" y="42100"/>
                    </a:cubicBezTo>
                    <a:cubicBezTo>
                      <a:pt x="139224" y="41423"/>
                      <a:pt x="137644" y="37812"/>
                      <a:pt x="136290" y="34428"/>
                    </a:cubicBezTo>
                    <a:cubicBezTo>
                      <a:pt x="134936" y="31269"/>
                      <a:pt x="133357" y="27658"/>
                      <a:pt x="129295" y="24951"/>
                    </a:cubicBezTo>
                    <a:cubicBezTo>
                      <a:pt x="127039" y="23371"/>
                      <a:pt x="125459" y="22243"/>
                      <a:pt x="125459" y="20889"/>
                    </a:cubicBezTo>
                    <a:cubicBezTo>
                      <a:pt x="123880" y="19986"/>
                      <a:pt x="122075" y="19084"/>
                      <a:pt x="121172" y="18632"/>
                    </a:cubicBezTo>
                    <a:cubicBezTo>
                      <a:pt x="111244" y="13217"/>
                      <a:pt x="107633" y="15473"/>
                      <a:pt x="103120" y="18181"/>
                    </a:cubicBezTo>
                    <a:cubicBezTo>
                      <a:pt x="100864" y="19535"/>
                      <a:pt x="98382" y="20889"/>
                      <a:pt x="95223" y="21566"/>
                    </a:cubicBezTo>
                    <a:cubicBezTo>
                      <a:pt x="92064" y="22243"/>
                      <a:pt x="88905" y="23597"/>
                      <a:pt x="85746" y="24725"/>
                    </a:cubicBezTo>
                    <a:cubicBezTo>
                      <a:pt x="79879" y="27207"/>
                      <a:pt x="73786" y="29689"/>
                      <a:pt x="65663" y="29012"/>
                    </a:cubicBezTo>
                    <a:cubicBezTo>
                      <a:pt x="59345" y="28561"/>
                      <a:pt x="56412" y="29915"/>
                      <a:pt x="53252" y="31269"/>
                    </a:cubicBezTo>
                    <a:cubicBezTo>
                      <a:pt x="50545" y="32397"/>
                      <a:pt x="47837" y="33751"/>
                      <a:pt x="43098" y="33751"/>
                    </a:cubicBezTo>
                    <a:cubicBezTo>
                      <a:pt x="39939" y="33751"/>
                      <a:pt x="38585" y="39618"/>
                      <a:pt x="37232" y="45936"/>
                    </a:cubicBezTo>
                    <a:cubicBezTo>
                      <a:pt x="35426" y="54059"/>
                      <a:pt x="33170" y="63536"/>
                      <a:pt x="26175" y="67372"/>
                    </a:cubicBezTo>
                    <a:cubicBezTo>
                      <a:pt x="18954" y="71208"/>
                      <a:pt x="21436" y="83167"/>
                      <a:pt x="23918" y="94901"/>
                    </a:cubicBezTo>
                    <a:cubicBezTo>
                      <a:pt x="25047" y="100768"/>
                      <a:pt x="26175" y="106183"/>
                      <a:pt x="26175" y="110922"/>
                    </a:cubicBezTo>
                    <a:cubicBezTo>
                      <a:pt x="26175" y="125589"/>
                      <a:pt x="23016" y="128522"/>
                      <a:pt x="12411" y="130553"/>
                    </a:cubicBezTo>
                    <a:cubicBezTo>
                      <a:pt x="9251" y="131230"/>
                      <a:pt x="6769" y="132584"/>
                      <a:pt x="4739" y="134163"/>
                    </a:cubicBezTo>
                    <a:cubicBezTo>
                      <a:pt x="5641" y="136194"/>
                      <a:pt x="6995" y="137548"/>
                      <a:pt x="8349" y="138451"/>
                    </a:cubicBezTo>
                    <a:cubicBezTo>
                      <a:pt x="12185" y="140933"/>
                      <a:pt x="14441" y="142061"/>
                      <a:pt x="16472" y="142963"/>
                    </a:cubicBezTo>
                    <a:cubicBezTo>
                      <a:pt x="18954" y="144092"/>
                      <a:pt x="20759" y="144994"/>
                      <a:pt x="24595" y="147928"/>
                    </a:cubicBezTo>
                    <a:cubicBezTo>
                      <a:pt x="28657" y="151312"/>
                      <a:pt x="31139" y="153569"/>
                      <a:pt x="34073" y="156502"/>
                    </a:cubicBezTo>
                    <a:cubicBezTo>
                      <a:pt x="35878" y="158307"/>
                      <a:pt x="37909" y="160338"/>
                      <a:pt x="40616" y="163046"/>
                    </a:cubicBezTo>
                    <a:cubicBezTo>
                      <a:pt x="47160" y="169138"/>
                      <a:pt x="46483" y="171621"/>
                      <a:pt x="43098" y="177262"/>
                    </a:cubicBezTo>
                    <a:cubicBezTo>
                      <a:pt x="42421" y="178390"/>
                      <a:pt x="41519" y="179744"/>
                      <a:pt x="40616" y="181323"/>
                    </a:cubicBezTo>
                    <a:cubicBezTo>
                      <a:pt x="39037" y="184257"/>
                      <a:pt x="37232" y="186964"/>
                      <a:pt x="35878" y="189221"/>
                    </a:cubicBezTo>
                    <a:cubicBezTo>
                      <a:pt x="33170" y="193283"/>
                      <a:pt x="31139" y="196442"/>
                      <a:pt x="30011" y="200729"/>
                    </a:cubicBezTo>
                    <a:cubicBezTo>
                      <a:pt x="29108" y="203888"/>
                      <a:pt x="27754" y="205467"/>
                      <a:pt x="26401" y="207047"/>
                    </a:cubicBezTo>
                    <a:cubicBezTo>
                      <a:pt x="24595" y="209078"/>
                      <a:pt x="23242" y="210657"/>
                      <a:pt x="24370" y="216524"/>
                    </a:cubicBezTo>
                    <a:cubicBezTo>
                      <a:pt x="26175" y="226904"/>
                      <a:pt x="31590" y="235704"/>
                      <a:pt x="38585" y="239540"/>
                    </a:cubicBezTo>
                    <a:lnTo>
                      <a:pt x="40616" y="240668"/>
                    </a:lnTo>
                    <a:cubicBezTo>
                      <a:pt x="46483" y="243827"/>
                      <a:pt x="48514" y="244956"/>
                      <a:pt x="55283" y="251499"/>
                    </a:cubicBezTo>
                    <a:cubicBezTo>
                      <a:pt x="57088" y="253079"/>
                      <a:pt x="58668" y="253756"/>
                      <a:pt x="60247" y="253756"/>
                    </a:cubicBezTo>
                    <a:cubicBezTo>
                      <a:pt x="63858" y="253304"/>
                      <a:pt x="67017" y="248115"/>
                      <a:pt x="68822" y="245407"/>
                    </a:cubicBezTo>
                    <a:cubicBezTo>
                      <a:pt x="72432" y="239766"/>
                      <a:pt x="75817" y="237509"/>
                      <a:pt x="85069" y="235253"/>
                    </a:cubicBezTo>
                    <a:cubicBezTo>
                      <a:pt x="88679" y="234350"/>
                      <a:pt x="90935" y="232771"/>
                      <a:pt x="92740" y="231642"/>
                    </a:cubicBezTo>
                    <a:cubicBezTo>
                      <a:pt x="94997" y="230063"/>
                      <a:pt x="97253" y="228709"/>
                      <a:pt x="100638" y="230514"/>
                    </a:cubicBezTo>
                    <a:cubicBezTo>
                      <a:pt x="102895" y="231868"/>
                      <a:pt x="103797" y="233899"/>
                      <a:pt x="104925" y="235930"/>
                    </a:cubicBezTo>
                    <a:cubicBezTo>
                      <a:pt x="106279" y="238637"/>
                      <a:pt x="107633" y="241571"/>
                      <a:pt x="112372" y="244279"/>
                    </a:cubicBezTo>
                    <a:cubicBezTo>
                      <a:pt x="115080" y="245632"/>
                      <a:pt x="117336" y="246986"/>
                      <a:pt x="119367" y="248115"/>
                    </a:cubicBezTo>
                    <a:cubicBezTo>
                      <a:pt x="124331" y="250822"/>
                      <a:pt x="128618" y="253079"/>
                      <a:pt x="136742" y="256915"/>
                    </a:cubicBezTo>
                    <a:cubicBezTo>
                      <a:pt x="140803" y="258720"/>
                      <a:pt x="144188" y="260299"/>
                      <a:pt x="147121" y="261428"/>
                    </a:cubicBezTo>
                    <a:cubicBezTo>
                      <a:pt x="153439" y="263910"/>
                      <a:pt x="157050" y="265489"/>
                      <a:pt x="158404" y="268648"/>
                    </a:cubicBezTo>
                    <a:cubicBezTo>
                      <a:pt x="159757" y="272484"/>
                      <a:pt x="155244" y="275418"/>
                      <a:pt x="150957" y="278125"/>
                    </a:cubicBezTo>
                    <a:cubicBezTo>
                      <a:pt x="148926" y="279479"/>
                      <a:pt x="146896" y="280608"/>
                      <a:pt x="145767" y="281736"/>
                    </a:cubicBezTo>
                    <a:cubicBezTo>
                      <a:pt x="144413" y="283090"/>
                      <a:pt x="142608" y="284218"/>
                      <a:pt x="141029" y="285121"/>
                    </a:cubicBezTo>
                    <a:cubicBezTo>
                      <a:pt x="140126" y="285797"/>
                      <a:pt x="138772" y="286474"/>
                      <a:pt x="138321" y="286926"/>
                    </a:cubicBezTo>
                    <a:cubicBezTo>
                      <a:pt x="138321" y="286926"/>
                      <a:pt x="138547" y="287151"/>
                      <a:pt x="138772" y="287377"/>
                    </a:cubicBezTo>
                    <a:cubicBezTo>
                      <a:pt x="139675" y="288054"/>
                      <a:pt x="142383" y="288957"/>
                      <a:pt x="144865" y="289633"/>
                    </a:cubicBezTo>
                    <a:cubicBezTo>
                      <a:pt x="152085" y="291890"/>
                      <a:pt x="163368" y="295275"/>
                      <a:pt x="164722" y="304977"/>
                    </a:cubicBezTo>
                    <a:cubicBezTo>
                      <a:pt x="165399" y="309490"/>
                      <a:pt x="168106" y="309716"/>
                      <a:pt x="173522" y="309942"/>
                    </a:cubicBezTo>
                    <a:cubicBezTo>
                      <a:pt x="178937" y="310167"/>
                      <a:pt x="185481" y="310393"/>
                      <a:pt x="189768" y="317388"/>
                    </a:cubicBezTo>
                    <a:cubicBezTo>
                      <a:pt x="193604" y="323480"/>
                      <a:pt x="202179" y="326414"/>
                      <a:pt x="208948" y="328896"/>
                    </a:cubicBezTo>
                    <a:cubicBezTo>
                      <a:pt x="215492" y="331152"/>
                      <a:pt x="220456" y="332732"/>
                      <a:pt x="220456" y="337019"/>
                    </a:cubicBezTo>
                    <a:cubicBezTo>
                      <a:pt x="220456" y="341306"/>
                      <a:pt x="228128" y="345819"/>
                      <a:pt x="244826" y="345819"/>
                    </a:cubicBezTo>
                    <a:cubicBezTo>
                      <a:pt x="250918" y="345819"/>
                      <a:pt x="255431" y="344465"/>
                      <a:pt x="259493" y="343337"/>
                    </a:cubicBezTo>
                    <a:cubicBezTo>
                      <a:pt x="261749" y="342886"/>
                      <a:pt x="264457" y="342209"/>
                      <a:pt x="266939" y="342209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xmlns="" id="{F96640C0-E95E-4BF0-B9A2-86CED7C27FED}"/>
                  </a:ext>
                </a:extLst>
              </p:cNvPr>
              <p:cNvSpPr/>
              <p:nvPr/>
            </p:nvSpPr>
            <p:spPr>
              <a:xfrm>
                <a:off x="8720148" y="4047649"/>
                <a:ext cx="67694" cy="112823"/>
              </a:xfrm>
              <a:custGeom>
                <a:avLst/>
                <a:gdLst>
                  <a:gd name="connsiteX0" fmla="*/ 61376 w 67693"/>
                  <a:gd name="connsiteY0" fmla="*/ 134205 h 112823"/>
                  <a:gd name="connsiteX1" fmla="*/ 58442 w 67693"/>
                  <a:gd name="connsiteY1" fmla="*/ 129692 h 112823"/>
                  <a:gd name="connsiteX2" fmla="*/ 54606 w 67693"/>
                  <a:gd name="connsiteY2" fmla="*/ 124954 h 112823"/>
                  <a:gd name="connsiteX3" fmla="*/ 50996 w 67693"/>
                  <a:gd name="connsiteY3" fmla="*/ 122923 h 112823"/>
                  <a:gd name="connsiteX4" fmla="*/ 35878 w 67693"/>
                  <a:gd name="connsiteY4" fmla="*/ 112318 h 112823"/>
                  <a:gd name="connsiteX5" fmla="*/ 30462 w 67693"/>
                  <a:gd name="connsiteY5" fmla="*/ 106225 h 112823"/>
                  <a:gd name="connsiteX6" fmla="*/ 24370 w 67693"/>
                  <a:gd name="connsiteY6" fmla="*/ 97199 h 112823"/>
                  <a:gd name="connsiteX7" fmla="*/ 24370 w 67693"/>
                  <a:gd name="connsiteY7" fmla="*/ 95846 h 112823"/>
                  <a:gd name="connsiteX8" fmla="*/ 21211 w 67693"/>
                  <a:gd name="connsiteY8" fmla="*/ 65384 h 112823"/>
                  <a:gd name="connsiteX9" fmla="*/ 18729 w 67693"/>
                  <a:gd name="connsiteY9" fmla="*/ 58840 h 112823"/>
                  <a:gd name="connsiteX10" fmla="*/ 11959 w 67693"/>
                  <a:gd name="connsiteY10" fmla="*/ 45075 h 112823"/>
                  <a:gd name="connsiteX11" fmla="*/ 1805 w 67693"/>
                  <a:gd name="connsiteY11" fmla="*/ 20480 h 112823"/>
                  <a:gd name="connsiteX12" fmla="*/ 2031 w 67693"/>
                  <a:gd name="connsiteY12" fmla="*/ 15516 h 112823"/>
                  <a:gd name="connsiteX13" fmla="*/ 1580 w 67693"/>
                  <a:gd name="connsiteY13" fmla="*/ 7844 h 112823"/>
                  <a:gd name="connsiteX14" fmla="*/ 1580 w 67693"/>
                  <a:gd name="connsiteY14" fmla="*/ 7844 h 112823"/>
                  <a:gd name="connsiteX15" fmla="*/ 1128 w 67693"/>
                  <a:gd name="connsiteY15" fmla="*/ 6715 h 112823"/>
                  <a:gd name="connsiteX16" fmla="*/ 677 w 67693"/>
                  <a:gd name="connsiteY16" fmla="*/ 5587 h 112823"/>
                  <a:gd name="connsiteX17" fmla="*/ 0 w 67693"/>
                  <a:gd name="connsiteY17" fmla="*/ 4008 h 112823"/>
                  <a:gd name="connsiteX18" fmla="*/ 0 w 67693"/>
                  <a:gd name="connsiteY18" fmla="*/ 3782 h 112823"/>
                  <a:gd name="connsiteX19" fmla="*/ 3385 w 67693"/>
                  <a:gd name="connsiteY19" fmla="*/ 2203 h 112823"/>
                  <a:gd name="connsiteX20" fmla="*/ 3385 w 67693"/>
                  <a:gd name="connsiteY20" fmla="*/ 2428 h 112823"/>
                  <a:gd name="connsiteX21" fmla="*/ 3610 w 67693"/>
                  <a:gd name="connsiteY21" fmla="*/ 2879 h 112823"/>
                  <a:gd name="connsiteX22" fmla="*/ 4062 w 67693"/>
                  <a:gd name="connsiteY22" fmla="*/ 2654 h 112823"/>
                  <a:gd name="connsiteX23" fmla="*/ 11057 w 67693"/>
                  <a:gd name="connsiteY23" fmla="*/ 172 h 112823"/>
                  <a:gd name="connsiteX24" fmla="*/ 24821 w 67693"/>
                  <a:gd name="connsiteY24" fmla="*/ 5362 h 112823"/>
                  <a:gd name="connsiteX25" fmla="*/ 35426 w 67693"/>
                  <a:gd name="connsiteY25" fmla="*/ 18900 h 112823"/>
                  <a:gd name="connsiteX26" fmla="*/ 40842 w 67693"/>
                  <a:gd name="connsiteY26" fmla="*/ 22059 h 112823"/>
                  <a:gd name="connsiteX27" fmla="*/ 45129 w 67693"/>
                  <a:gd name="connsiteY27" fmla="*/ 20931 h 112823"/>
                  <a:gd name="connsiteX28" fmla="*/ 45806 w 67693"/>
                  <a:gd name="connsiteY28" fmla="*/ 20028 h 112823"/>
                  <a:gd name="connsiteX29" fmla="*/ 46934 w 67693"/>
                  <a:gd name="connsiteY29" fmla="*/ 20254 h 112823"/>
                  <a:gd name="connsiteX30" fmla="*/ 53478 w 67693"/>
                  <a:gd name="connsiteY30" fmla="*/ 20705 h 112823"/>
                  <a:gd name="connsiteX31" fmla="*/ 61827 w 67693"/>
                  <a:gd name="connsiteY31" fmla="*/ 19577 h 112823"/>
                  <a:gd name="connsiteX32" fmla="*/ 71079 w 67693"/>
                  <a:gd name="connsiteY32" fmla="*/ 19577 h 112823"/>
                  <a:gd name="connsiteX33" fmla="*/ 74689 w 67693"/>
                  <a:gd name="connsiteY33" fmla="*/ 25895 h 112823"/>
                  <a:gd name="connsiteX34" fmla="*/ 74238 w 67693"/>
                  <a:gd name="connsiteY34" fmla="*/ 35598 h 112823"/>
                  <a:gd name="connsiteX35" fmla="*/ 74238 w 67693"/>
                  <a:gd name="connsiteY35" fmla="*/ 45075 h 112823"/>
                  <a:gd name="connsiteX36" fmla="*/ 80104 w 67693"/>
                  <a:gd name="connsiteY36" fmla="*/ 55455 h 112823"/>
                  <a:gd name="connsiteX37" fmla="*/ 81458 w 67693"/>
                  <a:gd name="connsiteY37" fmla="*/ 67866 h 112823"/>
                  <a:gd name="connsiteX38" fmla="*/ 77848 w 67693"/>
                  <a:gd name="connsiteY38" fmla="*/ 72604 h 112823"/>
                  <a:gd name="connsiteX39" fmla="*/ 75366 w 67693"/>
                  <a:gd name="connsiteY39" fmla="*/ 75538 h 112823"/>
                  <a:gd name="connsiteX40" fmla="*/ 74238 w 67693"/>
                  <a:gd name="connsiteY40" fmla="*/ 88174 h 112823"/>
                  <a:gd name="connsiteX41" fmla="*/ 74012 w 67693"/>
                  <a:gd name="connsiteY41" fmla="*/ 99230 h 112823"/>
                  <a:gd name="connsiteX42" fmla="*/ 73335 w 67693"/>
                  <a:gd name="connsiteY42" fmla="*/ 110061 h 112823"/>
                  <a:gd name="connsiteX43" fmla="*/ 73561 w 67693"/>
                  <a:gd name="connsiteY43" fmla="*/ 115251 h 112823"/>
                  <a:gd name="connsiteX44" fmla="*/ 63858 w 67693"/>
                  <a:gd name="connsiteY44" fmla="*/ 124503 h 112823"/>
                  <a:gd name="connsiteX45" fmla="*/ 62053 w 67693"/>
                  <a:gd name="connsiteY45" fmla="*/ 125405 h 112823"/>
                  <a:gd name="connsiteX46" fmla="*/ 62053 w 67693"/>
                  <a:gd name="connsiteY46" fmla="*/ 126082 h 112823"/>
                  <a:gd name="connsiteX47" fmla="*/ 62053 w 67693"/>
                  <a:gd name="connsiteY47" fmla="*/ 128339 h 112823"/>
                  <a:gd name="connsiteX48" fmla="*/ 61376 w 67693"/>
                  <a:gd name="connsiteY48" fmla="*/ 134205 h 112823"/>
                  <a:gd name="connsiteX49" fmla="*/ 4964 w 67693"/>
                  <a:gd name="connsiteY49" fmla="*/ 6490 h 112823"/>
                  <a:gd name="connsiteX50" fmla="*/ 5641 w 67693"/>
                  <a:gd name="connsiteY50" fmla="*/ 15741 h 112823"/>
                  <a:gd name="connsiteX51" fmla="*/ 5416 w 67693"/>
                  <a:gd name="connsiteY51" fmla="*/ 20480 h 112823"/>
                  <a:gd name="connsiteX52" fmla="*/ 14893 w 67693"/>
                  <a:gd name="connsiteY52" fmla="*/ 42819 h 112823"/>
                  <a:gd name="connsiteX53" fmla="*/ 22113 w 67693"/>
                  <a:gd name="connsiteY53" fmla="*/ 57486 h 112823"/>
                  <a:gd name="connsiteX54" fmla="*/ 24595 w 67693"/>
                  <a:gd name="connsiteY54" fmla="*/ 63804 h 112823"/>
                  <a:gd name="connsiteX55" fmla="*/ 27980 w 67693"/>
                  <a:gd name="connsiteY55" fmla="*/ 95620 h 112823"/>
                  <a:gd name="connsiteX56" fmla="*/ 27980 w 67693"/>
                  <a:gd name="connsiteY56" fmla="*/ 96974 h 112823"/>
                  <a:gd name="connsiteX57" fmla="*/ 32944 w 67693"/>
                  <a:gd name="connsiteY57" fmla="*/ 103292 h 112823"/>
                  <a:gd name="connsiteX58" fmla="*/ 39037 w 67693"/>
                  <a:gd name="connsiteY58" fmla="*/ 110287 h 112823"/>
                  <a:gd name="connsiteX59" fmla="*/ 52576 w 67693"/>
                  <a:gd name="connsiteY59" fmla="*/ 119538 h 112823"/>
                  <a:gd name="connsiteX60" fmla="*/ 57088 w 67693"/>
                  <a:gd name="connsiteY60" fmla="*/ 122246 h 112823"/>
                  <a:gd name="connsiteX61" fmla="*/ 58217 w 67693"/>
                  <a:gd name="connsiteY61" fmla="*/ 123600 h 112823"/>
                  <a:gd name="connsiteX62" fmla="*/ 58668 w 67693"/>
                  <a:gd name="connsiteY62" fmla="*/ 123149 h 112823"/>
                  <a:gd name="connsiteX63" fmla="*/ 62053 w 67693"/>
                  <a:gd name="connsiteY63" fmla="*/ 121344 h 112823"/>
                  <a:gd name="connsiteX64" fmla="*/ 69499 w 67693"/>
                  <a:gd name="connsiteY64" fmla="*/ 115477 h 112823"/>
                  <a:gd name="connsiteX65" fmla="*/ 69273 w 67693"/>
                  <a:gd name="connsiteY65" fmla="*/ 110738 h 112823"/>
                  <a:gd name="connsiteX66" fmla="*/ 70176 w 67693"/>
                  <a:gd name="connsiteY66" fmla="*/ 98553 h 112823"/>
                  <a:gd name="connsiteX67" fmla="*/ 70402 w 67693"/>
                  <a:gd name="connsiteY67" fmla="*/ 88851 h 112823"/>
                  <a:gd name="connsiteX68" fmla="*/ 72432 w 67693"/>
                  <a:gd name="connsiteY68" fmla="*/ 73281 h 112823"/>
                  <a:gd name="connsiteX69" fmla="*/ 74689 w 67693"/>
                  <a:gd name="connsiteY69" fmla="*/ 70799 h 112823"/>
                  <a:gd name="connsiteX70" fmla="*/ 78525 w 67693"/>
                  <a:gd name="connsiteY70" fmla="*/ 65835 h 112823"/>
                  <a:gd name="connsiteX71" fmla="*/ 77171 w 67693"/>
                  <a:gd name="connsiteY71" fmla="*/ 58388 h 112823"/>
                  <a:gd name="connsiteX72" fmla="*/ 70627 w 67693"/>
                  <a:gd name="connsiteY72" fmla="*/ 46429 h 112823"/>
                  <a:gd name="connsiteX73" fmla="*/ 70853 w 67693"/>
                  <a:gd name="connsiteY73" fmla="*/ 34696 h 112823"/>
                  <a:gd name="connsiteX74" fmla="*/ 71079 w 67693"/>
                  <a:gd name="connsiteY74" fmla="*/ 27023 h 112823"/>
                  <a:gd name="connsiteX75" fmla="*/ 69048 w 67693"/>
                  <a:gd name="connsiteY75" fmla="*/ 22962 h 112823"/>
                  <a:gd name="connsiteX76" fmla="*/ 62730 w 67693"/>
                  <a:gd name="connsiteY76" fmla="*/ 23413 h 112823"/>
                  <a:gd name="connsiteX77" fmla="*/ 53704 w 67693"/>
                  <a:gd name="connsiteY77" fmla="*/ 24767 h 112823"/>
                  <a:gd name="connsiteX78" fmla="*/ 47386 w 67693"/>
                  <a:gd name="connsiteY78" fmla="*/ 24316 h 112823"/>
                  <a:gd name="connsiteX79" fmla="*/ 40616 w 67693"/>
                  <a:gd name="connsiteY79" fmla="*/ 26121 h 112823"/>
                  <a:gd name="connsiteX80" fmla="*/ 32267 w 67693"/>
                  <a:gd name="connsiteY80" fmla="*/ 20931 h 112823"/>
                  <a:gd name="connsiteX81" fmla="*/ 22339 w 67693"/>
                  <a:gd name="connsiteY81" fmla="*/ 8295 h 112823"/>
                  <a:gd name="connsiteX82" fmla="*/ 11734 w 67693"/>
                  <a:gd name="connsiteY82" fmla="*/ 4233 h 112823"/>
                  <a:gd name="connsiteX83" fmla="*/ 5867 w 67693"/>
                  <a:gd name="connsiteY83" fmla="*/ 6264 h 112823"/>
                  <a:gd name="connsiteX84" fmla="*/ 4964 w 67693"/>
                  <a:gd name="connsiteY84" fmla="*/ 6490 h 112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67693" h="112823">
                    <a:moveTo>
                      <a:pt x="61376" y="134205"/>
                    </a:moveTo>
                    <a:lnTo>
                      <a:pt x="58442" y="129692"/>
                    </a:lnTo>
                    <a:cubicBezTo>
                      <a:pt x="56863" y="127436"/>
                      <a:pt x="55283" y="125405"/>
                      <a:pt x="54606" y="124954"/>
                    </a:cubicBezTo>
                    <a:cubicBezTo>
                      <a:pt x="54381" y="124728"/>
                      <a:pt x="52576" y="123826"/>
                      <a:pt x="50996" y="122923"/>
                    </a:cubicBezTo>
                    <a:cubicBezTo>
                      <a:pt x="44227" y="119538"/>
                      <a:pt x="37909" y="115928"/>
                      <a:pt x="35878" y="112318"/>
                    </a:cubicBezTo>
                    <a:cubicBezTo>
                      <a:pt x="34750" y="110287"/>
                      <a:pt x="32719" y="108256"/>
                      <a:pt x="30462" y="106225"/>
                    </a:cubicBezTo>
                    <a:cubicBezTo>
                      <a:pt x="27303" y="103292"/>
                      <a:pt x="24370" y="100358"/>
                      <a:pt x="24370" y="97199"/>
                    </a:cubicBezTo>
                    <a:lnTo>
                      <a:pt x="24370" y="95846"/>
                    </a:lnTo>
                    <a:cubicBezTo>
                      <a:pt x="24370" y="90430"/>
                      <a:pt x="24595" y="73732"/>
                      <a:pt x="21211" y="65384"/>
                    </a:cubicBezTo>
                    <a:cubicBezTo>
                      <a:pt x="20308" y="63127"/>
                      <a:pt x="19406" y="60870"/>
                      <a:pt x="18729" y="58840"/>
                    </a:cubicBezTo>
                    <a:cubicBezTo>
                      <a:pt x="16698" y="53198"/>
                      <a:pt x="15118" y="49137"/>
                      <a:pt x="11959" y="45075"/>
                    </a:cubicBezTo>
                    <a:cubicBezTo>
                      <a:pt x="7898" y="39660"/>
                      <a:pt x="1805" y="26798"/>
                      <a:pt x="1805" y="20480"/>
                    </a:cubicBezTo>
                    <a:cubicBezTo>
                      <a:pt x="1805" y="18675"/>
                      <a:pt x="1805" y="17095"/>
                      <a:pt x="2031" y="15516"/>
                    </a:cubicBezTo>
                    <a:cubicBezTo>
                      <a:pt x="2256" y="12357"/>
                      <a:pt x="2256" y="9423"/>
                      <a:pt x="1580" y="7844"/>
                    </a:cubicBezTo>
                    <a:lnTo>
                      <a:pt x="1580" y="7844"/>
                    </a:lnTo>
                    <a:lnTo>
                      <a:pt x="1128" y="6715"/>
                    </a:lnTo>
                    <a:cubicBezTo>
                      <a:pt x="903" y="6264"/>
                      <a:pt x="903" y="6038"/>
                      <a:pt x="677" y="5587"/>
                    </a:cubicBezTo>
                    <a:cubicBezTo>
                      <a:pt x="451" y="5136"/>
                      <a:pt x="226" y="4459"/>
                      <a:pt x="0" y="4008"/>
                    </a:cubicBezTo>
                    <a:cubicBezTo>
                      <a:pt x="0" y="4008"/>
                      <a:pt x="0" y="3782"/>
                      <a:pt x="0" y="3782"/>
                    </a:cubicBezTo>
                    <a:lnTo>
                      <a:pt x="3385" y="2203"/>
                    </a:lnTo>
                    <a:cubicBezTo>
                      <a:pt x="3385" y="2203"/>
                      <a:pt x="3385" y="2428"/>
                      <a:pt x="3385" y="2428"/>
                    </a:cubicBezTo>
                    <a:cubicBezTo>
                      <a:pt x="3385" y="2654"/>
                      <a:pt x="3610" y="2654"/>
                      <a:pt x="3610" y="2879"/>
                    </a:cubicBezTo>
                    <a:cubicBezTo>
                      <a:pt x="3836" y="2879"/>
                      <a:pt x="3836" y="2654"/>
                      <a:pt x="4062" y="2654"/>
                    </a:cubicBezTo>
                    <a:cubicBezTo>
                      <a:pt x="6318" y="1751"/>
                      <a:pt x="8575" y="623"/>
                      <a:pt x="11057" y="172"/>
                    </a:cubicBezTo>
                    <a:cubicBezTo>
                      <a:pt x="17826" y="-956"/>
                      <a:pt x="23467" y="3782"/>
                      <a:pt x="24821" y="5362"/>
                    </a:cubicBezTo>
                    <a:cubicBezTo>
                      <a:pt x="26626" y="7167"/>
                      <a:pt x="33396" y="14839"/>
                      <a:pt x="35426" y="18900"/>
                    </a:cubicBezTo>
                    <a:cubicBezTo>
                      <a:pt x="36103" y="20480"/>
                      <a:pt x="38586" y="21834"/>
                      <a:pt x="40842" y="22059"/>
                    </a:cubicBezTo>
                    <a:cubicBezTo>
                      <a:pt x="41970" y="22285"/>
                      <a:pt x="43775" y="22285"/>
                      <a:pt x="45129" y="20931"/>
                    </a:cubicBezTo>
                    <a:lnTo>
                      <a:pt x="45806" y="20028"/>
                    </a:lnTo>
                    <a:lnTo>
                      <a:pt x="46934" y="20254"/>
                    </a:lnTo>
                    <a:cubicBezTo>
                      <a:pt x="47837" y="20480"/>
                      <a:pt x="49417" y="20705"/>
                      <a:pt x="53478" y="20705"/>
                    </a:cubicBezTo>
                    <a:cubicBezTo>
                      <a:pt x="56637" y="20705"/>
                      <a:pt x="59345" y="20028"/>
                      <a:pt x="61827" y="19577"/>
                    </a:cubicBezTo>
                    <a:cubicBezTo>
                      <a:pt x="65437" y="18675"/>
                      <a:pt x="68371" y="17998"/>
                      <a:pt x="71079" y="19577"/>
                    </a:cubicBezTo>
                    <a:cubicBezTo>
                      <a:pt x="72884" y="20705"/>
                      <a:pt x="74012" y="22736"/>
                      <a:pt x="74689" y="25895"/>
                    </a:cubicBezTo>
                    <a:cubicBezTo>
                      <a:pt x="76043" y="31311"/>
                      <a:pt x="75140" y="33567"/>
                      <a:pt x="74238" y="35598"/>
                    </a:cubicBezTo>
                    <a:cubicBezTo>
                      <a:pt x="73561" y="37403"/>
                      <a:pt x="72884" y="39209"/>
                      <a:pt x="74238" y="45075"/>
                    </a:cubicBezTo>
                    <a:cubicBezTo>
                      <a:pt x="75366" y="50039"/>
                      <a:pt x="77848" y="52973"/>
                      <a:pt x="80104" y="55455"/>
                    </a:cubicBezTo>
                    <a:cubicBezTo>
                      <a:pt x="83038" y="58840"/>
                      <a:pt x="85971" y="62225"/>
                      <a:pt x="81458" y="67866"/>
                    </a:cubicBezTo>
                    <a:cubicBezTo>
                      <a:pt x="78525" y="71476"/>
                      <a:pt x="78074" y="72153"/>
                      <a:pt x="77848" y="72604"/>
                    </a:cubicBezTo>
                    <a:cubicBezTo>
                      <a:pt x="77622" y="73055"/>
                      <a:pt x="77622" y="73055"/>
                      <a:pt x="75366" y="75538"/>
                    </a:cubicBezTo>
                    <a:cubicBezTo>
                      <a:pt x="73335" y="77794"/>
                      <a:pt x="73786" y="83209"/>
                      <a:pt x="74238" y="88174"/>
                    </a:cubicBezTo>
                    <a:cubicBezTo>
                      <a:pt x="74463" y="92461"/>
                      <a:pt x="74915" y="96297"/>
                      <a:pt x="74012" y="99230"/>
                    </a:cubicBezTo>
                    <a:cubicBezTo>
                      <a:pt x="72884" y="103066"/>
                      <a:pt x="73109" y="106451"/>
                      <a:pt x="73335" y="110061"/>
                    </a:cubicBezTo>
                    <a:cubicBezTo>
                      <a:pt x="73561" y="111641"/>
                      <a:pt x="73561" y="113446"/>
                      <a:pt x="73561" y="115251"/>
                    </a:cubicBezTo>
                    <a:cubicBezTo>
                      <a:pt x="73561" y="120667"/>
                      <a:pt x="67468" y="123149"/>
                      <a:pt x="63858" y="124503"/>
                    </a:cubicBezTo>
                    <a:cubicBezTo>
                      <a:pt x="63181" y="124728"/>
                      <a:pt x="62504" y="125180"/>
                      <a:pt x="62053" y="125405"/>
                    </a:cubicBezTo>
                    <a:cubicBezTo>
                      <a:pt x="62053" y="125631"/>
                      <a:pt x="62053" y="125857"/>
                      <a:pt x="62053" y="126082"/>
                    </a:cubicBezTo>
                    <a:cubicBezTo>
                      <a:pt x="62053" y="126759"/>
                      <a:pt x="62053" y="127436"/>
                      <a:pt x="62053" y="128339"/>
                    </a:cubicBezTo>
                    <a:lnTo>
                      <a:pt x="61376" y="134205"/>
                    </a:lnTo>
                    <a:close/>
                    <a:moveTo>
                      <a:pt x="4964" y="6490"/>
                    </a:moveTo>
                    <a:cubicBezTo>
                      <a:pt x="6092" y="8972"/>
                      <a:pt x="5867" y="12131"/>
                      <a:pt x="5641" y="15741"/>
                    </a:cubicBezTo>
                    <a:cubicBezTo>
                      <a:pt x="5641" y="17321"/>
                      <a:pt x="5416" y="18900"/>
                      <a:pt x="5416" y="20480"/>
                    </a:cubicBezTo>
                    <a:cubicBezTo>
                      <a:pt x="5416" y="25444"/>
                      <a:pt x="10831" y="37403"/>
                      <a:pt x="14893" y="42819"/>
                    </a:cubicBezTo>
                    <a:cubicBezTo>
                      <a:pt x="18277" y="47332"/>
                      <a:pt x="19857" y="51619"/>
                      <a:pt x="22113" y="57486"/>
                    </a:cubicBezTo>
                    <a:cubicBezTo>
                      <a:pt x="22790" y="59517"/>
                      <a:pt x="23693" y="61547"/>
                      <a:pt x="24595" y="63804"/>
                    </a:cubicBezTo>
                    <a:cubicBezTo>
                      <a:pt x="28206" y="72830"/>
                      <a:pt x="27980" y="89302"/>
                      <a:pt x="27980" y="95620"/>
                    </a:cubicBezTo>
                    <a:lnTo>
                      <a:pt x="27980" y="96974"/>
                    </a:lnTo>
                    <a:cubicBezTo>
                      <a:pt x="27980" y="98553"/>
                      <a:pt x="30688" y="101035"/>
                      <a:pt x="32944" y="103292"/>
                    </a:cubicBezTo>
                    <a:cubicBezTo>
                      <a:pt x="35201" y="105549"/>
                      <a:pt x="37683" y="107805"/>
                      <a:pt x="39037" y="110287"/>
                    </a:cubicBezTo>
                    <a:cubicBezTo>
                      <a:pt x="40842" y="113446"/>
                      <a:pt x="48514" y="117282"/>
                      <a:pt x="52576" y="119538"/>
                    </a:cubicBezTo>
                    <a:cubicBezTo>
                      <a:pt x="55283" y="120892"/>
                      <a:pt x="56412" y="121569"/>
                      <a:pt x="57088" y="122246"/>
                    </a:cubicBezTo>
                    <a:cubicBezTo>
                      <a:pt x="57314" y="122472"/>
                      <a:pt x="57765" y="122923"/>
                      <a:pt x="58217" y="123600"/>
                    </a:cubicBezTo>
                    <a:cubicBezTo>
                      <a:pt x="58217" y="123374"/>
                      <a:pt x="58442" y="123374"/>
                      <a:pt x="58668" y="123149"/>
                    </a:cubicBezTo>
                    <a:cubicBezTo>
                      <a:pt x="59345" y="122472"/>
                      <a:pt x="60473" y="122021"/>
                      <a:pt x="62053" y="121344"/>
                    </a:cubicBezTo>
                    <a:cubicBezTo>
                      <a:pt x="64986" y="120215"/>
                      <a:pt x="69499" y="118410"/>
                      <a:pt x="69499" y="115477"/>
                    </a:cubicBezTo>
                    <a:cubicBezTo>
                      <a:pt x="69499" y="113897"/>
                      <a:pt x="69273" y="112318"/>
                      <a:pt x="69273" y="110738"/>
                    </a:cubicBezTo>
                    <a:cubicBezTo>
                      <a:pt x="69048" y="106902"/>
                      <a:pt x="68596" y="103066"/>
                      <a:pt x="70176" y="98553"/>
                    </a:cubicBezTo>
                    <a:cubicBezTo>
                      <a:pt x="70853" y="96297"/>
                      <a:pt x="70627" y="92461"/>
                      <a:pt x="70402" y="88851"/>
                    </a:cubicBezTo>
                    <a:cubicBezTo>
                      <a:pt x="69950" y="82984"/>
                      <a:pt x="69499" y="76666"/>
                      <a:pt x="72432" y="73281"/>
                    </a:cubicBezTo>
                    <a:cubicBezTo>
                      <a:pt x="74463" y="71025"/>
                      <a:pt x="74463" y="71025"/>
                      <a:pt x="74689" y="70799"/>
                    </a:cubicBezTo>
                    <a:cubicBezTo>
                      <a:pt x="74915" y="70347"/>
                      <a:pt x="75366" y="69671"/>
                      <a:pt x="78525" y="65835"/>
                    </a:cubicBezTo>
                    <a:cubicBezTo>
                      <a:pt x="80781" y="62901"/>
                      <a:pt x="80104" y="61773"/>
                      <a:pt x="77171" y="58388"/>
                    </a:cubicBezTo>
                    <a:cubicBezTo>
                      <a:pt x="74915" y="55681"/>
                      <a:pt x="71981" y="52070"/>
                      <a:pt x="70627" y="46429"/>
                    </a:cubicBezTo>
                    <a:cubicBezTo>
                      <a:pt x="69048" y="39434"/>
                      <a:pt x="69950" y="36952"/>
                      <a:pt x="70853" y="34696"/>
                    </a:cubicBezTo>
                    <a:cubicBezTo>
                      <a:pt x="71530" y="32890"/>
                      <a:pt x="71981" y="31537"/>
                      <a:pt x="71079" y="27023"/>
                    </a:cubicBezTo>
                    <a:cubicBezTo>
                      <a:pt x="70627" y="24993"/>
                      <a:pt x="69950" y="23639"/>
                      <a:pt x="69048" y="22962"/>
                    </a:cubicBezTo>
                    <a:cubicBezTo>
                      <a:pt x="67919" y="22285"/>
                      <a:pt x="65663" y="22736"/>
                      <a:pt x="62730" y="23413"/>
                    </a:cubicBezTo>
                    <a:cubicBezTo>
                      <a:pt x="60248" y="24090"/>
                      <a:pt x="57088" y="24767"/>
                      <a:pt x="53704" y="24767"/>
                    </a:cubicBezTo>
                    <a:cubicBezTo>
                      <a:pt x="50319" y="24767"/>
                      <a:pt x="48514" y="24541"/>
                      <a:pt x="47386" y="24316"/>
                    </a:cubicBezTo>
                    <a:cubicBezTo>
                      <a:pt x="45581" y="25895"/>
                      <a:pt x="43324" y="26347"/>
                      <a:pt x="40616" y="26121"/>
                    </a:cubicBezTo>
                    <a:cubicBezTo>
                      <a:pt x="37006" y="25670"/>
                      <a:pt x="33621" y="23639"/>
                      <a:pt x="32267" y="20931"/>
                    </a:cubicBezTo>
                    <a:cubicBezTo>
                      <a:pt x="30462" y="17546"/>
                      <a:pt x="24144" y="10100"/>
                      <a:pt x="22339" y="8295"/>
                    </a:cubicBezTo>
                    <a:cubicBezTo>
                      <a:pt x="21211" y="7167"/>
                      <a:pt x="16923" y="3331"/>
                      <a:pt x="11734" y="4233"/>
                    </a:cubicBezTo>
                    <a:cubicBezTo>
                      <a:pt x="9703" y="4459"/>
                      <a:pt x="7898" y="5362"/>
                      <a:pt x="5867" y="6264"/>
                    </a:cubicBezTo>
                    <a:cubicBezTo>
                      <a:pt x="5416" y="6264"/>
                      <a:pt x="5190" y="6490"/>
                      <a:pt x="4964" y="6490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xmlns="" id="{BD60167B-6AF3-46C0-BA56-6486D8BAE2E0}"/>
                  </a:ext>
                </a:extLst>
              </p:cNvPr>
              <p:cNvSpPr/>
              <p:nvPr/>
            </p:nvSpPr>
            <p:spPr>
              <a:xfrm>
                <a:off x="8781523" y="2557654"/>
                <a:ext cx="1105666" cy="767197"/>
              </a:xfrm>
              <a:custGeom>
                <a:avLst/>
                <a:gdLst>
                  <a:gd name="connsiteX0" fmla="*/ 298755 w 1105666"/>
                  <a:gd name="connsiteY0" fmla="*/ 778930 h 767196"/>
                  <a:gd name="connsiteX1" fmla="*/ 294468 w 1105666"/>
                  <a:gd name="connsiteY1" fmla="*/ 778253 h 767196"/>
                  <a:gd name="connsiteX2" fmla="*/ 276191 w 1105666"/>
                  <a:gd name="connsiteY2" fmla="*/ 748919 h 767196"/>
                  <a:gd name="connsiteX3" fmla="*/ 242118 w 1105666"/>
                  <a:gd name="connsiteY3" fmla="*/ 734252 h 767196"/>
                  <a:gd name="connsiteX4" fmla="*/ 240539 w 1105666"/>
                  <a:gd name="connsiteY4" fmla="*/ 734252 h 767196"/>
                  <a:gd name="connsiteX5" fmla="*/ 219328 w 1105666"/>
                  <a:gd name="connsiteY5" fmla="*/ 735155 h 767196"/>
                  <a:gd name="connsiteX6" fmla="*/ 194281 w 1105666"/>
                  <a:gd name="connsiteY6" fmla="*/ 736058 h 767196"/>
                  <a:gd name="connsiteX7" fmla="*/ 169460 w 1105666"/>
                  <a:gd name="connsiteY7" fmla="*/ 724550 h 767196"/>
                  <a:gd name="connsiteX8" fmla="*/ 166301 w 1105666"/>
                  <a:gd name="connsiteY8" fmla="*/ 720262 h 767196"/>
                  <a:gd name="connsiteX9" fmla="*/ 120721 w 1105666"/>
                  <a:gd name="connsiteY9" fmla="*/ 706047 h 767196"/>
                  <a:gd name="connsiteX10" fmla="*/ 84843 w 1105666"/>
                  <a:gd name="connsiteY10" fmla="*/ 693862 h 767196"/>
                  <a:gd name="connsiteX11" fmla="*/ 79202 w 1105666"/>
                  <a:gd name="connsiteY11" fmla="*/ 687995 h 767196"/>
                  <a:gd name="connsiteX12" fmla="*/ 81910 w 1105666"/>
                  <a:gd name="connsiteY12" fmla="*/ 678518 h 767196"/>
                  <a:gd name="connsiteX13" fmla="*/ 86422 w 1105666"/>
                  <a:gd name="connsiteY13" fmla="*/ 667461 h 767196"/>
                  <a:gd name="connsiteX14" fmla="*/ 81684 w 1105666"/>
                  <a:gd name="connsiteY14" fmla="*/ 651892 h 767196"/>
                  <a:gd name="connsiteX15" fmla="*/ 72207 w 1105666"/>
                  <a:gd name="connsiteY15" fmla="*/ 650086 h 767196"/>
                  <a:gd name="connsiteX16" fmla="*/ 64760 w 1105666"/>
                  <a:gd name="connsiteY16" fmla="*/ 653923 h 767196"/>
                  <a:gd name="connsiteX17" fmla="*/ 37909 w 1105666"/>
                  <a:gd name="connsiteY17" fmla="*/ 660241 h 767196"/>
                  <a:gd name="connsiteX18" fmla="*/ 19631 w 1105666"/>
                  <a:gd name="connsiteY18" fmla="*/ 657082 h 767196"/>
                  <a:gd name="connsiteX19" fmla="*/ 14893 w 1105666"/>
                  <a:gd name="connsiteY19" fmla="*/ 656405 h 767196"/>
                  <a:gd name="connsiteX20" fmla="*/ 20759 w 1105666"/>
                  <a:gd name="connsiteY20" fmla="*/ 652569 h 767196"/>
                  <a:gd name="connsiteX21" fmla="*/ 31365 w 1105666"/>
                  <a:gd name="connsiteY21" fmla="*/ 636773 h 767196"/>
                  <a:gd name="connsiteX22" fmla="*/ 32267 w 1105666"/>
                  <a:gd name="connsiteY22" fmla="*/ 627522 h 767196"/>
                  <a:gd name="connsiteX23" fmla="*/ 30462 w 1105666"/>
                  <a:gd name="connsiteY23" fmla="*/ 615563 h 767196"/>
                  <a:gd name="connsiteX24" fmla="*/ 31816 w 1105666"/>
                  <a:gd name="connsiteY24" fmla="*/ 602250 h 767196"/>
                  <a:gd name="connsiteX25" fmla="*/ 38360 w 1105666"/>
                  <a:gd name="connsiteY25" fmla="*/ 592547 h 767196"/>
                  <a:gd name="connsiteX26" fmla="*/ 30237 w 1105666"/>
                  <a:gd name="connsiteY26" fmla="*/ 583521 h 767196"/>
                  <a:gd name="connsiteX27" fmla="*/ 23242 w 1105666"/>
                  <a:gd name="connsiteY27" fmla="*/ 575398 h 767196"/>
                  <a:gd name="connsiteX28" fmla="*/ 31816 w 1105666"/>
                  <a:gd name="connsiteY28" fmla="*/ 569531 h 767196"/>
                  <a:gd name="connsiteX29" fmla="*/ 44452 w 1105666"/>
                  <a:gd name="connsiteY29" fmla="*/ 564115 h 767196"/>
                  <a:gd name="connsiteX30" fmla="*/ 53478 w 1105666"/>
                  <a:gd name="connsiteY30" fmla="*/ 559602 h 767196"/>
                  <a:gd name="connsiteX31" fmla="*/ 68371 w 1105666"/>
                  <a:gd name="connsiteY31" fmla="*/ 548546 h 767196"/>
                  <a:gd name="connsiteX32" fmla="*/ 71078 w 1105666"/>
                  <a:gd name="connsiteY32" fmla="*/ 533879 h 767196"/>
                  <a:gd name="connsiteX33" fmla="*/ 67243 w 1105666"/>
                  <a:gd name="connsiteY33" fmla="*/ 523048 h 767196"/>
                  <a:gd name="connsiteX34" fmla="*/ 57991 w 1105666"/>
                  <a:gd name="connsiteY34" fmla="*/ 502965 h 767196"/>
                  <a:gd name="connsiteX35" fmla="*/ 51447 w 1105666"/>
                  <a:gd name="connsiteY35" fmla="*/ 489201 h 767196"/>
                  <a:gd name="connsiteX36" fmla="*/ 50545 w 1105666"/>
                  <a:gd name="connsiteY36" fmla="*/ 485816 h 767196"/>
                  <a:gd name="connsiteX37" fmla="*/ 53929 w 1105666"/>
                  <a:gd name="connsiteY37" fmla="*/ 486944 h 767196"/>
                  <a:gd name="connsiteX38" fmla="*/ 62053 w 1105666"/>
                  <a:gd name="connsiteY38" fmla="*/ 491457 h 767196"/>
                  <a:gd name="connsiteX39" fmla="*/ 68822 w 1105666"/>
                  <a:gd name="connsiteY39" fmla="*/ 495519 h 767196"/>
                  <a:gd name="connsiteX40" fmla="*/ 82135 w 1105666"/>
                  <a:gd name="connsiteY40" fmla="*/ 495970 h 767196"/>
                  <a:gd name="connsiteX41" fmla="*/ 89130 w 1105666"/>
                  <a:gd name="connsiteY41" fmla="*/ 493714 h 767196"/>
                  <a:gd name="connsiteX42" fmla="*/ 103572 w 1105666"/>
                  <a:gd name="connsiteY42" fmla="*/ 484462 h 767196"/>
                  <a:gd name="connsiteX43" fmla="*/ 102895 w 1105666"/>
                  <a:gd name="connsiteY43" fmla="*/ 477467 h 767196"/>
                  <a:gd name="connsiteX44" fmla="*/ 99736 w 1105666"/>
                  <a:gd name="connsiteY44" fmla="*/ 472277 h 767196"/>
                  <a:gd name="connsiteX45" fmla="*/ 94997 w 1105666"/>
                  <a:gd name="connsiteY45" fmla="*/ 459190 h 767196"/>
                  <a:gd name="connsiteX46" fmla="*/ 102218 w 1105666"/>
                  <a:gd name="connsiteY46" fmla="*/ 453323 h 767196"/>
                  <a:gd name="connsiteX47" fmla="*/ 130875 w 1105666"/>
                  <a:gd name="connsiteY47" fmla="*/ 438430 h 767196"/>
                  <a:gd name="connsiteX48" fmla="*/ 130423 w 1105666"/>
                  <a:gd name="connsiteY48" fmla="*/ 432789 h 767196"/>
                  <a:gd name="connsiteX49" fmla="*/ 134034 w 1105666"/>
                  <a:gd name="connsiteY49" fmla="*/ 401424 h 767196"/>
                  <a:gd name="connsiteX50" fmla="*/ 144865 w 1105666"/>
                  <a:gd name="connsiteY50" fmla="*/ 385855 h 767196"/>
                  <a:gd name="connsiteX51" fmla="*/ 148250 w 1105666"/>
                  <a:gd name="connsiteY51" fmla="*/ 368706 h 767196"/>
                  <a:gd name="connsiteX52" fmla="*/ 143060 w 1105666"/>
                  <a:gd name="connsiteY52" fmla="*/ 363065 h 767196"/>
                  <a:gd name="connsiteX53" fmla="*/ 134711 w 1105666"/>
                  <a:gd name="connsiteY53" fmla="*/ 338469 h 767196"/>
                  <a:gd name="connsiteX54" fmla="*/ 133131 w 1105666"/>
                  <a:gd name="connsiteY54" fmla="*/ 313197 h 767196"/>
                  <a:gd name="connsiteX55" fmla="*/ 132003 w 1105666"/>
                  <a:gd name="connsiteY55" fmla="*/ 296048 h 767196"/>
                  <a:gd name="connsiteX56" fmla="*/ 141706 w 1105666"/>
                  <a:gd name="connsiteY56" fmla="*/ 262201 h 767196"/>
                  <a:gd name="connsiteX57" fmla="*/ 142383 w 1105666"/>
                  <a:gd name="connsiteY57" fmla="*/ 258590 h 767196"/>
                  <a:gd name="connsiteX58" fmla="*/ 146670 w 1105666"/>
                  <a:gd name="connsiteY58" fmla="*/ 249565 h 767196"/>
                  <a:gd name="connsiteX59" fmla="*/ 154116 w 1105666"/>
                  <a:gd name="connsiteY59" fmla="*/ 252272 h 767196"/>
                  <a:gd name="connsiteX60" fmla="*/ 157952 w 1105666"/>
                  <a:gd name="connsiteY60" fmla="*/ 264908 h 767196"/>
                  <a:gd name="connsiteX61" fmla="*/ 157727 w 1105666"/>
                  <a:gd name="connsiteY61" fmla="*/ 265586 h 767196"/>
                  <a:gd name="connsiteX62" fmla="*/ 162465 w 1105666"/>
                  <a:gd name="connsiteY62" fmla="*/ 264006 h 767196"/>
                  <a:gd name="connsiteX63" fmla="*/ 183450 w 1105666"/>
                  <a:gd name="connsiteY63" fmla="*/ 248662 h 767196"/>
                  <a:gd name="connsiteX64" fmla="*/ 187061 w 1105666"/>
                  <a:gd name="connsiteY64" fmla="*/ 244600 h 767196"/>
                  <a:gd name="connsiteX65" fmla="*/ 190671 w 1105666"/>
                  <a:gd name="connsiteY65" fmla="*/ 240313 h 767196"/>
                  <a:gd name="connsiteX66" fmla="*/ 199923 w 1105666"/>
                  <a:gd name="connsiteY66" fmla="*/ 233544 h 767196"/>
                  <a:gd name="connsiteX67" fmla="*/ 204210 w 1105666"/>
                  <a:gd name="connsiteY67" fmla="*/ 239636 h 767196"/>
                  <a:gd name="connsiteX68" fmla="*/ 199471 w 1105666"/>
                  <a:gd name="connsiteY68" fmla="*/ 263103 h 767196"/>
                  <a:gd name="connsiteX69" fmla="*/ 195861 w 1105666"/>
                  <a:gd name="connsiteY69" fmla="*/ 277319 h 767196"/>
                  <a:gd name="connsiteX70" fmla="*/ 210979 w 1105666"/>
                  <a:gd name="connsiteY70" fmla="*/ 287248 h 767196"/>
                  <a:gd name="connsiteX71" fmla="*/ 232867 w 1105666"/>
                  <a:gd name="connsiteY71" fmla="*/ 282960 h 767196"/>
                  <a:gd name="connsiteX72" fmla="*/ 233769 w 1105666"/>
                  <a:gd name="connsiteY72" fmla="*/ 282509 h 767196"/>
                  <a:gd name="connsiteX73" fmla="*/ 240087 w 1105666"/>
                  <a:gd name="connsiteY73" fmla="*/ 277770 h 767196"/>
                  <a:gd name="connsiteX74" fmla="*/ 252949 w 1105666"/>
                  <a:gd name="connsiteY74" fmla="*/ 271001 h 767196"/>
                  <a:gd name="connsiteX75" fmla="*/ 257914 w 1105666"/>
                  <a:gd name="connsiteY75" fmla="*/ 275965 h 767196"/>
                  <a:gd name="connsiteX76" fmla="*/ 260847 w 1105666"/>
                  <a:gd name="connsiteY76" fmla="*/ 311617 h 767196"/>
                  <a:gd name="connsiteX77" fmla="*/ 254529 w 1105666"/>
                  <a:gd name="connsiteY77" fmla="*/ 325607 h 767196"/>
                  <a:gd name="connsiteX78" fmla="*/ 251370 w 1105666"/>
                  <a:gd name="connsiteY78" fmla="*/ 335536 h 767196"/>
                  <a:gd name="connsiteX79" fmla="*/ 254078 w 1105666"/>
                  <a:gd name="connsiteY79" fmla="*/ 345013 h 767196"/>
                  <a:gd name="connsiteX80" fmla="*/ 257011 w 1105666"/>
                  <a:gd name="connsiteY80" fmla="*/ 360131 h 767196"/>
                  <a:gd name="connsiteX81" fmla="*/ 259493 w 1105666"/>
                  <a:gd name="connsiteY81" fmla="*/ 371188 h 767196"/>
                  <a:gd name="connsiteX82" fmla="*/ 260170 w 1105666"/>
                  <a:gd name="connsiteY82" fmla="*/ 379086 h 767196"/>
                  <a:gd name="connsiteX83" fmla="*/ 251144 w 1105666"/>
                  <a:gd name="connsiteY83" fmla="*/ 381568 h 767196"/>
                  <a:gd name="connsiteX84" fmla="*/ 236928 w 1105666"/>
                  <a:gd name="connsiteY84" fmla="*/ 377280 h 767196"/>
                  <a:gd name="connsiteX85" fmla="*/ 226774 w 1105666"/>
                  <a:gd name="connsiteY85" fmla="*/ 377506 h 767196"/>
                  <a:gd name="connsiteX86" fmla="*/ 210979 w 1105666"/>
                  <a:gd name="connsiteY86" fmla="*/ 402327 h 767196"/>
                  <a:gd name="connsiteX87" fmla="*/ 213687 w 1105666"/>
                  <a:gd name="connsiteY87" fmla="*/ 408419 h 767196"/>
                  <a:gd name="connsiteX88" fmla="*/ 247308 w 1105666"/>
                  <a:gd name="connsiteY88" fmla="*/ 405486 h 767196"/>
                  <a:gd name="connsiteX89" fmla="*/ 251370 w 1105666"/>
                  <a:gd name="connsiteY89" fmla="*/ 402327 h 767196"/>
                  <a:gd name="connsiteX90" fmla="*/ 268068 w 1105666"/>
                  <a:gd name="connsiteY90" fmla="*/ 397814 h 767196"/>
                  <a:gd name="connsiteX91" fmla="*/ 284991 w 1105666"/>
                  <a:gd name="connsiteY91" fmla="*/ 375250 h 767196"/>
                  <a:gd name="connsiteX92" fmla="*/ 296273 w 1105666"/>
                  <a:gd name="connsiteY92" fmla="*/ 350880 h 767196"/>
                  <a:gd name="connsiteX93" fmla="*/ 299884 w 1105666"/>
                  <a:gd name="connsiteY93" fmla="*/ 350654 h 767196"/>
                  <a:gd name="connsiteX94" fmla="*/ 312971 w 1105666"/>
                  <a:gd name="connsiteY94" fmla="*/ 352911 h 767196"/>
                  <a:gd name="connsiteX95" fmla="*/ 330797 w 1105666"/>
                  <a:gd name="connsiteY95" fmla="*/ 353136 h 767196"/>
                  <a:gd name="connsiteX96" fmla="*/ 361259 w 1105666"/>
                  <a:gd name="connsiteY96" fmla="*/ 355844 h 767196"/>
                  <a:gd name="connsiteX97" fmla="*/ 387209 w 1105666"/>
                  <a:gd name="connsiteY97" fmla="*/ 361711 h 767196"/>
                  <a:gd name="connsiteX98" fmla="*/ 388563 w 1105666"/>
                  <a:gd name="connsiteY98" fmla="*/ 343433 h 767196"/>
                  <a:gd name="connsiteX99" fmla="*/ 387434 w 1105666"/>
                  <a:gd name="connsiteY99" fmla="*/ 335987 h 767196"/>
                  <a:gd name="connsiteX100" fmla="*/ 405712 w 1105666"/>
                  <a:gd name="connsiteY100" fmla="*/ 321094 h 767196"/>
                  <a:gd name="connsiteX101" fmla="*/ 406614 w 1105666"/>
                  <a:gd name="connsiteY101" fmla="*/ 320869 h 767196"/>
                  <a:gd name="connsiteX102" fmla="*/ 411579 w 1105666"/>
                  <a:gd name="connsiteY102" fmla="*/ 314325 h 767196"/>
                  <a:gd name="connsiteX103" fmla="*/ 410450 w 1105666"/>
                  <a:gd name="connsiteY103" fmla="*/ 306202 h 767196"/>
                  <a:gd name="connsiteX104" fmla="*/ 406389 w 1105666"/>
                  <a:gd name="connsiteY104" fmla="*/ 294919 h 767196"/>
                  <a:gd name="connsiteX105" fmla="*/ 404132 w 1105666"/>
                  <a:gd name="connsiteY105" fmla="*/ 288150 h 767196"/>
                  <a:gd name="connsiteX106" fmla="*/ 402101 w 1105666"/>
                  <a:gd name="connsiteY106" fmla="*/ 287924 h 767196"/>
                  <a:gd name="connsiteX107" fmla="*/ 388563 w 1105666"/>
                  <a:gd name="connsiteY107" fmla="*/ 283637 h 767196"/>
                  <a:gd name="connsiteX108" fmla="*/ 383824 w 1105666"/>
                  <a:gd name="connsiteY108" fmla="*/ 262201 h 767196"/>
                  <a:gd name="connsiteX109" fmla="*/ 406389 w 1105666"/>
                  <a:gd name="connsiteY109" fmla="*/ 235349 h 767196"/>
                  <a:gd name="connsiteX110" fmla="*/ 440687 w 1105666"/>
                  <a:gd name="connsiteY110" fmla="*/ 229708 h 767196"/>
                  <a:gd name="connsiteX111" fmla="*/ 444749 w 1105666"/>
                  <a:gd name="connsiteY111" fmla="*/ 225872 h 767196"/>
                  <a:gd name="connsiteX112" fmla="*/ 440461 w 1105666"/>
                  <a:gd name="connsiteY112" fmla="*/ 201276 h 767196"/>
                  <a:gd name="connsiteX113" fmla="*/ 436400 w 1105666"/>
                  <a:gd name="connsiteY113" fmla="*/ 198794 h 767196"/>
                  <a:gd name="connsiteX114" fmla="*/ 401650 w 1105666"/>
                  <a:gd name="connsiteY114" fmla="*/ 204887 h 767196"/>
                  <a:gd name="connsiteX115" fmla="*/ 356972 w 1105666"/>
                  <a:gd name="connsiteY115" fmla="*/ 207595 h 767196"/>
                  <a:gd name="connsiteX116" fmla="*/ 345239 w 1105666"/>
                  <a:gd name="connsiteY116" fmla="*/ 151860 h 767196"/>
                  <a:gd name="connsiteX117" fmla="*/ 345690 w 1105666"/>
                  <a:gd name="connsiteY117" fmla="*/ 147347 h 767196"/>
                  <a:gd name="connsiteX118" fmla="*/ 365095 w 1105666"/>
                  <a:gd name="connsiteY118" fmla="*/ 129070 h 767196"/>
                  <a:gd name="connsiteX119" fmla="*/ 436625 w 1105666"/>
                  <a:gd name="connsiteY119" fmla="*/ 86423 h 767196"/>
                  <a:gd name="connsiteX120" fmla="*/ 504319 w 1105666"/>
                  <a:gd name="connsiteY120" fmla="*/ 53929 h 767196"/>
                  <a:gd name="connsiteX121" fmla="*/ 540648 w 1105666"/>
                  <a:gd name="connsiteY121" fmla="*/ 25272 h 767196"/>
                  <a:gd name="connsiteX122" fmla="*/ 566598 w 1105666"/>
                  <a:gd name="connsiteY122" fmla="*/ 451 h 767196"/>
                  <a:gd name="connsiteX123" fmla="*/ 567274 w 1105666"/>
                  <a:gd name="connsiteY123" fmla="*/ 0 h 767196"/>
                  <a:gd name="connsiteX124" fmla="*/ 569757 w 1105666"/>
                  <a:gd name="connsiteY124" fmla="*/ 0 h 767196"/>
                  <a:gd name="connsiteX125" fmla="*/ 592095 w 1105666"/>
                  <a:gd name="connsiteY125" fmla="*/ 5641 h 767196"/>
                  <a:gd name="connsiteX126" fmla="*/ 607439 w 1105666"/>
                  <a:gd name="connsiteY126" fmla="*/ 8575 h 767196"/>
                  <a:gd name="connsiteX127" fmla="*/ 613081 w 1105666"/>
                  <a:gd name="connsiteY127" fmla="*/ 8123 h 767196"/>
                  <a:gd name="connsiteX128" fmla="*/ 652343 w 1105666"/>
                  <a:gd name="connsiteY128" fmla="*/ 30011 h 767196"/>
                  <a:gd name="connsiteX129" fmla="*/ 652794 w 1105666"/>
                  <a:gd name="connsiteY129" fmla="*/ 30688 h 767196"/>
                  <a:gd name="connsiteX130" fmla="*/ 663851 w 1105666"/>
                  <a:gd name="connsiteY130" fmla="*/ 58668 h 767196"/>
                  <a:gd name="connsiteX131" fmla="*/ 665205 w 1105666"/>
                  <a:gd name="connsiteY131" fmla="*/ 68596 h 767196"/>
                  <a:gd name="connsiteX132" fmla="*/ 663400 w 1105666"/>
                  <a:gd name="connsiteY132" fmla="*/ 88228 h 767196"/>
                  <a:gd name="connsiteX133" fmla="*/ 655953 w 1105666"/>
                  <a:gd name="connsiteY133" fmla="*/ 102443 h 767196"/>
                  <a:gd name="connsiteX134" fmla="*/ 653697 w 1105666"/>
                  <a:gd name="connsiteY134" fmla="*/ 108085 h 767196"/>
                  <a:gd name="connsiteX135" fmla="*/ 650764 w 1105666"/>
                  <a:gd name="connsiteY135" fmla="*/ 118013 h 767196"/>
                  <a:gd name="connsiteX136" fmla="*/ 643092 w 1105666"/>
                  <a:gd name="connsiteY136" fmla="*/ 135839 h 767196"/>
                  <a:gd name="connsiteX137" fmla="*/ 637225 w 1105666"/>
                  <a:gd name="connsiteY137" fmla="*/ 146670 h 767196"/>
                  <a:gd name="connsiteX138" fmla="*/ 634291 w 1105666"/>
                  <a:gd name="connsiteY138" fmla="*/ 153891 h 767196"/>
                  <a:gd name="connsiteX139" fmla="*/ 629101 w 1105666"/>
                  <a:gd name="connsiteY139" fmla="*/ 159983 h 767196"/>
                  <a:gd name="connsiteX140" fmla="*/ 625942 w 1105666"/>
                  <a:gd name="connsiteY140" fmla="*/ 165624 h 767196"/>
                  <a:gd name="connsiteX141" fmla="*/ 626394 w 1105666"/>
                  <a:gd name="connsiteY141" fmla="*/ 168332 h 767196"/>
                  <a:gd name="connsiteX142" fmla="*/ 618496 w 1105666"/>
                  <a:gd name="connsiteY142" fmla="*/ 174876 h 767196"/>
                  <a:gd name="connsiteX143" fmla="*/ 615337 w 1105666"/>
                  <a:gd name="connsiteY143" fmla="*/ 175778 h 767196"/>
                  <a:gd name="connsiteX144" fmla="*/ 596608 w 1105666"/>
                  <a:gd name="connsiteY144" fmla="*/ 178937 h 767196"/>
                  <a:gd name="connsiteX145" fmla="*/ 588936 w 1105666"/>
                  <a:gd name="connsiteY145" fmla="*/ 180291 h 767196"/>
                  <a:gd name="connsiteX146" fmla="*/ 586680 w 1105666"/>
                  <a:gd name="connsiteY146" fmla="*/ 181419 h 767196"/>
                  <a:gd name="connsiteX147" fmla="*/ 574946 w 1105666"/>
                  <a:gd name="connsiteY147" fmla="*/ 190445 h 767196"/>
                  <a:gd name="connsiteX148" fmla="*/ 569305 w 1105666"/>
                  <a:gd name="connsiteY148" fmla="*/ 209400 h 767196"/>
                  <a:gd name="connsiteX149" fmla="*/ 571336 w 1105666"/>
                  <a:gd name="connsiteY149" fmla="*/ 211882 h 767196"/>
                  <a:gd name="connsiteX150" fmla="*/ 577880 w 1105666"/>
                  <a:gd name="connsiteY150" fmla="*/ 227903 h 767196"/>
                  <a:gd name="connsiteX151" fmla="*/ 576075 w 1105666"/>
                  <a:gd name="connsiteY151" fmla="*/ 233318 h 767196"/>
                  <a:gd name="connsiteX152" fmla="*/ 568177 w 1105666"/>
                  <a:gd name="connsiteY152" fmla="*/ 248436 h 767196"/>
                  <a:gd name="connsiteX153" fmla="*/ 558474 w 1105666"/>
                  <a:gd name="connsiteY153" fmla="*/ 283637 h 767196"/>
                  <a:gd name="connsiteX154" fmla="*/ 560505 w 1105666"/>
                  <a:gd name="connsiteY154" fmla="*/ 292437 h 767196"/>
                  <a:gd name="connsiteX155" fmla="*/ 560279 w 1105666"/>
                  <a:gd name="connsiteY155" fmla="*/ 312294 h 767196"/>
                  <a:gd name="connsiteX156" fmla="*/ 560956 w 1105666"/>
                  <a:gd name="connsiteY156" fmla="*/ 316807 h 767196"/>
                  <a:gd name="connsiteX157" fmla="*/ 564792 w 1105666"/>
                  <a:gd name="connsiteY157" fmla="*/ 329218 h 767196"/>
                  <a:gd name="connsiteX158" fmla="*/ 564341 w 1105666"/>
                  <a:gd name="connsiteY158" fmla="*/ 333505 h 767196"/>
                  <a:gd name="connsiteX159" fmla="*/ 566372 w 1105666"/>
                  <a:gd name="connsiteY159" fmla="*/ 342982 h 767196"/>
                  <a:gd name="connsiteX160" fmla="*/ 568177 w 1105666"/>
                  <a:gd name="connsiteY160" fmla="*/ 344787 h 767196"/>
                  <a:gd name="connsiteX161" fmla="*/ 577429 w 1105666"/>
                  <a:gd name="connsiteY161" fmla="*/ 341403 h 767196"/>
                  <a:gd name="connsiteX162" fmla="*/ 591419 w 1105666"/>
                  <a:gd name="connsiteY162" fmla="*/ 339146 h 767196"/>
                  <a:gd name="connsiteX163" fmla="*/ 606762 w 1105666"/>
                  <a:gd name="connsiteY163" fmla="*/ 348398 h 767196"/>
                  <a:gd name="connsiteX164" fmla="*/ 607665 w 1105666"/>
                  <a:gd name="connsiteY164" fmla="*/ 348398 h 767196"/>
                  <a:gd name="connsiteX165" fmla="*/ 618496 w 1105666"/>
                  <a:gd name="connsiteY165" fmla="*/ 357424 h 767196"/>
                  <a:gd name="connsiteX166" fmla="*/ 618947 w 1105666"/>
                  <a:gd name="connsiteY166" fmla="*/ 358777 h 767196"/>
                  <a:gd name="connsiteX167" fmla="*/ 623912 w 1105666"/>
                  <a:gd name="connsiteY167" fmla="*/ 357198 h 767196"/>
                  <a:gd name="connsiteX168" fmla="*/ 636999 w 1105666"/>
                  <a:gd name="connsiteY168" fmla="*/ 354490 h 767196"/>
                  <a:gd name="connsiteX169" fmla="*/ 649861 w 1105666"/>
                  <a:gd name="connsiteY169" fmla="*/ 351782 h 767196"/>
                  <a:gd name="connsiteX170" fmla="*/ 649861 w 1105666"/>
                  <a:gd name="connsiteY170" fmla="*/ 341177 h 767196"/>
                  <a:gd name="connsiteX171" fmla="*/ 646025 w 1105666"/>
                  <a:gd name="connsiteY171" fmla="*/ 328541 h 767196"/>
                  <a:gd name="connsiteX172" fmla="*/ 642415 w 1105666"/>
                  <a:gd name="connsiteY172" fmla="*/ 318838 h 767196"/>
                  <a:gd name="connsiteX173" fmla="*/ 639707 w 1105666"/>
                  <a:gd name="connsiteY173" fmla="*/ 310940 h 767196"/>
                  <a:gd name="connsiteX174" fmla="*/ 636096 w 1105666"/>
                  <a:gd name="connsiteY174" fmla="*/ 308007 h 767196"/>
                  <a:gd name="connsiteX175" fmla="*/ 628650 w 1105666"/>
                  <a:gd name="connsiteY175" fmla="*/ 301463 h 767196"/>
                  <a:gd name="connsiteX176" fmla="*/ 624363 w 1105666"/>
                  <a:gd name="connsiteY176" fmla="*/ 294919 h 767196"/>
                  <a:gd name="connsiteX177" fmla="*/ 616240 w 1105666"/>
                  <a:gd name="connsiteY177" fmla="*/ 277319 h 767196"/>
                  <a:gd name="connsiteX178" fmla="*/ 616240 w 1105666"/>
                  <a:gd name="connsiteY178" fmla="*/ 274386 h 767196"/>
                  <a:gd name="connsiteX179" fmla="*/ 612404 w 1105666"/>
                  <a:gd name="connsiteY179" fmla="*/ 263780 h 767196"/>
                  <a:gd name="connsiteX180" fmla="*/ 604957 w 1105666"/>
                  <a:gd name="connsiteY180" fmla="*/ 249113 h 767196"/>
                  <a:gd name="connsiteX181" fmla="*/ 605860 w 1105666"/>
                  <a:gd name="connsiteY181" fmla="*/ 245729 h 767196"/>
                  <a:gd name="connsiteX182" fmla="*/ 604055 w 1105666"/>
                  <a:gd name="connsiteY182" fmla="*/ 240313 h 767196"/>
                  <a:gd name="connsiteX183" fmla="*/ 602024 w 1105666"/>
                  <a:gd name="connsiteY183" fmla="*/ 229482 h 767196"/>
                  <a:gd name="connsiteX184" fmla="*/ 601121 w 1105666"/>
                  <a:gd name="connsiteY184" fmla="*/ 221133 h 767196"/>
                  <a:gd name="connsiteX185" fmla="*/ 599316 w 1105666"/>
                  <a:gd name="connsiteY185" fmla="*/ 209174 h 767196"/>
                  <a:gd name="connsiteX186" fmla="*/ 598639 w 1105666"/>
                  <a:gd name="connsiteY186" fmla="*/ 203307 h 767196"/>
                  <a:gd name="connsiteX187" fmla="*/ 599316 w 1105666"/>
                  <a:gd name="connsiteY187" fmla="*/ 195861 h 767196"/>
                  <a:gd name="connsiteX188" fmla="*/ 605634 w 1105666"/>
                  <a:gd name="connsiteY188" fmla="*/ 194281 h 767196"/>
                  <a:gd name="connsiteX189" fmla="*/ 613081 w 1105666"/>
                  <a:gd name="connsiteY189" fmla="*/ 197892 h 767196"/>
                  <a:gd name="connsiteX190" fmla="*/ 613532 w 1105666"/>
                  <a:gd name="connsiteY190" fmla="*/ 198343 h 767196"/>
                  <a:gd name="connsiteX191" fmla="*/ 616691 w 1105666"/>
                  <a:gd name="connsiteY191" fmla="*/ 195410 h 767196"/>
                  <a:gd name="connsiteX192" fmla="*/ 637450 w 1105666"/>
                  <a:gd name="connsiteY192" fmla="*/ 182999 h 767196"/>
                  <a:gd name="connsiteX193" fmla="*/ 645122 w 1105666"/>
                  <a:gd name="connsiteY193" fmla="*/ 192476 h 767196"/>
                  <a:gd name="connsiteX194" fmla="*/ 639932 w 1105666"/>
                  <a:gd name="connsiteY194" fmla="*/ 203984 h 767196"/>
                  <a:gd name="connsiteX195" fmla="*/ 637450 w 1105666"/>
                  <a:gd name="connsiteY195" fmla="*/ 206015 h 767196"/>
                  <a:gd name="connsiteX196" fmla="*/ 641286 w 1105666"/>
                  <a:gd name="connsiteY196" fmla="*/ 214138 h 767196"/>
                  <a:gd name="connsiteX197" fmla="*/ 645799 w 1105666"/>
                  <a:gd name="connsiteY197" fmla="*/ 217749 h 767196"/>
                  <a:gd name="connsiteX198" fmla="*/ 653246 w 1105666"/>
                  <a:gd name="connsiteY198" fmla="*/ 223841 h 767196"/>
                  <a:gd name="connsiteX199" fmla="*/ 656405 w 1105666"/>
                  <a:gd name="connsiteY199" fmla="*/ 225420 h 767196"/>
                  <a:gd name="connsiteX200" fmla="*/ 666333 w 1105666"/>
                  <a:gd name="connsiteY200" fmla="*/ 231513 h 767196"/>
                  <a:gd name="connsiteX201" fmla="*/ 671974 w 1105666"/>
                  <a:gd name="connsiteY201" fmla="*/ 236252 h 767196"/>
                  <a:gd name="connsiteX202" fmla="*/ 676487 w 1105666"/>
                  <a:gd name="connsiteY202" fmla="*/ 237605 h 767196"/>
                  <a:gd name="connsiteX203" fmla="*/ 677164 w 1105666"/>
                  <a:gd name="connsiteY203" fmla="*/ 238057 h 767196"/>
                  <a:gd name="connsiteX204" fmla="*/ 679195 w 1105666"/>
                  <a:gd name="connsiteY204" fmla="*/ 239411 h 767196"/>
                  <a:gd name="connsiteX205" fmla="*/ 684836 w 1105666"/>
                  <a:gd name="connsiteY205" fmla="*/ 225420 h 767196"/>
                  <a:gd name="connsiteX206" fmla="*/ 697247 w 1105666"/>
                  <a:gd name="connsiteY206" fmla="*/ 211882 h 767196"/>
                  <a:gd name="connsiteX207" fmla="*/ 707626 w 1105666"/>
                  <a:gd name="connsiteY207" fmla="*/ 215943 h 767196"/>
                  <a:gd name="connsiteX208" fmla="*/ 706272 w 1105666"/>
                  <a:gd name="connsiteY208" fmla="*/ 229482 h 767196"/>
                  <a:gd name="connsiteX209" fmla="*/ 702436 w 1105666"/>
                  <a:gd name="connsiteY209" fmla="*/ 247308 h 767196"/>
                  <a:gd name="connsiteX210" fmla="*/ 710560 w 1105666"/>
                  <a:gd name="connsiteY210" fmla="*/ 245729 h 767196"/>
                  <a:gd name="connsiteX211" fmla="*/ 720262 w 1105666"/>
                  <a:gd name="connsiteY211" fmla="*/ 237380 h 767196"/>
                  <a:gd name="connsiteX212" fmla="*/ 733124 w 1105666"/>
                  <a:gd name="connsiteY212" fmla="*/ 229933 h 767196"/>
                  <a:gd name="connsiteX213" fmla="*/ 737186 w 1105666"/>
                  <a:gd name="connsiteY213" fmla="*/ 237831 h 767196"/>
                  <a:gd name="connsiteX214" fmla="*/ 743278 w 1105666"/>
                  <a:gd name="connsiteY214" fmla="*/ 247308 h 767196"/>
                  <a:gd name="connsiteX215" fmla="*/ 752981 w 1105666"/>
                  <a:gd name="connsiteY215" fmla="*/ 237605 h 767196"/>
                  <a:gd name="connsiteX216" fmla="*/ 778028 w 1105666"/>
                  <a:gd name="connsiteY216" fmla="*/ 215041 h 767196"/>
                  <a:gd name="connsiteX217" fmla="*/ 790664 w 1105666"/>
                  <a:gd name="connsiteY217" fmla="*/ 210302 h 767196"/>
                  <a:gd name="connsiteX218" fmla="*/ 810070 w 1105666"/>
                  <a:gd name="connsiteY218" fmla="*/ 213010 h 767196"/>
                  <a:gd name="connsiteX219" fmla="*/ 814357 w 1105666"/>
                  <a:gd name="connsiteY219" fmla="*/ 218651 h 767196"/>
                  <a:gd name="connsiteX220" fmla="*/ 830829 w 1105666"/>
                  <a:gd name="connsiteY220" fmla="*/ 226549 h 767196"/>
                  <a:gd name="connsiteX221" fmla="*/ 837598 w 1105666"/>
                  <a:gd name="connsiteY221" fmla="*/ 225195 h 767196"/>
                  <a:gd name="connsiteX222" fmla="*/ 838952 w 1105666"/>
                  <a:gd name="connsiteY222" fmla="*/ 228128 h 767196"/>
                  <a:gd name="connsiteX223" fmla="*/ 826316 w 1105666"/>
                  <a:gd name="connsiteY223" fmla="*/ 242570 h 767196"/>
                  <a:gd name="connsiteX224" fmla="*/ 822931 w 1105666"/>
                  <a:gd name="connsiteY224" fmla="*/ 244149 h 767196"/>
                  <a:gd name="connsiteX225" fmla="*/ 806911 w 1105666"/>
                  <a:gd name="connsiteY225" fmla="*/ 254303 h 767196"/>
                  <a:gd name="connsiteX226" fmla="*/ 811424 w 1105666"/>
                  <a:gd name="connsiteY226" fmla="*/ 255883 h 767196"/>
                  <a:gd name="connsiteX227" fmla="*/ 817290 w 1105666"/>
                  <a:gd name="connsiteY227" fmla="*/ 257011 h 767196"/>
                  <a:gd name="connsiteX228" fmla="*/ 839178 w 1105666"/>
                  <a:gd name="connsiteY228" fmla="*/ 255657 h 767196"/>
                  <a:gd name="connsiteX229" fmla="*/ 844819 w 1105666"/>
                  <a:gd name="connsiteY229" fmla="*/ 248662 h 767196"/>
                  <a:gd name="connsiteX230" fmla="*/ 861517 w 1105666"/>
                  <a:gd name="connsiteY230" fmla="*/ 234446 h 767196"/>
                  <a:gd name="connsiteX231" fmla="*/ 866481 w 1105666"/>
                  <a:gd name="connsiteY231" fmla="*/ 235575 h 767196"/>
                  <a:gd name="connsiteX232" fmla="*/ 867384 w 1105666"/>
                  <a:gd name="connsiteY232" fmla="*/ 242570 h 767196"/>
                  <a:gd name="connsiteX233" fmla="*/ 867384 w 1105666"/>
                  <a:gd name="connsiteY233" fmla="*/ 246180 h 767196"/>
                  <a:gd name="connsiteX234" fmla="*/ 868512 w 1105666"/>
                  <a:gd name="connsiteY234" fmla="*/ 246406 h 767196"/>
                  <a:gd name="connsiteX235" fmla="*/ 879569 w 1105666"/>
                  <a:gd name="connsiteY235" fmla="*/ 252498 h 767196"/>
                  <a:gd name="connsiteX236" fmla="*/ 877989 w 1105666"/>
                  <a:gd name="connsiteY236" fmla="*/ 261524 h 767196"/>
                  <a:gd name="connsiteX237" fmla="*/ 877538 w 1105666"/>
                  <a:gd name="connsiteY237" fmla="*/ 264908 h 767196"/>
                  <a:gd name="connsiteX238" fmla="*/ 896718 w 1105666"/>
                  <a:gd name="connsiteY238" fmla="*/ 266488 h 767196"/>
                  <a:gd name="connsiteX239" fmla="*/ 915672 w 1105666"/>
                  <a:gd name="connsiteY239" fmla="*/ 263555 h 767196"/>
                  <a:gd name="connsiteX240" fmla="*/ 923344 w 1105666"/>
                  <a:gd name="connsiteY240" fmla="*/ 265134 h 767196"/>
                  <a:gd name="connsiteX241" fmla="*/ 926503 w 1105666"/>
                  <a:gd name="connsiteY241" fmla="*/ 264683 h 767196"/>
                  <a:gd name="connsiteX242" fmla="*/ 925826 w 1105666"/>
                  <a:gd name="connsiteY242" fmla="*/ 255431 h 767196"/>
                  <a:gd name="connsiteX243" fmla="*/ 925375 w 1105666"/>
                  <a:gd name="connsiteY243" fmla="*/ 245052 h 767196"/>
                  <a:gd name="connsiteX244" fmla="*/ 928308 w 1105666"/>
                  <a:gd name="connsiteY244" fmla="*/ 243246 h 767196"/>
                  <a:gd name="connsiteX245" fmla="*/ 937560 w 1105666"/>
                  <a:gd name="connsiteY245" fmla="*/ 243021 h 767196"/>
                  <a:gd name="connsiteX246" fmla="*/ 946586 w 1105666"/>
                  <a:gd name="connsiteY246" fmla="*/ 244375 h 767196"/>
                  <a:gd name="connsiteX247" fmla="*/ 955611 w 1105666"/>
                  <a:gd name="connsiteY247" fmla="*/ 235800 h 767196"/>
                  <a:gd name="connsiteX248" fmla="*/ 961027 w 1105666"/>
                  <a:gd name="connsiteY248" fmla="*/ 227451 h 767196"/>
                  <a:gd name="connsiteX249" fmla="*/ 970504 w 1105666"/>
                  <a:gd name="connsiteY249" fmla="*/ 237380 h 767196"/>
                  <a:gd name="connsiteX250" fmla="*/ 974566 w 1105666"/>
                  <a:gd name="connsiteY250" fmla="*/ 245503 h 767196"/>
                  <a:gd name="connsiteX251" fmla="*/ 982689 w 1105666"/>
                  <a:gd name="connsiteY251" fmla="*/ 246406 h 767196"/>
                  <a:gd name="connsiteX252" fmla="*/ 1000741 w 1105666"/>
                  <a:gd name="connsiteY252" fmla="*/ 250242 h 767196"/>
                  <a:gd name="connsiteX253" fmla="*/ 1015859 w 1105666"/>
                  <a:gd name="connsiteY253" fmla="*/ 258139 h 767196"/>
                  <a:gd name="connsiteX254" fmla="*/ 1038424 w 1105666"/>
                  <a:gd name="connsiteY254" fmla="*/ 275740 h 767196"/>
                  <a:gd name="connsiteX255" fmla="*/ 1051060 w 1105666"/>
                  <a:gd name="connsiteY255" fmla="*/ 293114 h 767196"/>
                  <a:gd name="connsiteX256" fmla="*/ 1064824 w 1105666"/>
                  <a:gd name="connsiteY256" fmla="*/ 295596 h 767196"/>
                  <a:gd name="connsiteX257" fmla="*/ 1090999 w 1105666"/>
                  <a:gd name="connsiteY257" fmla="*/ 293566 h 767196"/>
                  <a:gd name="connsiteX258" fmla="*/ 1099348 w 1105666"/>
                  <a:gd name="connsiteY258" fmla="*/ 294694 h 767196"/>
                  <a:gd name="connsiteX259" fmla="*/ 1112210 w 1105666"/>
                  <a:gd name="connsiteY259" fmla="*/ 300786 h 767196"/>
                  <a:gd name="connsiteX260" fmla="*/ 1110630 w 1105666"/>
                  <a:gd name="connsiteY260" fmla="*/ 309135 h 767196"/>
                  <a:gd name="connsiteX261" fmla="*/ 1108600 w 1105666"/>
                  <a:gd name="connsiteY261" fmla="*/ 320643 h 767196"/>
                  <a:gd name="connsiteX262" fmla="*/ 1110856 w 1105666"/>
                  <a:gd name="connsiteY262" fmla="*/ 331474 h 767196"/>
                  <a:gd name="connsiteX263" fmla="*/ 1115143 w 1105666"/>
                  <a:gd name="connsiteY263" fmla="*/ 341403 h 767196"/>
                  <a:gd name="connsiteX264" fmla="*/ 1116948 w 1105666"/>
                  <a:gd name="connsiteY264" fmla="*/ 363065 h 767196"/>
                  <a:gd name="connsiteX265" fmla="*/ 1116948 w 1105666"/>
                  <a:gd name="connsiteY265" fmla="*/ 363065 h 767196"/>
                  <a:gd name="connsiteX266" fmla="*/ 1118077 w 1105666"/>
                  <a:gd name="connsiteY266" fmla="*/ 381116 h 767196"/>
                  <a:gd name="connsiteX267" fmla="*/ 1119882 w 1105666"/>
                  <a:gd name="connsiteY267" fmla="*/ 382696 h 767196"/>
                  <a:gd name="connsiteX268" fmla="*/ 1121010 w 1105666"/>
                  <a:gd name="connsiteY268" fmla="*/ 383824 h 767196"/>
                  <a:gd name="connsiteX269" fmla="*/ 1119882 w 1105666"/>
                  <a:gd name="connsiteY269" fmla="*/ 385178 h 767196"/>
                  <a:gd name="connsiteX270" fmla="*/ 1110179 w 1105666"/>
                  <a:gd name="connsiteY270" fmla="*/ 398040 h 767196"/>
                  <a:gd name="connsiteX271" fmla="*/ 1073399 w 1105666"/>
                  <a:gd name="connsiteY271" fmla="*/ 416317 h 767196"/>
                  <a:gd name="connsiteX272" fmla="*/ 1034813 w 1105666"/>
                  <a:gd name="connsiteY272" fmla="*/ 416317 h 767196"/>
                  <a:gd name="connsiteX273" fmla="*/ 1008638 w 1105666"/>
                  <a:gd name="connsiteY273" fmla="*/ 417671 h 767196"/>
                  <a:gd name="connsiteX274" fmla="*/ 993069 w 1105666"/>
                  <a:gd name="connsiteY274" fmla="*/ 409999 h 767196"/>
                  <a:gd name="connsiteX275" fmla="*/ 974114 w 1105666"/>
                  <a:gd name="connsiteY275" fmla="*/ 403004 h 767196"/>
                  <a:gd name="connsiteX276" fmla="*/ 971181 w 1105666"/>
                  <a:gd name="connsiteY276" fmla="*/ 405486 h 767196"/>
                  <a:gd name="connsiteX277" fmla="*/ 976822 w 1105666"/>
                  <a:gd name="connsiteY277" fmla="*/ 415189 h 767196"/>
                  <a:gd name="connsiteX278" fmla="*/ 983817 w 1105666"/>
                  <a:gd name="connsiteY278" fmla="*/ 434820 h 767196"/>
                  <a:gd name="connsiteX279" fmla="*/ 977725 w 1105666"/>
                  <a:gd name="connsiteY279" fmla="*/ 443620 h 767196"/>
                  <a:gd name="connsiteX280" fmla="*/ 976371 w 1105666"/>
                  <a:gd name="connsiteY280" fmla="*/ 451067 h 767196"/>
                  <a:gd name="connsiteX281" fmla="*/ 990587 w 1105666"/>
                  <a:gd name="connsiteY281" fmla="*/ 458287 h 767196"/>
                  <a:gd name="connsiteX282" fmla="*/ 998259 w 1105666"/>
                  <a:gd name="connsiteY282" fmla="*/ 454903 h 767196"/>
                  <a:gd name="connsiteX283" fmla="*/ 1007736 w 1105666"/>
                  <a:gd name="connsiteY283" fmla="*/ 456256 h 767196"/>
                  <a:gd name="connsiteX284" fmla="*/ 1014505 w 1105666"/>
                  <a:gd name="connsiteY284" fmla="*/ 458964 h 767196"/>
                  <a:gd name="connsiteX285" fmla="*/ 1022628 w 1105666"/>
                  <a:gd name="connsiteY285" fmla="*/ 465057 h 767196"/>
                  <a:gd name="connsiteX286" fmla="*/ 1028495 w 1105666"/>
                  <a:gd name="connsiteY286" fmla="*/ 471600 h 767196"/>
                  <a:gd name="connsiteX287" fmla="*/ 1034813 w 1105666"/>
                  <a:gd name="connsiteY287" fmla="*/ 474083 h 767196"/>
                  <a:gd name="connsiteX288" fmla="*/ 1046547 w 1105666"/>
                  <a:gd name="connsiteY288" fmla="*/ 492811 h 767196"/>
                  <a:gd name="connsiteX289" fmla="*/ 1043162 w 1105666"/>
                  <a:gd name="connsiteY289" fmla="*/ 500934 h 767196"/>
                  <a:gd name="connsiteX290" fmla="*/ 1041583 w 1105666"/>
                  <a:gd name="connsiteY290" fmla="*/ 504093 h 767196"/>
                  <a:gd name="connsiteX291" fmla="*/ 1040454 w 1105666"/>
                  <a:gd name="connsiteY291" fmla="*/ 507704 h 767196"/>
                  <a:gd name="connsiteX292" fmla="*/ 1037972 w 1105666"/>
                  <a:gd name="connsiteY292" fmla="*/ 508381 h 767196"/>
                  <a:gd name="connsiteX293" fmla="*/ 1032106 w 1105666"/>
                  <a:gd name="connsiteY293" fmla="*/ 514248 h 767196"/>
                  <a:gd name="connsiteX294" fmla="*/ 1022403 w 1105666"/>
                  <a:gd name="connsiteY294" fmla="*/ 527335 h 767196"/>
                  <a:gd name="connsiteX295" fmla="*/ 1018341 w 1105666"/>
                  <a:gd name="connsiteY295" fmla="*/ 530043 h 767196"/>
                  <a:gd name="connsiteX296" fmla="*/ 1011346 w 1105666"/>
                  <a:gd name="connsiteY296" fmla="*/ 533427 h 767196"/>
                  <a:gd name="connsiteX297" fmla="*/ 1002997 w 1105666"/>
                  <a:gd name="connsiteY297" fmla="*/ 540423 h 767196"/>
                  <a:gd name="connsiteX298" fmla="*/ 997130 w 1105666"/>
                  <a:gd name="connsiteY298" fmla="*/ 557120 h 767196"/>
                  <a:gd name="connsiteX299" fmla="*/ 993746 w 1105666"/>
                  <a:gd name="connsiteY299" fmla="*/ 568628 h 767196"/>
                  <a:gd name="connsiteX300" fmla="*/ 991941 w 1105666"/>
                  <a:gd name="connsiteY300" fmla="*/ 573141 h 767196"/>
                  <a:gd name="connsiteX301" fmla="*/ 984494 w 1105666"/>
                  <a:gd name="connsiteY301" fmla="*/ 581716 h 767196"/>
                  <a:gd name="connsiteX302" fmla="*/ 950196 w 1105666"/>
                  <a:gd name="connsiteY302" fmla="*/ 597737 h 767196"/>
                  <a:gd name="connsiteX303" fmla="*/ 945006 w 1105666"/>
                  <a:gd name="connsiteY303" fmla="*/ 597285 h 767196"/>
                  <a:gd name="connsiteX304" fmla="*/ 929436 w 1105666"/>
                  <a:gd name="connsiteY304" fmla="*/ 599316 h 767196"/>
                  <a:gd name="connsiteX305" fmla="*/ 924698 w 1105666"/>
                  <a:gd name="connsiteY305" fmla="*/ 606762 h 767196"/>
                  <a:gd name="connsiteX306" fmla="*/ 915221 w 1105666"/>
                  <a:gd name="connsiteY306" fmla="*/ 621204 h 767196"/>
                  <a:gd name="connsiteX307" fmla="*/ 907549 w 1105666"/>
                  <a:gd name="connsiteY307" fmla="*/ 627522 h 767196"/>
                  <a:gd name="connsiteX308" fmla="*/ 899425 w 1105666"/>
                  <a:gd name="connsiteY308" fmla="*/ 641738 h 767196"/>
                  <a:gd name="connsiteX309" fmla="*/ 891302 w 1105666"/>
                  <a:gd name="connsiteY309" fmla="*/ 653697 h 767196"/>
                  <a:gd name="connsiteX310" fmla="*/ 887015 w 1105666"/>
                  <a:gd name="connsiteY310" fmla="*/ 661594 h 767196"/>
                  <a:gd name="connsiteX311" fmla="*/ 887015 w 1105666"/>
                  <a:gd name="connsiteY311" fmla="*/ 671749 h 767196"/>
                  <a:gd name="connsiteX312" fmla="*/ 878666 w 1105666"/>
                  <a:gd name="connsiteY312" fmla="*/ 691831 h 767196"/>
                  <a:gd name="connsiteX313" fmla="*/ 867609 w 1105666"/>
                  <a:gd name="connsiteY313" fmla="*/ 717780 h 767196"/>
                  <a:gd name="connsiteX314" fmla="*/ 867835 w 1105666"/>
                  <a:gd name="connsiteY314" fmla="*/ 725678 h 767196"/>
                  <a:gd name="connsiteX315" fmla="*/ 863999 w 1105666"/>
                  <a:gd name="connsiteY315" fmla="*/ 751176 h 767196"/>
                  <a:gd name="connsiteX316" fmla="*/ 859486 w 1105666"/>
                  <a:gd name="connsiteY316" fmla="*/ 758397 h 767196"/>
                  <a:gd name="connsiteX317" fmla="*/ 857455 w 1105666"/>
                  <a:gd name="connsiteY317" fmla="*/ 763135 h 767196"/>
                  <a:gd name="connsiteX318" fmla="*/ 846173 w 1105666"/>
                  <a:gd name="connsiteY318" fmla="*/ 765166 h 767196"/>
                  <a:gd name="connsiteX319" fmla="*/ 841886 w 1105666"/>
                  <a:gd name="connsiteY319" fmla="*/ 763812 h 767196"/>
                  <a:gd name="connsiteX320" fmla="*/ 843465 w 1105666"/>
                  <a:gd name="connsiteY320" fmla="*/ 761781 h 767196"/>
                  <a:gd name="connsiteX321" fmla="*/ 844142 w 1105666"/>
                  <a:gd name="connsiteY321" fmla="*/ 760427 h 767196"/>
                  <a:gd name="connsiteX322" fmla="*/ 842563 w 1105666"/>
                  <a:gd name="connsiteY322" fmla="*/ 759525 h 767196"/>
                  <a:gd name="connsiteX323" fmla="*/ 839178 w 1105666"/>
                  <a:gd name="connsiteY323" fmla="*/ 755689 h 767196"/>
                  <a:gd name="connsiteX324" fmla="*/ 832409 w 1105666"/>
                  <a:gd name="connsiteY324" fmla="*/ 747791 h 767196"/>
                  <a:gd name="connsiteX325" fmla="*/ 826316 w 1105666"/>
                  <a:gd name="connsiteY325" fmla="*/ 743278 h 767196"/>
                  <a:gd name="connsiteX326" fmla="*/ 819095 w 1105666"/>
                  <a:gd name="connsiteY326" fmla="*/ 737863 h 767196"/>
                  <a:gd name="connsiteX327" fmla="*/ 813680 w 1105666"/>
                  <a:gd name="connsiteY327" fmla="*/ 733576 h 767196"/>
                  <a:gd name="connsiteX328" fmla="*/ 802623 w 1105666"/>
                  <a:gd name="connsiteY328" fmla="*/ 723196 h 767196"/>
                  <a:gd name="connsiteX329" fmla="*/ 799239 w 1105666"/>
                  <a:gd name="connsiteY329" fmla="*/ 721165 h 767196"/>
                  <a:gd name="connsiteX330" fmla="*/ 794049 w 1105666"/>
                  <a:gd name="connsiteY330" fmla="*/ 724775 h 767196"/>
                  <a:gd name="connsiteX331" fmla="*/ 788408 w 1105666"/>
                  <a:gd name="connsiteY331" fmla="*/ 729288 h 767196"/>
                  <a:gd name="connsiteX332" fmla="*/ 763135 w 1105666"/>
                  <a:gd name="connsiteY332" fmla="*/ 733801 h 767196"/>
                  <a:gd name="connsiteX333" fmla="*/ 754109 w 1105666"/>
                  <a:gd name="connsiteY333" fmla="*/ 730642 h 767196"/>
                  <a:gd name="connsiteX334" fmla="*/ 747566 w 1105666"/>
                  <a:gd name="connsiteY334" fmla="*/ 726806 h 767196"/>
                  <a:gd name="connsiteX335" fmla="*/ 730868 w 1105666"/>
                  <a:gd name="connsiteY335" fmla="*/ 728611 h 767196"/>
                  <a:gd name="connsiteX336" fmla="*/ 708980 w 1105666"/>
                  <a:gd name="connsiteY336" fmla="*/ 731770 h 767196"/>
                  <a:gd name="connsiteX337" fmla="*/ 699277 w 1105666"/>
                  <a:gd name="connsiteY337" fmla="*/ 727934 h 767196"/>
                  <a:gd name="connsiteX338" fmla="*/ 699052 w 1105666"/>
                  <a:gd name="connsiteY338" fmla="*/ 721391 h 767196"/>
                  <a:gd name="connsiteX339" fmla="*/ 698826 w 1105666"/>
                  <a:gd name="connsiteY339" fmla="*/ 714396 h 767196"/>
                  <a:gd name="connsiteX340" fmla="*/ 666333 w 1105666"/>
                  <a:gd name="connsiteY340" fmla="*/ 718909 h 767196"/>
                  <a:gd name="connsiteX341" fmla="*/ 657082 w 1105666"/>
                  <a:gd name="connsiteY341" fmla="*/ 722068 h 767196"/>
                  <a:gd name="connsiteX342" fmla="*/ 639481 w 1105666"/>
                  <a:gd name="connsiteY342" fmla="*/ 732899 h 767196"/>
                  <a:gd name="connsiteX343" fmla="*/ 625040 w 1105666"/>
                  <a:gd name="connsiteY343" fmla="*/ 737863 h 767196"/>
                  <a:gd name="connsiteX344" fmla="*/ 606086 w 1105666"/>
                  <a:gd name="connsiteY344" fmla="*/ 740345 h 767196"/>
                  <a:gd name="connsiteX345" fmla="*/ 593675 w 1105666"/>
                  <a:gd name="connsiteY345" fmla="*/ 742376 h 767196"/>
                  <a:gd name="connsiteX346" fmla="*/ 573367 w 1105666"/>
                  <a:gd name="connsiteY346" fmla="*/ 735155 h 767196"/>
                  <a:gd name="connsiteX347" fmla="*/ 560731 w 1105666"/>
                  <a:gd name="connsiteY347" fmla="*/ 729740 h 767196"/>
                  <a:gd name="connsiteX348" fmla="*/ 548997 w 1105666"/>
                  <a:gd name="connsiteY348" fmla="*/ 735155 h 767196"/>
                  <a:gd name="connsiteX349" fmla="*/ 539971 w 1105666"/>
                  <a:gd name="connsiteY349" fmla="*/ 742601 h 767196"/>
                  <a:gd name="connsiteX350" fmla="*/ 507478 w 1105666"/>
                  <a:gd name="connsiteY350" fmla="*/ 743955 h 767196"/>
                  <a:gd name="connsiteX351" fmla="*/ 495519 w 1105666"/>
                  <a:gd name="connsiteY351" fmla="*/ 742827 h 767196"/>
                  <a:gd name="connsiteX352" fmla="*/ 477467 w 1105666"/>
                  <a:gd name="connsiteY352" fmla="*/ 743504 h 767196"/>
                  <a:gd name="connsiteX353" fmla="*/ 460995 w 1105666"/>
                  <a:gd name="connsiteY353" fmla="*/ 744181 h 767196"/>
                  <a:gd name="connsiteX354" fmla="*/ 444072 w 1105666"/>
                  <a:gd name="connsiteY354" fmla="*/ 724775 h 767196"/>
                  <a:gd name="connsiteX355" fmla="*/ 445877 w 1105666"/>
                  <a:gd name="connsiteY355" fmla="*/ 719134 h 767196"/>
                  <a:gd name="connsiteX356" fmla="*/ 456031 w 1105666"/>
                  <a:gd name="connsiteY356" fmla="*/ 720939 h 767196"/>
                  <a:gd name="connsiteX357" fmla="*/ 467539 w 1105666"/>
                  <a:gd name="connsiteY357" fmla="*/ 724775 h 767196"/>
                  <a:gd name="connsiteX358" fmla="*/ 472729 w 1105666"/>
                  <a:gd name="connsiteY358" fmla="*/ 722293 h 767196"/>
                  <a:gd name="connsiteX359" fmla="*/ 462800 w 1105666"/>
                  <a:gd name="connsiteY359" fmla="*/ 698149 h 767196"/>
                  <a:gd name="connsiteX360" fmla="*/ 427374 w 1105666"/>
                  <a:gd name="connsiteY360" fmla="*/ 691605 h 767196"/>
                  <a:gd name="connsiteX361" fmla="*/ 419025 w 1105666"/>
                  <a:gd name="connsiteY361" fmla="*/ 698149 h 767196"/>
                  <a:gd name="connsiteX362" fmla="*/ 405035 w 1105666"/>
                  <a:gd name="connsiteY362" fmla="*/ 705595 h 767196"/>
                  <a:gd name="connsiteX363" fmla="*/ 393527 w 1105666"/>
                  <a:gd name="connsiteY363" fmla="*/ 708303 h 767196"/>
                  <a:gd name="connsiteX364" fmla="*/ 381793 w 1105666"/>
                  <a:gd name="connsiteY364" fmla="*/ 711237 h 767196"/>
                  <a:gd name="connsiteX365" fmla="*/ 374798 w 1105666"/>
                  <a:gd name="connsiteY365" fmla="*/ 720262 h 767196"/>
                  <a:gd name="connsiteX366" fmla="*/ 365998 w 1105666"/>
                  <a:gd name="connsiteY366" fmla="*/ 734252 h 767196"/>
                  <a:gd name="connsiteX367" fmla="*/ 360583 w 1105666"/>
                  <a:gd name="connsiteY367" fmla="*/ 738991 h 767196"/>
                  <a:gd name="connsiteX368" fmla="*/ 352685 w 1105666"/>
                  <a:gd name="connsiteY368" fmla="*/ 746212 h 767196"/>
                  <a:gd name="connsiteX369" fmla="*/ 349526 w 1105666"/>
                  <a:gd name="connsiteY369" fmla="*/ 761556 h 767196"/>
                  <a:gd name="connsiteX370" fmla="*/ 349752 w 1105666"/>
                  <a:gd name="connsiteY370" fmla="*/ 767874 h 767196"/>
                  <a:gd name="connsiteX371" fmla="*/ 347946 w 1105666"/>
                  <a:gd name="connsiteY371" fmla="*/ 768776 h 767196"/>
                  <a:gd name="connsiteX372" fmla="*/ 343885 w 1105666"/>
                  <a:gd name="connsiteY372" fmla="*/ 769679 h 767196"/>
                  <a:gd name="connsiteX373" fmla="*/ 316807 w 1105666"/>
                  <a:gd name="connsiteY373" fmla="*/ 771258 h 767196"/>
                  <a:gd name="connsiteX374" fmla="*/ 306427 w 1105666"/>
                  <a:gd name="connsiteY374" fmla="*/ 774643 h 767196"/>
                  <a:gd name="connsiteX375" fmla="*/ 298755 w 1105666"/>
                  <a:gd name="connsiteY375" fmla="*/ 778930 h 767196"/>
                  <a:gd name="connsiteX376" fmla="*/ 243472 w 1105666"/>
                  <a:gd name="connsiteY376" fmla="*/ 730642 h 767196"/>
                  <a:gd name="connsiteX377" fmla="*/ 279801 w 1105666"/>
                  <a:gd name="connsiteY377" fmla="*/ 748694 h 767196"/>
                  <a:gd name="connsiteX378" fmla="*/ 295371 w 1105666"/>
                  <a:gd name="connsiteY378" fmla="*/ 774643 h 767196"/>
                  <a:gd name="connsiteX379" fmla="*/ 305074 w 1105666"/>
                  <a:gd name="connsiteY379" fmla="*/ 771484 h 767196"/>
                  <a:gd name="connsiteX380" fmla="*/ 319064 w 1105666"/>
                  <a:gd name="connsiteY380" fmla="*/ 766971 h 767196"/>
                  <a:gd name="connsiteX381" fmla="*/ 344562 w 1105666"/>
                  <a:gd name="connsiteY381" fmla="*/ 765392 h 767196"/>
                  <a:gd name="connsiteX382" fmla="*/ 348172 w 1105666"/>
                  <a:gd name="connsiteY382" fmla="*/ 764715 h 767196"/>
                  <a:gd name="connsiteX383" fmla="*/ 347495 w 1105666"/>
                  <a:gd name="connsiteY383" fmla="*/ 762007 h 767196"/>
                  <a:gd name="connsiteX384" fmla="*/ 353362 w 1105666"/>
                  <a:gd name="connsiteY384" fmla="*/ 742150 h 767196"/>
                  <a:gd name="connsiteX385" fmla="*/ 358552 w 1105666"/>
                  <a:gd name="connsiteY385" fmla="*/ 737863 h 767196"/>
                  <a:gd name="connsiteX386" fmla="*/ 366449 w 1105666"/>
                  <a:gd name="connsiteY386" fmla="*/ 730191 h 767196"/>
                  <a:gd name="connsiteX387" fmla="*/ 372767 w 1105666"/>
                  <a:gd name="connsiteY387" fmla="*/ 719134 h 767196"/>
                  <a:gd name="connsiteX388" fmla="*/ 383373 w 1105666"/>
                  <a:gd name="connsiteY388" fmla="*/ 706949 h 767196"/>
                  <a:gd name="connsiteX389" fmla="*/ 393076 w 1105666"/>
                  <a:gd name="connsiteY389" fmla="*/ 704467 h 767196"/>
                  <a:gd name="connsiteX390" fmla="*/ 406614 w 1105666"/>
                  <a:gd name="connsiteY390" fmla="*/ 701308 h 767196"/>
                  <a:gd name="connsiteX391" fmla="*/ 417445 w 1105666"/>
                  <a:gd name="connsiteY391" fmla="*/ 695667 h 767196"/>
                  <a:gd name="connsiteX392" fmla="*/ 428051 w 1105666"/>
                  <a:gd name="connsiteY392" fmla="*/ 687544 h 767196"/>
                  <a:gd name="connsiteX393" fmla="*/ 466636 w 1105666"/>
                  <a:gd name="connsiteY393" fmla="*/ 694764 h 767196"/>
                  <a:gd name="connsiteX394" fmla="*/ 477467 w 1105666"/>
                  <a:gd name="connsiteY394" fmla="*/ 723421 h 767196"/>
                  <a:gd name="connsiteX395" fmla="*/ 468216 w 1105666"/>
                  <a:gd name="connsiteY395" fmla="*/ 728160 h 767196"/>
                  <a:gd name="connsiteX396" fmla="*/ 455805 w 1105666"/>
                  <a:gd name="connsiteY396" fmla="*/ 724098 h 767196"/>
                  <a:gd name="connsiteX397" fmla="*/ 449261 w 1105666"/>
                  <a:gd name="connsiteY397" fmla="*/ 722068 h 767196"/>
                  <a:gd name="connsiteX398" fmla="*/ 449261 w 1105666"/>
                  <a:gd name="connsiteY398" fmla="*/ 722068 h 767196"/>
                  <a:gd name="connsiteX399" fmla="*/ 449036 w 1105666"/>
                  <a:gd name="connsiteY399" fmla="*/ 724324 h 767196"/>
                  <a:gd name="connsiteX400" fmla="*/ 462349 w 1105666"/>
                  <a:gd name="connsiteY400" fmla="*/ 740119 h 767196"/>
                  <a:gd name="connsiteX401" fmla="*/ 478144 w 1105666"/>
                  <a:gd name="connsiteY401" fmla="*/ 739442 h 767196"/>
                  <a:gd name="connsiteX402" fmla="*/ 496647 w 1105666"/>
                  <a:gd name="connsiteY402" fmla="*/ 738765 h 767196"/>
                  <a:gd name="connsiteX403" fmla="*/ 508832 w 1105666"/>
                  <a:gd name="connsiteY403" fmla="*/ 739894 h 767196"/>
                  <a:gd name="connsiteX404" fmla="*/ 538843 w 1105666"/>
                  <a:gd name="connsiteY404" fmla="*/ 738991 h 767196"/>
                  <a:gd name="connsiteX405" fmla="*/ 546966 w 1105666"/>
                  <a:gd name="connsiteY405" fmla="*/ 732222 h 767196"/>
                  <a:gd name="connsiteX406" fmla="*/ 561859 w 1105666"/>
                  <a:gd name="connsiteY406" fmla="*/ 725678 h 767196"/>
                  <a:gd name="connsiteX407" fmla="*/ 575849 w 1105666"/>
                  <a:gd name="connsiteY407" fmla="*/ 731545 h 767196"/>
                  <a:gd name="connsiteX408" fmla="*/ 594126 w 1105666"/>
                  <a:gd name="connsiteY408" fmla="*/ 738088 h 767196"/>
                  <a:gd name="connsiteX409" fmla="*/ 605183 w 1105666"/>
                  <a:gd name="connsiteY409" fmla="*/ 736283 h 767196"/>
                  <a:gd name="connsiteX410" fmla="*/ 625265 w 1105666"/>
                  <a:gd name="connsiteY410" fmla="*/ 733576 h 767196"/>
                  <a:gd name="connsiteX411" fmla="*/ 636322 w 1105666"/>
                  <a:gd name="connsiteY411" fmla="*/ 730642 h 767196"/>
                  <a:gd name="connsiteX412" fmla="*/ 655953 w 1105666"/>
                  <a:gd name="connsiteY412" fmla="*/ 718006 h 767196"/>
                  <a:gd name="connsiteX413" fmla="*/ 665205 w 1105666"/>
                  <a:gd name="connsiteY413" fmla="*/ 714847 h 767196"/>
                  <a:gd name="connsiteX414" fmla="*/ 702211 w 1105666"/>
                  <a:gd name="connsiteY414" fmla="*/ 712139 h 767196"/>
                  <a:gd name="connsiteX415" fmla="*/ 702662 w 1105666"/>
                  <a:gd name="connsiteY415" fmla="*/ 721842 h 767196"/>
                  <a:gd name="connsiteX416" fmla="*/ 702436 w 1105666"/>
                  <a:gd name="connsiteY416" fmla="*/ 725227 h 767196"/>
                  <a:gd name="connsiteX417" fmla="*/ 709431 w 1105666"/>
                  <a:gd name="connsiteY417" fmla="*/ 727483 h 767196"/>
                  <a:gd name="connsiteX418" fmla="*/ 729740 w 1105666"/>
                  <a:gd name="connsiteY418" fmla="*/ 724324 h 767196"/>
                  <a:gd name="connsiteX419" fmla="*/ 748694 w 1105666"/>
                  <a:gd name="connsiteY419" fmla="*/ 722519 h 767196"/>
                  <a:gd name="connsiteX420" fmla="*/ 756817 w 1105666"/>
                  <a:gd name="connsiteY420" fmla="*/ 727483 h 767196"/>
                  <a:gd name="connsiteX421" fmla="*/ 763135 w 1105666"/>
                  <a:gd name="connsiteY421" fmla="*/ 729288 h 767196"/>
                  <a:gd name="connsiteX422" fmla="*/ 786602 w 1105666"/>
                  <a:gd name="connsiteY422" fmla="*/ 725001 h 767196"/>
                  <a:gd name="connsiteX423" fmla="*/ 791115 w 1105666"/>
                  <a:gd name="connsiteY423" fmla="*/ 721391 h 767196"/>
                  <a:gd name="connsiteX424" fmla="*/ 799013 w 1105666"/>
                  <a:gd name="connsiteY424" fmla="*/ 716652 h 767196"/>
                  <a:gd name="connsiteX425" fmla="*/ 799239 w 1105666"/>
                  <a:gd name="connsiteY425" fmla="*/ 716652 h 767196"/>
                  <a:gd name="connsiteX426" fmla="*/ 805331 w 1105666"/>
                  <a:gd name="connsiteY426" fmla="*/ 719811 h 767196"/>
                  <a:gd name="connsiteX427" fmla="*/ 815936 w 1105666"/>
                  <a:gd name="connsiteY427" fmla="*/ 729740 h 767196"/>
                  <a:gd name="connsiteX428" fmla="*/ 821352 w 1105666"/>
                  <a:gd name="connsiteY428" fmla="*/ 734027 h 767196"/>
                  <a:gd name="connsiteX429" fmla="*/ 828347 w 1105666"/>
                  <a:gd name="connsiteY429" fmla="*/ 739217 h 767196"/>
                  <a:gd name="connsiteX430" fmla="*/ 834665 w 1105666"/>
                  <a:gd name="connsiteY430" fmla="*/ 743955 h 767196"/>
                  <a:gd name="connsiteX431" fmla="*/ 842788 w 1105666"/>
                  <a:gd name="connsiteY431" fmla="*/ 754786 h 767196"/>
                  <a:gd name="connsiteX432" fmla="*/ 843917 w 1105666"/>
                  <a:gd name="connsiteY432" fmla="*/ 755238 h 767196"/>
                  <a:gd name="connsiteX433" fmla="*/ 847301 w 1105666"/>
                  <a:gd name="connsiteY433" fmla="*/ 758622 h 767196"/>
                  <a:gd name="connsiteX434" fmla="*/ 847076 w 1105666"/>
                  <a:gd name="connsiteY434" fmla="*/ 760879 h 767196"/>
                  <a:gd name="connsiteX435" fmla="*/ 853394 w 1105666"/>
                  <a:gd name="connsiteY435" fmla="*/ 760653 h 767196"/>
                  <a:gd name="connsiteX436" fmla="*/ 855199 w 1105666"/>
                  <a:gd name="connsiteY436" fmla="*/ 756140 h 767196"/>
                  <a:gd name="connsiteX437" fmla="*/ 860614 w 1105666"/>
                  <a:gd name="connsiteY437" fmla="*/ 747791 h 767196"/>
                  <a:gd name="connsiteX438" fmla="*/ 863548 w 1105666"/>
                  <a:gd name="connsiteY438" fmla="*/ 725001 h 767196"/>
                  <a:gd name="connsiteX439" fmla="*/ 863322 w 1105666"/>
                  <a:gd name="connsiteY439" fmla="*/ 717103 h 767196"/>
                  <a:gd name="connsiteX440" fmla="*/ 876184 w 1105666"/>
                  <a:gd name="connsiteY440" fmla="*/ 687995 h 767196"/>
                  <a:gd name="connsiteX441" fmla="*/ 882953 w 1105666"/>
                  <a:gd name="connsiteY441" fmla="*/ 671297 h 767196"/>
                  <a:gd name="connsiteX442" fmla="*/ 882953 w 1105666"/>
                  <a:gd name="connsiteY442" fmla="*/ 660692 h 767196"/>
                  <a:gd name="connsiteX443" fmla="*/ 889046 w 1105666"/>
                  <a:gd name="connsiteY443" fmla="*/ 649861 h 767196"/>
                  <a:gd name="connsiteX444" fmla="*/ 895364 w 1105666"/>
                  <a:gd name="connsiteY444" fmla="*/ 640158 h 767196"/>
                  <a:gd name="connsiteX445" fmla="*/ 904841 w 1105666"/>
                  <a:gd name="connsiteY445" fmla="*/ 623912 h 767196"/>
                  <a:gd name="connsiteX446" fmla="*/ 912062 w 1105666"/>
                  <a:gd name="connsiteY446" fmla="*/ 618045 h 767196"/>
                  <a:gd name="connsiteX447" fmla="*/ 920636 w 1105666"/>
                  <a:gd name="connsiteY447" fmla="*/ 604957 h 767196"/>
                  <a:gd name="connsiteX448" fmla="*/ 926729 w 1105666"/>
                  <a:gd name="connsiteY448" fmla="*/ 595931 h 767196"/>
                  <a:gd name="connsiteX449" fmla="*/ 945006 w 1105666"/>
                  <a:gd name="connsiteY449" fmla="*/ 593224 h 767196"/>
                  <a:gd name="connsiteX450" fmla="*/ 949745 w 1105666"/>
                  <a:gd name="connsiteY450" fmla="*/ 593675 h 767196"/>
                  <a:gd name="connsiteX451" fmla="*/ 982012 w 1105666"/>
                  <a:gd name="connsiteY451" fmla="*/ 578331 h 767196"/>
                  <a:gd name="connsiteX452" fmla="*/ 987653 w 1105666"/>
                  <a:gd name="connsiteY452" fmla="*/ 572690 h 767196"/>
                  <a:gd name="connsiteX453" fmla="*/ 990135 w 1105666"/>
                  <a:gd name="connsiteY453" fmla="*/ 566372 h 767196"/>
                  <a:gd name="connsiteX454" fmla="*/ 992843 w 1105666"/>
                  <a:gd name="connsiteY454" fmla="*/ 556669 h 767196"/>
                  <a:gd name="connsiteX455" fmla="*/ 999612 w 1105666"/>
                  <a:gd name="connsiteY455" fmla="*/ 538166 h 767196"/>
                  <a:gd name="connsiteX456" fmla="*/ 1009766 w 1105666"/>
                  <a:gd name="connsiteY456" fmla="*/ 530043 h 767196"/>
                  <a:gd name="connsiteX457" fmla="*/ 1015633 w 1105666"/>
                  <a:gd name="connsiteY457" fmla="*/ 527109 h 767196"/>
                  <a:gd name="connsiteX458" fmla="*/ 1019921 w 1105666"/>
                  <a:gd name="connsiteY458" fmla="*/ 524402 h 767196"/>
                  <a:gd name="connsiteX459" fmla="*/ 1028269 w 1105666"/>
                  <a:gd name="connsiteY459" fmla="*/ 512668 h 767196"/>
                  <a:gd name="connsiteX460" fmla="*/ 1037521 w 1105666"/>
                  <a:gd name="connsiteY460" fmla="*/ 504545 h 767196"/>
                  <a:gd name="connsiteX461" fmla="*/ 1037521 w 1105666"/>
                  <a:gd name="connsiteY461" fmla="*/ 504093 h 767196"/>
                  <a:gd name="connsiteX462" fmla="*/ 1040454 w 1105666"/>
                  <a:gd name="connsiteY462" fmla="*/ 498001 h 767196"/>
                  <a:gd name="connsiteX463" fmla="*/ 1042485 w 1105666"/>
                  <a:gd name="connsiteY463" fmla="*/ 492811 h 767196"/>
                  <a:gd name="connsiteX464" fmla="*/ 1033008 w 1105666"/>
                  <a:gd name="connsiteY464" fmla="*/ 477693 h 767196"/>
                  <a:gd name="connsiteX465" fmla="*/ 1026916 w 1105666"/>
                  <a:gd name="connsiteY465" fmla="*/ 475436 h 767196"/>
                  <a:gd name="connsiteX466" fmla="*/ 1018792 w 1105666"/>
                  <a:gd name="connsiteY466" fmla="*/ 466636 h 767196"/>
                  <a:gd name="connsiteX467" fmla="*/ 1014054 w 1105666"/>
                  <a:gd name="connsiteY467" fmla="*/ 462800 h 767196"/>
                  <a:gd name="connsiteX468" fmla="*/ 1005028 w 1105666"/>
                  <a:gd name="connsiteY468" fmla="*/ 459190 h 767196"/>
                  <a:gd name="connsiteX469" fmla="*/ 1000289 w 1105666"/>
                  <a:gd name="connsiteY469" fmla="*/ 457836 h 767196"/>
                  <a:gd name="connsiteX470" fmla="*/ 990812 w 1105666"/>
                  <a:gd name="connsiteY470" fmla="*/ 462123 h 767196"/>
                  <a:gd name="connsiteX471" fmla="*/ 972309 w 1105666"/>
                  <a:gd name="connsiteY471" fmla="*/ 451969 h 767196"/>
                  <a:gd name="connsiteX472" fmla="*/ 974566 w 1105666"/>
                  <a:gd name="connsiteY472" fmla="*/ 441364 h 767196"/>
                  <a:gd name="connsiteX473" fmla="*/ 980207 w 1105666"/>
                  <a:gd name="connsiteY473" fmla="*/ 433241 h 767196"/>
                  <a:gd name="connsiteX474" fmla="*/ 973663 w 1105666"/>
                  <a:gd name="connsiteY474" fmla="*/ 417671 h 767196"/>
                  <a:gd name="connsiteX475" fmla="*/ 967345 w 1105666"/>
                  <a:gd name="connsiteY475" fmla="*/ 404583 h 767196"/>
                  <a:gd name="connsiteX476" fmla="*/ 972309 w 1105666"/>
                  <a:gd name="connsiteY476" fmla="*/ 399619 h 767196"/>
                  <a:gd name="connsiteX477" fmla="*/ 995100 w 1105666"/>
                  <a:gd name="connsiteY477" fmla="*/ 407066 h 767196"/>
                  <a:gd name="connsiteX478" fmla="*/ 1007736 w 1105666"/>
                  <a:gd name="connsiteY478" fmla="*/ 413835 h 767196"/>
                  <a:gd name="connsiteX479" fmla="*/ 1034136 w 1105666"/>
                  <a:gd name="connsiteY479" fmla="*/ 412481 h 767196"/>
                  <a:gd name="connsiteX480" fmla="*/ 1073173 w 1105666"/>
                  <a:gd name="connsiteY480" fmla="*/ 412481 h 767196"/>
                  <a:gd name="connsiteX481" fmla="*/ 1106569 w 1105666"/>
                  <a:gd name="connsiteY481" fmla="*/ 395783 h 767196"/>
                  <a:gd name="connsiteX482" fmla="*/ 1115369 w 1105666"/>
                  <a:gd name="connsiteY482" fmla="*/ 384275 h 767196"/>
                  <a:gd name="connsiteX483" fmla="*/ 1114918 w 1105666"/>
                  <a:gd name="connsiteY483" fmla="*/ 384050 h 767196"/>
                  <a:gd name="connsiteX484" fmla="*/ 1113338 w 1105666"/>
                  <a:gd name="connsiteY484" fmla="*/ 360808 h 767196"/>
                  <a:gd name="connsiteX485" fmla="*/ 1113338 w 1105666"/>
                  <a:gd name="connsiteY485" fmla="*/ 360808 h 767196"/>
                  <a:gd name="connsiteX486" fmla="*/ 1111307 w 1105666"/>
                  <a:gd name="connsiteY486" fmla="*/ 343659 h 767196"/>
                  <a:gd name="connsiteX487" fmla="*/ 1106343 w 1105666"/>
                  <a:gd name="connsiteY487" fmla="*/ 332151 h 767196"/>
                  <a:gd name="connsiteX488" fmla="*/ 1104087 w 1105666"/>
                  <a:gd name="connsiteY488" fmla="*/ 321771 h 767196"/>
                  <a:gd name="connsiteX489" fmla="*/ 1106794 w 1105666"/>
                  <a:gd name="connsiteY489" fmla="*/ 306879 h 767196"/>
                  <a:gd name="connsiteX490" fmla="*/ 1107923 w 1105666"/>
                  <a:gd name="connsiteY490" fmla="*/ 302592 h 767196"/>
                  <a:gd name="connsiteX491" fmla="*/ 1098220 w 1105666"/>
                  <a:gd name="connsiteY491" fmla="*/ 298755 h 767196"/>
                  <a:gd name="connsiteX492" fmla="*/ 1088968 w 1105666"/>
                  <a:gd name="connsiteY492" fmla="*/ 297402 h 767196"/>
                  <a:gd name="connsiteX493" fmla="*/ 1065050 w 1105666"/>
                  <a:gd name="connsiteY493" fmla="*/ 299207 h 767196"/>
                  <a:gd name="connsiteX494" fmla="*/ 1048126 w 1105666"/>
                  <a:gd name="connsiteY494" fmla="*/ 296499 h 767196"/>
                  <a:gd name="connsiteX495" fmla="*/ 1033685 w 1105666"/>
                  <a:gd name="connsiteY495" fmla="*/ 276416 h 767196"/>
                  <a:gd name="connsiteX496" fmla="*/ 1013377 w 1105666"/>
                  <a:gd name="connsiteY496" fmla="*/ 261749 h 767196"/>
                  <a:gd name="connsiteX497" fmla="*/ 997356 w 1105666"/>
                  <a:gd name="connsiteY497" fmla="*/ 253175 h 767196"/>
                  <a:gd name="connsiteX498" fmla="*/ 982012 w 1105666"/>
                  <a:gd name="connsiteY498" fmla="*/ 250016 h 767196"/>
                  <a:gd name="connsiteX499" fmla="*/ 970955 w 1105666"/>
                  <a:gd name="connsiteY499" fmla="*/ 247985 h 767196"/>
                  <a:gd name="connsiteX500" fmla="*/ 965991 w 1105666"/>
                  <a:gd name="connsiteY500" fmla="*/ 238508 h 767196"/>
                  <a:gd name="connsiteX501" fmla="*/ 960801 w 1105666"/>
                  <a:gd name="connsiteY501" fmla="*/ 231062 h 767196"/>
                  <a:gd name="connsiteX502" fmla="*/ 958319 w 1105666"/>
                  <a:gd name="connsiteY502" fmla="*/ 236477 h 767196"/>
                  <a:gd name="connsiteX503" fmla="*/ 945232 w 1105666"/>
                  <a:gd name="connsiteY503" fmla="*/ 247985 h 767196"/>
                  <a:gd name="connsiteX504" fmla="*/ 936206 w 1105666"/>
                  <a:gd name="connsiteY504" fmla="*/ 246631 h 767196"/>
                  <a:gd name="connsiteX505" fmla="*/ 928308 w 1105666"/>
                  <a:gd name="connsiteY505" fmla="*/ 246857 h 767196"/>
                  <a:gd name="connsiteX506" fmla="*/ 927857 w 1105666"/>
                  <a:gd name="connsiteY506" fmla="*/ 247083 h 767196"/>
                  <a:gd name="connsiteX507" fmla="*/ 928760 w 1105666"/>
                  <a:gd name="connsiteY507" fmla="*/ 254529 h 767196"/>
                  <a:gd name="connsiteX508" fmla="*/ 928534 w 1105666"/>
                  <a:gd name="connsiteY508" fmla="*/ 267165 h 767196"/>
                  <a:gd name="connsiteX509" fmla="*/ 921990 w 1105666"/>
                  <a:gd name="connsiteY509" fmla="*/ 268970 h 767196"/>
                  <a:gd name="connsiteX510" fmla="*/ 913867 w 1105666"/>
                  <a:gd name="connsiteY510" fmla="*/ 267391 h 767196"/>
                  <a:gd name="connsiteX511" fmla="*/ 896943 w 1105666"/>
                  <a:gd name="connsiteY511" fmla="*/ 270324 h 767196"/>
                  <a:gd name="connsiteX512" fmla="*/ 873476 w 1105666"/>
                  <a:gd name="connsiteY512" fmla="*/ 266939 h 767196"/>
                  <a:gd name="connsiteX513" fmla="*/ 874379 w 1105666"/>
                  <a:gd name="connsiteY513" fmla="*/ 259042 h 767196"/>
                  <a:gd name="connsiteX514" fmla="*/ 875056 w 1105666"/>
                  <a:gd name="connsiteY514" fmla="*/ 254078 h 767196"/>
                  <a:gd name="connsiteX515" fmla="*/ 867609 w 1105666"/>
                  <a:gd name="connsiteY515" fmla="*/ 250242 h 767196"/>
                  <a:gd name="connsiteX516" fmla="*/ 863548 w 1105666"/>
                  <a:gd name="connsiteY516" fmla="*/ 248888 h 767196"/>
                  <a:gd name="connsiteX517" fmla="*/ 862645 w 1105666"/>
                  <a:gd name="connsiteY517" fmla="*/ 242118 h 767196"/>
                  <a:gd name="connsiteX518" fmla="*/ 862645 w 1105666"/>
                  <a:gd name="connsiteY518" fmla="*/ 238282 h 767196"/>
                  <a:gd name="connsiteX519" fmla="*/ 860840 w 1105666"/>
                  <a:gd name="connsiteY519" fmla="*/ 238057 h 767196"/>
                  <a:gd name="connsiteX520" fmla="*/ 846624 w 1105666"/>
                  <a:gd name="connsiteY520" fmla="*/ 250693 h 767196"/>
                  <a:gd name="connsiteX521" fmla="*/ 840532 w 1105666"/>
                  <a:gd name="connsiteY521" fmla="*/ 258139 h 767196"/>
                  <a:gd name="connsiteX522" fmla="*/ 815260 w 1105666"/>
                  <a:gd name="connsiteY522" fmla="*/ 260396 h 767196"/>
                  <a:gd name="connsiteX523" fmla="*/ 809393 w 1105666"/>
                  <a:gd name="connsiteY523" fmla="*/ 259267 h 767196"/>
                  <a:gd name="connsiteX524" fmla="*/ 801946 w 1105666"/>
                  <a:gd name="connsiteY524" fmla="*/ 254303 h 767196"/>
                  <a:gd name="connsiteX525" fmla="*/ 819998 w 1105666"/>
                  <a:gd name="connsiteY525" fmla="*/ 240313 h 767196"/>
                  <a:gd name="connsiteX526" fmla="*/ 823383 w 1105666"/>
                  <a:gd name="connsiteY526" fmla="*/ 238734 h 767196"/>
                  <a:gd name="connsiteX527" fmla="*/ 833763 w 1105666"/>
                  <a:gd name="connsiteY527" fmla="*/ 228354 h 767196"/>
                  <a:gd name="connsiteX528" fmla="*/ 831506 w 1105666"/>
                  <a:gd name="connsiteY528" fmla="*/ 229482 h 767196"/>
                  <a:gd name="connsiteX529" fmla="*/ 810070 w 1105666"/>
                  <a:gd name="connsiteY529" fmla="*/ 220682 h 767196"/>
                  <a:gd name="connsiteX530" fmla="*/ 805782 w 1105666"/>
                  <a:gd name="connsiteY530" fmla="*/ 215266 h 767196"/>
                  <a:gd name="connsiteX531" fmla="*/ 790890 w 1105666"/>
                  <a:gd name="connsiteY531" fmla="*/ 213461 h 767196"/>
                  <a:gd name="connsiteX532" fmla="*/ 777802 w 1105666"/>
                  <a:gd name="connsiteY532" fmla="*/ 218425 h 767196"/>
                  <a:gd name="connsiteX533" fmla="*/ 755238 w 1105666"/>
                  <a:gd name="connsiteY533" fmla="*/ 238508 h 767196"/>
                  <a:gd name="connsiteX534" fmla="*/ 741699 w 1105666"/>
                  <a:gd name="connsiteY534" fmla="*/ 250919 h 767196"/>
                  <a:gd name="connsiteX535" fmla="*/ 732222 w 1105666"/>
                  <a:gd name="connsiteY535" fmla="*/ 238282 h 767196"/>
                  <a:gd name="connsiteX536" fmla="*/ 730642 w 1105666"/>
                  <a:gd name="connsiteY536" fmla="*/ 233544 h 767196"/>
                  <a:gd name="connsiteX537" fmla="*/ 721616 w 1105666"/>
                  <a:gd name="connsiteY537" fmla="*/ 240313 h 767196"/>
                  <a:gd name="connsiteX538" fmla="*/ 711462 w 1105666"/>
                  <a:gd name="connsiteY538" fmla="*/ 249113 h 767196"/>
                  <a:gd name="connsiteX539" fmla="*/ 698600 w 1105666"/>
                  <a:gd name="connsiteY539" fmla="*/ 250242 h 767196"/>
                  <a:gd name="connsiteX540" fmla="*/ 701985 w 1105666"/>
                  <a:gd name="connsiteY540" fmla="*/ 227677 h 767196"/>
                  <a:gd name="connsiteX541" fmla="*/ 703339 w 1105666"/>
                  <a:gd name="connsiteY541" fmla="*/ 218200 h 767196"/>
                  <a:gd name="connsiteX542" fmla="*/ 696795 w 1105666"/>
                  <a:gd name="connsiteY542" fmla="*/ 215718 h 767196"/>
                  <a:gd name="connsiteX543" fmla="*/ 687318 w 1105666"/>
                  <a:gd name="connsiteY543" fmla="*/ 226549 h 767196"/>
                  <a:gd name="connsiteX544" fmla="*/ 679195 w 1105666"/>
                  <a:gd name="connsiteY544" fmla="*/ 243246 h 767196"/>
                  <a:gd name="connsiteX545" fmla="*/ 673554 w 1105666"/>
                  <a:gd name="connsiteY545" fmla="*/ 241216 h 767196"/>
                  <a:gd name="connsiteX546" fmla="*/ 672877 w 1105666"/>
                  <a:gd name="connsiteY546" fmla="*/ 240764 h 767196"/>
                  <a:gd name="connsiteX547" fmla="*/ 670620 w 1105666"/>
                  <a:gd name="connsiteY547" fmla="*/ 240313 h 767196"/>
                  <a:gd name="connsiteX548" fmla="*/ 662271 w 1105666"/>
                  <a:gd name="connsiteY548" fmla="*/ 233092 h 767196"/>
                  <a:gd name="connsiteX549" fmla="*/ 655728 w 1105666"/>
                  <a:gd name="connsiteY549" fmla="*/ 229482 h 767196"/>
                  <a:gd name="connsiteX550" fmla="*/ 648958 w 1105666"/>
                  <a:gd name="connsiteY550" fmla="*/ 224292 h 767196"/>
                  <a:gd name="connsiteX551" fmla="*/ 644671 w 1105666"/>
                  <a:gd name="connsiteY551" fmla="*/ 222036 h 767196"/>
                  <a:gd name="connsiteX552" fmla="*/ 636999 w 1105666"/>
                  <a:gd name="connsiteY552" fmla="*/ 214138 h 767196"/>
                  <a:gd name="connsiteX553" fmla="*/ 634968 w 1105666"/>
                  <a:gd name="connsiteY553" fmla="*/ 209851 h 767196"/>
                  <a:gd name="connsiteX554" fmla="*/ 632712 w 1105666"/>
                  <a:gd name="connsiteY554" fmla="*/ 207143 h 767196"/>
                  <a:gd name="connsiteX555" fmla="*/ 637225 w 1105666"/>
                  <a:gd name="connsiteY555" fmla="*/ 201728 h 767196"/>
                  <a:gd name="connsiteX556" fmla="*/ 641061 w 1105666"/>
                  <a:gd name="connsiteY556" fmla="*/ 194056 h 767196"/>
                  <a:gd name="connsiteX557" fmla="*/ 635871 w 1105666"/>
                  <a:gd name="connsiteY557" fmla="*/ 187512 h 767196"/>
                  <a:gd name="connsiteX558" fmla="*/ 618947 w 1105666"/>
                  <a:gd name="connsiteY558" fmla="*/ 198794 h 767196"/>
                  <a:gd name="connsiteX559" fmla="*/ 612855 w 1105666"/>
                  <a:gd name="connsiteY559" fmla="*/ 203081 h 767196"/>
                  <a:gd name="connsiteX560" fmla="*/ 609696 w 1105666"/>
                  <a:gd name="connsiteY560" fmla="*/ 201276 h 767196"/>
                  <a:gd name="connsiteX561" fmla="*/ 604732 w 1105666"/>
                  <a:gd name="connsiteY561" fmla="*/ 198794 h 767196"/>
                  <a:gd name="connsiteX562" fmla="*/ 601573 w 1105666"/>
                  <a:gd name="connsiteY562" fmla="*/ 199246 h 767196"/>
                  <a:gd name="connsiteX563" fmla="*/ 601798 w 1105666"/>
                  <a:gd name="connsiteY563" fmla="*/ 203533 h 767196"/>
                  <a:gd name="connsiteX564" fmla="*/ 602475 w 1105666"/>
                  <a:gd name="connsiteY564" fmla="*/ 210076 h 767196"/>
                  <a:gd name="connsiteX565" fmla="*/ 604055 w 1105666"/>
                  <a:gd name="connsiteY565" fmla="*/ 221133 h 767196"/>
                  <a:gd name="connsiteX566" fmla="*/ 604506 w 1105666"/>
                  <a:gd name="connsiteY566" fmla="*/ 232416 h 767196"/>
                  <a:gd name="connsiteX567" fmla="*/ 606762 w 1105666"/>
                  <a:gd name="connsiteY567" fmla="*/ 239862 h 767196"/>
                  <a:gd name="connsiteX568" fmla="*/ 608116 w 1105666"/>
                  <a:gd name="connsiteY568" fmla="*/ 249113 h 767196"/>
                  <a:gd name="connsiteX569" fmla="*/ 614209 w 1105666"/>
                  <a:gd name="connsiteY569" fmla="*/ 261975 h 767196"/>
                  <a:gd name="connsiteX570" fmla="*/ 619399 w 1105666"/>
                  <a:gd name="connsiteY570" fmla="*/ 275514 h 767196"/>
                  <a:gd name="connsiteX571" fmla="*/ 619399 w 1105666"/>
                  <a:gd name="connsiteY571" fmla="*/ 278222 h 767196"/>
                  <a:gd name="connsiteX572" fmla="*/ 626394 w 1105666"/>
                  <a:gd name="connsiteY572" fmla="*/ 293114 h 767196"/>
                  <a:gd name="connsiteX573" fmla="*/ 631358 w 1105666"/>
                  <a:gd name="connsiteY573" fmla="*/ 300786 h 767196"/>
                  <a:gd name="connsiteX574" fmla="*/ 636096 w 1105666"/>
                  <a:gd name="connsiteY574" fmla="*/ 305074 h 767196"/>
                  <a:gd name="connsiteX575" fmla="*/ 642640 w 1105666"/>
                  <a:gd name="connsiteY575" fmla="*/ 310940 h 767196"/>
                  <a:gd name="connsiteX576" fmla="*/ 644897 w 1105666"/>
                  <a:gd name="connsiteY576" fmla="*/ 317935 h 767196"/>
                  <a:gd name="connsiteX577" fmla="*/ 648733 w 1105666"/>
                  <a:gd name="connsiteY577" fmla="*/ 328541 h 767196"/>
                  <a:gd name="connsiteX578" fmla="*/ 652343 w 1105666"/>
                  <a:gd name="connsiteY578" fmla="*/ 340726 h 767196"/>
                  <a:gd name="connsiteX579" fmla="*/ 651666 w 1105666"/>
                  <a:gd name="connsiteY579" fmla="*/ 354941 h 767196"/>
                  <a:gd name="connsiteX580" fmla="*/ 635420 w 1105666"/>
                  <a:gd name="connsiteY580" fmla="*/ 359003 h 767196"/>
                  <a:gd name="connsiteX581" fmla="*/ 624363 w 1105666"/>
                  <a:gd name="connsiteY581" fmla="*/ 361485 h 767196"/>
                  <a:gd name="connsiteX582" fmla="*/ 616240 w 1105666"/>
                  <a:gd name="connsiteY582" fmla="*/ 362839 h 767196"/>
                  <a:gd name="connsiteX583" fmla="*/ 613758 w 1105666"/>
                  <a:gd name="connsiteY583" fmla="*/ 358777 h 767196"/>
                  <a:gd name="connsiteX584" fmla="*/ 606537 w 1105666"/>
                  <a:gd name="connsiteY584" fmla="*/ 352911 h 767196"/>
                  <a:gd name="connsiteX585" fmla="*/ 605409 w 1105666"/>
                  <a:gd name="connsiteY585" fmla="*/ 352911 h 767196"/>
                  <a:gd name="connsiteX586" fmla="*/ 586906 w 1105666"/>
                  <a:gd name="connsiteY586" fmla="*/ 342080 h 767196"/>
                  <a:gd name="connsiteX587" fmla="*/ 578105 w 1105666"/>
                  <a:gd name="connsiteY587" fmla="*/ 345239 h 767196"/>
                  <a:gd name="connsiteX588" fmla="*/ 563890 w 1105666"/>
                  <a:gd name="connsiteY588" fmla="*/ 347946 h 767196"/>
                  <a:gd name="connsiteX589" fmla="*/ 562310 w 1105666"/>
                  <a:gd name="connsiteY589" fmla="*/ 346141 h 767196"/>
                  <a:gd name="connsiteX590" fmla="*/ 559377 w 1105666"/>
                  <a:gd name="connsiteY590" fmla="*/ 333731 h 767196"/>
                  <a:gd name="connsiteX591" fmla="*/ 559828 w 1105666"/>
                  <a:gd name="connsiteY591" fmla="*/ 329443 h 767196"/>
                  <a:gd name="connsiteX592" fmla="*/ 556895 w 1105666"/>
                  <a:gd name="connsiteY592" fmla="*/ 319966 h 767196"/>
                  <a:gd name="connsiteX593" fmla="*/ 555541 w 1105666"/>
                  <a:gd name="connsiteY593" fmla="*/ 311166 h 767196"/>
                  <a:gd name="connsiteX594" fmla="*/ 555541 w 1105666"/>
                  <a:gd name="connsiteY594" fmla="*/ 293791 h 767196"/>
                  <a:gd name="connsiteX595" fmla="*/ 553510 w 1105666"/>
                  <a:gd name="connsiteY595" fmla="*/ 284765 h 767196"/>
                  <a:gd name="connsiteX596" fmla="*/ 564115 w 1105666"/>
                  <a:gd name="connsiteY596" fmla="*/ 246180 h 767196"/>
                  <a:gd name="connsiteX597" fmla="*/ 571110 w 1105666"/>
                  <a:gd name="connsiteY597" fmla="*/ 232641 h 767196"/>
                  <a:gd name="connsiteX598" fmla="*/ 573367 w 1105666"/>
                  <a:gd name="connsiteY598" fmla="*/ 226323 h 767196"/>
                  <a:gd name="connsiteX599" fmla="*/ 567274 w 1105666"/>
                  <a:gd name="connsiteY599" fmla="*/ 214589 h 767196"/>
                  <a:gd name="connsiteX600" fmla="*/ 565018 w 1105666"/>
                  <a:gd name="connsiteY600" fmla="*/ 211882 h 767196"/>
                  <a:gd name="connsiteX601" fmla="*/ 570659 w 1105666"/>
                  <a:gd name="connsiteY601" fmla="*/ 188414 h 767196"/>
                  <a:gd name="connsiteX602" fmla="*/ 583521 w 1105666"/>
                  <a:gd name="connsiteY602" fmla="*/ 178260 h 767196"/>
                  <a:gd name="connsiteX603" fmla="*/ 585777 w 1105666"/>
                  <a:gd name="connsiteY603" fmla="*/ 177132 h 767196"/>
                  <a:gd name="connsiteX604" fmla="*/ 595029 w 1105666"/>
                  <a:gd name="connsiteY604" fmla="*/ 175327 h 767196"/>
                  <a:gd name="connsiteX605" fmla="*/ 613081 w 1105666"/>
                  <a:gd name="connsiteY605" fmla="*/ 172168 h 767196"/>
                  <a:gd name="connsiteX606" fmla="*/ 616240 w 1105666"/>
                  <a:gd name="connsiteY606" fmla="*/ 171265 h 767196"/>
                  <a:gd name="connsiteX607" fmla="*/ 621655 w 1105666"/>
                  <a:gd name="connsiteY607" fmla="*/ 169460 h 767196"/>
                  <a:gd name="connsiteX608" fmla="*/ 621655 w 1105666"/>
                  <a:gd name="connsiteY608" fmla="*/ 169235 h 767196"/>
                  <a:gd name="connsiteX609" fmla="*/ 621204 w 1105666"/>
                  <a:gd name="connsiteY609" fmla="*/ 165624 h 767196"/>
                  <a:gd name="connsiteX610" fmla="*/ 625491 w 1105666"/>
                  <a:gd name="connsiteY610" fmla="*/ 157275 h 767196"/>
                  <a:gd name="connsiteX611" fmla="*/ 630004 w 1105666"/>
                  <a:gd name="connsiteY611" fmla="*/ 152085 h 767196"/>
                  <a:gd name="connsiteX612" fmla="*/ 632712 w 1105666"/>
                  <a:gd name="connsiteY612" fmla="*/ 145542 h 767196"/>
                  <a:gd name="connsiteX613" fmla="*/ 639255 w 1105666"/>
                  <a:gd name="connsiteY613" fmla="*/ 133357 h 767196"/>
                  <a:gd name="connsiteX614" fmla="*/ 646025 w 1105666"/>
                  <a:gd name="connsiteY614" fmla="*/ 116885 h 767196"/>
                  <a:gd name="connsiteX615" fmla="*/ 649184 w 1105666"/>
                  <a:gd name="connsiteY615" fmla="*/ 106505 h 767196"/>
                  <a:gd name="connsiteX616" fmla="*/ 651440 w 1105666"/>
                  <a:gd name="connsiteY616" fmla="*/ 101090 h 767196"/>
                  <a:gd name="connsiteX617" fmla="*/ 659338 w 1105666"/>
                  <a:gd name="connsiteY617" fmla="*/ 85971 h 767196"/>
                  <a:gd name="connsiteX618" fmla="*/ 660241 w 1105666"/>
                  <a:gd name="connsiteY618" fmla="*/ 69273 h 767196"/>
                  <a:gd name="connsiteX619" fmla="*/ 658887 w 1105666"/>
                  <a:gd name="connsiteY619" fmla="*/ 59119 h 767196"/>
                  <a:gd name="connsiteX620" fmla="*/ 648507 w 1105666"/>
                  <a:gd name="connsiteY620" fmla="*/ 32944 h 767196"/>
                  <a:gd name="connsiteX621" fmla="*/ 648056 w 1105666"/>
                  <a:gd name="connsiteY621" fmla="*/ 32267 h 767196"/>
                  <a:gd name="connsiteX622" fmla="*/ 612178 w 1105666"/>
                  <a:gd name="connsiteY622" fmla="*/ 11959 h 767196"/>
                  <a:gd name="connsiteX623" fmla="*/ 606537 w 1105666"/>
                  <a:gd name="connsiteY623" fmla="*/ 12411 h 767196"/>
                  <a:gd name="connsiteX624" fmla="*/ 588034 w 1105666"/>
                  <a:gd name="connsiteY624" fmla="*/ 8575 h 767196"/>
                  <a:gd name="connsiteX625" fmla="*/ 568403 w 1105666"/>
                  <a:gd name="connsiteY625" fmla="*/ 3836 h 767196"/>
                  <a:gd name="connsiteX626" fmla="*/ 567274 w 1105666"/>
                  <a:gd name="connsiteY626" fmla="*/ 3836 h 767196"/>
                  <a:gd name="connsiteX627" fmla="*/ 542002 w 1105666"/>
                  <a:gd name="connsiteY627" fmla="*/ 28206 h 767196"/>
                  <a:gd name="connsiteX628" fmla="*/ 503868 w 1105666"/>
                  <a:gd name="connsiteY628" fmla="*/ 57991 h 767196"/>
                  <a:gd name="connsiteX629" fmla="*/ 438205 w 1105666"/>
                  <a:gd name="connsiteY629" fmla="*/ 89356 h 767196"/>
                  <a:gd name="connsiteX630" fmla="*/ 364870 w 1105666"/>
                  <a:gd name="connsiteY630" fmla="*/ 133131 h 767196"/>
                  <a:gd name="connsiteX631" fmla="*/ 348172 w 1105666"/>
                  <a:gd name="connsiteY631" fmla="*/ 147798 h 767196"/>
                  <a:gd name="connsiteX632" fmla="*/ 347269 w 1105666"/>
                  <a:gd name="connsiteY632" fmla="*/ 153665 h 767196"/>
                  <a:gd name="connsiteX633" fmla="*/ 358100 w 1105666"/>
                  <a:gd name="connsiteY633" fmla="*/ 205112 h 767196"/>
                  <a:gd name="connsiteX634" fmla="*/ 398040 w 1105666"/>
                  <a:gd name="connsiteY634" fmla="*/ 202179 h 767196"/>
                  <a:gd name="connsiteX635" fmla="*/ 435723 w 1105666"/>
                  <a:gd name="connsiteY635" fmla="*/ 195635 h 767196"/>
                  <a:gd name="connsiteX636" fmla="*/ 442041 w 1105666"/>
                  <a:gd name="connsiteY636" fmla="*/ 200148 h 767196"/>
                  <a:gd name="connsiteX637" fmla="*/ 446328 w 1105666"/>
                  <a:gd name="connsiteY637" fmla="*/ 227903 h 767196"/>
                  <a:gd name="connsiteX638" fmla="*/ 440010 w 1105666"/>
                  <a:gd name="connsiteY638" fmla="*/ 233995 h 767196"/>
                  <a:gd name="connsiteX639" fmla="*/ 404584 w 1105666"/>
                  <a:gd name="connsiteY639" fmla="*/ 239636 h 767196"/>
                  <a:gd name="connsiteX640" fmla="*/ 385629 w 1105666"/>
                  <a:gd name="connsiteY640" fmla="*/ 263555 h 767196"/>
                  <a:gd name="connsiteX641" fmla="*/ 389240 w 1105666"/>
                  <a:gd name="connsiteY641" fmla="*/ 281606 h 767196"/>
                  <a:gd name="connsiteX642" fmla="*/ 399168 w 1105666"/>
                  <a:gd name="connsiteY642" fmla="*/ 284991 h 767196"/>
                  <a:gd name="connsiteX643" fmla="*/ 404132 w 1105666"/>
                  <a:gd name="connsiteY643" fmla="*/ 285668 h 767196"/>
                  <a:gd name="connsiteX644" fmla="*/ 407968 w 1105666"/>
                  <a:gd name="connsiteY644" fmla="*/ 294919 h 767196"/>
                  <a:gd name="connsiteX645" fmla="*/ 411353 w 1105666"/>
                  <a:gd name="connsiteY645" fmla="*/ 304397 h 767196"/>
                  <a:gd name="connsiteX646" fmla="*/ 413384 w 1105666"/>
                  <a:gd name="connsiteY646" fmla="*/ 316130 h 767196"/>
                  <a:gd name="connsiteX647" fmla="*/ 405712 w 1105666"/>
                  <a:gd name="connsiteY647" fmla="*/ 325156 h 767196"/>
                  <a:gd name="connsiteX648" fmla="*/ 404809 w 1105666"/>
                  <a:gd name="connsiteY648" fmla="*/ 325382 h 767196"/>
                  <a:gd name="connsiteX649" fmla="*/ 389240 w 1105666"/>
                  <a:gd name="connsiteY649" fmla="*/ 336213 h 767196"/>
                  <a:gd name="connsiteX650" fmla="*/ 390368 w 1105666"/>
                  <a:gd name="connsiteY650" fmla="*/ 343208 h 767196"/>
                  <a:gd name="connsiteX651" fmla="*/ 387660 w 1105666"/>
                  <a:gd name="connsiteY651" fmla="*/ 365095 h 767196"/>
                  <a:gd name="connsiteX652" fmla="*/ 357198 w 1105666"/>
                  <a:gd name="connsiteY652" fmla="*/ 359680 h 767196"/>
                  <a:gd name="connsiteX653" fmla="*/ 328992 w 1105666"/>
                  <a:gd name="connsiteY653" fmla="*/ 357424 h 767196"/>
                  <a:gd name="connsiteX654" fmla="*/ 309587 w 1105666"/>
                  <a:gd name="connsiteY654" fmla="*/ 356972 h 767196"/>
                  <a:gd name="connsiteX655" fmla="*/ 298304 w 1105666"/>
                  <a:gd name="connsiteY655" fmla="*/ 354941 h 767196"/>
                  <a:gd name="connsiteX656" fmla="*/ 294243 w 1105666"/>
                  <a:gd name="connsiteY656" fmla="*/ 355167 h 767196"/>
                  <a:gd name="connsiteX657" fmla="*/ 286796 w 1105666"/>
                  <a:gd name="connsiteY657" fmla="*/ 375927 h 767196"/>
                  <a:gd name="connsiteX658" fmla="*/ 266262 w 1105666"/>
                  <a:gd name="connsiteY658" fmla="*/ 402327 h 767196"/>
                  <a:gd name="connsiteX659" fmla="*/ 252047 w 1105666"/>
                  <a:gd name="connsiteY659" fmla="*/ 405937 h 767196"/>
                  <a:gd name="connsiteX660" fmla="*/ 247308 w 1105666"/>
                  <a:gd name="connsiteY660" fmla="*/ 409548 h 767196"/>
                  <a:gd name="connsiteX661" fmla="*/ 209400 w 1105666"/>
                  <a:gd name="connsiteY661" fmla="*/ 412256 h 767196"/>
                  <a:gd name="connsiteX662" fmla="*/ 205112 w 1105666"/>
                  <a:gd name="connsiteY662" fmla="*/ 403230 h 767196"/>
                  <a:gd name="connsiteX663" fmla="*/ 222713 w 1105666"/>
                  <a:gd name="connsiteY663" fmla="*/ 375475 h 767196"/>
                  <a:gd name="connsiteX664" fmla="*/ 237154 w 1105666"/>
                  <a:gd name="connsiteY664" fmla="*/ 375250 h 767196"/>
                  <a:gd name="connsiteX665" fmla="*/ 249339 w 1105666"/>
                  <a:gd name="connsiteY665" fmla="*/ 379086 h 767196"/>
                  <a:gd name="connsiteX666" fmla="*/ 255206 w 1105666"/>
                  <a:gd name="connsiteY666" fmla="*/ 378183 h 767196"/>
                  <a:gd name="connsiteX667" fmla="*/ 254078 w 1105666"/>
                  <a:gd name="connsiteY667" fmla="*/ 373670 h 767196"/>
                  <a:gd name="connsiteX668" fmla="*/ 251144 w 1105666"/>
                  <a:gd name="connsiteY668" fmla="*/ 361034 h 767196"/>
                  <a:gd name="connsiteX669" fmla="*/ 248436 w 1105666"/>
                  <a:gd name="connsiteY669" fmla="*/ 347269 h 767196"/>
                  <a:gd name="connsiteX670" fmla="*/ 245503 w 1105666"/>
                  <a:gd name="connsiteY670" fmla="*/ 336890 h 767196"/>
                  <a:gd name="connsiteX671" fmla="*/ 249339 w 1105666"/>
                  <a:gd name="connsiteY671" fmla="*/ 324028 h 767196"/>
                  <a:gd name="connsiteX672" fmla="*/ 254755 w 1105666"/>
                  <a:gd name="connsiteY672" fmla="*/ 312069 h 767196"/>
                  <a:gd name="connsiteX673" fmla="*/ 252047 w 1105666"/>
                  <a:gd name="connsiteY673" fmla="*/ 278222 h 767196"/>
                  <a:gd name="connsiteX674" fmla="*/ 249790 w 1105666"/>
                  <a:gd name="connsiteY674" fmla="*/ 275514 h 767196"/>
                  <a:gd name="connsiteX675" fmla="*/ 240313 w 1105666"/>
                  <a:gd name="connsiteY675" fmla="*/ 281381 h 767196"/>
                  <a:gd name="connsiteX676" fmla="*/ 232867 w 1105666"/>
                  <a:gd name="connsiteY676" fmla="*/ 286796 h 767196"/>
                  <a:gd name="connsiteX677" fmla="*/ 231964 w 1105666"/>
                  <a:gd name="connsiteY677" fmla="*/ 287248 h 767196"/>
                  <a:gd name="connsiteX678" fmla="*/ 208497 w 1105666"/>
                  <a:gd name="connsiteY678" fmla="*/ 291760 h 767196"/>
                  <a:gd name="connsiteX679" fmla="*/ 189768 w 1105666"/>
                  <a:gd name="connsiteY679" fmla="*/ 279124 h 767196"/>
                  <a:gd name="connsiteX680" fmla="*/ 193604 w 1105666"/>
                  <a:gd name="connsiteY680" fmla="*/ 262652 h 767196"/>
                  <a:gd name="connsiteX681" fmla="*/ 198343 w 1105666"/>
                  <a:gd name="connsiteY681" fmla="*/ 241441 h 767196"/>
                  <a:gd name="connsiteX682" fmla="*/ 196763 w 1105666"/>
                  <a:gd name="connsiteY682" fmla="*/ 238057 h 767196"/>
                  <a:gd name="connsiteX683" fmla="*/ 191348 w 1105666"/>
                  <a:gd name="connsiteY683" fmla="*/ 243472 h 767196"/>
                  <a:gd name="connsiteX684" fmla="*/ 187286 w 1105666"/>
                  <a:gd name="connsiteY684" fmla="*/ 247985 h 767196"/>
                  <a:gd name="connsiteX685" fmla="*/ 183902 w 1105666"/>
                  <a:gd name="connsiteY685" fmla="*/ 251821 h 767196"/>
                  <a:gd name="connsiteX686" fmla="*/ 161337 w 1105666"/>
                  <a:gd name="connsiteY686" fmla="*/ 268293 h 767196"/>
                  <a:gd name="connsiteX687" fmla="*/ 152311 w 1105666"/>
                  <a:gd name="connsiteY687" fmla="*/ 269422 h 767196"/>
                  <a:gd name="connsiteX688" fmla="*/ 151634 w 1105666"/>
                  <a:gd name="connsiteY688" fmla="*/ 264908 h 767196"/>
                  <a:gd name="connsiteX689" fmla="*/ 149152 w 1105666"/>
                  <a:gd name="connsiteY689" fmla="*/ 255657 h 767196"/>
                  <a:gd name="connsiteX690" fmla="*/ 145542 w 1105666"/>
                  <a:gd name="connsiteY690" fmla="*/ 253626 h 767196"/>
                  <a:gd name="connsiteX691" fmla="*/ 143737 w 1105666"/>
                  <a:gd name="connsiteY691" fmla="*/ 259719 h 767196"/>
                  <a:gd name="connsiteX692" fmla="*/ 142383 w 1105666"/>
                  <a:gd name="connsiteY692" fmla="*/ 264908 h 767196"/>
                  <a:gd name="connsiteX693" fmla="*/ 133357 w 1105666"/>
                  <a:gd name="connsiteY693" fmla="*/ 296725 h 767196"/>
                  <a:gd name="connsiteX694" fmla="*/ 134485 w 1105666"/>
                  <a:gd name="connsiteY694" fmla="*/ 313422 h 767196"/>
                  <a:gd name="connsiteX695" fmla="*/ 136065 w 1105666"/>
                  <a:gd name="connsiteY695" fmla="*/ 338921 h 767196"/>
                  <a:gd name="connsiteX696" fmla="*/ 143285 w 1105666"/>
                  <a:gd name="connsiteY696" fmla="*/ 361034 h 767196"/>
                  <a:gd name="connsiteX697" fmla="*/ 148926 w 1105666"/>
                  <a:gd name="connsiteY697" fmla="*/ 366901 h 767196"/>
                  <a:gd name="connsiteX698" fmla="*/ 145542 w 1105666"/>
                  <a:gd name="connsiteY698" fmla="*/ 388563 h 767196"/>
                  <a:gd name="connsiteX699" fmla="*/ 134936 w 1105666"/>
                  <a:gd name="connsiteY699" fmla="*/ 403907 h 767196"/>
                  <a:gd name="connsiteX700" fmla="*/ 131552 w 1105666"/>
                  <a:gd name="connsiteY700" fmla="*/ 432338 h 767196"/>
                  <a:gd name="connsiteX701" fmla="*/ 130649 w 1105666"/>
                  <a:gd name="connsiteY701" fmla="*/ 442041 h 767196"/>
                  <a:gd name="connsiteX702" fmla="*/ 101089 w 1105666"/>
                  <a:gd name="connsiteY702" fmla="*/ 457385 h 767196"/>
                  <a:gd name="connsiteX703" fmla="*/ 96351 w 1105666"/>
                  <a:gd name="connsiteY703" fmla="*/ 460995 h 767196"/>
                  <a:gd name="connsiteX704" fmla="*/ 100638 w 1105666"/>
                  <a:gd name="connsiteY704" fmla="*/ 470923 h 767196"/>
                  <a:gd name="connsiteX705" fmla="*/ 104023 w 1105666"/>
                  <a:gd name="connsiteY705" fmla="*/ 476565 h 767196"/>
                  <a:gd name="connsiteX706" fmla="*/ 104700 w 1105666"/>
                  <a:gd name="connsiteY706" fmla="*/ 486719 h 767196"/>
                  <a:gd name="connsiteX707" fmla="*/ 87776 w 1105666"/>
                  <a:gd name="connsiteY707" fmla="*/ 498001 h 767196"/>
                  <a:gd name="connsiteX708" fmla="*/ 80781 w 1105666"/>
                  <a:gd name="connsiteY708" fmla="*/ 500257 h 767196"/>
                  <a:gd name="connsiteX709" fmla="*/ 64760 w 1105666"/>
                  <a:gd name="connsiteY709" fmla="*/ 499806 h 767196"/>
                  <a:gd name="connsiteX710" fmla="*/ 57314 w 1105666"/>
                  <a:gd name="connsiteY710" fmla="*/ 495293 h 767196"/>
                  <a:gd name="connsiteX711" fmla="*/ 53929 w 1105666"/>
                  <a:gd name="connsiteY711" fmla="*/ 493037 h 767196"/>
                  <a:gd name="connsiteX712" fmla="*/ 58442 w 1105666"/>
                  <a:gd name="connsiteY712" fmla="*/ 501611 h 767196"/>
                  <a:gd name="connsiteX713" fmla="*/ 68371 w 1105666"/>
                  <a:gd name="connsiteY713" fmla="*/ 523273 h 767196"/>
                  <a:gd name="connsiteX714" fmla="*/ 71755 w 1105666"/>
                  <a:gd name="connsiteY714" fmla="*/ 532976 h 767196"/>
                  <a:gd name="connsiteX715" fmla="*/ 68822 w 1105666"/>
                  <a:gd name="connsiteY715" fmla="*/ 552156 h 767196"/>
                  <a:gd name="connsiteX716" fmla="*/ 52801 w 1105666"/>
                  <a:gd name="connsiteY716" fmla="*/ 563890 h 767196"/>
                  <a:gd name="connsiteX717" fmla="*/ 43775 w 1105666"/>
                  <a:gd name="connsiteY717" fmla="*/ 568403 h 767196"/>
                  <a:gd name="connsiteX718" fmla="*/ 30688 w 1105666"/>
                  <a:gd name="connsiteY718" fmla="*/ 574044 h 767196"/>
                  <a:gd name="connsiteX719" fmla="*/ 24370 w 1105666"/>
                  <a:gd name="connsiteY719" fmla="*/ 576751 h 767196"/>
                  <a:gd name="connsiteX720" fmla="*/ 29785 w 1105666"/>
                  <a:gd name="connsiteY720" fmla="*/ 581039 h 767196"/>
                  <a:gd name="connsiteX721" fmla="*/ 39714 w 1105666"/>
                  <a:gd name="connsiteY721" fmla="*/ 592772 h 767196"/>
                  <a:gd name="connsiteX722" fmla="*/ 32042 w 1105666"/>
                  <a:gd name="connsiteY722" fmla="*/ 605634 h 767196"/>
                  <a:gd name="connsiteX723" fmla="*/ 31590 w 1105666"/>
                  <a:gd name="connsiteY723" fmla="*/ 614886 h 767196"/>
                  <a:gd name="connsiteX724" fmla="*/ 33621 w 1105666"/>
                  <a:gd name="connsiteY724" fmla="*/ 629327 h 767196"/>
                  <a:gd name="connsiteX725" fmla="*/ 32719 w 1105666"/>
                  <a:gd name="connsiteY725" fmla="*/ 637902 h 767196"/>
                  <a:gd name="connsiteX726" fmla="*/ 22790 w 1105666"/>
                  <a:gd name="connsiteY726" fmla="*/ 655276 h 767196"/>
                  <a:gd name="connsiteX727" fmla="*/ 36555 w 1105666"/>
                  <a:gd name="connsiteY727" fmla="*/ 657758 h 767196"/>
                  <a:gd name="connsiteX728" fmla="*/ 60924 w 1105666"/>
                  <a:gd name="connsiteY728" fmla="*/ 651892 h 767196"/>
                  <a:gd name="connsiteX729" fmla="*/ 68822 w 1105666"/>
                  <a:gd name="connsiteY729" fmla="*/ 647830 h 767196"/>
                  <a:gd name="connsiteX730" fmla="*/ 82135 w 1105666"/>
                  <a:gd name="connsiteY730" fmla="*/ 650086 h 767196"/>
                  <a:gd name="connsiteX731" fmla="*/ 88228 w 1105666"/>
                  <a:gd name="connsiteY731" fmla="*/ 669266 h 767196"/>
                  <a:gd name="connsiteX732" fmla="*/ 83263 w 1105666"/>
                  <a:gd name="connsiteY732" fmla="*/ 681451 h 767196"/>
                  <a:gd name="connsiteX733" fmla="*/ 80781 w 1105666"/>
                  <a:gd name="connsiteY733" fmla="*/ 688221 h 767196"/>
                  <a:gd name="connsiteX734" fmla="*/ 84617 w 1105666"/>
                  <a:gd name="connsiteY734" fmla="*/ 691831 h 767196"/>
                  <a:gd name="connsiteX735" fmla="*/ 118916 w 1105666"/>
                  <a:gd name="connsiteY735" fmla="*/ 703565 h 767196"/>
                  <a:gd name="connsiteX736" fmla="*/ 167204 w 1105666"/>
                  <a:gd name="connsiteY736" fmla="*/ 719360 h 767196"/>
                  <a:gd name="connsiteX737" fmla="*/ 170363 w 1105666"/>
                  <a:gd name="connsiteY737" fmla="*/ 723647 h 767196"/>
                  <a:gd name="connsiteX738" fmla="*/ 192025 w 1105666"/>
                  <a:gd name="connsiteY738" fmla="*/ 733576 h 767196"/>
                  <a:gd name="connsiteX739" fmla="*/ 216846 w 1105666"/>
                  <a:gd name="connsiteY739" fmla="*/ 732673 h 767196"/>
                  <a:gd name="connsiteX740" fmla="*/ 238508 w 1105666"/>
                  <a:gd name="connsiteY740" fmla="*/ 731770 h 767196"/>
                  <a:gd name="connsiteX741" fmla="*/ 240087 w 1105666"/>
                  <a:gd name="connsiteY741" fmla="*/ 731770 h 767196"/>
                  <a:gd name="connsiteX742" fmla="*/ 243472 w 1105666"/>
                  <a:gd name="connsiteY742" fmla="*/ 730642 h 767196"/>
                  <a:gd name="connsiteX743" fmla="*/ 3159 w 1105666"/>
                  <a:gd name="connsiteY743" fmla="*/ 673102 h 767196"/>
                  <a:gd name="connsiteX744" fmla="*/ 0 w 1105666"/>
                  <a:gd name="connsiteY744" fmla="*/ 671071 h 767196"/>
                  <a:gd name="connsiteX745" fmla="*/ 0 w 1105666"/>
                  <a:gd name="connsiteY745" fmla="*/ 671071 h 767196"/>
                  <a:gd name="connsiteX746" fmla="*/ 0 w 1105666"/>
                  <a:gd name="connsiteY746" fmla="*/ 671071 h 767196"/>
                  <a:gd name="connsiteX747" fmla="*/ 0 w 1105666"/>
                  <a:gd name="connsiteY747" fmla="*/ 670846 h 767196"/>
                  <a:gd name="connsiteX748" fmla="*/ 1580 w 1105666"/>
                  <a:gd name="connsiteY748" fmla="*/ 668364 h 767196"/>
                  <a:gd name="connsiteX749" fmla="*/ 4964 w 1105666"/>
                  <a:gd name="connsiteY749" fmla="*/ 663625 h 767196"/>
                  <a:gd name="connsiteX750" fmla="*/ 4964 w 1105666"/>
                  <a:gd name="connsiteY750" fmla="*/ 663625 h 767196"/>
                  <a:gd name="connsiteX751" fmla="*/ 4964 w 1105666"/>
                  <a:gd name="connsiteY751" fmla="*/ 663625 h 767196"/>
                  <a:gd name="connsiteX752" fmla="*/ 7672 w 1105666"/>
                  <a:gd name="connsiteY752" fmla="*/ 666107 h 767196"/>
                  <a:gd name="connsiteX753" fmla="*/ 4513 w 1105666"/>
                  <a:gd name="connsiteY753" fmla="*/ 670395 h 767196"/>
                  <a:gd name="connsiteX754" fmla="*/ 3159 w 1105666"/>
                  <a:gd name="connsiteY754" fmla="*/ 673102 h 767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</a:cxnLst>
                <a:rect l="l" t="t" r="r" b="b"/>
                <a:pathLst>
                  <a:path w="1105666" h="767196">
                    <a:moveTo>
                      <a:pt x="298755" y="778930"/>
                    </a:moveTo>
                    <a:cubicBezTo>
                      <a:pt x="297402" y="778930"/>
                      <a:pt x="296048" y="778705"/>
                      <a:pt x="294468" y="778253"/>
                    </a:cubicBezTo>
                    <a:cubicBezTo>
                      <a:pt x="280478" y="773966"/>
                      <a:pt x="277319" y="765392"/>
                      <a:pt x="276191" y="748919"/>
                    </a:cubicBezTo>
                    <a:cubicBezTo>
                      <a:pt x="275288" y="735381"/>
                      <a:pt x="260847" y="734478"/>
                      <a:pt x="242118" y="734252"/>
                    </a:cubicBezTo>
                    <a:lnTo>
                      <a:pt x="240539" y="734252"/>
                    </a:lnTo>
                    <a:cubicBezTo>
                      <a:pt x="233092" y="734252"/>
                      <a:pt x="226323" y="734704"/>
                      <a:pt x="219328" y="735155"/>
                    </a:cubicBezTo>
                    <a:cubicBezTo>
                      <a:pt x="211656" y="735606"/>
                      <a:pt x="203758" y="736058"/>
                      <a:pt x="194281" y="736058"/>
                    </a:cubicBezTo>
                    <a:cubicBezTo>
                      <a:pt x="178486" y="736058"/>
                      <a:pt x="175327" y="732673"/>
                      <a:pt x="169460" y="724550"/>
                    </a:cubicBezTo>
                    <a:cubicBezTo>
                      <a:pt x="168558" y="723196"/>
                      <a:pt x="167429" y="721842"/>
                      <a:pt x="166301" y="720262"/>
                    </a:cubicBezTo>
                    <a:cubicBezTo>
                      <a:pt x="158855" y="710334"/>
                      <a:pt x="130875" y="706498"/>
                      <a:pt x="120721" y="706047"/>
                    </a:cubicBezTo>
                    <a:cubicBezTo>
                      <a:pt x="111018" y="705370"/>
                      <a:pt x="97254" y="700857"/>
                      <a:pt x="84843" y="693862"/>
                    </a:cubicBezTo>
                    <a:cubicBezTo>
                      <a:pt x="81684" y="692057"/>
                      <a:pt x="79879" y="690252"/>
                      <a:pt x="79202" y="687995"/>
                    </a:cubicBezTo>
                    <a:cubicBezTo>
                      <a:pt x="78299" y="684836"/>
                      <a:pt x="79879" y="681903"/>
                      <a:pt x="81910" y="678518"/>
                    </a:cubicBezTo>
                    <a:cubicBezTo>
                      <a:pt x="83715" y="675359"/>
                      <a:pt x="85520" y="671974"/>
                      <a:pt x="86422" y="667461"/>
                    </a:cubicBezTo>
                    <a:cubicBezTo>
                      <a:pt x="87776" y="660015"/>
                      <a:pt x="84843" y="654599"/>
                      <a:pt x="81684" y="651892"/>
                    </a:cubicBezTo>
                    <a:cubicBezTo>
                      <a:pt x="78750" y="649635"/>
                      <a:pt x="75366" y="648958"/>
                      <a:pt x="72207" y="650086"/>
                    </a:cubicBezTo>
                    <a:cubicBezTo>
                      <a:pt x="69725" y="650989"/>
                      <a:pt x="67468" y="652569"/>
                      <a:pt x="64760" y="653923"/>
                    </a:cubicBezTo>
                    <a:cubicBezTo>
                      <a:pt x="57765" y="657984"/>
                      <a:pt x="49868" y="662723"/>
                      <a:pt x="37909" y="660241"/>
                    </a:cubicBezTo>
                    <a:cubicBezTo>
                      <a:pt x="34073" y="659564"/>
                      <a:pt x="27980" y="658435"/>
                      <a:pt x="19631" y="657082"/>
                    </a:cubicBezTo>
                    <a:lnTo>
                      <a:pt x="14893" y="656405"/>
                    </a:lnTo>
                    <a:lnTo>
                      <a:pt x="20759" y="652569"/>
                    </a:lnTo>
                    <a:cubicBezTo>
                      <a:pt x="31139" y="645799"/>
                      <a:pt x="31139" y="642640"/>
                      <a:pt x="31365" y="636773"/>
                    </a:cubicBezTo>
                    <a:cubicBezTo>
                      <a:pt x="31365" y="634066"/>
                      <a:pt x="31365" y="631132"/>
                      <a:pt x="32267" y="627522"/>
                    </a:cubicBezTo>
                    <a:cubicBezTo>
                      <a:pt x="33396" y="622558"/>
                      <a:pt x="32042" y="618947"/>
                      <a:pt x="30462" y="615563"/>
                    </a:cubicBezTo>
                    <a:cubicBezTo>
                      <a:pt x="28657" y="611501"/>
                      <a:pt x="26852" y="607214"/>
                      <a:pt x="31816" y="602250"/>
                    </a:cubicBezTo>
                    <a:cubicBezTo>
                      <a:pt x="35652" y="598414"/>
                      <a:pt x="38811" y="595255"/>
                      <a:pt x="38360" y="592547"/>
                    </a:cubicBezTo>
                    <a:cubicBezTo>
                      <a:pt x="38134" y="590065"/>
                      <a:pt x="35426" y="587131"/>
                      <a:pt x="30237" y="583521"/>
                    </a:cubicBezTo>
                    <a:cubicBezTo>
                      <a:pt x="25498" y="580362"/>
                      <a:pt x="22790" y="578105"/>
                      <a:pt x="23242" y="575398"/>
                    </a:cubicBezTo>
                    <a:cubicBezTo>
                      <a:pt x="23693" y="572690"/>
                      <a:pt x="26626" y="571562"/>
                      <a:pt x="31816" y="569531"/>
                    </a:cubicBezTo>
                    <a:cubicBezTo>
                      <a:pt x="35426" y="568177"/>
                      <a:pt x="39714" y="566597"/>
                      <a:pt x="44452" y="564115"/>
                    </a:cubicBezTo>
                    <a:cubicBezTo>
                      <a:pt x="48063" y="562085"/>
                      <a:pt x="50996" y="560731"/>
                      <a:pt x="53478" y="559602"/>
                    </a:cubicBezTo>
                    <a:cubicBezTo>
                      <a:pt x="61150" y="555766"/>
                      <a:pt x="62955" y="554864"/>
                      <a:pt x="68371" y="548546"/>
                    </a:cubicBezTo>
                    <a:cubicBezTo>
                      <a:pt x="75366" y="540648"/>
                      <a:pt x="75366" y="540648"/>
                      <a:pt x="71078" y="533879"/>
                    </a:cubicBezTo>
                    <a:cubicBezTo>
                      <a:pt x="69048" y="530720"/>
                      <a:pt x="68145" y="527109"/>
                      <a:pt x="67243" y="523048"/>
                    </a:cubicBezTo>
                    <a:cubicBezTo>
                      <a:pt x="65889" y="516955"/>
                      <a:pt x="64084" y="510186"/>
                      <a:pt x="57991" y="502965"/>
                    </a:cubicBezTo>
                    <a:cubicBezTo>
                      <a:pt x="55509" y="500032"/>
                      <a:pt x="53253" y="495293"/>
                      <a:pt x="51447" y="489201"/>
                    </a:cubicBezTo>
                    <a:lnTo>
                      <a:pt x="50545" y="485816"/>
                    </a:lnTo>
                    <a:lnTo>
                      <a:pt x="53929" y="486944"/>
                    </a:lnTo>
                    <a:cubicBezTo>
                      <a:pt x="57314" y="488073"/>
                      <a:pt x="59571" y="489652"/>
                      <a:pt x="62053" y="491457"/>
                    </a:cubicBezTo>
                    <a:cubicBezTo>
                      <a:pt x="64084" y="492811"/>
                      <a:pt x="66114" y="494391"/>
                      <a:pt x="68822" y="495519"/>
                    </a:cubicBezTo>
                    <a:cubicBezTo>
                      <a:pt x="74915" y="498227"/>
                      <a:pt x="74915" y="498227"/>
                      <a:pt x="82135" y="495970"/>
                    </a:cubicBezTo>
                    <a:cubicBezTo>
                      <a:pt x="83940" y="495293"/>
                      <a:pt x="86197" y="494616"/>
                      <a:pt x="89130" y="493714"/>
                    </a:cubicBezTo>
                    <a:cubicBezTo>
                      <a:pt x="97254" y="491232"/>
                      <a:pt x="102218" y="488073"/>
                      <a:pt x="103572" y="484462"/>
                    </a:cubicBezTo>
                    <a:cubicBezTo>
                      <a:pt x="104474" y="482431"/>
                      <a:pt x="104248" y="480175"/>
                      <a:pt x="102895" y="477467"/>
                    </a:cubicBezTo>
                    <a:cubicBezTo>
                      <a:pt x="101992" y="475888"/>
                      <a:pt x="100864" y="474083"/>
                      <a:pt x="99736" y="472277"/>
                    </a:cubicBezTo>
                    <a:cubicBezTo>
                      <a:pt x="96802" y="467990"/>
                      <a:pt x="93643" y="463477"/>
                      <a:pt x="94997" y="459190"/>
                    </a:cubicBezTo>
                    <a:cubicBezTo>
                      <a:pt x="95900" y="456482"/>
                      <a:pt x="98156" y="454677"/>
                      <a:pt x="102218" y="453323"/>
                    </a:cubicBezTo>
                    <a:cubicBezTo>
                      <a:pt x="114628" y="448810"/>
                      <a:pt x="124557" y="442718"/>
                      <a:pt x="130875" y="438430"/>
                    </a:cubicBezTo>
                    <a:cubicBezTo>
                      <a:pt x="131777" y="437753"/>
                      <a:pt x="131326" y="436400"/>
                      <a:pt x="130423" y="432789"/>
                    </a:cubicBezTo>
                    <a:cubicBezTo>
                      <a:pt x="128618" y="426471"/>
                      <a:pt x="125459" y="415640"/>
                      <a:pt x="134034" y="401424"/>
                    </a:cubicBezTo>
                    <a:cubicBezTo>
                      <a:pt x="138095" y="394655"/>
                      <a:pt x="141931" y="389691"/>
                      <a:pt x="144865" y="385855"/>
                    </a:cubicBezTo>
                    <a:cubicBezTo>
                      <a:pt x="151409" y="377055"/>
                      <a:pt x="153214" y="374798"/>
                      <a:pt x="148250" y="368706"/>
                    </a:cubicBezTo>
                    <a:cubicBezTo>
                      <a:pt x="146219" y="366224"/>
                      <a:pt x="144639" y="364644"/>
                      <a:pt x="143060" y="363065"/>
                    </a:cubicBezTo>
                    <a:cubicBezTo>
                      <a:pt x="137419" y="357649"/>
                      <a:pt x="134711" y="354264"/>
                      <a:pt x="134711" y="338469"/>
                    </a:cubicBezTo>
                    <a:cubicBezTo>
                      <a:pt x="134711" y="327187"/>
                      <a:pt x="133808" y="319741"/>
                      <a:pt x="133131" y="313197"/>
                    </a:cubicBezTo>
                    <a:cubicBezTo>
                      <a:pt x="132454" y="307781"/>
                      <a:pt x="132003" y="302592"/>
                      <a:pt x="132003" y="296048"/>
                    </a:cubicBezTo>
                    <a:cubicBezTo>
                      <a:pt x="132003" y="281606"/>
                      <a:pt x="139675" y="265134"/>
                      <a:pt x="141706" y="262201"/>
                    </a:cubicBezTo>
                    <a:cubicBezTo>
                      <a:pt x="141931" y="261749"/>
                      <a:pt x="142157" y="259944"/>
                      <a:pt x="142383" y="258590"/>
                    </a:cubicBezTo>
                    <a:cubicBezTo>
                      <a:pt x="142834" y="254980"/>
                      <a:pt x="143511" y="250693"/>
                      <a:pt x="146670" y="249565"/>
                    </a:cubicBezTo>
                    <a:cubicBezTo>
                      <a:pt x="149378" y="248662"/>
                      <a:pt x="152085" y="250693"/>
                      <a:pt x="154116" y="252272"/>
                    </a:cubicBezTo>
                    <a:cubicBezTo>
                      <a:pt x="159306" y="257011"/>
                      <a:pt x="158404" y="262201"/>
                      <a:pt x="157952" y="264908"/>
                    </a:cubicBezTo>
                    <a:cubicBezTo>
                      <a:pt x="157952" y="265134"/>
                      <a:pt x="157952" y="265360"/>
                      <a:pt x="157727" y="265586"/>
                    </a:cubicBezTo>
                    <a:cubicBezTo>
                      <a:pt x="158404" y="265360"/>
                      <a:pt x="159983" y="265134"/>
                      <a:pt x="162465" y="264006"/>
                    </a:cubicBezTo>
                    <a:cubicBezTo>
                      <a:pt x="173973" y="259719"/>
                      <a:pt x="178937" y="253852"/>
                      <a:pt x="183450" y="248662"/>
                    </a:cubicBezTo>
                    <a:cubicBezTo>
                      <a:pt x="184579" y="247308"/>
                      <a:pt x="185932" y="245954"/>
                      <a:pt x="187061" y="244600"/>
                    </a:cubicBezTo>
                    <a:cubicBezTo>
                      <a:pt x="188189" y="243472"/>
                      <a:pt x="189543" y="241893"/>
                      <a:pt x="190671" y="240313"/>
                    </a:cubicBezTo>
                    <a:cubicBezTo>
                      <a:pt x="193830" y="236252"/>
                      <a:pt x="196763" y="232867"/>
                      <a:pt x="199923" y="233544"/>
                    </a:cubicBezTo>
                    <a:cubicBezTo>
                      <a:pt x="202630" y="234221"/>
                      <a:pt x="203758" y="237380"/>
                      <a:pt x="204210" y="239636"/>
                    </a:cubicBezTo>
                    <a:cubicBezTo>
                      <a:pt x="206015" y="246406"/>
                      <a:pt x="202405" y="255206"/>
                      <a:pt x="199471" y="263103"/>
                    </a:cubicBezTo>
                    <a:cubicBezTo>
                      <a:pt x="197215" y="268745"/>
                      <a:pt x="195184" y="274386"/>
                      <a:pt x="195861" y="277319"/>
                    </a:cubicBezTo>
                    <a:cubicBezTo>
                      <a:pt x="197666" y="284089"/>
                      <a:pt x="198794" y="287248"/>
                      <a:pt x="210979" y="287248"/>
                    </a:cubicBezTo>
                    <a:cubicBezTo>
                      <a:pt x="223164" y="287248"/>
                      <a:pt x="226774" y="285668"/>
                      <a:pt x="232867" y="282960"/>
                    </a:cubicBezTo>
                    <a:lnTo>
                      <a:pt x="233769" y="282509"/>
                    </a:lnTo>
                    <a:cubicBezTo>
                      <a:pt x="235575" y="281832"/>
                      <a:pt x="237831" y="279801"/>
                      <a:pt x="240087" y="277770"/>
                    </a:cubicBezTo>
                    <a:cubicBezTo>
                      <a:pt x="244375" y="273934"/>
                      <a:pt x="248662" y="270098"/>
                      <a:pt x="252949" y="271001"/>
                    </a:cubicBezTo>
                    <a:cubicBezTo>
                      <a:pt x="254980" y="271452"/>
                      <a:pt x="256785" y="273257"/>
                      <a:pt x="257914" y="275965"/>
                    </a:cubicBezTo>
                    <a:cubicBezTo>
                      <a:pt x="262878" y="287699"/>
                      <a:pt x="262652" y="297627"/>
                      <a:pt x="260847" y="311617"/>
                    </a:cubicBezTo>
                    <a:cubicBezTo>
                      <a:pt x="259944" y="318838"/>
                      <a:pt x="257011" y="322674"/>
                      <a:pt x="254529" y="325607"/>
                    </a:cubicBezTo>
                    <a:cubicBezTo>
                      <a:pt x="252047" y="328541"/>
                      <a:pt x="250467" y="330572"/>
                      <a:pt x="251370" y="335536"/>
                    </a:cubicBezTo>
                    <a:cubicBezTo>
                      <a:pt x="252047" y="340049"/>
                      <a:pt x="253175" y="342531"/>
                      <a:pt x="254078" y="345013"/>
                    </a:cubicBezTo>
                    <a:cubicBezTo>
                      <a:pt x="255657" y="348623"/>
                      <a:pt x="257011" y="352234"/>
                      <a:pt x="257011" y="360131"/>
                    </a:cubicBezTo>
                    <a:cubicBezTo>
                      <a:pt x="257011" y="364644"/>
                      <a:pt x="258365" y="368254"/>
                      <a:pt x="259493" y="371188"/>
                    </a:cubicBezTo>
                    <a:cubicBezTo>
                      <a:pt x="260847" y="374347"/>
                      <a:pt x="261749" y="377055"/>
                      <a:pt x="260170" y="379086"/>
                    </a:cubicBezTo>
                    <a:cubicBezTo>
                      <a:pt x="258816" y="380891"/>
                      <a:pt x="256334" y="381568"/>
                      <a:pt x="251144" y="381568"/>
                    </a:cubicBezTo>
                    <a:cubicBezTo>
                      <a:pt x="243924" y="381568"/>
                      <a:pt x="239862" y="379086"/>
                      <a:pt x="236928" y="377280"/>
                    </a:cubicBezTo>
                    <a:cubicBezTo>
                      <a:pt x="233544" y="375250"/>
                      <a:pt x="231964" y="374121"/>
                      <a:pt x="226774" y="377506"/>
                    </a:cubicBezTo>
                    <a:cubicBezTo>
                      <a:pt x="218425" y="383147"/>
                      <a:pt x="210979" y="394655"/>
                      <a:pt x="210979" y="402327"/>
                    </a:cubicBezTo>
                    <a:cubicBezTo>
                      <a:pt x="210979" y="405035"/>
                      <a:pt x="211882" y="407066"/>
                      <a:pt x="213687" y="408419"/>
                    </a:cubicBezTo>
                    <a:cubicBezTo>
                      <a:pt x="222261" y="414286"/>
                      <a:pt x="240313" y="409999"/>
                      <a:pt x="247308" y="405486"/>
                    </a:cubicBezTo>
                    <a:cubicBezTo>
                      <a:pt x="249339" y="404132"/>
                      <a:pt x="250467" y="403230"/>
                      <a:pt x="251370" y="402327"/>
                    </a:cubicBezTo>
                    <a:cubicBezTo>
                      <a:pt x="254078" y="399619"/>
                      <a:pt x="255883" y="398491"/>
                      <a:pt x="268068" y="397814"/>
                    </a:cubicBezTo>
                    <a:cubicBezTo>
                      <a:pt x="284991" y="396912"/>
                      <a:pt x="284991" y="376152"/>
                      <a:pt x="284991" y="375250"/>
                    </a:cubicBezTo>
                    <a:cubicBezTo>
                      <a:pt x="284991" y="371865"/>
                      <a:pt x="288150" y="350880"/>
                      <a:pt x="296273" y="350880"/>
                    </a:cubicBezTo>
                    <a:cubicBezTo>
                      <a:pt x="297627" y="350880"/>
                      <a:pt x="298755" y="350654"/>
                      <a:pt x="299884" y="350654"/>
                    </a:cubicBezTo>
                    <a:cubicBezTo>
                      <a:pt x="303043" y="350203"/>
                      <a:pt x="305751" y="349977"/>
                      <a:pt x="312971" y="352911"/>
                    </a:cubicBezTo>
                    <a:cubicBezTo>
                      <a:pt x="316582" y="354264"/>
                      <a:pt x="323351" y="353813"/>
                      <a:pt x="330797" y="353136"/>
                    </a:cubicBezTo>
                    <a:cubicBezTo>
                      <a:pt x="341628" y="352234"/>
                      <a:pt x="353587" y="351105"/>
                      <a:pt x="361259" y="355844"/>
                    </a:cubicBezTo>
                    <a:cubicBezTo>
                      <a:pt x="375024" y="364193"/>
                      <a:pt x="382245" y="365998"/>
                      <a:pt x="387209" y="361711"/>
                    </a:cubicBezTo>
                    <a:cubicBezTo>
                      <a:pt x="391270" y="358100"/>
                      <a:pt x="389917" y="350654"/>
                      <a:pt x="388563" y="343433"/>
                    </a:cubicBezTo>
                    <a:cubicBezTo>
                      <a:pt x="388111" y="340951"/>
                      <a:pt x="387660" y="338469"/>
                      <a:pt x="387434" y="335987"/>
                    </a:cubicBezTo>
                    <a:cubicBezTo>
                      <a:pt x="386306" y="325607"/>
                      <a:pt x="400522" y="322223"/>
                      <a:pt x="405712" y="321094"/>
                    </a:cubicBezTo>
                    <a:lnTo>
                      <a:pt x="406614" y="320869"/>
                    </a:lnTo>
                    <a:cubicBezTo>
                      <a:pt x="407968" y="320643"/>
                      <a:pt x="410450" y="317935"/>
                      <a:pt x="411579" y="314325"/>
                    </a:cubicBezTo>
                    <a:cubicBezTo>
                      <a:pt x="412256" y="312069"/>
                      <a:pt x="412707" y="308910"/>
                      <a:pt x="410450" y="306202"/>
                    </a:cubicBezTo>
                    <a:cubicBezTo>
                      <a:pt x="407743" y="303043"/>
                      <a:pt x="407066" y="298755"/>
                      <a:pt x="406389" y="294919"/>
                    </a:cubicBezTo>
                    <a:cubicBezTo>
                      <a:pt x="405937" y="291986"/>
                      <a:pt x="405260" y="289053"/>
                      <a:pt x="404132" y="288150"/>
                    </a:cubicBezTo>
                    <a:cubicBezTo>
                      <a:pt x="403907" y="287924"/>
                      <a:pt x="403455" y="287699"/>
                      <a:pt x="402101" y="287924"/>
                    </a:cubicBezTo>
                    <a:cubicBezTo>
                      <a:pt x="397588" y="289053"/>
                      <a:pt x="392399" y="287248"/>
                      <a:pt x="388563" y="283637"/>
                    </a:cubicBezTo>
                    <a:cubicBezTo>
                      <a:pt x="385629" y="280704"/>
                      <a:pt x="381116" y="274160"/>
                      <a:pt x="383824" y="262201"/>
                    </a:cubicBezTo>
                    <a:cubicBezTo>
                      <a:pt x="387886" y="244149"/>
                      <a:pt x="395106" y="235349"/>
                      <a:pt x="406389" y="235349"/>
                    </a:cubicBezTo>
                    <a:cubicBezTo>
                      <a:pt x="417445" y="235349"/>
                      <a:pt x="430082" y="233318"/>
                      <a:pt x="440687" y="229708"/>
                    </a:cubicBezTo>
                    <a:cubicBezTo>
                      <a:pt x="442718" y="229031"/>
                      <a:pt x="444072" y="227677"/>
                      <a:pt x="444749" y="225872"/>
                    </a:cubicBezTo>
                    <a:cubicBezTo>
                      <a:pt x="447456" y="219554"/>
                      <a:pt x="443620" y="207369"/>
                      <a:pt x="440461" y="201276"/>
                    </a:cubicBezTo>
                    <a:cubicBezTo>
                      <a:pt x="440010" y="200148"/>
                      <a:pt x="438656" y="199246"/>
                      <a:pt x="436400" y="198794"/>
                    </a:cubicBezTo>
                    <a:cubicBezTo>
                      <a:pt x="427825" y="196312"/>
                      <a:pt x="410676" y="199471"/>
                      <a:pt x="401650" y="204887"/>
                    </a:cubicBezTo>
                    <a:cubicBezTo>
                      <a:pt x="394655" y="209174"/>
                      <a:pt x="373219" y="222487"/>
                      <a:pt x="356972" y="207595"/>
                    </a:cubicBezTo>
                    <a:cubicBezTo>
                      <a:pt x="343208" y="194958"/>
                      <a:pt x="342080" y="159532"/>
                      <a:pt x="345239" y="151860"/>
                    </a:cubicBezTo>
                    <a:cubicBezTo>
                      <a:pt x="345690" y="150506"/>
                      <a:pt x="345690" y="149152"/>
                      <a:pt x="345690" y="147347"/>
                    </a:cubicBezTo>
                    <a:cubicBezTo>
                      <a:pt x="345690" y="140352"/>
                      <a:pt x="347044" y="134711"/>
                      <a:pt x="365095" y="129070"/>
                    </a:cubicBezTo>
                    <a:cubicBezTo>
                      <a:pt x="389917" y="121398"/>
                      <a:pt x="427825" y="96125"/>
                      <a:pt x="436625" y="86423"/>
                    </a:cubicBezTo>
                    <a:cubicBezTo>
                      <a:pt x="446554" y="75591"/>
                      <a:pt x="487170" y="57765"/>
                      <a:pt x="504319" y="53929"/>
                    </a:cubicBezTo>
                    <a:cubicBezTo>
                      <a:pt x="514022" y="51673"/>
                      <a:pt x="525304" y="40616"/>
                      <a:pt x="540648" y="25272"/>
                    </a:cubicBezTo>
                    <a:cubicBezTo>
                      <a:pt x="548095" y="17826"/>
                      <a:pt x="556669" y="9251"/>
                      <a:pt x="566598" y="451"/>
                    </a:cubicBezTo>
                    <a:lnTo>
                      <a:pt x="567274" y="0"/>
                    </a:lnTo>
                    <a:lnTo>
                      <a:pt x="569757" y="0"/>
                    </a:lnTo>
                    <a:cubicBezTo>
                      <a:pt x="576752" y="0"/>
                      <a:pt x="586229" y="0"/>
                      <a:pt x="592095" y="5641"/>
                    </a:cubicBezTo>
                    <a:cubicBezTo>
                      <a:pt x="596157" y="9703"/>
                      <a:pt x="599767" y="9251"/>
                      <a:pt x="607439" y="8575"/>
                    </a:cubicBezTo>
                    <a:cubicBezTo>
                      <a:pt x="609245" y="8349"/>
                      <a:pt x="611050" y="8123"/>
                      <a:pt x="613081" y="8123"/>
                    </a:cubicBezTo>
                    <a:cubicBezTo>
                      <a:pt x="625942" y="6995"/>
                      <a:pt x="646702" y="22113"/>
                      <a:pt x="652343" y="30011"/>
                    </a:cubicBezTo>
                    <a:lnTo>
                      <a:pt x="652794" y="30688"/>
                    </a:lnTo>
                    <a:cubicBezTo>
                      <a:pt x="658210" y="38360"/>
                      <a:pt x="662497" y="44452"/>
                      <a:pt x="663851" y="58668"/>
                    </a:cubicBezTo>
                    <a:cubicBezTo>
                      <a:pt x="664302" y="62504"/>
                      <a:pt x="664754" y="65663"/>
                      <a:pt x="665205" y="68596"/>
                    </a:cubicBezTo>
                    <a:cubicBezTo>
                      <a:pt x="666559" y="76945"/>
                      <a:pt x="667461" y="83038"/>
                      <a:pt x="663400" y="88228"/>
                    </a:cubicBezTo>
                    <a:cubicBezTo>
                      <a:pt x="660015" y="92741"/>
                      <a:pt x="658210" y="96802"/>
                      <a:pt x="655953" y="102443"/>
                    </a:cubicBezTo>
                    <a:cubicBezTo>
                      <a:pt x="655276" y="104249"/>
                      <a:pt x="654599" y="106054"/>
                      <a:pt x="653697" y="108085"/>
                    </a:cubicBezTo>
                    <a:cubicBezTo>
                      <a:pt x="652343" y="111244"/>
                      <a:pt x="651440" y="114403"/>
                      <a:pt x="650764" y="118013"/>
                    </a:cubicBezTo>
                    <a:cubicBezTo>
                      <a:pt x="649184" y="124105"/>
                      <a:pt x="647604" y="130423"/>
                      <a:pt x="643092" y="135839"/>
                    </a:cubicBezTo>
                    <a:cubicBezTo>
                      <a:pt x="639255" y="140352"/>
                      <a:pt x="638353" y="143511"/>
                      <a:pt x="637225" y="146670"/>
                    </a:cubicBezTo>
                    <a:cubicBezTo>
                      <a:pt x="636548" y="148926"/>
                      <a:pt x="635871" y="151183"/>
                      <a:pt x="634291" y="153891"/>
                    </a:cubicBezTo>
                    <a:cubicBezTo>
                      <a:pt x="632486" y="156824"/>
                      <a:pt x="630681" y="158629"/>
                      <a:pt x="629101" y="159983"/>
                    </a:cubicBezTo>
                    <a:cubicBezTo>
                      <a:pt x="627071" y="161788"/>
                      <a:pt x="625942" y="162917"/>
                      <a:pt x="625942" y="165624"/>
                    </a:cubicBezTo>
                    <a:cubicBezTo>
                      <a:pt x="625942" y="166978"/>
                      <a:pt x="626168" y="167655"/>
                      <a:pt x="626394" y="168332"/>
                    </a:cubicBezTo>
                    <a:cubicBezTo>
                      <a:pt x="627296" y="172168"/>
                      <a:pt x="625717" y="172619"/>
                      <a:pt x="618496" y="174876"/>
                    </a:cubicBezTo>
                    <a:lnTo>
                      <a:pt x="615337" y="175778"/>
                    </a:lnTo>
                    <a:cubicBezTo>
                      <a:pt x="607439" y="178260"/>
                      <a:pt x="601121" y="178712"/>
                      <a:pt x="596608" y="178937"/>
                    </a:cubicBezTo>
                    <a:cubicBezTo>
                      <a:pt x="593224" y="179163"/>
                      <a:pt x="590516" y="179389"/>
                      <a:pt x="588936" y="180291"/>
                    </a:cubicBezTo>
                    <a:cubicBezTo>
                      <a:pt x="588260" y="180743"/>
                      <a:pt x="587357" y="181194"/>
                      <a:pt x="586680" y="181419"/>
                    </a:cubicBezTo>
                    <a:cubicBezTo>
                      <a:pt x="583070" y="183225"/>
                      <a:pt x="579008" y="185481"/>
                      <a:pt x="574946" y="190445"/>
                    </a:cubicBezTo>
                    <a:cubicBezTo>
                      <a:pt x="569982" y="196763"/>
                      <a:pt x="567726" y="207143"/>
                      <a:pt x="569305" y="209400"/>
                    </a:cubicBezTo>
                    <a:cubicBezTo>
                      <a:pt x="569757" y="210076"/>
                      <a:pt x="570433" y="210979"/>
                      <a:pt x="571336" y="211882"/>
                    </a:cubicBezTo>
                    <a:cubicBezTo>
                      <a:pt x="575172" y="216169"/>
                      <a:pt x="580588" y="222713"/>
                      <a:pt x="577880" y="227903"/>
                    </a:cubicBezTo>
                    <a:cubicBezTo>
                      <a:pt x="576977" y="229482"/>
                      <a:pt x="576526" y="231287"/>
                      <a:pt x="576075" y="233318"/>
                    </a:cubicBezTo>
                    <a:cubicBezTo>
                      <a:pt x="574946" y="237605"/>
                      <a:pt x="573592" y="242795"/>
                      <a:pt x="568177" y="248436"/>
                    </a:cubicBezTo>
                    <a:cubicBezTo>
                      <a:pt x="559602" y="257688"/>
                      <a:pt x="555992" y="270775"/>
                      <a:pt x="558474" y="283637"/>
                    </a:cubicBezTo>
                    <a:cubicBezTo>
                      <a:pt x="559151" y="287248"/>
                      <a:pt x="559828" y="289955"/>
                      <a:pt x="560505" y="292437"/>
                    </a:cubicBezTo>
                    <a:cubicBezTo>
                      <a:pt x="562536" y="301012"/>
                      <a:pt x="563438" y="305299"/>
                      <a:pt x="560279" y="312294"/>
                    </a:cubicBezTo>
                    <a:cubicBezTo>
                      <a:pt x="559151" y="315002"/>
                      <a:pt x="559377" y="315453"/>
                      <a:pt x="560956" y="316807"/>
                    </a:cubicBezTo>
                    <a:cubicBezTo>
                      <a:pt x="562761" y="318612"/>
                      <a:pt x="565695" y="321546"/>
                      <a:pt x="564792" y="329218"/>
                    </a:cubicBezTo>
                    <a:cubicBezTo>
                      <a:pt x="564567" y="330797"/>
                      <a:pt x="564567" y="332151"/>
                      <a:pt x="564341" y="333505"/>
                    </a:cubicBezTo>
                    <a:cubicBezTo>
                      <a:pt x="563664" y="340049"/>
                      <a:pt x="563664" y="340049"/>
                      <a:pt x="566372" y="342982"/>
                    </a:cubicBezTo>
                    <a:cubicBezTo>
                      <a:pt x="566823" y="343433"/>
                      <a:pt x="567500" y="344110"/>
                      <a:pt x="568177" y="344787"/>
                    </a:cubicBezTo>
                    <a:cubicBezTo>
                      <a:pt x="569757" y="346592"/>
                      <a:pt x="573141" y="344562"/>
                      <a:pt x="577429" y="341403"/>
                    </a:cubicBezTo>
                    <a:cubicBezTo>
                      <a:pt x="582167" y="338243"/>
                      <a:pt x="587808" y="334182"/>
                      <a:pt x="591419" y="339146"/>
                    </a:cubicBezTo>
                    <a:cubicBezTo>
                      <a:pt x="596383" y="345916"/>
                      <a:pt x="602927" y="348398"/>
                      <a:pt x="606762" y="348398"/>
                    </a:cubicBezTo>
                    <a:lnTo>
                      <a:pt x="607665" y="348398"/>
                    </a:lnTo>
                    <a:cubicBezTo>
                      <a:pt x="612178" y="348398"/>
                      <a:pt x="617142" y="348398"/>
                      <a:pt x="618496" y="357424"/>
                    </a:cubicBezTo>
                    <a:cubicBezTo>
                      <a:pt x="618722" y="358326"/>
                      <a:pt x="618947" y="358777"/>
                      <a:pt x="618947" y="358777"/>
                    </a:cubicBezTo>
                    <a:cubicBezTo>
                      <a:pt x="619624" y="359229"/>
                      <a:pt x="622106" y="358100"/>
                      <a:pt x="623912" y="357198"/>
                    </a:cubicBezTo>
                    <a:cubicBezTo>
                      <a:pt x="627522" y="355618"/>
                      <a:pt x="632035" y="353813"/>
                      <a:pt x="636999" y="354490"/>
                    </a:cubicBezTo>
                    <a:cubicBezTo>
                      <a:pt x="643317" y="355167"/>
                      <a:pt x="647830" y="354264"/>
                      <a:pt x="649861" y="351782"/>
                    </a:cubicBezTo>
                    <a:cubicBezTo>
                      <a:pt x="651666" y="349526"/>
                      <a:pt x="651666" y="346141"/>
                      <a:pt x="649861" y="341177"/>
                    </a:cubicBezTo>
                    <a:cubicBezTo>
                      <a:pt x="647604" y="334633"/>
                      <a:pt x="646702" y="331248"/>
                      <a:pt x="646025" y="328541"/>
                    </a:cubicBezTo>
                    <a:cubicBezTo>
                      <a:pt x="645122" y="325382"/>
                      <a:pt x="644671" y="323577"/>
                      <a:pt x="642415" y="318838"/>
                    </a:cubicBezTo>
                    <a:cubicBezTo>
                      <a:pt x="640609" y="315228"/>
                      <a:pt x="640158" y="312746"/>
                      <a:pt x="639707" y="310940"/>
                    </a:cubicBezTo>
                    <a:cubicBezTo>
                      <a:pt x="639255" y="308458"/>
                      <a:pt x="639255" y="308458"/>
                      <a:pt x="636096" y="308007"/>
                    </a:cubicBezTo>
                    <a:cubicBezTo>
                      <a:pt x="631132" y="307104"/>
                      <a:pt x="630004" y="304397"/>
                      <a:pt x="628650" y="301463"/>
                    </a:cubicBezTo>
                    <a:cubicBezTo>
                      <a:pt x="627748" y="299432"/>
                      <a:pt x="626845" y="297402"/>
                      <a:pt x="624363" y="294919"/>
                    </a:cubicBezTo>
                    <a:cubicBezTo>
                      <a:pt x="617593" y="288150"/>
                      <a:pt x="616240" y="283863"/>
                      <a:pt x="616240" y="277319"/>
                    </a:cubicBezTo>
                    <a:cubicBezTo>
                      <a:pt x="616240" y="276191"/>
                      <a:pt x="616240" y="275288"/>
                      <a:pt x="616240" y="274386"/>
                    </a:cubicBezTo>
                    <a:cubicBezTo>
                      <a:pt x="616465" y="269873"/>
                      <a:pt x="616465" y="267391"/>
                      <a:pt x="612404" y="263780"/>
                    </a:cubicBezTo>
                    <a:cubicBezTo>
                      <a:pt x="607665" y="259493"/>
                      <a:pt x="604957" y="253175"/>
                      <a:pt x="604957" y="249113"/>
                    </a:cubicBezTo>
                    <a:cubicBezTo>
                      <a:pt x="604957" y="247534"/>
                      <a:pt x="605183" y="246406"/>
                      <a:pt x="605860" y="245729"/>
                    </a:cubicBezTo>
                    <a:cubicBezTo>
                      <a:pt x="605860" y="244826"/>
                      <a:pt x="604732" y="242118"/>
                      <a:pt x="604055" y="240313"/>
                    </a:cubicBezTo>
                    <a:cubicBezTo>
                      <a:pt x="602250" y="236026"/>
                      <a:pt x="600670" y="231964"/>
                      <a:pt x="602024" y="229482"/>
                    </a:cubicBezTo>
                    <a:cubicBezTo>
                      <a:pt x="602701" y="228354"/>
                      <a:pt x="601798" y="224292"/>
                      <a:pt x="601121" y="221133"/>
                    </a:cubicBezTo>
                    <a:cubicBezTo>
                      <a:pt x="600219" y="217297"/>
                      <a:pt x="599316" y="213236"/>
                      <a:pt x="599316" y="209174"/>
                    </a:cubicBezTo>
                    <a:cubicBezTo>
                      <a:pt x="599316" y="206917"/>
                      <a:pt x="599091" y="205112"/>
                      <a:pt x="598639" y="203307"/>
                    </a:cubicBezTo>
                    <a:cubicBezTo>
                      <a:pt x="598188" y="200374"/>
                      <a:pt x="597737" y="197666"/>
                      <a:pt x="599316" y="195861"/>
                    </a:cubicBezTo>
                    <a:cubicBezTo>
                      <a:pt x="600444" y="194507"/>
                      <a:pt x="602475" y="194056"/>
                      <a:pt x="605634" y="194281"/>
                    </a:cubicBezTo>
                    <a:cubicBezTo>
                      <a:pt x="610147" y="194507"/>
                      <a:pt x="611952" y="196763"/>
                      <a:pt x="613081" y="197892"/>
                    </a:cubicBezTo>
                    <a:cubicBezTo>
                      <a:pt x="613306" y="198117"/>
                      <a:pt x="613306" y="198117"/>
                      <a:pt x="613532" y="198343"/>
                    </a:cubicBezTo>
                    <a:cubicBezTo>
                      <a:pt x="613983" y="198117"/>
                      <a:pt x="614886" y="197440"/>
                      <a:pt x="616691" y="195410"/>
                    </a:cubicBezTo>
                    <a:cubicBezTo>
                      <a:pt x="625491" y="185707"/>
                      <a:pt x="632486" y="181645"/>
                      <a:pt x="637450" y="182999"/>
                    </a:cubicBezTo>
                    <a:cubicBezTo>
                      <a:pt x="640609" y="183902"/>
                      <a:pt x="644445" y="187738"/>
                      <a:pt x="645122" y="192476"/>
                    </a:cubicBezTo>
                    <a:cubicBezTo>
                      <a:pt x="645799" y="196763"/>
                      <a:pt x="643994" y="200825"/>
                      <a:pt x="639932" y="203984"/>
                    </a:cubicBezTo>
                    <a:cubicBezTo>
                      <a:pt x="638579" y="204887"/>
                      <a:pt x="637902" y="205564"/>
                      <a:pt x="637450" y="206015"/>
                    </a:cubicBezTo>
                    <a:cubicBezTo>
                      <a:pt x="639030" y="206917"/>
                      <a:pt x="642189" y="208723"/>
                      <a:pt x="641286" y="214138"/>
                    </a:cubicBezTo>
                    <a:cubicBezTo>
                      <a:pt x="640835" y="216620"/>
                      <a:pt x="641963" y="217072"/>
                      <a:pt x="645799" y="217749"/>
                    </a:cubicBezTo>
                    <a:cubicBezTo>
                      <a:pt x="648733" y="218200"/>
                      <a:pt x="653246" y="219102"/>
                      <a:pt x="653246" y="223841"/>
                    </a:cubicBezTo>
                    <a:cubicBezTo>
                      <a:pt x="653246" y="225195"/>
                      <a:pt x="653246" y="225195"/>
                      <a:pt x="656405" y="225420"/>
                    </a:cubicBezTo>
                    <a:cubicBezTo>
                      <a:pt x="659564" y="225420"/>
                      <a:pt x="664302" y="225646"/>
                      <a:pt x="666333" y="231513"/>
                    </a:cubicBezTo>
                    <a:cubicBezTo>
                      <a:pt x="668590" y="236252"/>
                      <a:pt x="670169" y="236252"/>
                      <a:pt x="671974" y="236252"/>
                    </a:cubicBezTo>
                    <a:cubicBezTo>
                      <a:pt x="673328" y="236252"/>
                      <a:pt x="674908" y="236477"/>
                      <a:pt x="676487" y="237605"/>
                    </a:cubicBezTo>
                    <a:lnTo>
                      <a:pt x="677164" y="238057"/>
                    </a:lnTo>
                    <a:cubicBezTo>
                      <a:pt x="677841" y="238508"/>
                      <a:pt x="678744" y="239411"/>
                      <a:pt x="679195" y="239411"/>
                    </a:cubicBezTo>
                    <a:cubicBezTo>
                      <a:pt x="679646" y="239185"/>
                      <a:pt x="681677" y="237605"/>
                      <a:pt x="684836" y="225420"/>
                    </a:cubicBezTo>
                    <a:cubicBezTo>
                      <a:pt x="686641" y="217974"/>
                      <a:pt x="691380" y="212784"/>
                      <a:pt x="697247" y="211882"/>
                    </a:cubicBezTo>
                    <a:cubicBezTo>
                      <a:pt x="701534" y="211205"/>
                      <a:pt x="705596" y="212784"/>
                      <a:pt x="707626" y="215943"/>
                    </a:cubicBezTo>
                    <a:cubicBezTo>
                      <a:pt x="710108" y="219554"/>
                      <a:pt x="709657" y="224518"/>
                      <a:pt x="706272" y="229482"/>
                    </a:cubicBezTo>
                    <a:cubicBezTo>
                      <a:pt x="700631" y="238057"/>
                      <a:pt x="700180" y="245052"/>
                      <a:pt x="702436" y="247308"/>
                    </a:cubicBezTo>
                    <a:cubicBezTo>
                      <a:pt x="704016" y="248662"/>
                      <a:pt x="706949" y="248211"/>
                      <a:pt x="710560" y="245729"/>
                    </a:cubicBezTo>
                    <a:cubicBezTo>
                      <a:pt x="713944" y="243472"/>
                      <a:pt x="717329" y="240087"/>
                      <a:pt x="720262" y="237380"/>
                    </a:cubicBezTo>
                    <a:cubicBezTo>
                      <a:pt x="725678" y="232190"/>
                      <a:pt x="729514" y="228580"/>
                      <a:pt x="733124" y="229933"/>
                    </a:cubicBezTo>
                    <a:cubicBezTo>
                      <a:pt x="736058" y="231062"/>
                      <a:pt x="736735" y="234898"/>
                      <a:pt x="737186" y="237831"/>
                    </a:cubicBezTo>
                    <a:cubicBezTo>
                      <a:pt x="737863" y="243472"/>
                      <a:pt x="740119" y="246857"/>
                      <a:pt x="743278" y="247308"/>
                    </a:cubicBezTo>
                    <a:cubicBezTo>
                      <a:pt x="746437" y="247534"/>
                      <a:pt x="750725" y="244600"/>
                      <a:pt x="752981" y="237605"/>
                    </a:cubicBezTo>
                    <a:cubicBezTo>
                      <a:pt x="757494" y="223390"/>
                      <a:pt x="760428" y="219554"/>
                      <a:pt x="778028" y="215041"/>
                    </a:cubicBezTo>
                    <a:cubicBezTo>
                      <a:pt x="783218" y="213687"/>
                      <a:pt x="787279" y="211882"/>
                      <a:pt x="790664" y="210302"/>
                    </a:cubicBezTo>
                    <a:cubicBezTo>
                      <a:pt x="797885" y="207143"/>
                      <a:pt x="803075" y="204661"/>
                      <a:pt x="810070" y="213010"/>
                    </a:cubicBezTo>
                    <a:cubicBezTo>
                      <a:pt x="811649" y="215041"/>
                      <a:pt x="813003" y="216846"/>
                      <a:pt x="814357" y="218651"/>
                    </a:cubicBezTo>
                    <a:cubicBezTo>
                      <a:pt x="820901" y="227226"/>
                      <a:pt x="823834" y="230610"/>
                      <a:pt x="830829" y="226549"/>
                    </a:cubicBezTo>
                    <a:cubicBezTo>
                      <a:pt x="833988" y="224744"/>
                      <a:pt x="836019" y="224292"/>
                      <a:pt x="837598" y="225195"/>
                    </a:cubicBezTo>
                    <a:cubicBezTo>
                      <a:pt x="838501" y="225646"/>
                      <a:pt x="838952" y="226774"/>
                      <a:pt x="838952" y="228128"/>
                    </a:cubicBezTo>
                    <a:cubicBezTo>
                      <a:pt x="838727" y="231964"/>
                      <a:pt x="833086" y="239185"/>
                      <a:pt x="826316" y="242570"/>
                    </a:cubicBezTo>
                    <a:cubicBezTo>
                      <a:pt x="825188" y="243021"/>
                      <a:pt x="824060" y="243698"/>
                      <a:pt x="822931" y="244149"/>
                    </a:cubicBezTo>
                    <a:cubicBezTo>
                      <a:pt x="818644" y="246180"/>
                      <a:pt x="806911" y="251821"/>
                      <a:pt x="806911" y="254303"/>
                    </a:cubicBezTo>
                    <a:cubicBezTo>
                      <a:pt x="806911" y="254303"/>
                      <a:pt x="806911" y="255206"/>
                      <a:pt x="811424" y="255883"/>
                    </a:cubicBezTo>
                    <a:cubicBezTo>
                      <a:pt x="813454" y="256334"/>
                      <a:pt x="815485" y="256785"/>
                      <a:pt x="817290" y="257011"/>
                    </a:cubicBezTo>
                    <a:cubicBezTo>
                      <a:pt x="829024" y="259493"/>
                      <a:pt x="834439" y="260396"/>
                      <a:pt x="839178" y="255657"/>
                    </a:cubicBezTo>
                    <a:cubicBezTo>
                      <a:pt x="840983" y="253852"/>
                      <a:pt x="842788" y="251370"/>
                      <a:pt x="844819" y="248662"/>
                    </a:cubicBezTo>
                    <a:cubicBezTo>
                      <a:pt x="849332" y="242570"/>
                      <a:pt x="854296" y="235575"/>
                      <a:pt x="861517" y="234446"/>
                    </a:cubicBezTo>
                    <a:cubicBezTo>
                      <a:pt x="863774" y="234221"/>
                      <a:pt x="865353" y="234446"/>
                      <a:pt x="866481" y="235575"/>
                    </a:cubicBezTo>
                    <a:cubicBezTo>
                      <a:pt x="868286" y="237380"/>
                      <a:pt x="867835" y="240087"/>
                      <a:pt x="867384" y="242570"/>
                    </a:cubicBezTo>
                    <a:cubicBezTo>
                      <a:pt x="867158" y="243698"/>
                      <a:pt x="866933" y="245729"/>
                      <a:pt x="867384" y="246180"/>
                    </a:cubicBezTo>
                    <a:cubicBezTo>
                      <a:pt x="867384" y="246180"/>
                      <a:pt x="867835" y="246406"/>
                      <a:pt x="868512" y="246406"/>
                    </a:cubicBezTo>
                    <a:cubicBezTo>
                      <a:pt x="873476" y="245954"/>
                      <a:pt x="877763" y="248436"/>
                      <a:pt x="879569" y="252498"/>
                    </a:cubicBezTo>
                    <a:cubicBezTo>
                      <a:pt x="881148" y="255657"/>
                      <a:pt x="880471" y="259267"/>
                      <a:pt x="877989" y="261524"/>
                    </a:cubicBezTo>
                    <a:cubicBezTo>
                      <a:pt x="877087" y="262427"/>
                      <a:pt x="876861" y="263780"/>
                      <a:pt x="877538" y="264908"/>
                    </a:cubicBezTo>
                    <a:cubicBezTo>
                      <a:pt x="878892" y="267165"/>
                      <a:pt x="884533" y="270098"/>
                      <a:pt x="896718" y="266488"/>
                    </a:cubicBezTo>
                    <a:cubicBezTo>
                      <a:pt x="910257" y="262652"/>
                      <a:pt x="911159" y="262427"/>
                      <a:pt x="915672" y="263555"/>
                    </a:cubicBezTo>
                    <a:cubicBezTo>
                      <a:pt x="917252" y="264006"/>
                      <a:pt x="919282" y="264457"/>
                      <a:pt x="923344" y="265134"/>
                    </a:cubicBezTo>
                    <a:cubicBezTo>
                      <a:pt x="924472" y="265360"/>
                      <a:pt x="926052" y="265360"/>
                      <a:pt x="926503" y="264683"/>
                    </a:cubicBezTo>
                    <a:cubicBezTo>
                      <a:pt x="927631" y="263329"/>
                      <a:pt x="926729" y="258816"/>
                      <a:pt x="925826" y="255431"/>
                    </a:cubicBezTo>
                    <a:cubicBezTo>
                      <a:pt x="924698" y="251144"/>
                      <a:pt x="923795" y="247308"/>
                      <a:pt x="925375" y="245052"/>
                    </a:cubicBezTo>
                    <a:cubicBezTo>
                      <a:pt x="926052" y="244149"/>
                      <a:pt x="926954" y="243472"/>
                      <a:pt x="928308" y="243246"/>
                    </a:cubicBezTo>
                    <a:cubicBezTo>
                      <a:pt x="933498" y="242344"/>
                      <a:pt x="933724" y="242344"/>
                      <a:pt x="937560" y="243021"/>
                    </a:cubicBezTo>
                    <a:cubicBezTo>
                      <a:pt x="939365" y="243246"/>
                      <a:pt x="941847" y="243923"/>
                      <a:pt x="946586" y="244375"/>
                    </a:cubicBezTo>
                    <a:cubicBezTo>
                      <a:pt x="952904" y="245277"/>
                      <a:pt x="954032" y="241667"/>
                      <a:pt x="955611" y="235800"/>
                    </a:cubicBezTo>
                    <a:cubicBezTo>
                      <a:pt x="956514" y="232190"/>
                      <a:pt x="957417" y="228354"/>
                      <a:pt x="961027" y="227451"/>
                    </a:cubicBezTo>
                    <a:cubicBezTo>
                      <a:pt x="966442" y="226323"/>
                      <a:pt x="968473" y="232190"/>
                      <a:pt x="970504" y="237380"/>
                    </a:cubicBezTo>
                    <a:cubicBezTo>
                      <a:pt x="971632" y="240539"/>
                      <a:pt x="972986" y="243698"/>
                      <a:pt x="974566" y="245503"/>
                    </a:cubicBezTo>
                    <a:cubicBezTo>
                      <a:pt x="976145" y="247083"/>
                      <a:pt x="978627" y="246857"/>
                      <a:pt x="982689" y="246406"/>
                    </a:cubicBezTo>
                    <a:cubicBezTo>
                      <a:pt x="988104" y="245954"/>
                      <a:pt x="994648" y="245277"/>
                      <a:pt x="1000741" y="250242"/>
                    </a:cubicBezTo>
                    <a:cubicBezTo>
                      <a:pt x="1004351" y="253175"/>
                      <a:pt x="1009992" y="255657"/>
                      <a:pt x="1015859" y="258139"/>
                    </a:cubicBezTo>
                    <a:cubicBezTo>
                      <a:pt x="1026464" y="262878"/>
                      <a:pt x="1037521" y="267616"/>
                      <a:pt x="1038424" y="275740"/>
                    </a:cubicBezTo>
                    <a:cubicBezTo>
                      <a:pt x="1039100" y="281606"/>
                      <a:pt x="1044290" y="289053"/>
                      <a:pt x="1051060" y="293114"/>
                    </a:cubicBezTo>
                    <a:cubicBezTo>
                      <a:pt x="1056024" y="296048"/>
                      <a:pt x="1060763" y="296950"/>
                      <a:pt x="1064824" y="295596"/>
                    </a:cubicBezTo>
                    <a:cubicBezTo>
                      <a:pt x="1077235" y="291084"/>
                      <a:pt x="1081973" y="291084"/>
                      <a:pt x="1090999" y="293566"/>
                    </a:cubicBezTo>
                    <a:cubicBezTo>
                      <a:pt x="1093933" y="294468"/>
                      <a:pt x="1096640" y="294468"/>
                      <a:pt x="1099348" y="294694"/>
                    </a:cubicBezTo>
                    <a:cubicBezTo>
                      <a:pt x="1104764" y="294919"/>
                      <a:pt x="1109728" y="295371"/>
                      <a:pt x="1112210" y="300786"/>
                    </a:cubicBezTo>
                    <a:cubicBezTo>
                      <a:pt x="1114015" y="304848"/>
                      <a:pt x="1112210" y="307104"/>
                      <a:pt x="1110630" y="309135"/>
                    </a:cubicBezTo>
                    <a:cubicBezTo>
                      <a:pt x="1108825" y="311392"/>
                      <a:pt x="1106794" y="313648"/>
                      <a:pt x="1108600" y="320643"/>
                    </a:cubicBezTo>
                    <a:cubicBezTo>
                      <a:pt x="1109953" y="325833"/>
                      <a:pt x="1110630" y="328992"/>
                      <a:pt x="1110856" y="331474"/>
                    </a:cubicBezTo>
                    <a:cubicBezTo>
                      <a:pt x="1111533" y="335536"/>
                      <a:pt x="1111759" y="336890"/>
                      <a:pt x="1115143" y="341403"/>
                    </a:cubicBezTo>
                    <a:cubicBezTo>
                      <a:pt x="1121236" y="349526"/>
                      <a:pt x="1123267" y="355393"/>
                      <a:pt x="1116948" y="363065"/>
                    </a:cubicBezTo>
                    <a:lnTo>
                      <a:pt x="1116948" y="363065"/>
                    </a:lnTo>
                    <a:cubicBezTo>
                      <a:pt x="1111533" y="369608"/>
                      <a:pt x="1109276" y="373444"/>
                      <a:pt x="1118077" y="381116"/>
                    </a:cubicBezTo>
                    <a:cubicBezTo>
                      <a:pt x="1118754" y="381793"/>
                      <a:pt x="1119205" y="382245"/>
                      <a:pt x="1119882" y="382696"/>
                    </a:cubicBezTo>
                    <a:lnTo>
                      <a:pt x="1121010" y="383824"/>
                    </a:lnTo>
                    <a:lnTo>
                      <a:pt x="1119882" y="385178"/>
                    </a:lnTo>
                    <a:cubicBezTo>
                      <a:pt x="1116271" y="389691"/>
                      <a:pt x="1112887" y="393978"/>
                      <a:pt x="1110179" y="398040"/>
                    </a:cubicBezTo>
                    <a:cubicBezTo>
                      <a:pt x="1097092" y="416317"/>
                      <a:pt x="1088968" y="417671"/>
                      <a:pt x="1073399" y="416317"/>
                    </a:cubicBezTo>
                    <a:cubicBezTo>
                      <a:pt x="1058506" y="414963"/>
                      <a:pt x="1054896" y="414963"/>
                      <a:pt x="1034813" y="416317"/>
                    </a:cubicBezTo>
                    <a:cubicBezTo>
                      <a:pt x="1014956" y="417671"/>
                      <a:pt x="1019695" y="416317"/>
                      <a:pt x="1008638" y="417671"/>
                    </a:cubicBezTo>
                    <a:cubicBezTo>
                      <a:pt x="1002997" y="418348"/>
                      <a:pt x="998033" y="414061"/>
                      <a:pt x="993069" y="409999"/>
                    </a:cubicBezTo>
                    <a:cubicBezTo>
                      <a:pt x="986976" y="404809"/>
                      <a:pt x="981109" y="400071"/>
                      <a:pt x="974114" y="403004"/>
                    </a:cubicBezTo>
                    <a:cubicBezTo>
                      <a:pt x="972535" y="403681"/>
                      <a:pt x="971407" y="404583"/>
                      <a:pt x="971181" y="405486"/>
                    </a:cubicBezTo>
                    <a:cubicBezTo>
                      <a:pt x="970730" y="407743"/>
                      <a:pt x="973663" y="411578"/>
                      <a:pt x="976822" y="415189"/>
                    </a:cubicBezTo>
                    <a:cubicBezTo>
                      <a:pt x="981786" y="421281"/>
                      <a:pt x="987202" y="428051"/>
                      <a:pt x="983817" y="434820"/>
                    </a:cubicBezTo>
                    <a:cubicBezTo>
                      <a:pt x="981335" y="439559"/>
                      <a:pt x="979079" y="442041"/>
                      <a:pt x="977725" y="443620"/>
                    </a:cubicBezTo>
                    <a:cubicBezTo>
                      <a:pt x="975694" y="445877"/>
                      <a:pt x="975468" y="446328"/>
                      <a:pt x="976371" y="451067"/>
                    </a:cubicBezTo>
                    <a:cubicBezTo>
                      <a:pt x="977950" y="459190"/>
                      <a:pt x="979756" y="460092"/>
                      <a:pt x="990587" y="458287"/>
                    </a:cubicBezTo>
                    <a:cubicBezTo>
                      <a:pt x="995100" y="457610"/>
                      <a:pt x="996905" y="456031"/>
                      <a:pt x="998259" y="454903"/>
                    </a:cubicBezTo>
                    <a:cubicBezTo>
                      <a:pt x="1001192" y="452421"/>
                      <a:pt x="1002997" y="452421"/>
                      <a:pt x="1007736" y="456256"/>
                    </a:cubicBezTo>
                    <a:cubicBezTo>
                      <a:pt x="1010669" y="458739"/>
                      <a:pt x="1012700" y="458739"/>
                      <a:pt x="1014505" y="458964"/>
                    </a:cubicBezTo>
                    <a:cubicBezTo>
                      <a:pt x="1017664" y="459190"/>
                      <a:pt x="1020146" y="459641"/>
                      <a:pt x="1022628" y="465057"/>
                    </a:cubicBezTo>
                    <a:cubicBezTo>
                      <a:pt x="1025110" y="470698"/>
                      <a:pt x="1025110" y="470698"/>
                      <a:pt x="1028495" y="471600"/>
                    </a:cubicBezTo>
                    <a:cubicBezTo>
                      <a:pt x="1030075" y="472052"/>
                      <a:pt x="1032106" y="472729"/>
                      <a:pt x="1034813" y="474083"/>
                    </a:cubicBezTo>
                    <a:cubicBezTo>
                      <a:pt x="1046095" y="479047"/>
                      <a:pt x="1046547" y="484462"/>
                      <a:pt x="1046547" y="492811"/>
                    </a:cubicBezTo>
                    <a:cubicBezTo>
                      <a:pt x="1046547" y="497550"/>
                      <a:pt x="1044967" y="499355"/>
                      <a:pt x="1043162" y="500934"/>
                    </a:cubicBezTo>
                    <a:cubicBezTo>
                      <a:pt x="1042034" y="501837"/>
                      <a:pt x="1041583" y="502288"/>
                      <a:pt x="1041583" y="504093"/>
                    </a:cubicBezTo>
                    <a:cubicBezTo>
                      <a:pt x="1041583" y="505673"/>
                      <a:pt x="1041357" y="507027"/>
                      <a:pt x="1040454" y="507704"/>
                    </a:cubicBezTo>
                    <a:cubicBezTo>
                      <a:pt x="1039552" y="508606"/>
                      <a:pt x="1038424" y="508381"/>
                      <a:pt x="1037972" y="508381"/>
                    </a:cubicBezTo>
                    <a:cubicBezTo>
                      <a:pt x="1036844" y="508381"/>
                      <a:pt x="1035039" y="508155"/>
                      <a:pt x="1032106" y="514248"/>
                    </a:cubicBezTo>
                    <a:cubicBezTo>
                      <a:pt x="1027141" y="524176"/>
                      <a:pt x="1026690" y="524627"/>
                      <a:pt x="1022403" y="527335"/>
                    </a:cubicBezTo>
                    <a:cubicBezTo>
                      <a:pt x="1021274" y="528012"/>
                      <a:pt x="1020146" y="528689"/>
                      <a:pt x="1018341" y="530043"/>
                    </a:cubicBezTo>
                    <a:cubicBezTo>
                      <a:pt x="1014956" y="532525"/>
                      <a:pt x="1012926" y="532976"/>
                      <a:pt x="1011346" y="533427"/>
                    </a:cubicBezTo>
                    <a:cubicBezTo>
                      <a:pt x="1009315" y="533879"/>
                      <a:pt x="1007961" y="534330"/>
                      <a:pt x="1002997" y="540423"/>
                    </a:cubicBezTo>
                    <a:cubicBezTo>
                      <a:pt x="998259" y="546064"/>
                      <a:pt x="997582" y="551705"/>
                      <a:pt x="997130" y="557120"/>
                    </a:cubicBezTo>
                    <a:cubicBezTo>
                      <a:pt x="996679" y="561408"/>
                      <a:pt x="996228" y="565244"/>
                      <a:pt x="993746" y="568628"/>
                    </a:cubicBezTo>
                    <a:cubicBezTo>
                      <a:pt x="992166" y="570885"/>
                      <a:pt x="991941" y="572013"/>
                      <a:pt x="991941" y="573141"/>
                    </a:cubicBezTo>
                    <a:cubicBezTo>
                      <a:pt x="991715" y="575849"/>
                      <a:pt x="991038" y="577428"/>
                      <a:pt x="984494" y="581716"/>
                    </a:cubicBezTo>
                    <a:cubicBezTo>
                      <a:pt x="974566" y="588259"/>
                      <a:pt x="956740" y="597737"/>
                      <a:pt x="950196" y="597737"/>
                    </a:cubicBezTo>
                    <a:cubicBezTo>
                      <a:pt x="948616" y="597737"/>
                      <a:pt x="946811" y="597511"/>
                      <a:pt x="945006" y="597285"/>
                    </a:cubicBezTo>
                    <a:cubicBezTo>
                      <a:pt x="939816" y="596608"/>
                      <a:pt x="933949" y="595931"/>
                      <a:pt x="929436" y="599316"/>
                    </a:cubicBezTo>
                    <a:cubicBezTo>
                      <a:pt x="926729" y="601347"/>
                      <a:pt x="925826" y="603603"/>
                      <a:pt x="924698" y="606762"/>
                    </a:cubicBezTo>
                    <a:cubicBezTo>
                      <a:pt x="923118" y="610598"/>
                      <a:pt x="921313" y="615337"/>
                      <a:pt x="915221" y="621204"/>
                    </a:cubicBezTo>
                    <a:cubicBezTo>
                      <a:pt x="912062" y="624137"/>
                      <a:pt x="909580" y="625942"/>
                      <a:pt x="907549" y="627522"/>
                    </a:cubicBezTo>
                    <a:cubicBezTo>
                      <a:pt x="903262" y="630681"/>
                      <a:pt x="901908" y="631809"/>
                      <a:pt x="899425" y="641738"/>
                    </a:cubicBezTo>
                    <a:cubicBezTo>
                      <a:pt x="897395" y="650086"/>
                      <a:pt x="894010" y="652117"/>
                      <a:pt x="891302" y="653697"/>
                    </a:cubicBezTo>
                    <a:cubicBezTo>
                      <a:pt x="889046" y="655051"/>
                      <a:pt x="887466" y="655953"/>
                      <a:pt x="887015" y="661594"/>
                    </a:cubicBezTo>
                    <a:cubicBezTo>
                      <a:pt x="886564" y="665205"/>
                      <a:pt x="886789" y="668590"/>
                      <a:pt x="887015" y="671749"/>
                    </a:cubicBezTo>
                    <a:cubicBezTo>
                      <a:pt x="887466" y="679420"/>
                      <a:pt x="887918" y="685964"/>
                      <a:pt x="878666" y="691831"/>
                    </a:cubicBezTo>
                    <a:cubicBezTo>
                      <a:pt x="867609" y="698826"/>
                      <a:pt x="867609" y="706047"/>
                      <a:pt x="867609" y="717780"/>
                    </a:cubicBezTo>
                    <a:cubicBezTo>
                      <a:pt x="867609" y="720262"/>
                      <a:pt x="867609" y="722970"/>
                      <a:pt x="867835" y="725678"/>
                    </a:cubicBezTo>
                    <a:cubicBezTo>
                      <a:pt x="868286" y="736058"/>
                      <a:pt x="868512" y="745986"/>
                      <a:pt x="863999" y="751176"/>
                    </a:cubicBezTo>
                    <a:cubicBezTo>
                      <a:pt x="860840" y="754786"/>
                      <a:pt x="860389" y="755914"/>
                      <a:pt x="859486" y="758397"/>
                    </a:cubicBezTo>
                    <a:cubicBezTo>
                      <a:pt x="859035" y="759525"/>
                      <a:pt x="858584" y="761104"/>
                      <a:pt x="857455" y="763135"/>
                    </a:cubicBezTo>
                    <a:cubicBezTo>
                      <a:pt x="855199" y="768325"/>
                      <a:pt x="851589" y="766971"/>
                      <a:pt x="846173" y="765166"/>
                    </a:cubicBezTo>
                    <a:lnTo>
                      <a:pt x="841886" y="763812"/>
                    </a:lnTo>
                    <a:lnTo>
                      <a:pt x="843465" y="761781"/>
                    </a:lnTo>
                    <a:cubicBezTo>
                      <a:pt x="844142" y="760653"/>
                      <a:pt x="844142" y="760427"/>
                      <a:pt x="844142" y="760427"/>
                    </a:cubicBezTo>
                    <a:cubicBezTo>
                      <a:pt x="843917" y="760202"/>
                      <a:pt x="843240" y="759750"/>
                      <a:pt x="842563" y="759525"/>
                    </a:cubicBezTo>
                    <a:cubicBezTo>
                      <a:pt x="841209" y="758848"/>
                      <a:pt x="839178" y="757945"/>
                      <a:pt x="839178" y="755689"/>
                    </a:cubicBezTo>
                    <a:cubicBezTo>
                      <a:pt x="839178" y="753432"/>
                      <a:pt x="839178" y="753432"/>
                      <a:pt x="832409" y="747791"/>
                    </a:cubicBezTo>
                    <a:cubicBezTo>
                      <a:pt x="829250" y="745084"/>
                      <a:pt x="827670" y="744181"/>
                      <a:pt x="826316" y="743278"/>
                    </a:cubicBezTo>
                    <a:cubicBezTo>
                      <a:pt x="824737" y="742150"/>
                      <a:pt x="823157" y="741022"/>
                      <a:pt x="819095" y="737863"/>
                    </a:cubicBezTo>
                    <a:cubicBezTo>
                      <a:pt x="816839" y="736058"/>
                      <a:pt x="815260" y="734704"/>
                      <a:pt x="813680" y="733576"/>
                    </a:cubicBezTo>
                    <a:cubicBezTo>
                      <a:pt x="810070" y="730642"/>
                      <a:pt x="807587" y="728837"/>
                      <a:pt x="802623" y="723196"/>
                    </a:cubicBezTo>
                    <a:cubicBezTo>
                      <a:pt x="801495" y="721842"/>
                      <a:pt x="800367" y="721165"/>
                      <a:pt x="799239" y="721165"/>
                    </a:cubicBezTo>
                    <a:cubicBezTo>
                      <a:pt x="797659" y="721165"/>
                      <a:pt x="795854" y="722970"/>
                      <a:pt x="794049" y="724775"/>
                    </a:cubicBezTo>
                    <a:cubicBezTo>
                      <a:pt x="792244" y="726581"/>
                      <a:pt x="790664" y="728386"/>
                      <a:pt x="788408" y="729288"/>
                    </a:cubicBezTo>
                    <a:cubicBezTo>
                      <a:pt x="782766" y="731770"/>
                      <a:pt x="775095" y="734478"/>
                      <a:pt x="763135" y="733801"/>
                    </a:cubicBezTo>
                    <a:cubicBezTo>
                      <a:pt x="757043" y="733350"/>
                      <a:pt x="755463" y="732447"/>
                      <a:pt x="754109" y="730642"/>
                    </a:cubicBezTo>
                    <a:cubicBezTo>
                      <a:pt x="753433" y="729740"/>
                      <a:pt x="752304" y="728386"/>
                      <a:pt x="747566" y="726806"/>
                    </a:cubicBezTo>
                    <a:cubicBezTo>
                      <a:pt x="742376" y="725001"/>
                      <a:pt x="737186" y="726806"/>
                      <a:pt x="730868" y="728611"/>
                    </a:cubicBezTo>
                    <a:cubicBezTo>
                      <a:pt x="724550" y="730642"/>
                      <a:pt x="717329" y="732899"/>
                      <a:pt x="708980" y="731770"/>
                    </a:cubicBezTo>
                    <a:cubicBezTo>
                      <a:pt x="703565" y="731093"/>
                      <a:pt x="700631" y="729965"/>
                      <a:pt x="699277" y="727934"/>
                    </a:cubicBezTo>
                    <a:cubicBezTo>
                      <a:pt x="697924" y="725903"/>
                      <a:pt x="698375" y="723647"/>
                      <a:pt x="699052" y="721391"/>
                    </a:cubicBezTo>
                    <a:cubicBezTo>
                      <a:pt x="699503" y="719134"/>
                      <a:pt x="700180" y="716878"/>
                      <a:pt x="698826" y="714396"/>
                    </a:cubicBezTo>
                    <a:cubicBezTo>
                      <a:pt x="695893" y="708755"/>
                      <a:pt x="688672" y="711011"/>
                      <a:pt x="666333" y="718909"/>
                    </a:cubicBezTo>
                    <a:cubicBezTo>
                      <a:pt x="663400" y="719811"/>
                      <a:pt x="660466" y="720939"/>
                      <a:pt x="657082" y="722068"/>
                    </a:cubicBezTo>
                    <a:cubicBezTo>
                      <a:pt x="643092" y="727032"/>
                      <a:pt x="640835" y="730642"/>
                      <a:pt x="639481" y="732899"/>
                    </a:cubicBezTo>
                    <a:cubicBezTo>
                      <a:pt x="637450" y="736509"/>
                      <a:pt x="635645" y="737863"/>
                      <a:pt x="625040" y="737863"/>
                    </a:cubicBezTo>
                    <a:cubicBezTo>
                      <a:pt x="613532" y="737863"/>
                      <a:pt x="609470" y="739217"/>
                      <a:pt x="606086" y="740345"/>
                    </a:cubicBezTo>
                    <a:cubicBezTo>
                      <a:pt x="603152" y="741247"/>
                      <a:pt x="600219" y="742376"/>
                      <a:pt x="593675" y="742376"/>
                    </a:cubicBezTo>
                    <a:cubicBezTo>
                      <a:pt x="585552" y="742376"/>
                      <a:pt x="579008" y="738540"/>
                      <a:pt x="573367" y="735155"/>
                    </a:cubicBezTo>
                    <a:cubicBezTo>
                      <a:pt x="569080" y="732673"/>
                      <a:pt x="565018" y="730191"/>
                      <a:pt x="560731" y="729740"/>
                    </a:cubicBezTo>
                    <a:cubicBezTo>
                      <a:pt x="555089" y="729063"/>
                      <a:pt x="552607" y="731545"/>
                      <a:pt x="548997" y="735155"/>
                    </a:cubicBezTo>
                    <a:cubicBezTo>
                      <a:pt x="546741" y="737637"/>
                      <a:pt x="544033" y="740345"/>
                      <a:pt x="539971" y="742601"/>
                    </a:cubicBezTo>
                    <a:cubicBezTo>
                      <a:pt x="532074" y="747114"/>
                      <a:pt x="518986" y="745535"/>
                      <a:pt x="507478" y="743955"/>
                    </a:cubicBezTo>
                    <a:cubicBezTo>
                      <a:pt x="503191" y="743504"/>
                      <a:pt x="499129" y="743053"/>
                      <a:pt x="495519" y="742827"/>
                    </a:cubicBezTo>
                    <a:cubicBezTo>
                      <a:pt x="488975" y="742601"/>
                      <a:pt x="483108" y="743053"/>
                      <a:pt x="477467" y="743504"/>
                    </a:cubicBezTo>
                    <a:cubicBezTo>
                      <a:pt x="471826" y="743955"/>
                      <a:pt x="466636" y="744406"/>
                      <a:pt x="460995" y="744181"/>
                    </a:cubicBezTo>
                    <a:cubicBezTo>
                      <a:pt x="447005" y="743504"/>
                      <a:pt x="444749" y="733350"/>
                      <a:pt x="444072" y="724775"/>
                    </a:cubicBezTo>
                    <a:cubicBezTo>
                      <a:pt x="444072" y="722970"/>
                      <a:pt x="444072" y="720488"/>
                      <a:pt x="445877" y="719134"/>
                    </a:cubicBezTo>
                    <a:cubicBezTo>
                      <a:pt x="448133" y="717555"/>
                      <a:pt x="451518" y="718909"/>
                      <a:pt x="456031" y="720939"/>
                    </a:cubicBezTo>
                    <a:cubicBezTo>
                      <a:pt x="459416" y="722519"/>
                      <a:pt x="463477" y="724098"/>
                      <a:pt x="467539" y="724775"/>
                    </a:cubicBezTo>
                    <a:cubicBezTo>
                      <a:pt x="470021" y="725227"/>
                      <a:pt x="471826" y="724324"/>
                      <a:pt x="472729" y="722293"/>
                    </a:cubicBezTo>
                    <a:cubicBezTo>
                      <a:pt x="474985" y="717329"/>
                      <a:pt x="472277" y="705821"/>
                      <a:pt x="462800" y="698149"/>
                    </a:cubicBezTo>
                    <a:cubicBezTo>
                      <a:pt x="449487" y="687318"/>
                      <a:pt x="439333" y="688672"/>
                      <a:pt x="427374" y="691605"/>
                    </a:cubicBezTo>
                    <a:cubicBezTo>
                      <a:pt x="422410" y="692959"/>
                      <a:pt x="420830" y="695441"/>
                      <a:pt x="419025" y="698149"/>
                    </a:cubicBezTo>
                    <a:cubicBezTo>
                      <a:pt x="416768" y="701534"/>
                      <a:pt x="414286" y="705595"/>
                      <a:pt x="405035" y="705595"/>
                    </a:cubicBezTo>
                    <a:cubicBezTo>
                      <a:pt x="397814" y="705595"/>
                      <a:pt x="395783" y="706949"/>
                      <a:pt x="393527" y="708303"/>
                    </a:cubicBezTo>
                    <a:cubicBezTo>
                      <a:pt x="391270" y="709657"/>
                      <a:pt x="388788" y="711237"/>
                      <a:pt x="381793" y="711237"/>
                    </a:cubicBezTo>
                    <a:cubicBezTo>
                      <a:pt x="376829" y="711237"/>
                      <a:pt x="375926" y="714396"/>
                      <a:pt x="374798" y="720262"/>
                    </a:cubicBezTo>
                    <a:cubicBezTo>
                      <a:pt x="373896" y="725452"/>
                      <a:pt x="372767" y="731770"/>
                      <a:pt x="365998" y="734252"/>
                    </a:cubicBezTo>
                    <a:cubicBezTo>
                      <a:pt x="361034" y="736058"/>
                      <a:pt x="360808" y="737411"/>
                      <a:pt x="360583" y="738991"/>
                    </a:cubicBezTo>
                    <a:cubicBezTo>
                      <a:pt x="360131" y="741699"/>
                      <a:pt x="359229" y="744181"/>
                      <a:pt x="352685" y="746212"/>
                    </a:cubicBezTo>
                    <a:cubicBezTo>
                      <a:pt x="346818" y="748017"/>
                      <a:pt x="347946" y="754561"/>
                      <a:pt x="349526" y="761556"/>
                    </a:cubicBezTo>
                    <a:cubicBezTo>
                      <a:pt x="350203" y="764940"/>
                      <a:pt x="350654" y="766746"/>
                      <a:pt x="349752" y="767874"/>
                    </a:cubicBezTo>
                    <a:cubicBezTo>
                      <a:pt x="349300" y="768551"/>
                      <a:pt x="348623" y="768776"/>
                      <a:pt x="347946" y="768776"/>
                    </a:cubicBezTo>
                    <a:cubicBezTo>
                      <a:pt x="347269" y="768776"/>
                      <a:pt x="345690" y="769228"/>
                      <a:pt x="343885" y="769679"/>
                    </a:cubicBezTo>
                    <a:cubicBezTo>
                      <a:pt x="337567" y="771258"/>
                      <a:pt x="326961" y="773741"/>
                      <a:pt x="316807" y="771258"/>
                    </a:cubicBezTo>
                    <a:cubicBezTo>
                      <a:pt x="311166" y="769905"/>
                      <a:pt x="309135" y="772161"/>
                      <a:pt x="306427" y="774643"/>
                    </a:cubicBezTo>
                    <a:cubicBezTo>
                      <a:pt x="305751" y="776223"/>
                      <a:pt x="303268" y="778930"/>
                      <a:pt x="298755" y="778930"/>
                    </a:cubicBezTo>
                    <a:close/>
                    <a:moveTo>
                      <a:pt x="243472" y="730642"/>
                    </a:moveTo>
                    <a:cubicBezTo>
                      <a:pt x="258816" y="730642"/>
                      <a:pt x="278447" y="731319"/>
                      <a:pt x="279801" y="748694"/>
                    </a:cubicBezTo>
                    <a:cubicBezTo>
                      <a:pt x="281155" y="765843"/>
                      <a:pt x="284314" y="771258"/>
                      <a:pt x="295371" y="774643"/>
                    </a:cubicBezTo>
                    <a:cubicBezTo>
                      <a:pt x="300561" y="776223"/>
                      <a:pt x="302591" y="774192"/>
                      <a:pt x="305074" y="771484"/>
                    </a:cubicBezTo>
                    <a:cubicBezTo>
                      <a:pt x="307781" y="768776"/>
                      <a:pt x="311392" y="765166"/>
                      <a:pt x="319064" y="766971"/>
                    </a:cubicBezTo>
                    <a:cubicBezTo>
                      <a:pt x="328315" y="769228"/>
                      <a:pt x="338469" y="766746"/>
                      <a:pt x="344562" y="765392"/>
                    </a:cubicBezTo>
                    <a:cubicBezTo>
                      <a:pt x="346141" y="764940"/>
                      <a:pt x="347269" y="764715"/>
                      <a:pt x="348172" y="764715"/>
                    </a:cubicBezTo>
                    <a:cubicBezTo>
                      <a:pt x="347946" y="764038"/>
                      <a:pt x="347721" y="762909"/>
                      <a:pt x="347495" y="762007"/>
                    </a:cubicBezTo>
                    <a:cubicBezTo>
                      <a:pt x="346141" y="756140"/>
                      <a:pt x="343659" y="745309"/>
                      <a:pt x="353362" y="742150"/>
                    </a:cubicBezTo>
                    <a:cubicBezTo>
                      <a:pt x="358326" y="740571"/>
                      <a:pt x="358326" y="739442"/>
                      <a:pt x="358552" y="737863"/>
                    </a:cubicBezTo>
                    <a:cubicBezTo>
                      <a:pt x="359003" y="735155"/>
                      <a:pt x="359906" y="732673"/>
                      <a:pt x="366449" y="730191"/>
                    </a:cubicBezTo>
                    <a:cubicBezTo>
                      <a:pt x="371188" y="728386"/>
                      <a:pt x="371865" y="723873"/>
                      <a:pt x="372767" y="719134"/>
                    </a:cubicBezTo>
                    <a:cubicBezTo>
                      <a:pt x="373670" y="713719"/>
                      <a:pt x="375024" y="706949"/>
                      <a:pt x="383373" y="706949"/>
                    </a:cubicBezTo>
                    <a:cubicBezTo>
                      <a:pt x="389240" y="706949"/>
                      <a:pt x="391045" y="705821"/>
                      <a:pt x="393076" y="704467"/>
                    </a:cubicBezTo>
                    <a:cubicBezTo>
                      <a:pt x="395558" y="702888"/>
                      <a:pt x="398265" y="701308"/>
                      <a:pt x="406614" y="701308"/>
                    </a:cubicBezTo>
                    <a:cubicBezTo>
                      <a:pt x="413835" y="701308"/>
                      <a:pt x="415415" y="698826"/>
                      <a:pt x="417445" y="695667"/>
                    </a:cubicBezTo>
                    <a:cubicBezTo>
                      <a:pt x="419250" y="692734"/>
                      <a:pt x="421733" y="689123"/>
                      <a:pt x="428051" y="687544"/>
                    </a:cubicBezTo>
                    <a:cubicBezTo>
                      <a:pt x="440461" y="684385"/>
                      <a:pt x="451969" y="682805"/>
                      <a:pt x="466636" y="694764"/>
                    </a:cubicBezTo>
                    <a:cubicBezTo>
                      <a:pt x="477016" y="703339"/>
                      <a:pt x="480626" y="716426"/>
                      <a:pt x="477467" y="723421"/>
                    </a:cubicBezTo>
                    <a:cubicBezTo>
                      <a:pt x="475888" y="727032"/>
                      <a:pt x="472503" y="728837"/>
                      <a:pt x="468216" y="728160"/>
                    </a:cubicBezTo>
                    <a:cubicBezTo>
                      <a:pt x="463703" y="727483"/>
                      <a:pt x="459190" y="725452"/>
                      <a:pt x="455805" y="724098"/>
                    </a:cubicBezTo>
                    <a:cubicBezTo>
                      <a:pt x="453549" y="723196"/>
                      <a:pt x="450164" y="721616"/>
                      <a:pt x="449261" y="722068"/>
                    </a:cubicBezTo>
                    <a:lnTo>
                      <a:pt x="449261" y="722068"/>
                    </a:lnTo>
                    <a:cubicBezTo>
                      <a:pt x="449261" y="722068"/>
                      <a:pt x="448810" y="722519"/>
                      <a:pt x="449036" y="724324"/>
                    </a:cubicBezTo>
                    <a:cubicBezTo>
                      <a:pt x="449713" y="735155"/>
                      <a:pt x="453323" y="739668"/>
                      <a:pt x="462349" y="740119"/>
                    </a:cubicBezTo>
                    <a:cubicBezTo>
                      <a:pt x="467764" y="740345"/>
                      <a:pt x="472729" y="739894"/>
                      <a:pt x="478144" y="739442"/>
                    </a:cubicBezTo>
                    <a:cubicBezTo>
                      <a:pt x="484011" y="738991"/>
                      <a:pt x="489878" y="738540"/>
                      <a:pt x="496647" y="738765"/>
                    </a:cubicBezTo>
                    <a:cubicBezTo>
                      <a:pt x="500257" y="738991"/>
                      <a:pt x="504319" y="739442"/>
                      <a:pt x="508832" y="739894"/>
                    </a:cubicBezTo>
                    <a:cubicBezTo>
                      <a:pt x="519889" y="741247"/>
                      <a:pt x="532299" y="742827"/>
                      <a:pt x="538843" y="738991"/>
                    </a:cubicBezTo>
                    <a:cubicBezTo>
                      <a:pt x="542453" y="736960"/>
                      <a:pt x="544710" y="734478"/>
                      <a:pt x="546966" y="732222"/>
                    </a:cubicBezTo>
                    <a:cubicBezTo>
                      <a:pt x="550802" y="728386"/>
                      <a:pt x="554187" y="724775"/>
                      <a:pt x="561859" y="725678"/>
                    </a:cubicBezTo>
                    <a:cubicBezTo>
                      <a:pt x="567049" y="726355"/>
                      <a:pt x="571336" y="728837"/>
                      <a:pt x="575849" y="731545"/>
                    </a:cubicBezTo>
                    <a:cubicBezTo>
                      <a:pt x="581264" y="734704"/>
                      <a:pt x="586906" y="738088"/>
                      <a:pt x="594126" y="738088"/>
                    </a:cubicBezTo>
                    <a:cubicBezTo>
                      <a:pt x="599993" y="738088"/>
                      <a:pt x="602475" y="737186"/>
                      <a:pt x="605183" y="736283"/>
                    </a:cubicBezTo>
                    <a:cubicBezTo>
                      <a:pt x="609019" y="735155"/>
                      <a:pt x="613306" y="733576"/>
                      <a:pt x="625265" y="733576"/>
                    </a:cubicBezTo>
                    <a:cubicBezTo>
                      <a:pt x="634743" y="733576"/>
                      <a:pt x="635194" y="732673"/>
                      <a:pt x="636322" y="730642"/>
                    </a:cubicBezTo>
                    <a:cubicBezTo>
                      <a:pt x="637902" y="727709"/>
                      <a:pt x="640609" y="723421"/>
                      <a:pt x="655953" y="718006"/>
                    </a:cubicBezTo>
                    <a:cubicBezTo>
                      <a:pt x="659338" y="716878"/>
                      <a:pt x="662271" y="715749"/>
                      <a:pt x="665205" y="714847"/>
                    </a:cubicBezTo>
                    <a:cubicBezTo>
                      <a:pt x="687995" y="706724"/>
                      <a:pt x="697472" y="703339"/>
                      <a:pt x="702211" y="712139"/>
                    </a:cubicBezTo>
                    <a:cubicBezTo>
                      <a:pt x="704242" y="715975"/>
                      <a:pt x="703339" y="719360"/>
                      <a:pt x="702662" y="721842"/>
                    </a:cubicBezTo>
                    <a:cubicBezTo>
                      <a:pt x="702211" y="723647"/>
                      <a:pt x="701985" y="724775"/>
                      <a:pt x="702436" y="725227"/>
                    </a:cubicBezTo>
                    <a:cubicBezTo>
                      <a:pt x="702888" y="725678"/>
                      <a:pt x="704242" y="726806"/>
                      <a:pt x="709431" y="727483"/>
                    </a:cubicBezTo>
                    <a:cubicBezTo>
                      <a:pt x="717103" y="728386"/>
                      <a:pt x="723422" y="726355"/>
                      <a:pt x="729740" y="724324"/>
                    </a:cubicBezTo>
                    <a:cubicBezTo>
                      <a:pt x="736283" y="722293"/>
                      <a:pt x="742376" y="720488"/>
                      <a:pt x="748694" y="722519"/>
                    </a:cubicBezTo>
                    <a:cubicBezTo>
                      <a:pt x="754109" y="724324"/>
                      <a:pt x="755689" y="725903"/>
                      <a:pt x="756817" y="727483"/>
                    </a:cubicBezTo>
                    <a:cubicBezTo>
                      <a:pt x="757494" y="728386"/>
                      <a:pt x="757945" y="729063"/>
                      <a:pt x="763135" y="729288"/>
                    </a:cubicBezTo>
                    <a:cubicBezTo>
                      <a:pt x="774192" y="729965"/>
                      <a:pt x="781638" y="727257"/>
                      <a:pt x="786602" y="725001"/>
                    </a:cubicBezTo>
                    <a:cubicBezTo>
                      <a:pt x="788182" y="724324"/>
                      <a:pt x="789536" y="722744"/>
                      <a:pt x="791115" y="721391"/>
                    </a:cubicBezTo>
                    <a:cubicBezTo>
                      <a:pt x="793372" y="719134"/>
                      <a:pt x="795854" y="716652"/>
                      <a:pt x="799013" y="716652"/>
                    </a:cubicBezTo>
                    <a:cubicBezTo>
                      <a:pt x="799013" y="716652"/>
                      <a:pt x="799013" y="716652"/>
                      <a:pt x="799239" y="716652"/>
                    </a:cubicBezTo>
                    <a:cubicBezTo>
                      <a:pt x="801269" y="716652"/>
                      <a:pt x="803300" y="717780"/>
                      <a:pt x="805331" y="719811"/>
                    </a:cubicBezTo>
                    <a:cubicBezTo>
                      <a:pt x="810070" y="725001"/>
                      <a:pt x="812326" y="726806"/>
                      <a:pt x="815936" y="729740"/>
                    </a:cubicBezTo>
                    <a:cubicBezTo>
                      <a:pt x="817516" y="730868"/>
                      <a:pt x="819095" y="732222"/>
                      <a:pt x="821352" y="734027"/>
                    </a:cubicBezTo>
                    <a:cubicBezTo>
                      <a:pt x="825188" y="737186"/>
                      <a:pt x="826768" y="738314"/>
                      <a:pt x="828347" y="739217"/>
                    </a:cubicBezTo>
                    <a:cubicBezTo>
                      <a:pt x="829701" y="740119"/>
                      <a:pt x="831280" y="741247"/>
                      <a:pt x="834665" y="743955"/>
                    </a:cubicBezTo>
                    <a:cubicBezTo>
                      <a:pt x="841434" y="749596"/>
                      <a:pt x="842788" y="750725"/>
                      <a:pt x="842788" y="754786"/>
                    </a:cubicBezTo>
                    <a:cubicBezTo>
                      <a:pt x="842788" y="754786"/>
                      <a:pt x="843691" y="755012"/>
                      <a:pt x="843917" y="755238"/>
                    </a:cubicBezTo>
                    <a:cubicBezTo>
                      <a:pt x="845271" y="755914"/>
                      <a:pt x="846850" y="756817"/>
                      <a:pt x="847301" y="758622"/>
                    </a:cubicBezTo>
                    <a:cubicBezTo>
                      <a:pt x="847527" y="759299"/>
                      <a:pt x="847527" y="760202"/>
                      <a:pt x="847076" y="760879"/>
                    </a:cubicBezTo>
                    <a:cubicBezTo>
                      <a:pt x="852491" y="762684"/>
                      <a:pt x="852491" y="762684"/>
                      <a:pt x="853394" y="760653"/>
                    </a:cubicBezTo>
                    <a:cubicBezTo>
                      <a:pt x="854296" y="758622"/>
                      <a:pt x="854748" y="757268"/>
                      <a:pt x="855199" y="756140"/>
                    </a:cubicBezTo>
                    <a:cubicBezTo>
                      <a:pt x="856327" y="753207"/>
                      <a:pt x="857004" y="751853"/>
                      <a:pt x="860614" y="747791"/>
                    </a:cubicBezTo>
                    <a:cubicBezTo>
                      <a:pt x="863999" y="743955"/>
                      <a:pt x="863774" y="734252"/>
                      <a:pt x="863548" y="725001"/>
                    </a:cubicBezTo>
                    <a:cubicBezTo>
                      <a:pt x="863548" y="722293"/>
                      <a:pt x="863322" y="719585"/>
                      <a:pt x="863322" y="717103"/>
                    </a:cubicBezTo>
                    <a:cubicBezTo>
                      <a:pt x="863322" y="704918"/>
                      <a:pt x="863322" y="696118"/>
                      <a:pt x="876184" y="687995"/>
                    </a:cubicBezTo>
                    <a:cubicBezTo>
                      <a:pt x="883630" y="683256"/>
                      <a:pt x="883405" y="678744"/>
                      <a:pt x="882953" y="671297"/>
                    </a:cubicBezTo>
                    <a:cubicBezTo>
                      <a:pt x="882728" y="668138"/>
                      <a:pt x="882502" y="664528"/>
                      <a:pt x="882953" y="660692"/>
                    </a:cubicBezTo>
                    <a:cubicBezTo>
                      <a:pt x="883630" y="653697"/>
                      <a:pt x="885887" y="651892"/>
                      <a:pt x="889046" y="649861"/>
                    </a:cubicBezTo>
                    <a:cubicBezTo>
                      <a:pt x="891302" y="648507"/>
                      <a:pt x="893784" y="647153"/>
                      <a:pt x="895364" y="640158"/>
                    </a:cubicBezTo>
                    <a:cubicBezTo>
                      <a:pt x="898072" y="629553"/>
                      <a:pt x="899877" y="627522"/>
                      <a:pt x="904841" y="623912"/>
                    </a:cubicBezTo>
                    <a:cubicBezTo>
                      <a:pt x="906646" y="622558"/>
                      <a:pt x="909128" y="620753"/>
                      <a:pt x="912062" y="618045"/>
                    </a:cubicBezTo>
                    <a:cubicBezTo>
                      <a:pt x="917477" y="612855"/>
                      <a:pt x="919057" y="608793"/>
                      <a:pt x="920636" y="604957"/>
                    </a:cubicBezTo>
                    <a:cubicBezTo>
                      <a:pt x="921990" y="601573"/>
                      <a:pt x="923118" y="598414"/>
                      <a:pt x="926729" y="595931"/>
                    </a:cubicBezTo>
                    <a:cubicBezTo>
                      <a:pt x="932370" y="591644"/>
                      <a:pt x="939365" y="592547"/>
                      <a:pt x="945006" y="593224"/>
                    </a:cubicBezTo>
                    <a:cubicBezTo>
                      <a:pt x="946811" y="593449"/>
                      <a:pt x="948391" y="593675"/>
                      <a:pt x="949745" y="593675"/>
                    </a:cubicBezTo>
                    <a:cubicBezTo>
                      <a:pt x="954483" y="593675"/>
                      <a:pt x="970730" y="585552"/>
                      <a:pt x="982012" y="578331"/>
                    </a:cubicBezTo>
                    <a:cubicBezTo>
                      <a:pt x="987653" y="574721"/>
                      <a:pt x="987653" y="573818"/>
                      <a:pt x="987653" y="572690"/>
                    </a:cubicBezTo>
                    <a:cubicBezTo>
                      <a:pt x="987653" y="571336"/>
                      <a:pt x="987879" y="569531"/>
                      <a:pt x="990135" y="566372"/>
                    </a:cubicBezTo>
                    <a:cubicBezTo>
                      <a:pt x="991941" y="563890"/>
                      <a:pt x="992392" y="560505"/>
                      <a:pt x="992843" y="556669"/>
                    </a:cubicBezTo>
                    <a:cubicBezTo>
                      <a:pt x="993520" y="551253"/>
                      <a:pt x="994197" y="544710"/>
                      <a:pt x="999612" y="538166"/>
                    </a:cubicBezTo>
                    <a:cubicBezTo>
                      <a:pt x="1005028" y="531622"/>
                      <a:pt x="1007059" y="530720"/>
                      <a:pt x="1009766" y="530043"/>
                    </a:cubicBezTo>
                    <a:cubicBezTo>
                      <a:pt x="1011120" y="529591"/>
                      <a:pt x="1012700" y="529140"/>
                      <a:pt x="1015633" y="527109"/>
                    </a:cubicBezTo>
                    <a:cubicBezTo>
                      <a:pt x="1017438" y="525981"/>
                      <a:pt x="1018792" y="525079"/>
                      <a:pt x="1019921" y="524402"/>
                    </a:cubicBezTo>
                    <a:cubicBezTo>
                      <a:pt x="1023531" y="522145"/>
                      <a:pt x="1023531" y="522145"/>
                      <a:pt x="1028269" y="512668"/>
                    </a:cubicBezTo>
                    <a:cubicBezTo>
                      <a:pt x="1031880" y="505673"/>
                      <a:pt x="1034813" y="504545"/>
                      <a:pt x="1037521" y="504545"/>
                    </a:cubicBezTo>
                    <a:cubicBezTo>
                      <a:pt x="1037521" y="504319"/>
                      <a:pt x="1037521" y="504319"/>
                      <a:pt x="1037521" y="504093"/>
                    </a:cubicBezTo>
                    <a:cubicBezTo>
                      <a:pt x="1037521" y="500257"/>
                      <a:pt x="1039326" y="498904"/>
                      <a:pt x="1040454" y="498001"/>
                    </a:cubicBezTo>
                    <a:cubicBezTo>
                      <a:pt x="1041583" y="497098"/>
                      <a:pt x="1042485" y="496421"/>
                      <a:pt x="1042485" y="492811"/>
                    </a:cubicBezTo>
                    <a:cubicBezTo>
                      <a:pt x="1042485" y="485139"/>
                      <a:pt x="1042034" y="481529"/>
                      <a:pt x="1033008" y="477693"/>
                    </a:cubicBezTo>
                    <a:cubicBezTo>
                      <a:pt x="1030300" y="476565"/>
                      <a:pt x="1028269" y="475888"/>
                      <a:pt x="1026916" y="475436"/>
                    </a:cubicBezTo>
                    <a:cubicBezTo>
                      <a:pt x="1022628" y="474083"/>
                      <a:pt x="1021726" y="473406"/>
                      <a:pt x="1018792" y="466636"/>
                    </a:cubicBezTo>
                    <a:cubicBezTo>
                      <a:pt x="1017213" y="462800"/>
                      <a:pt x="1016310" y="462800"/>
                      <a:pt x="1014054" y="462800"/>
                    </a:cubicBezTo>
                    <a:cubicBezTo>
                      <a:pt x="1011797" y="462575"/>
                      <a:pt x="1008864" y="462575"/>
                      <a:pt x="1005028" y="459190"/>
                    </a:cubicBezTo>
                    <a:cubicBezTo>
                      <a:pt x="1001869" y="456708"/>
                      <a:pt x="1001869" y="456708"/>
                      <a:pt x="1000289" y="457836"/>
                    </a:cubicBezTo>
                    <a:cubicBezTo>
                      <a:pt x="998710" y="459190"/>
                      <a:pt x="996228" y="461221"/>
                      <a:pt x="990812" y="462123"/>
                    </a:cubicBezTo>
                    <a:cubicBezTo>
                      <a:pt x="979079" y="464154"/>
                      <a:pt x="974566" y="462800"/>
                      <a:pt x="972309" y="451969"/>
                    </a:cubicBezTo>
                    <a:cubicBezTo>
                      <a:pt x="971181" y="445877"/>
                      <a:pt x="971858" y="444297"/>
                      <a:pt x="974566" y="441364"/>
                    </a:cubicBezTo>
                    <a:cubicBezTo>
                      <a:pt x="975919" y="439784"/>
                      <a:pt x="977725" y="437753"/>
                      <a:pt x="980207" y="433241"/>
                    </a:cubicBezTo>
                    <a:cubicBezTo>
                      <a:pt x="982689" y="428728"/>
                      <a:pt x="978176" y="423086"/>
                      <a:pt x="973663" y="417671"/>
                    </a:cubicBezTo>
                    <a:cubicBezTo>
                      <a:pt x="969827" y="413158"/>
                      <a:pt x="966442" y="408645"/>
                      <a:pt x="967345" y="404583"/>
                    </a:cubicBezTo>
                    <a:cubicBezTo>
                      <a:pt x="967796" y="402553"/>
                      <a:pt x="969601" y="400748"/>
                      <a:pt x="972309" y="399619"/>
                    </a:cubicBezTo>
                    <a:cubicBezTo>
                      <a:pt x="981561" y="395558"/>
                      <a:pt x="988781" y="401650"/>
                      <a:pt x="995100" y="407066"/>
                    </a:cubicBezTo>
                    <a:cubicBezTo>
                      <a:pt x="999612" y="410902"/>
                      <a:pt x="1003674" y="414286"/>
                      <a:pt x="1007736" y="413835"/>
                    </a:cubicBezTo>
                    <a:cubicBezTo>
                      <a:pt x="1019244" y="412481"/>
                      <a:pt x="1014054" y="413835"/>
                      <a:pt x="1034136" y="412481"/>
                    </a:cubicBezTo>
                    <a:cubicBezTo>
                      <a:pt x="1054219" y="411127"/>
                      <a:pt x="1058280" y="411127"/>
                      <a:pt x="1073173" y="412481"/>
                    </a:cubicBezTo>
                    <a:cubicBezTo>
                      <a:pt x="1087840" y="413609"/>
                      <a:pt x="1094609" y="412481"/>
                      <a:pt x="1106569" y="395783"/>
                    </a:cubicBezTo>
                    <a:cubicBezTo>
                      <a:pt x="1109276" y="392173"/>
                      <a:pt x="1111984" y="388337"/>
                      <a:pt x="1115369" y="384275"/>
                    </a:cubicBezTo>
                    <a:cubicBezTo>
                      <a:pt x="1115143" y="384275"/>
                      <a:pt x="1115143" y="384050"/>
                      <a:pt x="1114918" y="384050"/>
                    </a:cubicBezTo>
                    <a:cubicBezTo>
                      <a:pt x="1103861" y="374347"/>
                      <a:pt x="1107471" y="368029"/>
                      <a:pt x="1113338" y="360808"/>
                    </a:cubicBezTo>
                    <a:lnTo>
                      <a:pt x="1113338" y="360808"/>
                    </a:lnTo>
                    <a:cubicBezTo>
                      <a:pt x="1118302" y="354716"/>
                      <a:pt x="1116723" y="350880"/>
                      <a:pt x="1111307" y="343659"/>
                    </a:cubicBezTo>
                    <a:cubicBezTo>
                      <a:pt x="1107471" y="338469"/>
                      <a:pt x="1107020" y="336438"/>
                      <a:pt x="1106343" y="332151"/>
                    </a:cubicBezTo>
                    <a:cubicBezTo>
                      <a:pt x="1105892" y="329895"/>
                      <a:pt x="1105441" y="326736"/>
                      <a:pt x="1104087" y="321771"/>
                    </a:cubicBezTo>
                    <a:cubicBezTo>
                      <a:pt x="1101604" y="312971"/>
                      <a:pt x="1104764" y="309361"/>
                      <a:pt x="1106794" y="306879"/>
                    </a:cubicBezTo>
                    <a:cubicBezTo>
                      <a:pt x="1108148" y="305074"/>
                      <a:pt x="1108825" y="304622"/>
                      <a:pt x="1107923" y="302592"/>
                    </a:cubicBezTo>
                    <a:cubicBezTo>
                      <a:pt x="1106343" y="299207"/>
                      <a:pt x="1103635" y="298981"/>
                      <a:pt x="1098220" y="298755"/>
                    </a:cubicBezTo>
                    <a:cubicBezTo>
                      <a:pt x="1095512" y="298530"/>
                      <a:pt x="1092353" y="298304"/>
                      <a:pt x="1088968" y="297402"/>
                    </a:cubicBezTo>
                    <a:cubicBezTo>
                      <a:pt x="1080619" y="294919"/>
                      <a:pt x="1076558" y="294919"/>
                      <a:pt x="1065050" y="299207"/>
                    </a:cubicBezTo>
                    <a:cubicBezTo>
                      <a:pt x="1060086" y="301012"/>
                      <a:pt x="1053993" y="300109"/>
                      <a:pt x="1048126" y="296499"/>
                    </a:cubicBezTo>
                    <a:cubicBezTo>
                      <a:pt x="1040454" y="291760"/>
                      <a:pt x="1034588" y="283411"/>
                      <a:pt x="1033685" y="276416"/>
                    </a:cubicBezTo>
                    <a:cubicBezTo>
                      <a:pt x="1033008" y="270324"/>
                      <a:pt x="1023080" y="266037"/>
                      <a:pt x="1013377" y="261749"/>
                    </a:cubicBezTo>
                    <a:cubicBezTo>
                      <a:pt x="1007059" y="259042"/>
                      <a:pt x="1001192" y="256334"/>
                      <a:pt x="997356" y="253175"/>
                    </a:cubicBezTo>
                    <a:cubicBezTo>
                      <a:pt x="992392" y="249113"/>
                      <a:pt x="986751" y="249565"/>
                      <a:pt x="982012" y="250016"/>
                    </a:cubicBezTo>
                    <a:cubicBezTo>
                      <a:pt x="977725" y="250467"/>
                      <a:pt x="973889" y="250693"/>
                      <a:pt x="970955" y="247985"/>
                    </a:cubicBezTo>
                    <a:cubicBezTo>
                      <a:pt x="968699" y="245729"/>
                      <a:pt x="967345" y="242118"/>
                      <a:pt x="965991" y="238508"/>
                    </a:cubicBezTo>
                    <a:cubicBezTo>
                      <a:pt x="964186" y="233769"/>
                      <a:pt x="962832" y="230610"/>
                      <a:pt x="960801" y="231062"/>
                    </a:cubicBezTo>
                    <a:cubicBezTo>
                      <a:pt x="959447" y="231287"/>
                      <a:pt x="958996" y="233769"/>
                      <a:pt x="958319" y="236477"/>
                    </a:cubicBezTo>
                    <a:cubicBezTo>
                      <a:pt x="957191" y="241667"/>
                      <a:pt x="955160" y="249339"/>
                      <a:pt x="945232" y="247985"/>
                    </a:cubicBezTo>
                    <a:cubicBezTo>
                      <a:pt x="940493" y="247308"/>
                      <a:pt x="938011" y="246857"/>
                      <a:pt x="936206" y="246631"/>
                    </a:cubicBezTo>
                    <a:cubicBezTo>
                      <a:pt x="933047" y="245954"/>
                      <a:pt x="933047" y="245954"/>
                      <a:pt x="928308" y="246857"/>
                    </a:cubicBezTo>
                    <a:cubicBezTo>
                      <a:pt x="928083" y="246857"/>
                      <a:pt x="928083" y="247083"/>
                      <a:pt x="927857" y="247083"/>
                    </a:cubicBezTo>
                    <a:cubicBezTo>
                      <a:pt x="927180" y="247985"/>
                      <a:pt x="928083" y="251821"/>
                      <a:pt x="928760" y="254529"/>
                    </a:cubicBezTo>
                    <a:cubicBezTo>
                      <a:pt x="929888" y="259267"/>
                      <a:pt x="931016" y="264232"/>
                      <a:pt x="928534" y="267165"/>
                    </a:cubicBezTo>
                    <a:cubicBezTo>
                      <a:pt x="927180" y="268745"/>
                      <a:pt x="924924" y="269196"/>
                      <a:pt x="921990" y="268970"/>
                    </a:cubicBezTo>
                    <a:cubicBezTo>
                      <a:pt x="917703" y="268293"/>
                      <a:pt x="915446" y="267842"/>
                      <a:pt x="913867" y="267391"/>
                    </a:cubicBezTo>
                    <a:cubicBezTo>
                      <a:pt x="910482" y="266488"/>
                      <a:pt x="910257" y="266488"/>
                      <a:pt x="896943" y="270324"/>
                    </a:cubicBezTo>
                    <a:cubicBezTo>
                      <a:pt x="883405" y="274160"/>
                      <a:pt x="875958" y="271227"/>
                      <a:pt x="873476" y="266939"/>
                    </a:cubicBezTo>
                    <a:cubicBezTo>
                      <a:pt x="871897" y="264232"/>
                      <a:pt x="872348" y="261073"/>
                      <a:pt x="874379" y="259042"/>
                    </a:cubicBezTo>
                    <a:cubicBezTo>
                      <a:pt x="875733" y="257688"/>
                      <a:pt x="875958" y="255883"/>
                      <a:pt x="875056" y="254078"/>
                    </a:cubicBezTo>
                    <a:cubicBezTo>
                      <a:pt x="874153" y="252047"/>
                      <a:pt x="871671" y="250016"/>
                      <a:pt x="867609" y="250242"/>
                    </a:cubicBezTo>
                    <a:cubicBezTo>
                      <a:pt x="865804" y="250467"/>
                      <a:pt x="864450" y="250016"/>
                      <a:pt x="863548" y="248888"/>
                    </a:cubicBezTo>
                    <a:cubicBezTo>
                      <a:pt x="861968" y="247083"/>
                      <a:pt x="862420" y="244600"/>
                      <a:pt x="862645" y="242118"/>
                    </a:cubicBezTo>
                    <a:cubicBezTo>
                      <a:pt x="862871" y="240990"/>
                      <a:pt x="863096" y="238734"/>
                      <a:pt x="862645" y="238282"/>
                    </a:cubicBezTo>
                    <a:cubicBezTo>
                      <a:pt x="862645" y="238057"/>
                      <a:pt x="861968" y="238057"/>
                      <a:pt x="860840" y="238057"/>
                    </a:cubicBezTo>
                    <a:cubicBezTo>
                      <a:pt x="855199" y="238734"/>
                      <a:pt x="850912" y="244826"/>
                      <a:pt x="846624" y="250693"/>
                    </a:cubicBezTo>
                    <a:cubicBezTo>
                      <a:pt x="844593" y="253401"/>
                      <a:pt x="842788" y="256108"/>
                      <a:pt x="840532" y="258139"/>
                    </a:cubicBezTo>
                    <a:cubicBezTo>
                      <a:pt x="834439" y="264232"/>
                      <a:pt x="827444" y="262878"/>
                      <a:pt x="815260" y="260396"/>
                    </a:cubicBezTo>
                    <a:cubicBezTo>
                      <a:pt x="813454" y="259944"/>
                      <a:pt x="811424" y="259719"/>
                      <a:pt x="809393" y="259267"/>
                    </a:cubicBezTo>
                    <a:cubicBezTo>
                      <a:pt x="806459" y="258590"/>
                      <a:pt x="802172" y="257462"/>
                      <a:pt x="801946" y="254303"/>
                    </a:cubicBezTo>
                    <a:cubicBezTo>
                      <a:pt x="801269" y="249790"/>
                      <a:pt x="808716" y="245954"/>
                      <a:pt x="819998" y="240313"/>
                    </a:cubicBezTo>
                    <a:cubicBezTo>
                      <a:pt x="821126" y="239636"/>
                      <a:pt x="822255" y="239185"/>
                      <a:pt x="823383" y="238734"/>
                    </a:cubicBezTo>
                    <a:cubicBezTo>
                      <a:pt x="829024" y="236026"/>
                      <a:pt x="832860" y="230610"/>
                      <a:pt x="833763" y="228354"/>
                    </a:cubicBezTo>
                    <a:cubicBezTo>
                      <a:pt x="833311" y="228580"/>
                      <a:pt x="832409" y="228805"/>
                      <a:pt x="831506" y="229482"/>
                    </a:cubicBezTo>
                    <a:cubicBezTo>
                      <a:pt x="821352" y="235575"/>
                      <a:pt x="816162" y="228580"/>
                      <a:pt x="810070" y="220682"/>
                    </a:cubicBezTo>
                    <a:cubicBezTo>
                      <a:pt x="808716" y="218877"/>
                      <a:pt x="807362" y="217072"/>
                      <a:pt x="805782" y="215266"/>
                    </a:cubicBezTo>
                    <a:cubicBezTo>
                      <a:pt x="800818" y="209174"/>
                      <a:pt x="798110" y="210302"/>
                      <a:pt x="790890" y="213461"/>
                    </a:cubicBezTo>
                    <a:cubicBezTo>
                      <a:pt x="787505" y="215041"/>
                      <a:pt x="783218" y="216846"/>
                      <a:pt x="777802" y="218425"/>
                    </a:cubicBezTo>
                    <a:cubicBezTo>
                      <a:pt x="761556" y="222713"/>
                      <a:pt x="759525" y="225420"/>
                      <a:pt x="755238" y="238508"/>
                    </a:cubicBezTo>
                    <a:cubicBezTo>
                      <a:pt x="752755" y="246406"/>
                      <a:pt x="747340" y="251370"/>
                      <a:pt x="741699" y="250919"/>
                    </a:cubicBezTo>
                    <a:cubicBezTo>
                      <a:pt x="736735" y="250467"/>
                      <a:pt x="733124" y="245729"/>
                      <a:pt x="732222" y="238282"/>
                    </a:cubicBezTo>
                    <a:cubicBezTo>
                      <a:pt x="731770" y="233995"/>
                      <a:pt x="730642" y="233544"/>
                      <a:pt x="730642" y="233544"/>
                    </a:cubicBezTo>
                    <a:cubicBezTo>
                      <a:pt x="729288" y="233092"/>
                      <a:pt x="724775" y="237154"/>
                      <a:pt x="721616" y="240313"/>
                    </a:cubicBezTo>
                    <a:cubicBezTo>
                      <a:pt x="718457" y="243246"/>
                      <a:pt x="715073" y="246406"/>
                      <a:pt x="711462" y="249113"/>
                    </a:cubicBezTo>
                    <a:cubicBezTo>
                      <a:pt x="704016" y="254303"/>
                      <a:pt x="699954" y="251595"/>
                      <a:pt x="698600" y="250242"/>
                    </a:cubicBezTo>
                    <a:cubicBezTo>
                      <a:pt x="694539" y="246180"/>
                      <a:pt x="695893" y="237154"/>
                      <a:pt x="701985" y="227677"/>
                    </a:cubicBezTo>
                    <a:cubicBezTo>
                      <a:pt x="704242" y="224067"/>
                      <a:pt x="704919" y="220456"/>
                      <a:pt x="703339" y="218200"/>
                    </a:cubicBezTo>
                    <a:cubicBezTo>
                      <a:pt x="701985" y="216169"/>
                      <a:pt x="699503" y="215266"/>
                      <a:pt x="696795" y="215718"/>
                    </a:cubicBezTo>
                    <a:cubicBezTo>
                      <a:pt x="692282" y="216395"/>
                      <a:pt x="688898" y="220456"/>
                      <a:pt x="687318" y="226549"/>
                    </a:cubicBezTo>
                    <a:cubicBezTo>
                      <a:pt x="683934" y="239862"/>
                      <a:pt x="681451" y="242344"/>
                      <a:pt x="679195" y="243246"/>
                    </a:cubicBezTo>
                    <a:cubicBezTo>
                      <a:pt x="676938" y="243923"/>
                      <a:pt x="674908" y="242344"/>
                      <a:pt x="673554" y="241216"/>
                    </a:cubicBezTo>
                    <a:lnTo>
                      <a:pt x="672877" y="240764"/>
                    </a:lnTo>
                    <a:cubicBezTo>
                      <a:pt x="672200" y="240313"/>
                      <a:pt x="671749" y="240313"/>
                      <a:pt x="670620" y="240313"/>
                    </a:cubicBezTo>
                    <a:cubicBezTo>
                      <a:pt x="667461" y="240087"/>
                      <a:pt x="664528" y="239636"/>
                      <a:pt x="662271" y="233092"/>
                    </a:cubicBezTo>
                    <a:cubicBezTo>
                      <a:pt x="661143" y="229933"/>
                      <a:pt x="659112" y="229708"/>
                      <a:pt x="655728" y="229482"/>
                    </a:cubicBezTo>
                    <a:cubicBezTo>
                      <a:pt x="653246" y="229482"/>
                      <a:pt x="648958" y="229257"/>
                      <a:pt x="648958" y="224292"/>
                    </a:cubicBezTo>
                    <a:cubicBezTo>
                      <a:pt x="648958" y="222938"/>
                      <a:pt x="648281" y="222487"/>
                      <a:pt x="644671" y="222036"/>
                    </a:cubicBezTo>
                    <a:cubicBezTo>
                      <a:pt x="641512" y="221584"/>
                      <a:pt x="636096" y="220682"/>
                      <a:pt x="636999" y="214138"/>
                    </a:cubicBezTo>
                    <a:cubicBezTo>
                      <a:pt x="637450" y="211205"/>
                      <a:pt x="636322" y="210754"/>
                      <a:pt x="634968" y="209851"/>
                    </a:cubicBezTo>
                    <a:cubicBezTo>
                      <a:pt x="634066" y="209400"/>
                      <a:pt x="632712" y="208723"/>
                      <a:pt x="632712" y="207143"/>
                    </a:cubicBezTo>
                    <a:cubicBezTo>
                      <a:pt x="632712" y="205338"/>
                      <a:pt x="634066" y="203984"/>
                      <a:pt x="637225" y="201728"/>
                    </a:cubicBezTo>
                    <a:cubicBezTo>
                      <a:pt x="640384" y="199471"/>
                      <a:pt x="641512" y="196989"/>
                      <a:pt x="641061" y="194056"/>
                    </a:cubicBezTo>
                    <a:cubicBezTo>
                      <a:pt x="640384" y="190897"/>
                      <a:pt x="637676" y="188189"/>
                      <a:pt x="635871" y="187512"/>
                    </a:cubicBezTo>
                    <a:cubicBezTo>
                      <a:pt x="634291" y="187061"/>
                      <a:pt x="629553" y="187286"/>
                      <a:pt x="618947" y="198794"/>
                    </a:cubicBezTo>
                    <a:cubicBezTo>
                      <a:pt x="616014" y="201953"/>
                      <a:pt x="614660" y="203081"/>
                      <a:pt x="612855" y="203081"/>
                    </a:cubicBezTo>
                    <a:cubicBezTo>
                      <a:pt x="611275" y="203081"/>
                      <a:pt x="610599" y="202179"/>
                      <a:pt x="609696" y="201276"/>
                    </a:cubicBezTo>
                    <a:cubicBezTo>
                      <a:pt x="608793" y="200148"/>
                      <a:pt x="607665" y="199020"/>
                      <a:pt x="604732" y="198794"/>
                    </a:cubicBezTo>
                    <a:cubicBezTo>
                      <a:pt x="602250" y="198569"/>
                      <a:pt x="601573" y="199020"/>
                      <a:pt x="601573" y="199246"/>
                    </a:cubicBezTo>
                    <a:cubicBezTo>
                      <a:pt x="601121" y="199697"/>
                      <a:pt x="601573" y="201953"/>
                      <a:pt x="601798" y="203533"/>
                    </a:cubicBezTo>
                    <a:cubicBezTo>
                      <a:pt x="602024" y="205338"/>
                      <a:pt x="602475" y="207595"/>
                      <a:pt x="602475" y="210076"/>
                    </a:cubicBezTo>
                    <a:cubicBezTo>
                      <a:pt x="602475" y="213687"/>
                      <a:pt x="603378" y="217523"/>
                      <a:pt x="604055" y="221133"/>
                    </a:cubicBezTo>
                    <a:cubicBezTo>
                      <a:pt x="605183" y="226097"/>
                      <a:pt x="606086" y="229933"/>
                      <a:pt x="604506" y="232416"/>
                    </a:cubicBezTo>
                    <a:cubicBezTo>
                      <a:pt x="604055" y="233318"/>
                      <a:pt x="605860" y="237605"/>
                      <a:pt x="606762" y="239862"/>
                    </a:cubicBezTo>
                    <a:cubicBezTo>
                      <a:pt x="608568" y="244149"/>
                      <a:pt x="609922" y="247308"/>
                      <a:pt x="608116" y="249113"/>
                    </a:cubicBezTo>
                    <a:cubicBezTo>
                      <a:pt x="607439" y="250242"/>
                      <a:pt x="609245" y="257462"/>
                      <a:pt x="614209" y="261975"/>
                    </a:cubicBezTo>
                    <a:cubicBezTo>
                      <a:pt x="619624" y="266714"/>
                      <a:pt x="619399" y="270775"/>
                      <a:pt x="619399" y="275514"/>
                    </a:cubicBezTo>
                    <a:cubicBezTo>
                      <a:pt x="619399" y="276416"/>
                      <a:pt x="619399" y="277319"/>
                      <a:pt x="619399" y="278222"/>
                    </a:cubicBezTo>
                    <a:cubicBezTo>
                      <a:pt x="619399" y="283863"/>
                      <a:pt x="620301" y="287248"/>
                      <a:pt x="626394" y="293114"/>
                    </a:cubicBezTo>
                    <a:cubicBezTo>
                      <a:pt x="629327" y="296048"/>
                      <a:pt x="630455" y="298755"/>
                      <a:pt x="631358" y="300786"/>
                    </a:cubicBezTo>
                    <a:cubicBezTo>
                      <a:pt x="632486" y="303268"/>
                      <a:pt x="632937" y="304622"/>
                      <a:pt x="636096" y="305074"/>
                    </a:cubicBezTo>
                    <a:cubicBezTo>
                      <a:pt x="641061" y="305976"/>
                      <a:pt x="641963" y="307556"/>
                      <a:pt x="642640" y="310940"/>
                    </a:cubicBezTo>
                    <a:cubicBezTo>
                      <a:pt x="642866" y="312520"/>
                      <a:pt x="643317" y="314776"/>
                      <a:pt x="644897" y="317935"/>
                    </a:cubicBezTo>
                    <a:cubicBezTo>
                      <a:pt x="647379" y="322900"/>
                      <a:pt x="648056" y="325156"/>
                      <a:pt x="648733" y="328541"/>
                    </a:cubicBezTo>
                    <a:cubicBezTo>
                      <a:pt x="649410" y="331248"/>
                      <a:pt x="650312" y="334408"/>
                      <a:pt x="652343" y="340726"/>
                    </a:cubicBezTo>
                    <a:cubicBezTo>
                      <a:pt x="654374" y="346818"/>
                      <a:pt x="654148" y="351557"/>
                      <a:pt x="651666" y="354941"/>
                    </a:cubicBezTo>
                    <a:cubicBezTo>
                      <a:pt x="648056" y="359454"/>
                      <a:pt x="640835" y="359680"/>
                      <a:pt x="635420" y="359003"/>
                    </a:cubicBezTo>
                    <a:cubicBezTo>
                      <a:pt x="631358" y="358552"/>
                      <a:pt x="627748" y="360131"/>
                      <a:pt x="624363" y="361485"/>
                    </a:cubicBezTo>
                    <a:cubicBezTo>
                      <a:pt x="621204" y="362839"/>
                      <a:pt x="618496" y="363967"/>
                      <a:pt x="616240" y="362839"/>
                    </a:cubicBezTo>
                    <a:cubicBezTo>
                      <a:pt x="614886" y="362162"/>
                      <a:pt x="614209" y="360808"/>
                      <a:pt x="613758" y="358777"/>
                    </a:cubicBezTo>
                    <a:cubicBezTo>
                      <a:pt x="612855" y="352685"/>
                      <a:pt x="611050" y="352685"/>
                      <a:pt x="606537" y="352911"/>
                    </a:cubicBezTo>
                    <a:lnTo>
                      <a:pt x="605409" y="352911"/>
                    </a:lnTo>
                    <a:cubicBezTo>
                      <a:pt x="600444" y="352911"/>
                      <a:pt x="592772" y="349977"/>
                      <a:pt x="586906" y="342080"/>
                    </a:cubicBezTo>
                    <a:cubicBezTo>
                      <a:pt x="585552" y="340274"/>
                      <a:pt x="583070" y="341628"/>
                      <a:pt x="578105" y="345239"/>
                    </a:cubicBezTo>
                    <a:cubicBezTo>
                      <a:pt x="573592" y="348398"/>
                      <a:pt x="567726" y="352234"/>
                      <a:pt x="563890" y="347946"/>
                    </a:cubicBezTo>
                    <a:cubicBezTo>
                      <a:pt x="563213" y="347269"/>
                      <a:pt x="562761" y="346592"/>
                      <a:pt x="562310" y="346141"/>
                    </a:cubicBezTo>
                    <a:cubicBezTo>
                      <a:pt x="558474" y="342080"/>
                      <a:pt x="558474" y="341403"/>
                      <a:pt x="559377" y="333731"/>
                    </a:cubicBezTo>
                    <a:cubicBezTo>
                      <a:pt x="559602" y="332602"/>
                      <a:pt x="559602" y="331248"/>
                      <a:pt x="559828" y="329443"/>
                    </a:cubicBezTo>
                    <a:cubicBezTo>
                      <a:pt x="560505" y="323351"/>
                      <a:pt x="558700" y="321546"/>
                      <a:pt x="556895" y="319966"/>
                    </a:cubicBezTo>
                    <a:cubicBezTo>
                      <a:pt x="554864" y="317935"/>
                      <a:pt x="553284" y="315905"/>
                      <a:pt x="555541" y="311166"/>
                    </a:cubicBezTo>
                    <a:cubicBezTo>
                      <a:pt x="558249" y="305525"/>
                      <a:pt x="557346" y="302366"/>
                      <a:pt x="555541" y="293791"/>
                    </a:cubicBezTo>
                    <a:cubicBezTo>
                      <a:pt x="554864" y="291309"/>
                      <a:pt x="554187" y="288376"/>
                      <a:pt x="553510" y="284765"/>
                    </a:cubicBezTo>
                    <a:cubicBezTo>
                      <a:pt x="550802" y="270775"/>
                      <a:pt x="554638" y="256334"/>
                      <a:pt x="564115" y="246180"/>
                    </a:cubicBezTo>
                    <a:cubicBezTo>
                      <a:pt x="568854" y="241216"/>
                      <a:pt x="569982" y="236703"/>
                      <a:pt x="571110" y="232641"/>
                    </a:cubicBezTo>
                    <a:cubicBezTo>
                      <a:pt x="571787" y="230385"/>
                      <a:pt x="572239" y="228354"/>
                      <a:pt x="573367" y="226323"/>
                    </a:cubicBezTo>
                    <a:cubicBezTo>
                      <a:pt x="574946" y="223390"/>
                      <a:pt x="570208" y="217974"/>
                      <a:pt x="567274" y="214589"/>
                    </a:cubicBezTo>
                    <a:cubicBezTo>
                      <a:pt x="566372" y="213461"/>
                      <a:pt x="565469" y="212559"/>
                      <a:pt x="565018" y="211882"/>
                    </a:cubicBezTo>
                    <a:cubicBezTo>
                      <a:pt x="561859" y="207369"/>
                      <a:pt x="565469" y="194958"/>
                      <a:pt x="570659" y="188414"/>
                    </a:cubicBezTo>
                    <a:cubicBezTo>
                      <a:pt x="575172" y="182548"/>
                      <a:pt x="579911" y="180291"/>
                      <a:pt x="583521" y="178260"/>
                    </a:cubicBezTo>
                    <a:cubicBezTo>
                      <a:pt x="584198" y="177809"/>
                      <a:pt x="585100" y="177584"/>
                      <a:pt x="585777" y="177132"/>
                    </a:cubicBezTo>
                    <a:cubicBezTo>
                      <a:pt x="588034" y="175778"/>
                      <a:pt x="590967" y="175553"/>
                      <a:pt x="595029" y="175327"/>
                    </a:cubicBezTo>
                    <a:cubicBezTo>
                      <a:pt x="599767" y="174876"/>
                      <a:pt x="605634" y="174425"/>
                      <a:pt x="613081" y="172168"/>
                    </a:cubicBezTo>
                    <a:lnTo>
                      <a:pt x="616240" y="171265"/>
                    </a:lnTo>
                    <a:cubicBezTo>
                      <a:pt x="618722" y="170588"/>
                      <a:pt x="620753" y="169911"/>
                      <a:pt x="621655" y="169460"/>
                    </a:cubicBezTo>
                    <a:cubicBezTo>
                      <a:pt x="621655" y="169460"/>
                      <a:pt x="621655" y="169235"/>
                      <a:pt x="621655" y="169235"/>
                    </a:cubicBezTo>
                    <a:cubicBezTo>
                      <a:pt x="621430" y="168558"/>
                      <a:pt x="621204" y="167204"/>
                      <a:pt x="621204" y="165624"/>
                    </a:cubicBezTo>
                    <a:cubicBezTo>
                      <a:pt x="621204" y="161337"/>
                      <a:pt x="623235" y="159306"/>
                      <a:pt x="625491" y="157275"/>
                    </a:cubicBezTo>
                    <a:cubicBezTo>
                      <a:pt x="626845" y="155922"/>
                      <a:pt x="628424" y="154568"/>
                      <a:pt x="630004" y="152085"/>
                    </a:cubicBezTo>
                    <a:cubicBezTo>
                      <a:pt x="631358" y="149603"/>
                      <a:pt x="632035" y="147798"/>
                      <a:pt x="632712" y="145542"/>
                    </a:cubicBezTo>
                    <a:cubicBezTo>
                      <a:pt x="633840" y="142157"/>
                      <a:pt x="634968" y="138547"/>
                      <a:pt x="639255" y="133357"/>
                    </a:cubicBezTo>
                    <a:cubicBezTo>
                      <a:pt x="643092" y="128618"/>
                      <a:pt x="644671" y="122977"/>
                      <a:pt x="646025" y="116885"/>
                    </a:cubicBezTo>
                    <a:cubicBezTo>
                      <a:pt x="646927" y="113500"/>
                      <a:pt x="647830" y="109890"/>
                      <a:pt x="649184" y="106505"/>
                    </a:cubicBezTo>
                    <a:cubicBezTo>
                      <a:pt x="650087" y="104474"/>
                      <a:pt x="650764" y="102669"/>
                      <a:pt x="651440" y="101090"/>
                    </a:cubicBezTo>
                    <a:cubicBezTo>
                      <a:pt x="653697" y="95223"/>
                      <a:pt x="655502" y="90935"/>
                      <a:pt x="659338" y="85971"/>
                    </a:cubicBezTo>
                    <a:cubicBezTo>
                      <a:pt x="662271" y="82135"/>
                      <a:pt x="661595" y="76945"/>
                      <a:pt x="660241" y="69273"/>
                    </a:cubicBezTo>
                    <a:cubicBezTo>
                      <a:pt x="659789" y="66340"/>
                      <a:pt x="659338" y="62955"/>
                      <a:pt x="658887" y="59119"/>
                    </a:cubicBezTo>
                    <a:cubicBezTo>
                      <a:pt x="657533" y="45806"/>
                      <a:pt x="653697" y="40391"/>
                      <a:pt x="648507" y="32944"/>
                    </a:cubicBezTo>
                    <a:lnTo>
                      <a:pt x="648056" y="32267"/>
                    </a:lnTo>
                    <a:cubicBezTo>
                      <a:pt x="642866" y="24821"/>
                      <a:pt x="623235" y="11057"/>
                      <a:pt x="612178" y="11959"/>
                    </a:cubicBezTo>
                    <a:cubicBezTo>
                      <a:pt x="610147" y="12185"/>
                      <a:pt x="608342" y="12411"/>
                      <a:pt x="606537" y="12411"/>
                    </a:cubicBezTo>
                    <a:cubicBezTo>
                      <a:pt x="598414" y="13313"/>
                      <a:pt x="593449" y="13764"/>
                      <a:pt x="588034" y="8575"/>
                    </a:cubicBezTo>
                    <a:cubicBezTo>
                      <a:pt x="583295" y="3836"/>
                      <a:pt x="574946" y="3836"/>
                      <a:pt x="568403" y="3836"/>
                    </a:cubicBezTo>
                    <a:lnTo>
                      <a:pt x="567274" y="3836"/>
                    </a:lnTo>
                    <a:cubicBezTo>
                      <a:pt x="557797" y="12636"/>
                      <a:pt x="549448" y="20759"/>
                      <a:pt x="542002" y="28206"/>
                    </a:cubicBezTo>
                    <a:cubicBezTo>
                      <a:pt x="525981" y="44001"/>
                      <a:pt x="514473" y="55509"/>
                      <a:pt x="503868" y="57991"/>
                    </a:cubicBezTo>
                    <a:cubicBezTo>
                      <a:pt x="487621" y="61601"/>
                      <a:pt x="447456" y="79202"/>
                      <a:pt x="438205" y="89356"/>
                    </a:cubicBezTo>
                    <a:cubicBezTo>
                      <a:pt x="428051" y="100413"/>
                      <a:pt x="389014" y="125685"/>
                      <a:pt x="364870" y="133131"/>
                    </a:cubicBezTo>
                    <a:cubicBezTo>
                      <a:pt x="347946" y="138321"/>
                      <a:pt x="347946" y="142834"/>
                      <a:pt x="348172" y="147798"/>
                    </a:cubicBezTo>
                    <a:cubicBezTo>
                      <a:pt x="348172" y="149829"/>
                      <a:pt x="348172" y="151634"/>
                      <a:pt x="347269" y="153665"/>
                    </a:cubicBezTo>
                    <a:cubicBezTo>
                      <a:pt x="344787" y="159306"/>
                      <a:pt x="345464" y="193379"/>
                      <a:pt x="358100" y="205112"/>
                    </a:cubicBezTo>
                    <a:cubicBezTo>
                      <a:pt x="367578" y="213913"/>
                      <a:pt x="380439" y="213010"/>
                      <a:pt x="398040" y="202179"/>
                    </a:cubicBezTo>
                    <a:cubicBezTo>
                      <a:pt x="407968" y="196087"/>
                      <a:pt x="426246" y="192927"/>
                      <a:pt x="435723" y="195635"/>
                    </a:cubicBezTo>
                    <a:cubicBezTo>
                      <a:pt x="438882" y="196538"/>
                      <a:pt x="441138" y="198117"/>
                      <a:pt x="442041" y="200148"/>
                    </a:cubicBezTo>
                    <a:cubicBezTo>
                      <a:pt x="444974" y="206241"/>
                      <a:pt x="449713" y="219554"/>
                      <a:pt x="446328" y="227903"/>
                    </a:cubicBezTo>
                    <a:cubicBezTo>
                      <a:pt x="445200" y="230836"/>
                      <a:pt x="442943" y="232867"/>
                      <a:pt x="440010" y="233995"/>
                    </a:cubicBezTo>
                    <a:cubicBezTo>
                      <a:pt x="429179" y="237605"/>
                      <a:pt x="416091" y="239636"/>
                      <a:pt x="404584" y="239636"/>
                    </a:cubicBezTo>
                    <a:cubicBezTo>
                      <a:pt x="395332" y="239636"/>
                      <a:pt x="389465" y="247308"/>
                      <a:pt x="385629" y="263555"/>
                    </a:cubicBezTo>
                    <a:cubicBezTo>
                      <a:pt x="383373" y="273709"/>
                      <a:pt x="386983" y="279124"/>
                      <a:pt x="389240" y="281606"/>
                    </a:cubicBezTo>
                    <a:cubicBezTo>
                      <a:pt x="391947" y="284314"/>
                      <a:pt x="395783" y="285668"/>
                      <a:pt x="399168" y="284991"/>
                    </a:cubicBezTo>
                    <a:cubicBezTo>
                      <a:pt x="401199" y="284540"/>
                      <a:pt x="402778" y="284765"/>
                      <a:pt x="404132" y="285668"/>
                    </a:cubicBezTo>
                    <a:cubicBezTo>
                      <a:pt x="406614" y="287473"/>
                      <a:pt x="407291" y="291084"/>
                      <a:pt x="407968" y="294919"/>
                    </a:cubicBezTo>
                    <a:cubicBezTo>
                      <a:pt x="408645" y="298530"/>
                      <a:pt x="409322" y="302140"/>
                      <a:pt x="411353" y="304397"/>
                    </a:cubicBezTo>
                    <a:cubicBezTo>
                      <a:pt x="414061" y="307556"/>
                      <a:pt x="414738" y="311617"/>
                      <a:pt x="413384" y="316130"/>
                    </a:cubicBezTo>
                    <a:cubicBezTo>
                      <a:pt x="412030" y="320643"/>
                      <a:pt x="408645" y="324479"/>
                      <a:pt x="405712" y="325156"/>
                    </a:cubicBezTo>
                    <a:lnTo>
                      <a:pt x="404809" y="325382"/>
                    </a:lnTo>
                    <a:cubicBezTo>
                      <a:pt x="397814" y="326961"/>
                      <a:pt x="388788" y="329895"/>
                      <a:pt x="389240" y="336213"/>
                    </a:cubicBezTo>
                    <a:cubicBezTo>
                      <a:pt x="389465" y="338469"/>
                      <a:pt x="389917" y="340726"/>
                      <a:pt x="390368" y="343208"/>
                    </a:cubicBezTo>
                    <a:cubicBezTo>
                      <a:pt x="391722" y="351105"/>
                      <a:pt x="393527" y="360131"/>
                      <a:pt x="387660" y="365095"/>
                    </a:cubicBezTo>
                    <a:cubicBezTo>
                      <a:pt x="380214" y="371413"/>
                      <a:pt x="370060" y="367578"/>
                      <a:pt x="357198" y="359680"/>
                    </a:cubicBezTo>
                    <a:cubicBezTo>
                      <a:pt x="350654" y="355618"/>
                      <a:pt x="339146" y="356521"/>
                      <a:pt x="328992" y="357424"/>
                    </a:cubicBezTo>
                    <a:cubicBezTo>
                      <a:pt x="320869" y="358100"/>
                      <a:pt x="313874" y="358777"/>
                      <a:pt x="309587" y="356972"/>
                    </a:cubicBezTo>
                    <a:cubicBezTo>
                      <a:pt x="303043" y="354490"/>
                      <a:pt x="301012" y="354716"/>
                      <a:pt x="298304" y="354941"/>
                    </a:cubicBezTo>
                    <a:cubicBezTo>
                      <a:pt x="297176" y="355167"/>
                      <a:pt x="295822" y="355167"/>
                      <a:pt x="294243" y="355167"/>
                    </a:cubicBezTo>
                    <a:cubicBezTo>
                      <a:pt x="290858" y="355167"/>
                      <a:pt x="286796" y="370060"/>
                      <a:pt x="286796" y="375927"/>
                    </a:cubicBezTo>
                    <a:cubicBezTo>
                      <a:pt x="286796" y="385178"/>
                      <a:pt x="282509" y="401424"/>
                      <a:pt x="266262" y="402327"/>
                    </a:cubicBezTo>
                    <a:cubicBezTo>
                      <a:pt x="254980" y="403004"/>
                      <a:pt x="254078" y="403907"/>
                      <a:pt x="252047" y="405937"/>
                    </a:cubicBezTo>
                    <a:cubicBezTo>
                      <a:pt x="251144" y="406840"/>
                      <a:pt x="249790" y="408194"/>
                      <a:pt x="247308" y="409548"/>
                    </a:cubicBezTo>
                    <a:cubicBezTo>
                      <a:pt x="239636" y="414286"/>
                      <a:pt x="219779" y="419476"/>
                      <a:pt x="209400" y="412256"/>
                    </a:cubicBezTo>
                    <a:cubicBezTo>
                      <a:pt x="206466" y="410225"/>
                      <a:pt x="205112" y="407066"/>
                      <a:pt x="205112" y="403230"/>
                    </a:cubicBezTo>
                    <a:cubicBezTo>
                      <a:pt x="205112" y="393527"/>
                      <a:pt x="214364" y="380891"/>
                      <a:pt x="222713" y="375475"/>
                    </a:cubicBezTo>
                    <a:cubicBezTo>
                      <a:pt x="229933" y="370737"/>
                      <a:pt x="233318" y="372767"/>
                      <a:pt x="237154" y="375250"/>
                    </a:cubicBezTo>
                    <a:cubicBezTo>
                      <a:pt x="239862" y="377055"/>
                      <a:pt x="243021" y="379086"/>
                      <a:pt x="249339" y="379086"/>
                    </a:cubicBezTo>
                    <a:cubicBezTo>
                      <a:pt x="254303" y="379086"/>
                      <a:pt x="255206" y="378409"/>
                      <a:pt x="255206" y="378183"/>
                    </a:cubicBezTo>
                    <a:cubicBezTo>
                      <a:pt x="255431" y="377732"/>
                      <a:pt x="254755" y="375475"/>
                      <a:pt x="254078" y="373670"/>
                    </a:cubicBezTo>
                    <a:cubicBezTo>
                      <a:pt x="252949" y="370511"/>
                      <a:pt x="251144" y="366224"/>
                      <a:pt x="251144" y="361034"/>
                    </a:cubicBezTo>
                    <a:cubicBezTo>
                      <a:pt x="251144" y="353587"/>
                      <a:pt x="250016" y="350654"/>
                      <a:pt x="248436" y="347269"/>
                    </a:cubicBezTo>
                    <a:cubicBezTo>
                      <a:pt x="247308" y="344787"/>
                      <a:pt x="246180" y="341854"/>
                      <a:pt x="245503" y="336890"/>
                    </a:cubicBezTo>
                    <a:cubicBezTo>
                      <a:pt x="244375" y="330120"/>
                      <a:pt x="246857" y="327187"/>
                      <a:pt x="249339" y="324028"/>
                    </a:cubicBezTo>
                    <a:cubicBezTo>
                      <a:pt x="251595" y="321094"/>
                      <a:pt x="253852" y="318161"/>
                      <a:pt x="254755" y="312069"/>
                    </a:cubicBezTo>
                    <a:cubicBezTo>
                      <a:pt x="256560" y="298304"/>
                      <a:pt x="256785" y="289278"/>
                      <a:pt x="252047" y="278222"/>
                    </a:cubicBezTo>
                    <a:cubicBezTo>
                      <a:pt x="251370" y="276642"/>
                      <a:pt x="250467" y="275740"/>
                      <a:pt x="249790" y="275514"/>
                    </a:cubicBezTo>
                    <a:cubicBezTo>
                      <a:pt x="247534" y="275063"/>
                      <a:pt x="243472" y="278447"/>
                      <a:pt x="240313" y="281381"/>
                    </a:cubicBezTo>
                    <a:cubicBezTo>
                      <a:pt x="237831" y="283637"/>
                      <a:pt x="235349" y="285894"/>
                      <a:pt x="232867" y="286796"/>
                    </a:cubicBezTo>
                    <a:lnTo>
                      <a:pt x="231964" y="287248"/>
                    </a:lnTo>
                    <a:cubicBezTo>
                      <a:pt x="225646" y="289955"/>
                      <a:pt x="221585" y="291760"/>
                      <a:pt x="208497" y="291760"/>
                    </a:cubicBezTo>
                    <a:cubicBezTo>
                      <a:pt x="194056" y="291760"/>
                      <a:pt x="191799" y="287022"/>
                      <a:pt x="189768" y="279124"/>
                    </a:cubicBezTo>
                    <a:cubicBezTo>
                      <a:pt x="188866" y="275063"/>
                      <a:pt x="191122" y="269422"/>
                      <a:pt x="193604" y="262652"/>
                    </a:cubicBezTo>
                    <a:cubicBezTo>
                      <a:pt x="196538" y="255431"/>
                      <a:pt x="199697" y="247083"/>
                      <a:pt x="198343" y="241441"/>
                    </a:cubicBezTo>
                    <a:cubicBezTo>
                      <a:pt x="197666" y="238282"/>
                      <a:pt x="196763" y="238057"/>
                      <a:pt x="196763" y="238057"/>
                    </a:cubicBezTo>
                    <a:cubicBezTo>
                      <a:pt x="195861" y="238057"/>
                      <a:pt x="192927" y="241441"/>
                      <a:pt x="191348" y="243472"/>
                    </a:cubicBezTo>
                    <a:cubicBezTo>
                      <a:pt x="189994" y="245052"/>
                      <a:pt x="188640" y="246631"/>
                      <a:pt x="187286" y="247985"/>
                    </a:cubicBezTo>
                    <a:cubicBezTo>
                      <a:pt x="186158" y="249113"/>
                      <a:pt x="185030" y="250467"/>
                      <a:pt x="183902" y="251821"/>
                    </a:cubicBezTo>
                    <a:cubicBezTo>
                      <a:pt x="179389" y="257011"/>
                      <a:pt x="173522" y="263555"/>
                      <a:pt x="161337" y="268293"/>
                    </a:cubicBezTo>
                    <a:cubicBezTo>
                      <a:pt x="155921" y="270324"/>
                      <a:pt x="153891" y="270550"/>
                      <a:pt x="152311" y="269422"/>
                    </a:cubicBezTo>
                    <a:cubicBezTo>
                      <a:pt x="150957" y="268293"/>
                      <a:pt x="151183" y="266488"/>
                      <a:pt x="151634" y="264908"/>
                    </a:cubicBezTo>
                    <a:cubicBezTo>
                      <a:pt x="152085" y="262201"/>
                      <a:pt x="152762" y="259042"/>
                      <a:pt x="149152" y="255657"/>
                    </a:cubicBezTo>
                    <a:cubicBezTo>
                      <a:pt x="147121" y="253852"/>
                      <a:pt x="145993" y="253401"/>
                      <a:pt x="145542" y="253626"/>
                    </a:cubicBezTo>
                    <a:cubicBezTo>
                      <a:pt x="144639" y="254078"/>
                      <a:pt x="143962" y="257914"/>
                      <a:pt x="143737" y="259719"/>
                    </a:cubicBezTo>
                    <a:cubicBezTo>
                      <a:pt x="143511" y="261975"/>
                      <a:pt x="143285" y="263780"/>
                      <a:pt x="142383" y="264908"/>
                    </a:cubicBezTo>
                    <a:cubicBezTo>
                      <a:pt x="140578" y="267616"/>
                      <a:pt x="133357" y="283186"/>
                      <a:pt x="133357" y="296725"/>
                    </a:cubicBezTo>
                    <a:cubicBezTo>
                      <a:pt x="133357" y="303043"/>
                      <a:pt x="133808" y="307781"/>
                      <a:pt x="134485" y="313422"/>
                    </a:cubicBezTo>
                    <a:cubicBezTo>
                      <a:pt x="135162" y="319966"/>
                      <a:pt x="136065" y="327638"/>
                      <a:pt x="136065" y="338921"/>
                    </a:cubicBezTo>
                    <a:cubicBezTo>
                      <a:pt x="136065" y="353813"/>
                      <a:pt x="138547" y="356295"/>
                      <a:pt x="143285" y="361034"/>
                    </a:cubicBezTo>
                    <a:cubicBezTo>
                      <a:pt x="144865" y="362613"/>
                      <a:pt x="146670" y="364419"/>
                      <a:pt x="148926" y="366901"/>
                    </a:cubicBezTo>
                    <a:cubicBezTo>
                      <a:pt x="155696" y="375250"/>
                      <a:pt x="152085" y="379988"/>
                      <a:pt x="145542" y="388563"/>
                    </a:cubicBezTo>
                    <a:cubicBezTo>
                      <a:pt x="142608" y="392399"/>
                      <a:pt x="138998" y="397137"/>
                      <a:pt x="134936" y="403907"/>
                    </a:cubicBezTo>
                    <a:cubicBezTo>
                      <a:pt x="127039" y="416768"/>
                      <a:pt x="129747" y="426245"/>
                      <a:pt x="131552" y="432338"/>
                    </a:cubicBezTo>
                    <a:cubicBezTo>
                      <a:pt x="132680" y="436174"/>
                      <a:pt x="133808" y="440010"/>
                      <a:pt x="130649" y="442041"/>
                    </a:cubicBezTo>
                    <a:cubicBezTo>
                      <a:pt x="124105" y="446328"/>
                      <a:pt x="113951" y="452646"/>
                      <a:pt x="101089" y="457385"/>
                    </a:cubicBezTo>
                    <a:cubicBezTo>
                      <a:pt x="98382" y="458287"/>
                      <a:pt x="96802" y="459641"/>
                      <a:pt x="96351" y="460995"/>
                    </a:cubicBezTo>
                    <a:cubicBezTo>
                      <a:pt x="95448" y="463477"/>
                      <a:pt x="98156" y="467313"/>
                      <a:pt x="100638" y="470923"/>
                    </a:cubicBezTo>
                    <a:cubicBezTo>
                      <a:pt x="101992" y="472729"/>
                      <a:pt x="103120" y="474759"/>
                      <a:pt x="104023" y="476565"/>
                    </a:cubicBezTo>
                    <a:cubicBezTo>
                      <a:pt x="105828" y="480175"/>
                      <a:pt x="106054" y="483560"/>
                      <a:pt x="104700" y="486719"/>
                    </a:cubicBezTo>
                    <a:cubicBezTo>
                      <a:pt x="102669" y="491457"/>
                      <a:pt x="97254" y="495293"/>
                      <a:pt x="87776" y="498001"/>
                    </a:cubicBezTo>
                    <a:cubicBezTo>
                      <a:pt x="84843" y="498904"/>
                      <a:pt x="82586" y="499580"/>
                      <a:pt x="80781" y="500257"/>
                    </a:cubicBezTo>
                    <a:cubicBezTo>
                      <a:pt x="72658" y="502965"/>
                      <a:pt x="71981" y="502965"/>
                      <a:pt x="64760" y="499806"/>
                    </a:cubicBezTo>
                    <a:cubicBezTo>
                      <a:pt x="61601" y="498452"/>
                      <a:pt x="59345" y="496873"/>
                      <a:pt x="57314" y="495293"/>
                    </a:cubicBezTo>
                    <a:cubicBezTo>
                      <a:pt x="56186" y="494391"/>
                      <a:pt x="55058" y="493714"/>
                      <a:pt x="53929" y="493037"/>
                    </a:cubicBezTo>
                    <a:cubicBezTo>
                      <a:pt x="55283" y="496873"/>
                      <a:pt x="56863" y="499580"/>
                      <a:pt x="58442" y="501611"/>
                    </a:cubicBezTo>
                    <a:cubicBezTo>
                      <a:pt x="64986" y="509509"/>
                      <a:pt x="67017" y="517181"/>
                      <a:pt x="68371" y="523273"/>
                    </a:cubicBezTo>
                    <a:cubicBezTo>
                      <a:pt x="69273" y="527109"/>
                      <a:pt x="70176" y="530268"/>
                      <a:pt x="71755" y="532976"/>
                    </a:cubicBezTo>
                    <a:cubicBezTo>
                      <a:pt x="76945" y="541325"/>
                      <a:pt x="76720" y="543130"/>
                      <a:pt x="68822" y="552156"/>
                    </a:cubicBezTo>
                    <a:cubicBezTo>
                      <a:pt x="62730" y="558926"/>
                      <a:pt x="60699" y="560054"/>
                      <a:pt x="52801" y="563890"/>
                    </a:cubicBezTo>
                    <a:cubicBezTo>
                      <a:pt x="50545" y="565018"/>
                      <a:pt x="47611" y="566597"/>
                      <a:pt x="43775" y="568403"/>
                    </a:cubicBezTo>
                    <a:cubicBezTo>
                      <a:pt x="38811" y="571110"/>
                      <a:pt x="34298" y="572690"/>
                      <a:pt x="30688" y="574044"/>
                    </a:cubicBezTo>
                    <a:cubicBezTo>
                      <a:pt x="27980" y="574946"/>
                      <a:pt x="24821" y="576075"/>
                      <a:pt x="24370" y="576751"/>
                    </a:cubicBezTo>
                    <a:cubicBezTo>
                      <a:pt x="24370" y="576751"/>
                      <a:pt x="24821" y="577880"/>
                      <a:pt x="29785" y="581039"/>
                    </a:cubicBezTo>
                    <a:cubicBezTo>
                      <a:pt x="36329" y="585326"/>
                      <a:pt x="39262" y="588936"/>
                      <a:pt x="39714" y="592772"/>
                    </a:cubicBezTo>
                    <a:cubicBezTo>
                      <a:pt x="40165" y="597511"/>
                      <a:pt x="36329" y="601121"/>
                      <a:pt x="32042" y="605634"/>
                    </a:cubicBezTo>
                    <a:cubicBezTo>
                      <a:pt x="28883" y="608793"/>
                      <a:pt x="29785" y="610824"/>
                      <a:pt x="31590" y="614886"/>
                    </a:cubicBezTo>
                    <a:cubicBezTo>
                      <a:pt x="33170" y="618496"/>
                      <a:pt x="34975" y="623009"/>
                      <a:pt x="33621" y="629327"/>
                    </a:cubicBezTo>
                    <a:cubicBezTo>
                      <a:pt x="32944" y="632712"/>
                      <a:pt x="32719" y="635420"/>
                      <a:pt x="32719" y="637902"/>
                    </a:cubicBezTo>
                    <a:cubicBezTo>
                      <a:pt x="32719" y="644220"/>
                      <a:pt x="32042" y="648733"/>
                      <a:pt x="22790" y="655276"/>
                    </a:cubicBezTo>
                    <a:cubicBezTo>
                      <a:pt x="28883" y="656405"/>
                      <a:pt x="33396" y="657082"/>
                      <a:pt x="36555" y="657758"/>
                    </a:cubicBezTo>
                    <a:cubicBezTo>
                      <a:pt x="47160" y="659789"/>
                      <a:pt x="54155" y="655953"/>
                      <a:pt x="60924" y="651892"/>
                    </a:cubicBezTo>
                    <a:cubicBezTo>
                      <a:pt x="63632" y="650312"/>
                      <a:pt x="66114" y="648958"/>
                      <a:pt x="68822" y="647830"/>
                    </a:cubicBezTo>
                    <a:cubicBezTo>
                      <a:pt x="73335" y="646025"/>
                      <a:pt x="78299" y="646927"/>
                      <a:pt x="82135" y="650086"/>
                    </a:cubicBezTo>
                    <a:cubicBezTo>
                      <a:pt x="87325" y="654374"/>
                      <a:pt x="89582" y="661820"/>
                      <a:pt x="88228" y="669266"/>
                    </a:cubicBezTo>
                    <a:cubicBezTo>
                      <a:pt x="87325" y="674456"/>
                      <a:pt x="85069" y="678292"/>
                      <a:pt x="83263" y="681451"/>
                    </a:cubicBezTo>
                    <a:cubicBezTo>
                      <a:pt x="81684" y="684385"/>
                      <a:pt x="80330" y="686415"/>
                      <a:pt x="80781" y="688221"/>
                    </a:cubicBezTo>
                    <a:cubicBezTo>
                      <a:pt x="81007" y="689349"/>
                      <a:pt x="82361" y="690477"/>
                      <a:pt x="84617" y="691831"/>
                    </a:cubicBezTo>
                    <a:cubicBezTo>
                      <a:pt x="96351" y="698375"/>
                      <a:pt x="109890" y="702888"/>
                      <a:pt x="118916" y="703565"/>
                    </a:cubicBezTo>
                    <a:cubicBezTo>
                      <a:pt x="119367" y="703565"/>
                      <a:pt x="157275" y="706047"/>
                      <a:pt x="167204" y="719360"/>
                    </a:cubicBezTo>
                    <a:cubicBezTo>
                      <a:pt x="168332" y="720939"/>
                      <a:pt x="169460" y="722293"/>
                      <a:pt x="170363" y="723647"/>
                    </a:cubicBezTo>
                    <a:cubicBezTo>
                      <a:pt x="175778" y="731093"/>
                      <a:pt x="177583" y="733576"/>
                      <a:pt x="192025" y="733576"/>
                    </a:cubicBezTo>
                    <a:cubicBezTo>
                      <a:pt x="201502" y="733576"/>
                      <a:pt x="209174" y="733124"/>
                      <a:pt x="216846" y="732673"/>
                    </a:cubicBezTo>
                    <a:cubicBezTo>
                      <a:pt x="224067" y="732222"/>
                      <a:pt x="230836" y="731770"/>
                      <a:pt x="238508" y="731770"/>
                    </a:cubicBezTo>
                    <a:lnTo>
                      <a:pt x="240087" y="731770"/>
                    </a:lnTo>
                    <a:cubicBezTo>
                      <a:pt x="242570" y="730642"/>
                      <a:pt x="243021" y="730642"/>
                      <a:pt x="243472" y="730642"/>
                    </a:cubicBezTo>
                    <a:close/>
                    <a:moveTo>
                      <a:pt x="3159" y="673102"/>
                    </a:moveTo>
                    <a:lnTo>
                      <a:pt x="0" y="671071"/>
                    </a:lnTo>
                    <a:lnTo>
                      <a:pt x="0" y="671071"/>
                    </a:lnTo>
                    <a:lnTo>
                      <a:pt x="0" y="671071"/>
                    </a:lnTo>
                    <a:cubicBezTo>
                      <a:pt x="0" y="671071"/>
                      <a:pt x="0" y="671071"/>
                      <a:pt x="0" y="670846"/>
                    </a:cubicBezTo>
                    <a:cubicBezTo>
                      <a:pt x="677" y="669943"/>
                      <a:pt x="1128" y="669041"/>
                      <a:pt x="1580" y="668364"/>
                    </a:cubicBezTo>
                    <a:cubicBezTo>
                      <a:pt x="2933" y="666333"/>
                      <a:pt x="3836" y="664979"/>
                      <a:pt x="4964" y="663625"/>
                    </a:cubicBezTo>
                    <a:cubicBezTo>
                      <a:pt x="4964" y="663625"/>
                      <a:pt x="4964" y="663625"/>
                      <a:pt x="4964" y="663625"/>
                    </a:cubicBezTo>
                    <a:lnTo>
                      <a:pt x="4964" y="663625"/>
                    </a:lnTo>
                    <a:lnTo>
                      <a:pt x="7672" y="666107"/>
                    </a:lnTo>
                    <a:cubicBezTo>
                      <a:pt x="6544" y="667236"/>
                      <a:pt x="5867" y="668590"/>
                      <a:pt x="4513" y="670395"/>
                    </a:cubicBezTo>
                    <a:cubicBezTo>
                      <a:pt x="4287" y="671071"/>
                      <a:pt x="3836" y="671974"/>
                      <a:pt x="3159" y="673102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xmlns="" id="{8BF2B585-631C-44C9-81C9-B71BEF2DB7B6}"/>
                  </a:ext>
                </a:extLst>
              </p:cNvPr>
              <p:cNvSpPr/>
              <p:nvPr/>
            </p:nvSpPr>
            <p:spPr>
              <a:xfrm>
                <a:off x="8617027" y="3204113"/>
                <a:ext cx="1037972" cy="857455"/>
              </a:xfrm>
              <a:custGeom>
                <a:avLst/>
                <a:gdLst>
                  <a:gd name="connsiteX0" fmla="*/ 144865 w 1037972"/>
                  <a:gd name="connsiteY0" fmla="*/ 869883 h 857455"/>
                  <a:gd name="connsiteX1" fmla="*/ 143511 w 1037972"/>
                  <a:gd name="connsiteY1" fmla="*/ 869883 h 857455"/>
                  <a:gd name="connsiteX2" fmla="*/ 135162 w 1037972"/>
                  <a:gd name="connsiteY2" fmla="*/ 864693 h 857455"/>
                  <a:gd name="connsiteX3" fmla="*/ 125234 w 1037972"/>
                  <a:gd name="connsiteY3" fmla="*/ 852057 h 857455"/>
                  <a:gd name="connsiteX4" fmla="*/ 114628 w 1037972"/>
                  <a:gd name="connsiteY4" fmla="*/ 847995 h 857455"/>
                  <a:gd name="connsiteX5" fmla="*/ 108761 w 1037972"/>
                  <a:gd name="connsiteY5" fmla="*/ 850026 h 857455"/>
                  <a:gd name="connsiteX6" fmla="*/ 106505 w 1037972"/>
                  <a:gd name="connsiteY6" fmla="*/ 850929 h 857455"/>
                  <a:gd name="connsiteX7" fmla="*/ 104700 w 1037972"/>
                  <a:gd name="connsiteY7" fmla="*/ 851606 h 857455"/>
                  <a:gd name="connsiteX8" fmla="*/ 103797 w 1037972"/>
                  <a:gd name="connsiteY8" fmla="*/ 849350 h 857455"/>
                  <a:gd name="connsiteX9" fmla="*/ 96577 w 1037972"/>
                  <a:gd name="connsiteY9" fmla="*/ 838293 h 857455"/>
                  <a:gd name="connsiteX10" fmla="*/ 93192 w 1037972"/>
                  <a:gd name="connsiteY10" fmla="*/ 834908 h 857455"/>
                  <a:gd name="connsiteX11" fmla="*/ 82135 w 1037972"/>
                  <a:gd name="connsiteY11" fmla="*/ 820241 h 857455"/>
                  <a:gd name="connsiteX12" fmla="*/ 74463 w 1037972"/>
                  <a:gd name="connsiteY12" fmla="*/ 794969 h 857455"/>
                  <a:gd name="connsiteX13" fmla="*/ 72658 w 1037972"/>
                  <a:gd name="connsiteY13" fmla="*/ 787974 h 857455"/>
                  <a:gd name="connsiteX14" fmla="*/ 69499 w 1037972"/>
                  <a:gd name="connsiteY14" fmla="*/ 781430 h 857455"/>
                  <a:gd name="connsiteX15" fmla="*/ 65437 w 1037972"/>
                  <a:gd name="connsiteY15" fmla="*/ 758865 h 857455"/>
                  <a:gd name="connsiteX16" fmla="*/ 63632 w 1037972"/>
                  <a:gd name="connsiteY16" fmla="*/ 718926 h 857455"/>
                  <a:gd name="connsiteX17" fmla="*/ 62504 w 1037972"/>
                  <a:gd name="connsiteY17" fmla="*/ 708772 h 857455"/>
                  <a:gd name="connsiteX18" fmla="*/ 59796 w 1037972"/>
                  <a:gd name="connsiteY18" fmla="*/ 688689 h 857455"/>
                  <a:gd name="connsiteX19" fmla="*/ 57314 w 1037972"/>
                  <a:gd name="connsiteY19" fmla="*/ 664997 h 857455"/>
                  <a:gd name="connsiteX20" fmla="*/ 59571 w 1037972"/>
                  <a:gd name="connsiteY20" fmla="*/ 655294 h 857455"/>
                  <a:gd name="connsiteX21" fmla="*/ 60699 w 1037972"/>
                  <a:gd name="connsiteY21" fmla="*/ 650781 h 857455"/>
                  <a:gd name="connsiteX22" fmla="*/ 57088 w 1037972"/>
                  <a:gd name="connsiteY22" fmla="*/ 636565 h 857455"/>
                  <a:gd name="connsiteX23" fmla="*/ 53253 w 1037972"/>
                  <a:gd name="connsiteY23" fmla="*/ 619642 h 857455"/>
                  <a:gd name="connsiteX24" fmla="*/ 51222 w 1037972"/>
                  <a:gd name="connsiteY24" fmla="*/ 599559 h 857455"/>
                  <a:gd name="connsiteX25" fmla="*/ 49642 w 1037972"/>
                  <a:gd name="connsiteY25" fmla="*/ 586923 h 857455"/>
                  <a:gd name="connsiteX26" fmla="*/ 46483 w 1037972"/>
                  <a:gd name="connsiteY26" fmla="*/ 577897 h 857455"/>
                  <a:gd name="connsiteX27" fmla="*/ 41068 w 1037972"/>
                  <a:gd name="connsiteY27" fmla="*/ 559620 h 857455"/>
                  <a:gd name="connsiteX28" fmla="*/ 34975 w 1037972"/>
                  <a:gd name="connsiteY28" fmla="*/ 542696 h 857455"/>
                  <a:gd name="connsiteX29" fmla="*/ 30914 w 1037972"/>
                  <a:gd name="connsiteY29" fmla="*/ 535024 h 857455"/>
                  <a:gd name="connsiteX30" fmla="*/ 25724 w 1037972"/>
                  <a:gd name="connsiteY30" fmla="*/ 506819 h 857455"/>
                  <a:gd name="connsiteX31" fmla="*/ 23919 w 1037972"/>
                  <a:gd name="connsiteY31" fmla="*/ 498018 h 857455"/>
                  <a:gd name="connsiteX32" fmla="*/ 22113 w 1037972"/>
                  <a:gd name="connsiteY32" fmla="*/ 482900 h 857455"/>
                  <a:gd name="connsiteX33" fmla="*/ 21436 w 1037972"/>
                  <a:gd name="connsiteY33" fmla="*/ 470941 h 857455"/>
                  <a:gd name="connsiteX34" fmla="*/ 20083 w 1037972"/>
                  <a:gd name="connsiteY34" fmla="*/ 459207 h 857455"/>
                  <a:gd name="connsiteX35" fmla="*/ 17149 w 1037972"/>
                  <a:gd name="connsiteY35" fmla="*/ 435289 h 857455"/>
                  <a:gd name="connsiteX36" fmla="*/ 17375 w 1037972"/>
                  <a:gd name="connsiteY36" fmla="*/ 418817 h 857455"/>
                  <a:gd name="connsiteX37" fmla="*/ 16247 w 1037972"/>
                  <a:gd name="connsiteY37" fmla="*/ 403247 h 857455"/>
                  <a:gd name="connsiteX38" fmla="*/ 12411 w 1037972"/>
                  <a:gd name="connsiteY38" fmla="*/ 379329 h 857455"/>
                  <a:gd name="connsiteX39" fmla="*/ 11508 w 1037972"/>
                  <a:gd name="connsiteY39" fmla="*/ 346610 h 857455"/>
                  <a:gd name="connsiteX40" fmla="*/ 9477 w 1037972"/>
                  <a:gd name="connsiteY40" fmla="*/ 319984 h 857455"/>
                  <a:gd name="connsiteX41" fmla="*/ 5190 w 1037972"/>
                  <a:gd name="connsiteY41" fmla="*/ 308024 h 857455"/>
                  <a:gd name="connsiteX42" fmla="*/ 0 w 1037972"/>
                  <a:gd name="connsiteY42" fmla="*/ 289521 h 857455"/>
                  <a:gd name="connsiteX43" fmla="*/ 10605 w 1037972"/>
                  <a:gd name="connsiteY43" fmla="*/ 261767 h 857455"/>
                  <a:gd name="connsiteX44" fmla="*/ 14441 w 1037972"/>
                  <a:gd name="connsiteY44" fmla="*/ 250259 h 857455"/>
                  <a:gd name="connsiteX45" fmla="*/ 17149 w 1037972"/>
                  <a:gd name="connsiteY45" fmla="*/ 242136 h 857455"/>
                  <a:gd name="connsiteX46" fmla="*/ 17826 w 1037972"/>
                  <a:gd name="connsiteY46" fmla="*/ 229725 h 857455"/>
                  <a:gd name="connsiteX47" fmla="*/ 18729 w 1037972"/>
                  <a:gd name="connsiteY47" fmla="*/ 213704 h 857455"/>
                  <a:gd name="connsiteX48" fmla="*/ 23242 w 1037972"/>
                  <a:gd name="connsiteY48" fmla="*/ 205807 h 857455"/>
                  <a:gd name="connsiteX49" fmla="*/ 25498 w 1037972"/>
                  <a:gd name="connsiteY49" fmla="*/ 202196 h 857455"/>
                  <a:gd name="connsiteX50" fmla="*/ 26852 w 1037972"/>
                  <a:gd name="connsiteY50" fmla="*/ 202422 h 857455"/>
                  <a:gd name="connsiteX51" fmla="*/ 37232 w 1037972"/>
                  <a:gd name="connsiteY51" fmla="*/ 207838 h 857455"/>
                  <a:gd name="connsiteX52" fmla="*/ 35652 w 1037972"/>
                  <a:gd name="connsiteY52" fmla="*/ 214381 h 857455"/>
                  <a:gd name="connsiteX53" fmla="*/ 34298 w 1037972"/>
                  <a:gd name="connsiteY53" fmla="*/ 217766 h 857455"/>
                  <a:gd name="connsiteX54" fmla="*/ 35652 w 1037972"/>
                  <a:gd name="connsiteY54" fmla="*/ 226792 h 857455"/>
                  <a:gd name="connsiteX55" fmla="*/ 35426 w 1037972"/>
                  <a:gd name="connsiteY55" fmla="*/ 234464 h 857455"/>
                  <a:gd name="connsiteX56" fmla="*/ 40165 w 1037972"/>
                  <a:gd name="connsiteY56" fmla="*/ 240105 h 857455"/>
                  <a:gd name="connsiteX57" fmla="*/ 46483 w 1037972"/>
                  <a:gd name="connsiteY57" fmla="*/ 242361 h 857455"/>
                  <a:gd name="connsiteX58" fmla="*/ 73335 w 1037972"/>
                  <a:gd name="connsiteY58" fmla="*/ 241233 h 857455"/>
                  <a:gd name="connsiteX59" fmla="*/ 94546 w 1037972"/>
                  <a:gd name="connsiteY59" fmla="*/ 213704 h 857455"/>
                  <a:gd name="connsiteX60" fmla="*/ 97479 w 1037972"/>
                  <a:gd name="connsiteY60" fmla="*/ 200843 h 857455"/>
                  <a:gd name="connsiteX61" fmla="*/ 98382 w 1037972"/>
                  <a:gd name="connsiteY61" fmla="*/ 193396 h 857455"/>
                  <a:gd name="connsiteX62" fmla="*/ 97705 w 1037972"/>
                  <a:gd name="connsiteY62" fmla="*/ 189786 h 857455"/>
                  <a:gd name="connsiteX63" fmla="*/ 98833 w 1037972"/>
                  <a:gd name="connsiteY63" fmla="*/ 176021 h 857455"/>
                  <a:gd name="connsiteX64" fmla="*/ 106054 w 1037972"/>
                  <a:gd name="connsiteY64" fmla="*/ 174442 h 857455"/>
                  <a:gd name="connsiteX65" fmla="*/ 118690 w 1037972"/>
                  <a:gd name="connsiteY65" fmla="*/ 181663 h 857455"/>
                  <a:gd name="connsiteX66" fmla="*/ 126362 w 1037972"/>
                  <a:gd name="connsiteY66" fmla="*/ 187981 h 857455"/>
                  <a:gd name="connsiteX67" fmla="*/ 132229 w 1037972"/>
                  <a:gd name="connsiteY67" fmla="*/ 187304 h 857455"/>
                  <a:gd name="connsiteX68" fmla="*/ 148926 w 1037972"/>
                  <a:gd name="connsiteY68" fmla="*/ 174667 h 857455"/>
                  <a:gd name="connsiteX69" fmla="*/ 158404 w 1037972"/>
                  <a:gd name="connsiteY69" fmla="*/ 154811 h 857455"/>
                  <a:gd name="connsiteX70" fmla="*/ 156373 w 1037972"/>
                  <a:gd name="connsiteY70" fmla="*/ 147590 h 857455"/>
                  <a:gd name="connsiteX71" fmla="*/ 134485 w 1037972"/>
                  <a:gd name="connsiteY71" fmla="*/ 116902 h 857455"/>
                  <a:gd name="connsiteX72" fmla="*/ 132003 w 1037972"/>
                  <a:gd name="connsiteY72" fmla="*/ 111938 h 857455"/>
                  <a:gd name="connsiteX73" fmla="*/ 141254 w 1037972"/>
                  <a:gd name="connsiteY73" fmla="*/ 108553 h 857455"/>
                  <a:gd name="connsiteX74" fmla="*/ 151860 w 1037972"/>
                  <a:gd name="connsiteY74" fmla="*/ 106297 h 857455"/>
                  <a:gd name="connsiteX75" fmla="*/ 169009 w 1037972"/>
                  <a:gd name="connsiteY75" fmla="*/ 88471 h 857455"/>
                  <a:gd name="connsiteX76" fmla="*/ 169912 w 1037972"/>
                  <a:gd name="connsiteY76" fmla="*/ 87343 h 857455"/>
                  <a:gd name="connsiteX77" fmla="*/ 190671 w 1037972"/>
                  <a:gd name="connsiteY77" fmla="*/ 76737 h 857455"/>
                  <a:gd name="connsiteX78" fmla="*/ 206692 w 1037972"/>
                  <a:gd name="connsiteY78" fmla="*/ 72450 h 857455"/>
                  <a:gd name="connsiteX79" fmla="*/ 214815 w 1037972"/>
                  <a:gd name="connsiteY79" fmla="*/ 68388 h 857455"/>
                  <a:gd name="connsiteX80" fmla="*/ 199471 w 1037972"/>
                  <a:gd name="connsiteY80" fmla="*/ 62296 h 857455"/>
                  <a:gd name="connsiteX81" fmla="*/ 197440 w 1037972"/>
                  <a:gd name="connsiteY81" fmla="*/ 61844 h 857455"/>
                  <a:gd name="connsiteX82" fmla="*/ 185707 w 1037972"/>
                  <a:gd name="connsiteY82" fmla="*/ 62521 h 857455"/>
                  <a:gd name="connsiteX83" fmla="*/ 178712 w 1037972"/>
                  <a:gd name="connsiteY83" fmla="*/ 65455 h 857455"/>
                  <a:gd name="connsiteX84" fmla="*/ 159983 w 1037972"/>
                  <a:gd name="connsiteY84" fmla="*/ 61619 h 857455"/>
                  <a:gd name="connsiteX85" fmla="*/ 157501 w 1037972"/>
                  <a:gd name="connsiteY85" fmla="*/ 49885 h 857455"/>
                  <a:gd name="connsiteX86" fmla="*/ 159757 w 1037972"/>
                  <a:gd name="connsiteY86" fmla="*/ 39506 h 857455"/>
                  <a:gd name="connsiteX87" fmla="*/ 164270 w 1037972"/>
                  <a:gd name="connsiteY87" fmla="*/ 25290 h 857455"/>
                  <a:gd name="connsiteX88" fmla="*/ 166076 w 1037972"/>
                  <a:gd name="connsiteY88" fmla="*/ 22582 h 857455"/>
                  <a:gd name="connsiteX89" fmla="*/ 182773 w 1037972"/>
                  <a:gd name="connsiteY89" fmla="*/ 7915 h 857455"/>
                  <a:gd name="connsiteX90" fmla="*/ 183450 w 1037972"/>
                  <a:gd name="connsiteY90" fmla="*/ 7464 h 857455"/>
                  <a:gd name="connsiteX91" fmla="*/ 184127 w 1037972"/>
                  <a:gd name="connsiteY91" fmla="*/ 7689 h 857455"/>
                  <a:gd name="connsiteX92" fmla="*/ 202630 w 1037972"/>
                  <a:gd name="connsiteY92" fmla="*/ 10849 h 857455"/>
                  <a:gd name="connsiteX93" fmla="*/ 227000 w 1037972"/>
                  <a:gd name="connsiteY93" fmla="*/ 4982 h 857455"/>
                  <a:gd name="connsiteX94" fmla="*/ 234898 w 1037972"/>
                  <a:gd name="connsiteY94" fmla="*/ 920 h 857455"/>
                  <a:gd name="connsiteX95" fmla="*/ 248211 w 1037972"/>
                  <a:gd name="connsiteY95" fmla="*/ 3176 h 857455"/>
                  <a:gd name="connsiteX96" fmla="*/ 254303 w 1037972"/>
                  <a:gd name="connsiteY96" fmla="*/ 22356 h 857455"/>
                  <a:gd name="connsiteX97" fmla="*/ 249339 w 1037972"/>
                  <a:gd name="connsiteY97" fmla="*/ 34541 h 857455"/>
                  <a:gd name="connsiteX98" fmla="*/ 246857 w 1037972"/>
                  <a:gd name="connsiteY98" fmla="*/ 41311 h 857455"/>
                  <a:gd name="connsiteX99" fmla="*/ 250693 w 1037972"/>
                  <a:gd name="connsiteY99" fmla="*/ 44921 h 857455"/>
                  <a:gd name="connsiteX100" fmla="*/ 284991 w 1037972"/>
                  <a:gd name="connsiteY100" fmla="*/ 56655 h 857455"/>
                  <a:gd name="connsiteX101" fmla="*/ 333279 w 1037972"/>
                  <a:gd name="connsiteY101" fmla="*/ 72450 h 857455"/>
                  <a:gd name="connsiteX102" fmla="*/ 336438 w 1037972"/>
                  <a:gd name="connsiteY102" fmla="*/ 76737 h 857455"/>
                  <a:gd name="connsiteX103" fmla="*/ 358100 w 1037972"/>
                  <a:gd name="connsiteY103" fmla="*/ 86665 h 857455"/>
                  <a:gd name="connsiteX104" fmla="*/ 382922 w 1037972"/>
                  <a:gd name="connsiteY104" fmla="*/ 85763 h 857455"/>
                  <a:gd name="connsiteX105" fmla="*/ 404584 w 1037972"/>
                  <a:gd name="connsiteY105" fmla="*/ 84860 h 857455"/>
                  <a:gd name="connsiteX106" fmla="*/ 406163 w 1037972"/>
                  <a:gd name="connsiteY106" fmla="*/ 84860 h 857455"/>
                  <a:gd name="connsiteX107" fmla="*/ 444072 w 1037972"/>
                  <a:gd name="connsiteY107" fmla="*/ 102912 h 857455"/>
                  <a:gd name="connsiteX108" fmla="*/ 459641 w 1037972"/>
                  <a:gd name="connsiteY108" fmla="*/ 128861 h 857455"/>
                  <a:gd name="connsiteX109" fmla="*/ 469344 w 1037972"/>
                  <a:gd name="connsiteY109" fmla="*/ 125702 h 857455"/>
                  <a:gd name="connsiteX110" fmla="*/ 483334 w 1037972"/>
                  <a:gd name="connsiteY110" fmla="*/ 121189 h 857455"/>
                  <a:gd name="connsiteX111" fmla="*/ 508832 w 1037972"/>
                  <a:gd name="connsiteY111" fmla="*/ 119610 h 857455"/>
                  <a:gd name="connsiteX112" fmla="*/ 512442 w 1037972"/>
                  <a:gd name="connsiteY112" fmla="*/ 118933 h 857455"/>
                  <a:gd name="connsiteX113" fmla="*/ 511765 w 1037972"/>
                  <a:gd name="connsiteY113" fmla="*/ 116225 h 857455"/>
                  <a:gd name="connsiteX114" fmla="*/ 517632 w 1037972"/>
                  <a:gd name="connsiteY114" fmla="*/ 96368 h 857455"/>
                  <a:gd name="connsiteX115" fmla="*/ 522822 w 1037972"/>
                  <a:gd name="connsiteY115" fmla="*/ 92081 h 857455"/>
                  <a:gd name="connsiteX116" fmla="*/ 530720 w 1037972"/>
                  <a:gd name="connsiteY116" fmla="*/ 84409 h 857455"/>
                  <a:gd name="connsiteX117" fmla="*/ 537038 w 1037972"/>
                  <a:gd name="connsiteY117" fmla="*/ 73352 h 857455"/>
                  <a:gd name="connsiteX118" fmla="*/ 547643 w 1037972"/>
                  <a:gd name="connsiteY118" fmla="*/ 61168 h 857455"/>
                  <a:gd name="connsiteX119" fmla="*/ 557346 w 1037972"/>
                  <a:gd name="connsiteY119" fmla="*/ 58685 h 857455"/>
                  <a:gd name="connsiteX120" fmla="*/ 570885 w 1037972"/>
                  <a:gd name="connsiteY120" fmla="*/ 55526 h 857455"/>
                  <a:gd name="connsiteX121" fmla="*/ 581716 w 1037972"/>
                  <a:gd name="connsiteY121" fmla="*/ 49885 h 857455"/>
                  <a:gd name="connsiteX122" fmla="*/ 592321 w 1037972"/>
                  <a:gd name="connsiteY122" fmla="*/ 41762 h 857455"/>
                  <a:gd name="connsiteX123" fmla="*/ 630907 w 1037972"/>
                  <a:gd name="connsiteY123" fmla="*/ 48983 h 857455"/>
                  <a:gd name="connsiteX124" fmla="*/ 641738 w 1037972"/>
                  <a:gd name="connsiteY124" fmla="*/ 77640 h 857455"/>
                  <a:gd name="connsiteX125" fmla="*/ 632486 w 1037972"/>
                  <a:gd name="connsiteY125" fmla="*/ 82378 h 857455"/>
                  <a:gd name="connsiteX126" fmla="*/ 620076 w 1037972"/>
                  <a:gd name="connsiteY126" fmla="*/ 78317 h 857455"/>
                  <a:gd name="connsiteX127" fmla="*/ 613532 w 1037972"/>
                  <a:gd name="connsiteY127" fmla="*/ 76286 h 857455"/>
                  <a:gd name="connsiteX128" fmla="*/ 613532 w 1037972"/>
                  <a:gd name="connsiteY128" fmla="*/ 76286 h 857455"/>
                  <a:gd name="connsiteX129" fmla="*/ 613306 w 1037972"/>
                  <a:gd name="connsiteY129" fmla="*/ 78542 h 857455"/>
                  <a:gd name="connsiteX130" fmla="*/ 626619 w 1037972"/>
                  <a:gd name="connsiteY130" fmla="*/ 94338 h 857455"/>
                  <a:gd name="connsiteX131" fmla="*/ 642415 w 1037972"/>
                  <a:gd name="connsiteY131" fmla="*/ 93661 h 857455"/>
                  <a:gd name="connsiteX132" fmla="*/ 660918 w 1037972"/>
                  <a:gd name="connsiteY132" fmla="*/ 92984 h 857455"/>
                  <a:gd name="connsiteX133" fmla="*/ 673103 w 1037972"/>
                  <a:gd name="connsiteY133" fmla="*/ 94112 h 857455"/>
                  <a:gd name="connsiteX134" fmla="*/ 703113 w 1037972"/>
                  <a:gd name="connsiteY134" fmla="*/ 93209 h 857455"/>
                  <a:gd name="connsiteX135" fmla="*/ 711237 w 1037972"/>
                  <a:gd name="connsiteY135" fmla="*/ 86440 h 857455"/>
                  <a:gd name="connsiteX136" fmla="*/ 726129 w 1037972"/>
                  <a:gd name="connsiteY136" fmla="*/ 79896 h 857455"/>
                  <a:gd name="connsiteX137" fmla="*/ 740119 w 1037972"/>
                  <a:gd name="connsiteY137" fmla="*/ 85763 h 857455"/>
                  <a:gd name="connsiteX138" fmla="*/ 758397 w 1037972"/>
                  <a:gd name="connsiteY138" fmla="*/ 92307 h 857455"/>
                  <a:gd name="connsiteX139" fmla="*/ 769453 w 1037972"/>
                  <a:gd name="connsiteY139" fmla="*/ 90502 h 857455"/>
                  <a:gd name="connsiteX140" fmla="*/ 789536 w 1037972"/>
                  <a:gd name="connsiteY140" fmla="*/ 87794 h 857455"/>
                  <a:gd name="connsiteX141" fmla="*/ 800593 w 1037972"/>
                  <a:gd name="connsiteY141" fmla="*/ 84860 h 857455"/>
                  <a:gd name="connsiteX142" fmla="*/ 820224 w 1037972"/>
                  <a:gd name="connsiteY142" fmla="*/ 72224 h 857455"/>
                  <a:gd name="connsiteX143" fmla="*/ 829475 w 1037972"/>
                  <a:gd name="connsiteY143" fmla="*/ 69065 h 857455"/>
                  <a:gd name="connsiteX144" fmla="*/ 866481 w 1037972"/>
                  <a:gd name="connsiteY144" fmla="*/ 66357 h 857455"/>
                  <a:gd name="connsiteX145" fmla="*/ 866933 w 1037972"/>
                  <a:gd name="connsiteY145" fmla="*/ 76060 h 857455"/>
                  <a:gd name="connsiteX146" fmla="*/ 866707 w 1037972"/>
                  <a:gd name="connsiteY146" fmla="*/ 79445 h 857455"/>
                  <a:gd name="connsiteX147" fmla="*/ 873702 w 1037972"/>
                  <a:gd name="connsiteY147" fmla="*/ 81701 h 857455"/>
                  <a:gd name="connsiteX148" fmla="*/ 894010 w 1037972"/>
                  <a:gd name="connsiteY148" fmla="*/ 78542 h 857455"/>
                  <a:gd name="connsiteX149" fmla="*/ 912964 w 1037972"/>
                  <a:gd name="connsiteY149" fmla="*/ 76737 h 857455"/>
                  <a:gd name="connsiteX150" fmla="*/ 921088 w 1037972"/>
                  <a:gd name="connsiteY150" fmla="*/ 81701 h 857455"/>
                  <a:gd name="connsiteX151" fmla="*/ 927406 w 1037972"/>
                  <a:gd name="connsiteY151" fmla="*/ 83506 h 857455"/>
                  <a:gd name="connsiteX152" fmla="*/ 950873 w 1037972"/>
                  <a:gd name="connsiteY152" fmla="*/ 79219 h 857455"/>
                  <a:gd name="connsiteX153" fmla="*/ 955386 w 1037972"/>
                  <a:gd name="connsiteY153" fmla="*/ 75609 h 857455"/>
                  <a:gd name="connsiteX154" fmla="*/ 963509 w 1037972"/>
                  <a:gd name="connsiteY154" fmla="*/ 70870 h 857455"/>
                  <a:gd name="connsiteX155" fmla="*/ 969601 w 1037972"/>
                  <a:gd name="connsiteY155" fmla="*/ 74029 h 857455"/>
                  <a:gd name="connsiteX156" fmla="*/ 980207 w 1037972"/>
                  <a:gd name="connsiteY156" fmla="*/ 83958 h 857455"/>
                  <a:gd name="connsiteX157" fmla="*/ 985622 w 1037972"/>
                  <a:gd name="connsiteY157" fmla="*/ 88245 h 857455"/>
                  <a:gd name="connsiteX158" fmla="*/ 992617 w 1037972"/>
                  <a:gd name="connsiteY158" fmla="*/ 93435 h 857455"/>
                  <a:gd name="connsiteX159" fmla="*/ 998935 w 1037972"/>
                  <a:gd name="connsiteY159" fmla="*/ 98173 h 857455"/>
                  <a:gd name="connsiteX160" fmla="*/ 1007059 w 1037972"/>
                  <a:gd name="connsiteY160" fmla="*/ 109005 h 857455"/>
                  <a:gd name="connsiteX161" fmla="*/ 1008187 w 1037972"/>
                  <a:gd name="connsiteY161" fmla="*/ 109456 h 857455"/>
                  <a:gd name="connsiteX162" fmla="*/ 1011797 w 1037972"/>
                  <a:gd name="connsiteY162" fmla="*/ 113066 h 857455"/>
                  <a:gd name="connsiteX163" fmla="*/ 1008413 w 1037972"/>
                  <a:gd name="connsiteY163" fmla="*/ 119610 h 857455"/>
                  <a:gd name="connsiteX164" fmla="*/ 1005479 w 1037972"/>
                  <a:gd name="connsiteY164" fmla="*/ 122318 h 857455"/>
                  <a:gd name="connsiteX165" fmla="*/ 997356 w 1037972"/>
                  <a:gd name="connsiteY165" fmla="*/ 151200 h 857455"/>
                  <a:gd name="connsiteX166" fmla="*/ 1005254 w 1037972"/>
                  <a:gd name="connsiteY166" fmla="*/ 161806 h 857455"/>
                  <a:gd name="connsiteX167" fmla="*/ 1008638 w 1037972"/>
                  <a:gd name="connsiteY167" fmla="*/ 175119 h 857455"/>
                  <a:gd name="connsiteX168" fmla="*/ 1009090 w 1037972"/>
                  <a:gd name="connsiteY168" fmla="*/ 189335 h 857455"/>
                  <a:gd name="connsiteX169" fmla="*/ 1007284 w 1037972"/>
                  <a:gd name="connsiteY169" fmla="*/ 201519 h 857455"/>
                  <a:gd name="connsiteX170" fmla="*/ 1005705 w 1037972"/>
                  <a:gd name="connsiteY170" fmla="*/ 212350 h 857455"/>
                  <a:gd name="connsiteX171" fmla="*/ 1010444 w 1037972"/>
                  <a:gd name="connsiteY171" fmla="*/ 215961 h 857455"/>
                  <a:gd name="connsiteX172" fmla="*/ 1014279 w 1037972"/>
                  <a:gd name="connsiteY172" fmla="*/ 218894 h 857455"/>
                  <a:gd name="connsiteX173" fmla="*/ 1013151 w 1037972"/>
                  <a:gd name="connsiteY173" fmla="*/ 223407 h 857455"/>
                  <a:gd name="connsiteX174" fmla="*/ 1010895 w 1037972"/>
                  <a:gd name="connsiteY174" fmla="*/ 233110 h 857455"/>
                  <a:gd name="connsiteX175" fmla="*/ 1006156 w 1037972"/>
                  <a:gd name="connsiteY175" fmla="*/ 247100 h 857455"/>
                  <a:gd name="connsiteX176" fmla="*/ 1001418 w 1037972"/>
                  <a:gd name="connsiteY176" fmla="*/ 250936 h 857455"/>
                  <a:gd name="connsiteX177" fmla="*/ 993746 w 1037972"/>
                  <a:gd name="connsiteY177" fmla="*/ 263572 h 857455"/>
                  <a:gd name="connsiteX178" fmla="*/ 997582 w 1037972"/>
                  <a:gd name="connsiteY178" fmla="*/ 266505 h 857455"/>
                  <a:gd name="connsiteX179" fmla="*/ 1006382 w 1037972"/>
                  <a:gd name="connsiteY179" fmla="*/ 287265 h 857455"/>
                  <a:gd name="connsiteX180" fmla="*/ 1006382 w 1037972"/>
                  <a:gd name="connsiteY180" fmla="*/ 287942 h 857455"/>
                  <a:gd name="connsiteX181" fmla="*/ 1002320 w 1037972"/>
                  <a:gd name="connsiteY181" fmla="*/ 293583 h 857455"/>
                  <a:gd name="connsiteX182" fmla="*/ 998935 w 1037972"/>
                  <a:gd name="connsiteY182" fmla="*/ 301029 h 857455"/>
                  <a:gd name="connsiteX183" fmla="*/ 1006156 w 1037972"/>
                  <a:gd name="connsiteY183" fmla="*/ 309378 h 857455"/>
                  <a:gd name="connsiteX184" fmla="*/ 1015182 w 1037972"/>
                  <a:gd name="connsiteY184" fmla="*/ 318855 h 857455"/>
                  <a:gd name="connsiteX185" fmla="*/ 1016762 w 1037972"/>
                  <a:gd name="connsiteY185" fmla="*/ 322466 h 857455"/>
                  <a:gd name="connsiteX186" fmla="*/ 1027592 w 1037972"/>
                  <a:gd name="connsiteY186" fmla="*/ 339840 h 857455"/>
                  <a:gd name="connsiteX187" fmla="*/ 1029623 w 1037972"/>
                  <a:gd name="connsiteY187" fmla="*/ 340969 h 857455"/>
                  <a:gd name="connsiteX188" fmla="*/ 1046547 w 1037972"/>
                  <a:gd name="connsiteY188" fmla="*/ 363308 h 857455"/>
                  <a:gd name="connsiteX189" fmla="*/ 1030300 w 1037972"/>
                  <a:gd name="connsiteY189" fmla="*/ 383842 h 857455"/>
                  <a:gd name="connsiteX190" fmla="*/ 1027367 w 1037972"/>
                  <a:gd name="connsiteY190" fmla="*/ 384293 h 857455"/>
                  <a:gd name="connsiteX191" fmla="*/ 1013603 w 1037972"/>
                  <a:gd name="connsiteY191" fmla="*/ 380683 h 857455"/>
                  <a:gd name="connsiteX192" fmla="*/ 1009992 w 1037972"/>
                  <a:gd name="connsiteY192" fmla="*/ 379103 h 857455"/>
                  <a:gd name="connsiteX193" fmla="*/ 995325 w 1037972"/>
                  <a:gd name="connsiteY193" fmla="*/ 386549 h 857455"/>
                  <a:gd name="connsiteX194" fmla="*/ 993294 w 1037972"/>
                  <a:gd name="connsiteY194" fmla="*/ 388806 h 857455"/>
                  <a:gd name="connsiteX195" fmla="*/ 978176 w 1037972"/>
                  <a:gd name="connsiteY195" fmla="*/ 415883 h 857455"/>
                  <a:gd name="connsiteX196" fmla="*/ 972760 w 1037972"/>
                  <a:gd name="connsiteY196" fmla="*/ 441833 h 857455"/>
                  <a:gd name="connsiteX197" fmla="*/ 971858 w 1037972"/>
                  <a:gd name="connsiteY197" fmla="*/ 451987 h 857455"/>
                  <a:gd name="connsiteX198" fmla="*/ 967345 w 1037972"/>
                  <a:gd name="connsiteY198" fmla="*/ 463720 h 857455"/>
                  <a:gd name="connsiteX199" fmla="*/ 935755 w 1037972"/>
                  <a:gd name="connsiteY199" fmla="*/ 459207 h 857455"/>
                  <a:gd name="connsiteX200" fmla="*/ 930339 w 1037972"/>
                  <a:gd name="connsiteY200" fmla="*/ 446120 h 857455"/>
                  <a:gd name="connsiteX201" fmla="*/ 931467 w 1037972"/>
                  <a:gd name="connsiteY201" fmla="*/ 436643 h 857455"/>
                  <a:gd name="connsiteX202" fmla="*/ 927180 w 1037972"/>
                  <a:gd name="connsiteY202" fmla="*/ 427391 h 857455"/>
                  <a:gd name="connsiteX203" fmla="*/ 924924 w 1037972"/>
                  <a:gd name="connsiteY203" fmla="*/ 406406 h 857455"/>
                  <a:gd name="connsiteX204" fmla="*/ 933949 w 1037972"/>
                  <a:gd name="connsiteY204" fmla="*/ 370528 h 857455"/>
                  <a:gd name="connsiteX205" fmla="*/ 901456 w 1037972"/>
                  <a:gd name="connsiteY205" fmla="*/ 347964 h 857455"/>
                  <a:gd name="connsiteX206" fmla="*/ 881599 w 1037972"/>
                  <a:gd name="connsiteY206" fmla="*/ 352702 h 857455"/>
                  <a:gd name="connsiteX207" fmla="*/ 868963 w 1037972"/>
                  <a:gd name="connsiteY207" fmla="*/ 354282 h 857455"/>
                  <a:gd name="connsiteX208" fmla="*/ 852040 w 1037972"/>
                  <a:gd name="connsiteY208" fmla="*/ 352702 h 857455"/>
                  <a:gd name="connsiteX209" fmla="*/ 845722 w 1037972"/>
                  <a:gd name="connsiteY209" fmla="*/ 353154 h 857455"/>
                  <a:gd name="connsiteX210" fmla="*/ 838275 w 1037972"/>
                  <a:gd name="connsiteY210" fmla="*/ 355410 h 857455"/>
                  <a:gd name="connsiteX211" fmla="*/ 827670 w 1037972"/>
                  <a:gd name="connsiteY211" fmla="*/ 358343 h 857455"/>
                  <a:gd name="connsiteX212" fmla="*/ 788633 w 1037972"/>
                  <a:gd name="connsiteY212" fmla="*/ 342097 h 857455"/>
                  <a:gd name="connsiteX213" fmla="*/ 787054 w 1037972"/>
                  <a:gd name="connsiteY213" fmla="*/ 340292 h 857455"/>
                  <a:gd name="connsiteX214" fmla="*/ 767197 w 1037972"/>
                  <a:gd name="connsiteY214" fmla="*/ 320435 h 857455"/>
                  <a:gd name="connsiteX215" fmla="*/ 749597 w 1037972"/>
                  <a:gd name="connsiteY215" fmla="*/ 318178 h 857455"/>
                  <a:gd name="connsiteX216" fmla="*/ 732673 w 1037972"/>
                  <a:gd name="connsiteY216" fmla="*/ 315922 h 857455"/>
                  <a:gd name="connsiteX217" fmla="*/ 725678 w 1037972"/>
                  <a:gd name="connsiteY217" fmla="*/ 312312 h 857455"/>
                  <a:gd name="connsiteX218" fmla="*/ 716652 w 1037972"/>
                  <a:gd name="connsiteY218" fmla="*/ 306896 h 857455"/>
                  <a:gd name="connsiteX219" fmla="*/ 715298 w 1037972"/>
                  <a:gd name="connsiteY219" fmla="*/ 309378 h 857455"/>
                  <a:gd name="connsiteX220" fmla="*/ 716201 w 1037972"/>
                  <a:gd name="connsiteY220" fmla="*/ 312989 h 857455"/>
                  <a:gd name="connsiteX221" fmla="*/ 718006 w 1037972"/>
                  <a:gd name="connsiteY221" fmla="*/ 322691 h 857455"/>
                  <a:gd name="connsiteX222" fmla="*/ 718683 w 1037972"/>
                  <a:gd name="connsiteY222" fmla="*/ 337810 h 857455"/>
                  <a:gd name="connsiteX223" fmla="*/ 715750 w 1037972"/>
                  <a:gd name="connsiteY223" fmla="*/ 362631 h 857455"/>
                  <a:gd name="connsiteX224" fmla="*/ 702888 w 1037972"/>
                  <a:gd name="connsiteY224" fmla="*/ 379329 h 857455"/>
                  <a:gd name="connsiteX225" fmla="*/ 694990 w 1037972"/>
                  <a:gd name="connsiteY225" fmla="*/ 392416 h 857455"/>
                  <a:gd name="connsiteX226" fmla="*/ 687544 w 1037972"/>
                  <a:gd name="connsiteY226" fmla="*/ 393544 h 857455"/>
                  <a:gd name="connsiteX227" fmla="*/ 685287 w 1037972"/>
                  <a:gd name="connsiteY227" fmla="*/ 391513 h 857455"/>
                  <a:gd name="connsiteX228" fmla="*/ 669943 w 1037972"/>
                  <a:gd name="connsiteY228" fmla="*/ 383842 h 857455"/>
                  <a:gd name="connsiteX229" fmla="*/ 663625 w 1037972"/>
                  <a:gd name="connsiteY229" fmla="*/ 393319 h 857455"/>
                  <a:gd name="connsiteX230" fmla="*/ 659112 w 1037972"/>
                  <a:gd name="connsiteY230" fmla="*/ 405504 h 857455"/>
                  <a:gd name="connsiteX231" fmla="*/ 659338 w 1037972"/>
                  <a:gd name="connsiteY231" fmla="*/ 421750 h 857455"/>
                  <a:gd name="connsiteX232" fmla="*/ 661143 w 1037972"/>
                  <a:gd name="connsiteY232" fmla="*/ 438448 h 857455"/>
                  <a:gd name="connsiteX233" fmla="*/ 659112 w 1037972"/>
                  <a:gd name="connsiteY233" fmla="*/ 448376 h 857455"/>
                  <a:gd name="connsiteX234" fmla="*/ 651440 w 1037972"/>
                  <a:gd name="connsiteY234" fmla="*/ 469587 h 857455"/>
                  <a:gd name="connsiteX235" fmla="*/ 637676 w 1037972"/>
                  <a:gd name="connsiteY235" fmla="*/ 478613 h 857455"/>
                  <a:gd name="connsiteX236" fmla="*/ 628650 w 1037972"/>
                  <a:gd name="connsiteY236" fmla="*/ 487413 h 857455"/>
                  <a:gd name="connsiteX237" fmla="*/ 628876 w 1037972"/>
                  <a:gd name="connsiteY237" fmla="*/ 494182 h 857455"/>
                  <a:gd name="connsiteX238" fmla="*/ 621204 w 1037972"/>
                  <a:gd name="connsiteY238" fmla="*/ 509752 h 857455"/>
                  <a:gd name="connsiteX239" fmla="*/ 614886 w 1037972"/>
                  <a:gd name="connsiteY239" fmla="*/ 514265 h 857455"/>
                  <a:gd name="connsiteX240" fmla="*/ 604055 w 1037972"/>
                  <a:gd name="connsiteY240" fmla="*/ 515619 h 857455"/>
                  <a:gd name="connsiteX241" fmla="*/ 597511 w 1037972"/>
                  <a:gd name="connsiteY241" fmla="*/ 507947 h 857455"/>
                  <a:gd name="connsiteX242" fmla="*/ 586003 w 1037972"/>
                  <a:gd name="connsiteY242" fmla="*/ 505013 h 857455"/>
                  <a:gd name="connsiteX243" fmla="*/ 566823 w 1037972"/>
                  <a:gd name="connsiteY243" fmla="*/ 527127 h 857455"/>
                  <a:gd name="connsiteX244" fmla="*/ 566372 w 1037972"/>
                  <a:gd name="connsiteY244" fmla="*/ 528706 h 857455"/>
                  <a:gd name="connsiteX245" fmla="*/ 542453 w 1037972"/>
                  <a:gd name="connsiteY245" fmla="*/ 556686 h 857455"/>
                  <a:gd name="connsiteX246" fmla="*/ 529592 w 1037972"/>
                  <a:gd name="connsiteY246" fmla="*/ 562553 h 857455"/>
                  <a:gd name="connsiteX247" fmla="*/ 512894 w 1037972"/>
                  <a:gd name="connsiteY247" fmla="*/ 576769 h 857455"/>
                  <a:gd name="connsiteX248" fmla="*/ 497098 w 1037972"/>
                  <a:gd name="connsiteY248" fmla="*/ 590308 h 857455"/>
                  <a:gd name="connsiteX249" fmla="*/ 488750 w 1037972"/>
                  <a:gd name="connsiteY249" fmla="*/ 602267 h 857455"/>
                  <a:gd name="connsiteX250" fmla="*/ 475211 w 1037972"/>
                  <a:gd name="connsiteY250" fmla="*/ 617611 h 857455"/>
                  <a:gd name="connsiteX251" fmla="*/ 466862 w 1037972"/>
                  <a:gd name="connsiteY251" fmla="*/ 618965 h 857455"/>
                  <a:gd name="connsiteX252" fmla="*/ 460995 w 1037972"/>
                  <a:gd name="connsiteY252" fmla="*/ 626185 h 857455"/>
                  <a:gd name="connsiteX253" fmla="*/ 456257 w 1037972"/>
                  <a:gd name="connsiteY253" fmla="*/ 635437 h 857455"/>
                  <a:gd name="connsiteX254" fmla="*/ 419476 w 1037972"/>
                  <a:gd name="connsiteY254" fmla="*/ 641529 h 857455"/>
                  <a:gd name="connsiteX255" fmla="*/ 412256 w 1037972"/>
                  <a:gd name="connsiteY255" fmla="*/ 641755 h 857455"/>
                  <a:gd name="connsiteX256" fmla="*/ 390368 w 1037972"/>
                  <a:gd name="connsiteY256" fmla="*/ 639498 h 857455"/>
                  <a:gd name="connsiteX257" fmla="*/ 364419 w 1037972"/>
                  <a:gd name="connsiteY257" fmla="*/ 638370 h 857455"/>
                  <a:gd name="connsiteX258" fmla="*/ 366449 w 1037972"/>
                  <a:gd name="connsiteY258" fmla="*/ 653714 h 857455"/>
                  <a:gd name="connsiteX259" fmla="*/ 371188 w 1037972"/>
                  <a:gd name="connsiteY259" fmla="*/ 667704 h 857455"/>
                  <a:gd name="connsiteX260" fmla="*/ 368932 w 1037972"/>
                  <a:gd name="connsiteY260" fmla="*/ 682823 h 857455"/>
                  <a:gd name="connsiteX261" fmla="*/ 367578 w 1037972"/>
                  <a:gd name="connsiteY261" fmla="*/ 689366 h 857455"/>
                  <a:gd name="connsiteX262" fmla="*/ 353588 w 1037972"/>
                  <a:gd name="connsiteY262" fmla="*/ 697489 h 857455"/>
                  <a:gd name="connsiteX263" fmla="*/ 347269 w 1037972"/>
                  <a:gd name="connsiteY263" fmla="*/ 698618 h 857455"/>
                  <a:gd name="connsiteX264" fmla="*/ 335987 w 1037972"/>
                  <a:gd name="connsiteY264" fmla="*/ 696813 h 857455"/>
                  <a:gd name="connsiteX265" fmla="*/ 330120 w 1037972"/>
                  <a:gd name="connsiteY265" fmla="*/ 696587 h 857455"/>
                  <a:gd name="connsiteX266" fmla="*/ 305751 w 1037972"/>
                  <a:gd name="connsiteY266" fmla="*/ 707192 h 857455"/>
                  <a:gd name="connsiteX267" fmla="*/ 292437 w 1037972"/>
                  <a:gd name="connsiteY267" fmla="*/ 698392 h 857455"/>
                  <a:gd name="connsiteX268" fmla="*/ 287699 w 1037972"/>
                  <a:gd name="connsiteY268" fmla="*/ 694782 h 857455"/>
                  <a:gd name="connsiteX269" fmla="*/ 275288 w 1037972"/>
                  <a:gd name="connsiteY269" fmla="*/ 705613 h 857455"/>
                  <a:gd name="connsiteX270" fmla="*/ 254529 w 1037972"/>
                  <a:gd name="connsiteY270" fmla="*/ 719152 h 857455"/>
                  <a:gd name="connsiteX271" fmla="*/ 244149 w 1037972"/>
                  <a:gd name="connsiteY271" fmla="*/ 726598 h 857455"/>
                  <a:gd name="connsiteX272" fmla="*/ 242570 w 1037972"/>
                  <a:gd name="connsiteY272" fmla="*/ 728629 h 857455"/>
                  <a:gd name="connsiteX273" fmla="*/ 229933 w 1037972"/>
                  <a:gd name="connsiteY273" fmla="*/ 742393 h 857455"/>
                  <a:gd name="connsiteX274" fmla="*/ 227903 w 1037972"/>
                  <a:gd name="connsiteY274" fmla="*/ 744650 h 857455"/>
                  <a:gd name="connsiteX275" fmla="*/ 226774 w 1037972"/>
                  <a:gd name="connsiteY275" fmla="*/ 741942 h 857455"/>
                  <a:gd name="connsiteX276" fmla="*/ 212559 w 1037972"/>
                  <a:gd name="connsiteY276" fmla="*/ 734270 h 857455"/>
                  <a:gd name="connsiteX277" fmla="*/ 200599 w 1037972"/>
                  <a:gd name="connsiteY277" fmla="*/ 744198 h 857455"/>
                  <a:gd name="connsiteX278" fmla="*/ 197215 w 1037972"/>
                  <a:gd name="connsiteY278" fmla="*/ 747583 h 857455"/>
                  <a:gd name="connsiteX279" fmla="*/ 193153 w 1037972"/>
                  <a:gd name="connsiteY279" fmla="*/ 763604 h 857455"/>
                  <a:gd name="connsiteX280" fmla="*/ 190220 w 1037972"/>
                  <a:gd name="connsiteY280" fmla="*/ 775789 h 857455"/>
                  <a:gd name="connsiteX281" fmla="*/ 190445 w 1037972"/>
                  <a:gd name="connsiteY281" fmla="*/ 779625 h 857455"/>
                  <a:gd name="connsiteX282" fmla="*/ 195861 w 1037972"/>
                  <a:gd name="connsiteY282" fmla="*/ 781204 h 857455"/>
                  <a:gd name="connsiteX283" fmla="*/ 207594 w 1037972"/>
                  <a:gd name="connsiteY283" fmla="*/ 791358 h 857455"/>
                  <a:gd name="connsiteX284" fmla="*/ 202179 w 1037972"/>
                  <a:gd name="connsiteY284" fmla="*/ 817533 h 857455"/>
                  <a:gd name="connsiteX285" fmla="*/ 197440 w 1037972"/>
                  <a:gd name="connsiteY285" fmla="*/ 831975 h 857455"/>
                  <a:gd name="connsiteX286" fmla="*/ 196763 w 1037972"/>
                  <a:gd name="connsiteY286" fmla="*/ 835585 h 857455"/>
                  <a:gd name="connsiteX287" fmla="*/ 185707 w 1037972"/>
                  <a:gd name="connsiteY287" fmla="*/ 853637 h 857455"/>
                  <a:gd name="connsiteX288" fmla="*/ 173973 w 1037972"/>
                  <a:gd name="connsiteY288" fmla="*/ 854765 h 857455"/>
                  <a:gd name="connsiteX289" fmla="*/ 164722 w 1037972"/>
                  <a:gd name="connsiteY289" fmla="*/ 856345 h 857455"/>
                  <a:gd name="connsiteX290" fmla="*/ 157050 w 1037972"/>
                  <a:gd name="connsiteY290" fmla="*/ 862888 h 857455"/>
                  <a:gd name="connsiteX291" fmla="*/ 151183 w 1037972"/>
                  <a:gd name="connsiteY291" fmla="*/ 867627 h 857455"/>
                  <a:gd name="connsiteX292" fmla="*/ 144865 w 1037972"/>
                  <a:gd name="connsiteY292" fmla="*/ 869883 h 857455"/>
                  <a:gd name="connsiteX293" fmla="*/ 115982 w 1037972"/>
                  <a:gd name="connsiteY293" fmla="*/ 843934 h 857455"/>
                  <a:gd name="connsiteX294" fmla="*/ 127716 w 1037972"/>
                  <a:gd name="connsiteY294" fmla="*/ 849350 h 857455"/>
                  <a:gd name="connsiteX295" fmla="*/ 138321 w 1037972"/>
                  <a:gd name="connsiteY295" fmla="*/ 862888 h 857455"/>
                  <a:gd name="connsiteX296" fmla="*/ 143737 w 1037972"/>
                  <a:gd name="connsiteY296" fmla="*/ 866047 h 857455"/>
                  <a:gd name="connsiteX297" fmla="*/ 148024 w 1037972"/>
                  <a:gd name="connsiteY297" fmla="*/ 864919 h 857455"/>
                  <a:gd name="connsiteX298" fmla="*/ 154568 w 1037972"/>
                  <a:gd name="connsiteY298" fmla="*/ 859504 h 857455"/>
                  <a:gd name="connsiteX299" fmla="*/ 161563 w 1037972"/>
                  <a:gd name="connsiteY299" fmla="*/ 853637 h 857455"/>
                  <a:gd name="connsiteX300" fmla="*/ 173973 w 1037972"/>
                  <a:gd name="connsiteY300" fmla="*/ 850478 h 857455"/>
                  <a:gd name="connsiteX301" fmla="*/ 184804 w 1037972"/>
                  <a:gd name="connsiteY301" fmla="*/ 849575 h 857455"/>
                  <a:gd name="connsiteX302" fmla="*/ 193153 w 1037972"/>
                  <a:gd name="connsiteY302" fmla="*/ 834457 h 857455"/>
                  <a:gd name="connsiteX303" fmla="*/ 193830 w 1037972"/>
                  <a:gd name="connsiteY303" fmla="*/ 830846 h 857455"/>
                  <a:gd name="connsiteX304" fmla="*/ 198794 w 1037972"/>
                  <a:gd name="connsiteY304" fmla="*/ 815728 h 857455"/>
                  <a:gd name="connsiteX305" fmla="*/ 204210 w 1037972"/>
                  <a:gd name="connsiteY305" fmla="*/ 791810 h 857455"/>
                  <a:gd name="connsiteX306" fmla="*/ 195410 w 1037972"/>
                  <a:gd name="connsiteY306" fmla="*/ 784363 h 857455"/>
                  <a:gd name="connsiteX307" fmla="*/ 188866 w 1037972"/>
                  <a:gd name="connsiteY307" fmla="*/ 782107 h 857455"/>
                  <a:gd name="connsiteX308" fmla="*/ 187286 w 1037972"/>
                  <a:gd name="connsiteY308" fmla="*/ 773307 h 857455"/>
                  <a:gd name="connsiteX309" fmla="*/ 189768 w 1037972"/>
                  <a:gd name="connsiteY309" fmla="*/ 762927 h 857455"/>
                  <a:gd name="connsiteX310" fmla="*/ 194733 w 1037972"/>
                  <a:gd name="connsiteY310" fmla="*/ 744650 h 857455"/>
                  <a:gd name="connsiteX311" fmla="*/ 196989 w 1037972"/>
                  <a:gd name="connsiteY311" fmla="*/ 743296 h 857455"/>
                  <a:gd name="connsiteX312" fmla="*/ 197892 w 1037972"/>
                  <a:gd name="connsiteY312" fmla="*/ 741942 h 857455"/>
                  <a:gd name="connsiteX313" fmla="*/ 212333 w 1037972"/>
                  <a:gd name="connsiteY313" fmla="*/ 730208 h 857455"/>
                  <a:gd name="connsiteX314" fmla="*/ 229482 w 1037972"/>
                  <a:gd name="connsiteY314" fmla="*/ 737655 h 857455"/>
                  <a:gd name="connsiteX315" fmla="*/ 240087 w 1037972"/>
                  <a:gd name="connsiteY315" fmla="*/ 725921 h 857455"/>
                  <a:gd name="connsiteX316" fmla="*/ 241667 w 1037972"/>
                  <a:gd name="connsiteY316" fmla="*/ 724116 h 857455"/>
                  <a:gd name="connsiteX317" fmla="*/ 254529 w 1037972"/>
                  <a:gd name="connsiteY317" fmla="*/ 715316 h 857455"/>
                  <a:gd name="connsiteX318" fmla="*/ 272581 w 1037972"/>
                  <a:gd name="connsiteY318" fmla="*/ 703808 h 857455"/>
                  <a:gd name="connsiteX319" fmla="*/ 287699 w 1037972"/>
                  <a:gd name="connsiteY319" fmla="*/ 690946 h 857455"/>
                  <a:gd name="connsiteX320" fmla="*/ 295822 w 1037972"/>
                  <a:gd name="connsiteY320" fmla="*/ 695684 h 857455"/>
                  <a:gd name="connsiteX321" fmla="*/ 307330 w 1037972"/>
                  <a:gd name="connsiteY321" fmla="*/ 703582 h 857455"/>
                  <a:gd name="connsiteX322" fmla="*/ 328090 w 1037972"/>
                  <a:gd name="connsiteY322" fmla="*/ 694105 h 857455"/>
                  <a:gd name="connsiteX323" fmla="*/ 338244 w 1037972"/>
                  <a:gd name="connsiteY323" fmla="*/ 693202 h 857455"/>
                  <a:gd name="connsiteX324" fmla="*/ 347495 w 1037972"/>
                  <a:gd name="connsiteY324" fmla="*/ 694782 h 857455"/>
                  <a:gd name="connsiteX325" fmla="*/ 354039 w 1037972"/>
                  <a:gd name="connsiteY325" fmla="*/ 693654 h 857455"/>
                  <a:gd name="connsiteX326" fmla="*/ 364870 w 1037972"/>
                  <a:gd name="connsiteY326" fmla="*/ 688915 h 857455"/>
                  <a:gd name="connsiteX327" fmla="*/ 366449 w 1037972"/>
                  <a:gd name="connsiteY327" fmla="*/ 681694 h 857455"/>
                  <a:gd name="connsiteX328" fmla="*/ 368706 w 1037972"/>
                  <a:gd name="connsiteY328" fmla="*/ 667704 h 857455"/>
                  <a:gd name="connsiteX329" fmla="*/ 364419 w 1037972"/>
                  <a:gd name="connsiteY329" fmla="*/ 655294 h 857455"/>
                  <a:gd name="connsiteX330" fmla="*/ 362839 w 1037972"/>
                  <a:gd name="connsiteY330" fmla="*/ 635663 h 857455"/>
                  <a:gd name="connsiteX331" fmla="*/ 393301 w 1037972"/>
                  <a:gd name="connsiteY331" fmla="*/ 635888 h 857455"/>
                  <a:gd name="connsiteX332" fmla="*/ 413384 w 1037972"/>
                  <a:gd name="connsiteY332" fmla="*/ 637693 h 857455"/>
                  <a:gd name="connsiteX333" fmla="*/ 420604 w 1037972"/>
                  <a:gd name="connsiteY333" fmla="*/ 637468 h 857455"/>
                  <a:gd name="connsiteX334" fmla="*/ 455128 w 1037972"/>
                  <a:gd name="connsiteY334" fmla="*/ 632278 h 857455"/>
                  <a:gd name="connsiteX335" fmla="*/ 458513 w 1037972"/>
                  <a:gd name="connsiteY335" fmla="*/ 625509 h 857455"/>
                  <a:gd name="connsiteX336" fmla="*/ 467088 w 1037972"/>
                  <a:gd name="connsiteY336" fmla="*/ 615129 h 857455"/>
                  <a:gd name="connsiteX337" fmla="*/ 476565 w 1037972"/>
                  <a:gd name="connsiteY337" fmla="*/ 613775 h 857455"/>
                  <a:gd name="connsiteX338" fmla="*/ 486493 w 1037972"/>
                  <a:gd name="connsiteY338" fmla="*/ 601816 h 857455"/>
                  <a:gd name="connsiteX339" fmla="*/ 497098 w 1037972"/>
                  <a:gd name="connsiteY339" fmla="*/ 586697 h 857455"/>
                  <a:gd name="connsiteX340" fmla="*/ 511089 w 1037972"/>
                  <a:gd name="connsiteY340" fmla="*/ 574738 h 857455"/>
                  <a:gd name="connsiteX341" fmla="*/ 530043 w 1037972"/>
                  <a:gd name="connsiteY341" fmla="*/ 558943 h 857455"/>
                  <a:gd name="connsiteX342" fmla="*/ 541776 w 1037972"/>
                  <a:gd name="connsiteY342" fmla="*/ 553527 h 857455"/>
                  <a:gd name="connsiteX343" fmla="*/ 564341 w 1037972"/>
                  <a:gd name="connsiteY343" fmla="*/ 527578 h 857455"/>
                  <a:gd name="connsiteX344" fmla="*/ 564792 w 1037972"/>
                  <a:gd name="connsiteY344" fmla="*/ 525998 h 857455"/>
                  <a:gd name="connsiteX345" fmla="*/ 586229 w 1037972"/>
                  <a:gd name="connsiteY345" fmla="*/ 501177 h 857455"/>
                  <a:gd name="connsiteX346" fmla="*/ 602475 w 1037972"/>
                  <a:gd name="connsiteY346" fmla="*/ 506142 h 857455"/>
                  <a:gd name="connsiteX347" fmla="*/ 606988 w 1037972"/>
                  <a:gd name="connsiteY347" fmla="*/ 511783 h 857455"/>
                  <a:gd name="connsiteX348" fmla="*/ 613758 w 1037972"/>
                  <a:gd name="connsiteY348" fmla="*/ 511331 h 857455"/>
                  <a:gd name="connsiteX349" fmla="*/ 620978 w 1037972"/>
                  <a:gd name="connsiteY349" fmla="*/ 506142 h 857455"/>
                  <a:gd name="connsiteX350" fmla="*/ 626394 w 1037972"/>
                  <a:gd name="connsiteY350" fmla="*/ 494182 h 857455"/>
                  <a:gd name="connsiteX351" fmla="*/ 626168 w 1037972"/>
                  <a:gd name="connsiteY351" fmla="*/ 486962 h 857455"/>
                  <a:gd name="connsiteX352" fmla="*/ 637676 w 1037972"/>
                  <a:gd name="connsiteY352" fmla="*/ 474777 h 857455"/>
                  <a:gd name="connsiteX353" fmla="*/ 649635 w 1037972"/>
                  <a:gd name="connsiteY353" fmla="*/ 467105 h 857455"/>
                  <a:gd name="connsiteX354" fmla="*/ 656856 w 1037972"/>
                  <a:gd name="connsiteY354" fmla="*/ 447248 h 857455"/>
                  <a:gd name="connsiteX355" fmla="*/ 658887 w 1037972"/>
                  <a:gd name="connsiteY355" fmla="*/ 436868 h 857455"/>
                  <a:gd name="connsiteX356" fmla="*/ 657307 w 1037972"/>
                  <a:gd name="connsiteY356" fmla="*/ 422201 h 857455"/>
                  <a:gd name="connsiteX357" fmla="*/ 657307 w 1037972"/>
                  <a:gd name="connsiteY357" fmla="*/ 403021 h 857455"/>
                  <a:gd name="connsiteX358" fmla="*/ 661595 w 1037972"/>
                  <a:gd name="connsiteY358" fmla="*/ 391513 h 857455"/>
                  <a:gd name="connsiteX359" fmla="*/ 670169 w 1037972"/>
                  <a:gd name="connsiteY359" fmla="*/ 379554 h 857455"/>
                  <a:gd name="connsiteX360" fmla="*/ 689575 w 1037972"/>
                  <a:gd name="connsiteY360" fmla="*/ 388129 h 857455"/>
                  <a:gd name="connsiteX361" fmla="*/ 691380 w 1037972"/>
                  <a:gd name="connsiteY361" fmla="*/ 389934 h 857455"/>
                  <a:gd name="connsiteX362" fmla="*/ 697472 w 1037972"/>
                  <a:gd name="connsiteY362" fmla="*/ 386324 h 857455"/>
                  <a:gd name="connsiteX363" fmla="*/ 700857 w 1037972"/>
                  <a:gd name="connsiteY363" fmla="*/ 379329 h 857455"/>
                  <a:gd name="connsiteX364" fmla="*/ 715750 w 1037972"/>
                  <a:gd name="connsiteY364" fmla="*/ 358569 h 857455"/>
                  <a:gd name="connsiteX365" fmla="*/ 716652 w 1037972"/>
                  <a:gd name="connsiteY365" fmla="*/ 338261 h 857455"/>
                  <a:gd name="connsiteX366" fmla="*/ 715975 w 1037972"/>
                  <a:gd name="connsiteY366" fmla="*/ 321563 h 857455"/>
                  <a:gd name="connsiteX367" fmla="*/ 715298 w 1037972"/>
                  <a:gd name="connsiteY367" fmla="*/ 315245 h 857455"/>
                  <a:gd name="connsiteX368" fmla="*/ 713267 w 1037972"/>
                  <a:gd name="connsiteY368" fmla="*/ 307799 h 857455"/>
                  <a:gd name="connsiteX369" fmla="*/ 717780 w 1037972"/>
                  <a:gd name="connsiteY369" fmla="*/ 302609 h 857455"/>
                  <a:gd name="connsiteX370" fmla="*/ 721391 w 1037972"/>
                  <a:gd name="connsiteY370" fmla="*/ 303963 h 857455"/>
                  <a:gd name="connsiteX371" fmla="*/ 729063 w 1037972"/>
                  <a:gd name="connsiteY371" fmla="*/ 308476 h 857455"/>
                  <a:gd name="connsiteX372" fmla="*/ 736509 w 1037972"/>
                  <a:gd name="connsiteY372" fmla="*/ 312537 h 857455"/>
                  <a:gd name="connsiteX373" fmla="*/ 751176 w 1037972"/>
                  <a:gd name="connsiteY373" fmla="*/ 314117 h 857455"/>
                  <a:gd name="connsiteX374" fmla="*/ 770807 w 1037972"/>
                  <a:gd name="connsiteY374" fmla="*/ 316825 h 857455"/>
                  <a:gd name="connsiteX375" fmla="*/ 791567 w 1037972"/>
                  <a:gd name="connsiteY375" fmla="*/ 337358 h 857455"/>
                  <a:gd name="connsiteX376" fmla="*/ 793146 w 1037972"/>
                  <a:gd name="connsiteY376" fmla="*/ 339164 h 857455"/>
                  <a:gd name="connsiteX377" fmla="*/ 829250 w 1037972"/>
                  <a:gd name="connsiteY377" fmla="*/ 354282 h 857455"/>
                  <a:gd name="connsiteX378" fmla="*/ 838275 w 1037972"/>
                  <a:gd name="connsiteY378" fmla="*/ 351800 h 857455"/>
                  <a:gd name="connsiteX379" fmla="*/ 847527 w 1037972"/>
                  <a:gd name="connsiteY379" fmla="*/ 349318 h 857455"/>
                  <a:gd name="connsiteX380" fmla="*/ 853394 w 1037972"/>
                  <a:gd name="connsiteY380" fmla="*/ 348866 h 857455"/>
                  <a:gd name="connsiteX381" fmla="*/ 871897 w 1037972"/>
                  <a:gd name="connsiteY381" fmla="*/ 350672 h 857455"/>
                  <a:gd name="connsiteX382" fmla="*/ 881599 w 1037972"/>
                  <a:gd name="connsiteY382" fmla="*/ 349318 h 857455"/>
                  <a:gd name="connsiteX383" fmla="*/ 903262 w 1037972"/>
                  <a:gd name="connsiteY383" fmla="*/ 344353 h 857455"/>
                  <a:gd name="connsiteX384" fmla="*/ 939591 w 1037972"/>
                  <a:gd name="connsiteY384" fmla="*/ 370754 h 857455"/>
                  <a:gd name="connsiteX385" fmla="*/ 929888 w 1037972"/>
                  <a:gd name="connsiteY385" fmla="*/ 408888 h 857455"/>
                  <a:gd name="connsiteX386" fmla="*/ 932370 w 1037972"/>
                  <a:gd name="connsiteY386" fmla="*/ 426037 h 857455"/>
                  <a:gd name="connsiteX387" fmla="*/ 937109 w 1037972"/>
                  <a:gd name="connsiteY387" fmla="*/ 436191 h 857455"/>
                  <a:gd name="connsiteX388" fmla="*/ 935980 w 1037972"/>
                  <a:gd name="connsiteY388" fmla="*/ 447699 h 857455"/>
                  <a:gd name="connsiteX389" fmla="*/ 939139 w 1037972"/>
                  <a:gd name="connsiteY389" fmla="*/ 456048 h 857455"/>
                  <a:gd name="connsiteX390" fmla="*/ 968925 w 1037972"/>
                  <a:gd name="connsiteY390" fmla="*/ 460336 h 857455"/>
                  <a:gd name="connsiteX391" fmla="*/ 970279 w 1037972"/>
                  <a:gd name="connsiteY391" fmla="*/ 452889 h 857455"/>
                  <a:gd name="connsiteX392" fmla="*/ 972084 w 1037972"/>
                  <a:gd name="connsiteY392" fmla="*/ 439576 h 857455"/>
                  <a:gd name="connsiteX393" fmla="*/ 976597 w 1037972"/>
                  <a:gd name="connsiteY393" fmla="*/ 416560 h 857455"/>
                  <a:gd name="connsiteX394" fmla="*/ 992617 w 1037972"/>
                  <a:gd name="connsiteY394" fmla="*/ 386549 h 857455"/>
                  <a:gd name="connsiteX395" fmla="*/ 994648 w 1037972"/>
                  <a:gd name="connsiteY395" fmla="*/ 384293 h 857455"/>
                  <a:gd name="connsiteX396" fmla="*/ 1012249 w 1037972"/>
                  <a:gd name="connsiteY396" fmla="*/ 375718 h 857455"/>
                  <a:gd name="connsiteX397" fmla="*/ 1018792 w 1037972"/>
                  <a:gd name="connsiteY397" fmla="*/ 378877 h 857455"/>
                  <a:gd name="connsiteX398" fmla="*/ 1028946 w 1037972"/>
                  <a:gd name="connsiteY398" fmla="*/ 381134 h 857455"/>
                  <a:gd name="connsiteX399" fmla="*/ 1032331 w 1037972"/>
                  <a:gd name="connsiteY399" fmla="*/ 380683 h 857455"/>
                  <a:gd name="connsiteX400" fmla="*/ 1044967 w 1037972"/>
                  <a:gd name="connsiteY400" fmla="*/ 363759 h 857455"/>
                  <a:gd name="connsiteX401" fmla="*/ 1029849 w 1037972"/>
                  <a:gd name="connsiteY401" fmla="*/ 344805 h 857455"/>
                  <a:gd name="connsiteX402" fmla="*/ 1027592 w 1037972"/>
                  <a:gd name="connsiteY402" fmla="*/ 343451 h 857455"/>
                  <a:gd name="connsiteX403" fmla="*/ 1027592 w 1037972"/>
                  <a:gd name="connsiteY403" fmla="*/ 343451 h 857455"/>
                  <a:gd name="connsiteX404" fmla="*/ 1015182 w 1037972"/>
                  <a:gd name="connsiteY404" fmla="*/ 324271 h 857455"/>
                  <a:gd name="connsiteX405" fmla="*/ 1013603 w 1037972"/>
                  <a:gd name="connsiteY405" fmla="*/ 320661 h 857455"/>
                  <a:gd name="connsiteX406" fmla="*/ 1005930 w 1037972"/>
                  <a:gd name="connsiteY406" fmla="*/ 312763 h 857455"/>
                  <a:gd name="connsiteX407" fmla="*/ 997130 w 1037972"/>
                  <a:gd name="connsiteY407" fmla="*/ 302158 h 857455"/>
                  <a:gd name="connsiteX408" fmla="*/ 1001869 w 1037972"/>
                  <a:gd name="connsiteY408" fmla="*/ 290875 h 857455"/>
                  <a:gd name="connsiteX409" fmla="*/ 1004577 w 1037972"/>
                  <a:gd name="connsiteY409" fmla="*/ 287716 h 857455"/>
                  <a:gd name="connsiteX410" fmla="*/ 1004577 w 1037972"/>
                  <a:gd name="connsiteY410" fmla="*/ 287039 h 857455"/>
                  <a:gd name="connsiteX411" fmla="*/ 998259 w 1037972"/>
                  <a:gd name="connsiteY411" fmla="*/ 270342 h 857455"/>
                  <a:gd name="connsiteX412" fmla="*/ 991941 w 1037972"/>
                  <a:gd name="connsiteY412" fmla="*/ 264700 h 857455"/>
                  <a:gd name="connsiteX413" fmla="*/ 1000741 w 1037972"/>
                  <a:gd name="connsiteY413" fmla="*/ 248454 h 857455"/>
                  <a:gd name="connsiteX414" fmla="*/ 1005705 w 1037972"/>
                  <a:gd name="connsiteY414" fmla="*/ 244167 h 857455"/>
                  <a:gd name="connsiteX415" fmla="*/ 1008864 w 1037972"/>
                  <a:gd name="connsiteY415" fmla="*/ 233787 h 857455"/>
                  <a:gd name="connsiteX416" fmla="*/ 1011572 w 1037972"/>
                  <a:gd name="connsiteY416" fmla="*/ 221376 h 857455"/>
                  <a:gd name="connsiteX417" fmla="*/ 1012249 w 1037972"/>
                  <a:gd name="connsiteY417" fmla="*/ 220248 h 857455"/>
                  <a:gd name="connsiteX418" fmla="*/ 1010895 w 1037972"/>
                  <a:gd name="connsiteY418" fmla="*/ 219571 h 857455"/>
                  <a:gd name="connsiteX419" fmla="*/ 1003900 w 1037972"/>
                  <a:gd name="connsiteY419" fmla="*/ 213930 h 857455"/>
                  <a:gd name="connsiteX420" fmla="*/ 1005479 w 1037972"/>
                  <a:gd name="connsiteY420" fmla="*/ 200166 h 857455"/>
                  <a:gd name="connsiteX421" fmla="*/ 1007059 w 1037972"/>
                  <a:gd name="connsiteY421" fmla="*/ 189786 h 857455"/>
                  <a:gd name="connsiteX422" fmla="*/ 1006607 w 1037972"/>
                  <a:gd name="connsiteY422" fmla="*/ 175119 h 857455"/>
                  <a:gd name="connsiteX423" fmla="*/ 1004802 w 1037972"/>
                  <a:gd name="connsiteY423" fmla="*/ 164965 h 857455"/>
                  <a:gd name="connsiteX424" fmla="*/ 995551 w 1037972"/>
                  <a:gd name="connsiteY424" fmla="*/ 152780 h 857455"/>
                  <a:gd name="connsiteX425" fmla="*/ 1004351 w 1037972"/>
                  <a:gd name="connsiteY425" fmla="*/ 119384 h 857455"/>
                  <a:gd name="connsiteX426" fmla="*/ 1007059 w 1037972"/>
                  <a:gd name="connsiteY426" fmla="*/ 116676 h 857455"/>
                  <a:gd name="connsiteX427" fmla="*/ 1009315 w 1037972"/>
                  <a:gd name="connsiteY427" fmla="*/ 113292 h 857455"/>
                  <a:gd name="connsiteX428" fmla="*/ 1007736 w 1037972"/>
                  <a:gd name="connsiteY428" fmla="*/ 112389 h 857455"/>
                  <a:gd name="connsiteX429" fmla="*/ 1004351 w 1037972"/>
                  <a:gd name="connsiteY429" fmla="*/ 108553 h 857455"/>
                  <a:gd name="connsiteX430" fmla="*/ 997582 w 1037972"/>
                  <a:gd name="connsiteY430" fmla="*/ 100656 h 857455"/>
                  <a:gd name="connsiteX431" fmla="*/ 991489 w 1037972"/>
                  <a:gd name="connsiteY431" fmla="*/ 96143 h 857455"/>
                  <a:gd name="connsiteX432" fmla="*/ 984268 w 1037972"/>
                  <a:gd name="connsiteY432" fmla="*/ 90727 h 857455"/>
                  <a:gd name="connsiteX433" fmla="*/ 978853 w 1037972"/>
                  <a:gd name="connsiteY433" fmla="*/ 86440 h 857455"/>
                  <a:gd name="connsiteX434" fmla="*/ 967796 w 1037972"/>
                  <a:gd name="connsiteY434" fmla="*/ 76060 h 857455"/>
                  <a:gd name="connsiteX435" fmla="*/ 964412 w 1037972"/>
                  <a:gd name="connsiteY435" fmla="*/ 74029 h 857455"/>
                  <a:gd name="connsiteX436" fmla="*/ 959222 w 1037972"/>
                  <a:gd name="connsiteY436" fmla="*/ 77640 h 857455"/>
                  <a:gd name="connsiteX437" fmla="*/ 953581 w 1037972"/>
                  <a:gd name="connsiteY437" fmla="*/ 82153 h 857455"/>
                  <a:gd name="connsiteX438" fmla="*/ 928308 w 1037972"/>
                  <a:gd name="connsiteY438" fmla="*/ 86665 h 857455"/>
                  <a:gd name="connsiteX439" fmla="*/ 919282 w 1037972"/>
                  <a:gd name="connsiteY439" fmla="*/ 83506 h 857455"/>
                  <a:gd name="connsiteX440" fmla="*/ 912739 w 1037972"/>
                  <a:gd name="connsiteY440" fmla="*/ 79671 h 857455"/>
                  <a:gd name="connsiteX441" fmla="*/ 896041 w 1037972"/>
                  <a:gd name="connsiteY441" fmla="*/ 81476 h 857455"/>
                  <a:gd name="connsiteX442" fmla="*/ 874153 w 1037972"/>
                  <a:gd name="connsiteY442" fmla="*/ 84635 h 857455"/>
                  <a:gd name="connsiteX443" fmla="*/ 864450 w 1037972"/>
                  <a:gd name="connsiteY443" fmla="*/ 80799 h 857455"/>
                  <a:gd name="connsiteX444" fmla="*/ 864225 w 1037972"/>
                  <a:gd name="connsiteY444" fmla="*/ 74255 h 857455"/>
                  <a:gd name="connsiteX445" fmla="*/ 863999 w 1037972"/>
                  <a:gd name="connsiteY445" fmla="*/ 67260 h 857455"/>
                  <a:gd name="connsiteX446" fmla="*/ 831506 w 1037972"/>
                  <a:gd name="connsiteY446" fmla="*/ 71773 h 857455"/>
                  <a:gd name="connsiteX447" fmla="*/ 822255 w 1037972"/>
                  <a:gd name="connsiteY447" fmla="*/ 74932 h 857455"/>
                  <a:gd name="connsiteX448" fmla="*/ 804654 w 1037972"/>
                  <a:gd name="connsiteY448" fmla="*/ 85763 h 857455"/>
                  <a:gd name="connsiteX449" fmla="*/ 790213 w 1037972"/>
                  <a:gd name="connsiteY449" fmla="*/ 90727 h 857455"/>
                  <a:gd name="connsiteX450" fmla="*/ 771259 w 1037972"/>
                  <a:gd name="connsiteY450" fmla="*/ 93209 h 857455"/>
                  <a:gd name="connsiteX451" fmla="*/ 758848 w 1037972"/>
                  <a:gd name="connsiteY451" fmla="*/ 95240 h 857455"/>
                  <a:gd name="connsiteX452" fmla="*/ 738540 w 1037972"/>
                  <a:gd name="connsiteY452" fmla="*/ 88019 h 857455"/>
                  <a:gd name="connsiteX453" fmla="*/ 725904 w 1037972"/>
                  <a:gd name="connsiteY453" fmla="*/ 82604 h 857455"/>
                  <a:gd name="connsiteX454" fmla="*/ 714170 w 1037972"/>
                  <a:gd name="connsiteY454" fmla="*/ 88019 h 857455"/>
                  <a:gd name="connsiteX455" fmla="*/ 705144 w 1037972"/>
                  <a:gd name="connsiteY455" fmla="*/ 95466 h 857455"/>
                  <a:gd name="connsiteX456" fmla="*/ 672651 w 1037972"/>
                  <a:gd name="connsiteY456" fmla="*/ 96820 h 857455"/>
                  <a:gd name="connsiteX457" fmla="*/ 660692 w 1037972"/>
                  <a:gd name="connsiteY457" fmla="*/ 95691 h 857455"/>
                  <a:gd name="connsiteX458" fmla="*/ 642640 w 1037972"/>
                  <a:gd name="connsiteY458" fmla="*/ 96368 h 857455"/>
                  <a:gd name="connsiteX459" fmla="*/ 626168 w 1037972"/>
                  <a:gd name="connsiteY459" fmla="*/ 97045 h 857455"/>
                  <a:gd name="connsiteX460" fmla="*/ 609245 w 1037972"/>
                  <a:gd name="connsiteY460" fmla="*/ 77640 h 857455"/>
                  <a:gd name="connsiteX461" fmla="*/ 611050 w 1037972"/>
                  <a:gd name="connsiteY461" fmla="*/ 71999 h 857455"/>
                  <a:gd name="connsiteX462" fmla="*/ 621204 w 1037972"/>
                  <a:gd name="connsiteY462" fmla="*/ 73804 h 857455"/>
                  <a:gd name="connsiteX463" fmla="*/ 632712 w 1037972"/>
                  <a:gd name="connsiteY463" fmla="*/ 77640 h 857455"/>
                  <a:gd name="connsiteX464" fmla="*/ 637902 w 1037972"/>
                  <a:gd name="connsiteY464" fmla="*/ 75158 h 857455"/>
                  <a:gd name="connsiteX465" fmla="*/ 627973 w 1037972"/>
                  <a:gd name="connsiteY465" fmla="*/ 51014 h 857455"/>
                  <a:gd name="connsiteX466" fmla="*/ 592547 w 1037972"/>
                  <a:gd name="connsiteY466" fmla="*/ 44470 h 857455"/>
                  <a:gd name="connsiteX467" fmla="*/ 584198 w 1037972"/>
                  <a:gd name="connsiteY467" fmla="*/ 51014 h 857455"/>
                  <a:gd name="connsiteX468" fmla="*/ 570208 w 1037972"/>
                  <a:gd name="connsiteY468" fmla="*/ 58460 h 857455"/>
                  <a:gd name="connsiteX469" fmla="*/ 558700 w 1037972"/>
                  <a:gd name="connsiteY469" fmla="*/ 61168 h 857455"/>
                  <a:gd name="connsiteX470" fmla="*/ 546966 w 1037972"/>
                  <a:gd name="connsiteY470" fmla="*/ 64101 h 857455"/>
                  <a:gd name="connsiteX471" fmla="*/ 539971 w 1037972"/>
                  <a:gd name="connsiteY471" fmla="*/ 73127 h 857455"/>
                  <a:gd name="connsiteX472" fmla="*/ 531171 w 1037972"/>
                  <a:gd name="connsiteY472" fmla="*/ 87117 h 857455"/>
                  <a:gd name="connsiteX473" fmla="*/ 525756 w 1037972"/>
                  <a:gd name="connsiteY473" fmla="*/ 91855 h 857455"/>
                  <a:gd name="connsiteX474" fmla="*/ 517858 w 1037972"/>
                  <a:gd name="connsiteY474" fmla="*/ 99076 h 857455"/>
                  <a:gd name="connsiteX475" fmla="*/ 514699 w 1037972"/>
                  <a:gd name="connsiteY475" fmla="*/ 114420 h 857455"/>
                  <a:gd name="connsiteX476" fmla="*/ 514924 w 1037972"/>
                  <a:gd name="connsiteY476" fmla="*/ 120738 h 857455"/>
                  <a:gd name="connsiteX477" fmla="*/ 513119 w 1037972"/>
                  <a:gd name="connsiteY477" fmla="*/ 121641 h 857455"/>
                  <a:gd name="connsiteX478" fmla="*/ 509058 w 1037972"/>
                  <a:gd name="connsiteY478" fmla="*/ 122543 h 857455"/>
                  <a:gd name="connsiteX479" fmla="*/ 481980 w 1037972"/>
                  <a:gd name="connsiteY479" fmla="*/ 124123 h 857455"/>
                  <a:gd name="connsiteX480" fmla="*/ 471600 w 1037972"/>
                  <a:gd name="connsiteY480" fmla="*/ 127508 h 857455"/>
                  <a:gd name="connsiteX481" fmla="*/ 458062 w 1037972"/>
                  <a:gd name="connsiteY481" fmla="*/ 131569 h 857455"/>
                  <a:gd name="connsiteX482" fmla="*/ 439784 w 1037972"/>
                  <a:gd name="connsiteY482" fmla="*/ 102235 h 857455"/>
                  <a:gd name="connsiteX483" fmla="*/ 405712 w 1037972"/>
                  <a:gd name="connsiteY483" fmla="*/ 87568 h 857455"/>
                  <a:gd name="connsiteX484" fmla="*/ 404132 w 1037972"/>
                  <a:gd name="connsiteY484" fmla="*/ 87568 h 857455"/>
                  <a:gd name="connsiteX485" fmla="*/ 382922 w 1037972"/>
                  <a:gd name="connsiteY485" fmla="*/ 88471 h 857455"/>
                  <a:gd name="connsiteX486" fmla="*/ 357875 w 1037972"/>
                  <a:gd name="connsiteY486" fmla="*/ 89373 h 857455"/>
                  <a:gd name="connsiteX487" fmla="*/ 333054 w 1037972"/>
                  <a:gd name="connsiteY487" fmla="*/ 77865 h 857455"/>
                  <a:gd name="connsiteX488" fmla="*/ 329895 w 1037972"/>
                  <a:gd name="connsiteY488" fmla="*/ 73578 h 857455"/>
                  <a:gd name="connsiteX489" fmla="*/ 284314 w 1037972"/>
                  <a:gd name="connsiteY489" fmla="*/ 59362 h 857455"/>
                  <a:gd name="connsiteX490" fmla="*/ 248436 w 1037972"/>
                  <a:gd name="connsiteY490" fmla="*/ 47177 h 857455"/>
                  <a:gd name="connsiteX491" fmla="*/ 242795 w 1037972"/>
                  <a:gd name="connsiteY491" fmla="*/ 41311 h 857455"/>
                  <a:gd name="connsiteX492" fmla="*/ 245503 w 1037972"/>
                  <a:gd name="connsiteY492" fmla="*/ 31833 h 857455"/>
                  <a:gd name="connsiteX493" fmla="*/ 250016 w 1037972"/>
                  <a:gd name="connsiteY493" fmla="*/ 20777 h 857455"/>
                  <a:gd name="connsiteX494" fmla="*/ 245277 w 1037972"/>
                  <a:gd name="connsiteY494" fmla="*/ 5207 h 857455"/>
                  <a:gd name="connsiteX495" fmla="*/ 235800 w 1037972"/>
                  <a:gd name="connsiteY495" fmla="*/ 3402 h 857455"/>
                  <a:gd name="connsiteX496" fmla="*/ 228354 w 1037972"/>
                  <a:gd name="connsiteY496" fmla="*/ 7238 h 857455"/>
                  <a:gd name="connsiteX497" fmla="*/ 201502 w 1037972"/>
                  <a:gd name="connsiteY497" fmla="*/ 13556 h 857455"/>
                  <a:gd name="connsiteX498" fmla="*/ 183902 w 1037972"/>
                  <a:gd name="connsiteY498" fmla="*/ 10397 h 857455"/>
                  <a:gd name="connsiteX499" fmla="*/ 168783 w 1037972"/>
                  <a:gd name="connsiteY499" fmla="*/ 23485 h 857455"/>
                  <a:gd name="connsiteX500" fmla="*/ 166978 w 1037972"/>
                  <a:gd name="connsiteY500" fmla="*/ 26192 h 857455"/>
                  <a:gd name="connsiteX501" fmla="*/ 163142 w 1037972"/>
                  <a:gd name="connsiteY501" fmla="*/ 38829 h 857455"/>
                  <a:gd name="connsiteX502" fmla="*/ 160660 w 1037972"/>
                  <a:gd name="connsiteY502" fmla="*/ 50337 h 857455"/>
                  <a:gd name="connsiteX503" fmla="*/ 162240 w 1037972"/>
                  <a:gd name="connsiteY503" fmla="*/ 58234 h 857455"/>
                  <a:gd name="connsiteX504" fmla="*/ 176907 w 1037972"/>
                  <a:gd name="connsiteY504" fmla="*/ 61168 h 857455"/>
                  <a:gd name="connsiteX505" fmla="*/ 183450 w 1037972"/>
                  <a:gd name="connsiteY505" fmla="*/ 58234 h 857455"/>
                  <a:gd name="connsiteX506" fmla="*/ 197666 w 1037972"/>
                  <a:gd name="connsiteY506" fmla="*/ 57332 h 857455"/>
                  <a:gd name="connsiteX507" fmla="*/ 199697 w 1037972"/>
                  <a:gd name="connsiteY507" fmla="*/ 57783 h 857455"/>
                  <a:gd name="connsiteX508" fmla="*/ 217974 w 1037972"/>
                  <a:gd name="connsiteY508" fmla="*/ 67260 h 857455"/>
                  <a:gd name="connsiteX509" fmla="*/ 207143 w 1037972"/>
                  <a:gd name="connsiteY509" fmla="*/ 74932 h 857455"/>
                  <a:gd name="connsiteX510" fmla="*/ 190897 w 1037972"/>
                  <a:gd name="connsiteY510" fmla="*/ 79219 h 857455"/>
                  <a:gd name="connsiteX511" fmla="*/ 172394 w 1037972"/>
                  <a:gd name="connsiteY511" fmla="*/ 88245 h 857455"/>
                  <a:gd name="connsiteX512" fmla="*/ 171491 w 1037972"/>
                  <a:gd name="connsiteY512" fmla="*/ 89373 h 857455"/>
                  <a:gd name="connsiteX513" fmla="*/ 152762 w 1037972"/>
                  <a:gd name="connsiteY513" fmla="*/ 108553 h 857455"/>
                  <a:gd name="connsiteX514" fmla="*/ 141029 w 1037972"/>
                  <a:gd name="connsiteY514" fmla="*/ 111035 h 857455"/>
                  <a:gd name="connsiteX515" fmla="*/ 135388 w 1037972"/>
                  <a:gd name="connsiteY515" fmla="*/ 111938 h 857455"/>
                  <a:gd name="connsiteX516" fmla="*/ 136516 w 1037972"/>
                  <a:gd name="connsiteY516" fmla="*/ 113066 h 857455"/>
                  <a:gd name="connsiteX517" fmla="*/ 159757 w 1037972"/>
                  <a:gd name="connsiteY517" fmla="*/ 146236 h 857455"/>
                  <a:gd name="connsiteX518" fmla="*/ 161563 w 1037972"/>
                  <a:gd name="connsiteY518" fmla="*/ 152554 h 857455"/>
                  <a:gd name="connsiteX519" fmla="*/ 150280 w 1037972"/>
                  <a:gd name="connsiteY519" fmla="*/ 177150 h 857455"/>
                  <a:gd name="connsiteX520" fmla="*/ 134711 w 1037972"/>
                  <a:gd name="connsiteY520" fmla="*/ 188883 h 857455"/>
                  <a:gd name="connsiteX521" fmla="*/ 123880 w 1037972"/>
                  <a:gd name="connsiteY521" fmla="*/ 190237 h 857455"/>
                  <a:gd name="connsiteX522" fmla="*/ 115531 w 1037972"/>
                  <a:gd name="connsiteY522" fmla="*/ 183468 h 857455"/>
                  <a:gd name="connsiteX523" fmla="*/ 104925 w 1037972"/>
                  <a:gd name="connsiteY523" fmla="*/ 177375 h 857455"/>
                  <a:gd name="connsiteX524" fmla="*/ 101089 w 1037972"/>
                  <a:gd name="connsiteY524" fmla="*/ 177827 h 857455"/>
                  <a:gd name="connsiteX525" fmla="*/ 101089 w 1037972"/>
                  <a:gd name="connsiteY525" fmla="*/ 188432 h 857455"/>
                  <a:gd name="connsiteX526" fmla="*/ 101766 w 1037972"/>
                  <a:gd name="connsiteY526" fmla="*/ 192268 h 857455"/>
                  <a:gd name="connsiteX527" fmla="*/ 100638 w 1037972"/>
                  <a:gd name="connsiteY527" fmla="*/ 201294 h 857455"/>
                  <a:gd name="connsiteX528" fmla="*/ 97930 w 1037972"/>
                  <a:gd name="connsiteY528" fmla="*/ 213479 h 857455"/>
                  <a:gd name="connsiteX529" fmla="*/ 74012 w 1037972"/>
                  <a:gd name="connsiteY529" fmla="*/ 244167 h 857455"/>
                  <a:gd name="connsiteX530" fmla="*/ 44452 w 1037972"/>
                  <a:gd name="connsiteY530" fmla="*/ 245069 h 857455"/>
                  <a:gd name="connsiteX531" fmla="*/ 38811 w 1037972"/>
                  <a:gd name="connsiteY531" fmla="*/ 243038 h 857455"/>
                  <a:gd name="connsiteX532" fmla="*/ 31139 w 1037972"/>
                  <a:gd name="connsiteY532" fmla="*/ 234238 h 857455"/>
                  <a:gd name="connsiteX533" fmla="*/ 31365 w 1037972"/>
                  <a:gd name="connsiteY533" fmla="*/ 225664 h 857455"/>
                  <a:gd name="connsiteX534" fmla="*/ 30462 w 1037972"/>
                  <a:gd name="connsiteY534" fmla="*/ 218894 h 857455"/>
                  <a:gd name="connsiteX535" fmla="*/ 31816 w 1037972"/>
                  <a:gd name="connsiteY535" fmla="*/ 211899 h 857455"/>
                  <a:gd name="connsiteX536" fmla="*/ 33170 w 1037972"/>
                  <a:gd name="connsiteY536" fmla="*/ 208740 h 857455"/>
                  <a:gd name="connsiteX537" fmla="*/ 26626 w 1037972"/>
                  <a:gd name="connsiteY537" fmla="*/ 205807 h 857455"/>
                  <a:gd name="connsiteX538" fmla="*/ 25724 w 1037972"/>
                  <a:gd name="connsiteY538" fmla="*/ 207161 h 857455"/>
                  <a:gd name="connsiteX539" fmla="*/ 21436 w 1037972"/>
                  <a:gd name="connsiteY539" fmla="*/ 214607 h 857455"/>
                  <a:gd name="connsiteX540" fmla="*/ 20759 w 1037972"/>
                  <a:gd name="connsiteY540" fmla="*/ 229048 h 857455"/>
                  <a:gd name="connsiteX541" fmla="*/ 18503 w 1037972"/>
                  <a:gd name="connsiteY541" fmla="*/ 244843 h 857455"/>
                  <a:gd name="connsiteX542" fmla="*/ 17375 w 1037972"/>
                  <a:gd name="connsiteY542" fmla="*/ 250033 h 857455"/>
                  <a:gd name="connsiteX543" fmla="*/ 12411 w 1037972"/>
                  <a:gd name="connsiteY543" fmla="*/ 264023 h 857455"/>
                  <a:gd name="connsiteX544" fmla="*/ 2933 w 1037972"/>
                  <a:gd name="connsiteY544" fmla="*/ 288845 h 857455"/>
                  <a:gd name="connsiteX545" fmla="*/ 7898 w 1037972"/>
                  <a:gd name="connsiteY545" fmla="*/ 305994 h 857455"/>
                  <a:gd name="connsiteX546" fmla="*/ 12185 w 1037972"/>
                  <a:gd name="connsiteY546" fmla="*/ 318404 h 857455"/>
                  <a:gd name="connsiteX547" fmla="*/ 13764 w 1037972"/>
                  <a:gd name="connsiteY547" fmla="*/ 348189 h 857455"/>
                  <a:gd name="connsiteX548" fmla="*/ 15344 w 1037972"/>
                  <a:gd name="connsiteY548" fmla="*/ 378200 h 857455"/>
                  <a:gd name="connsiteX549" fmla="*/ 19180 w 1037972"/>
                  <a:gd name="connsiteY549" fmla="*/ 401893 h 857455"/>
                  <a:gd name="connsiteX550" fmla="*/ 20534 w 1037972"/>
                  <a:gd name="connsiteY550" fmla="*/ 418591 h 857455"/>
                  <a:gd name="connsiteX551" fmla="*/ 20308 w 1037972"/>
                  <a:gd name="connsiteY551" fmla="*/ 419493 h 857455"/>
                  <a:gd name="connsiteX552" fmla="*/ 19631 w 1037972"/>
                  <a:gd name="connsiteY552" fmla="*/ 432807 h 857455"/>
                  <a:gd name="connsiteX553" fmla="*/ 23016 w 1037972"/>
                  <a:gd name="connsiteY553" fmla="*/ 458982 h 857455"/>
                  <a:gd name="connsiteX554" fmla="*/ 24370 w 1037972"/>
                  <a:gd name="connsiteY554" fmla="*/ 469813 h 857455"/>
                  <a:gd name="connsiteX555" fmla="*/ 24821 w 1037972"/>
                  <a:gd name="connsiteY555" fmla="*/ 484028 h 857455"/>
                  <a:gd name="connsiteX556" fmla="*/ 26852 w 1037972"/>
                  <a:gd name="connsiteY556" fmla="*/ 496665 h 857455"/>
                  <a:gd name="connsiteX557" fmla="*/ 28657 w 1037972"/>
                  <a:gd name="connsiteY557" fmla="*/ 507496 h 857455"/>
                  <a:gd name="connsiteX558" fmla="*/ 33621 w 1037972"/>
                  <a:gd name="connsiteY558" fmla="*/ 533219 h 857455"/>
                  <a:gd name="connsiteX559" fmla="*/ 37457 w 1037972"/>
                  <a:gd name="connsiteY559" fmla="*/ 540440 h 857455"/>
                  <a:gd name="connsiteX560" fmla="*/ 44001 w 1037972"/>
                  <a:gd name="connsiteY560" fmla="*/ 559394 h 857455"/>
                  <a:gd name="connsiteX561" fmla="*/ 48965 w 1037972"/>
                  <a:gd name="connsiteY561" fmla="*/ 576092 h 857455"/>
                  <a:gd name="connsiteX562" fmla="*/ 52350 w 1037972"/>
                  <a:gd name="connsiteY562" fmla="*/ 586697 h 857455"/>
                  <a:gd name="connsiteX563" fmla="*/ 53929 w 1037972"/>
                  <a:gd name="connsiteY563" fmla="*/ 598657 h 857455"/>
                  <a:gd name="connsiteX564" fmla="*/ 56186 w 1037972"/>
                  <a:gd name="connsiteY564" fmla="*/ 619867 h 857455"/>
                  <a:gd name="connsiteX565" fmla="*/ 59796 w 1037972"/>
                  <a:gd name="connsiteY565" fmla="*/ 635211 h 857455"/>
                  <a:gd name="connsiteX566" fmla="*/ 63632 w 1037972"/>
                  <a:gd name="connsiteY566" fmla="*/ 650781 h 857455"/>
                  <a:gd name="connsiteX567" fmla="*/ 61827 w 1037972"/>
                  <a:gd name="connsiteY567" fmla="*/ 657325 h 857455"/>
                  <a:gd name="connsiteX568" fmla="*/ 60248 w 1037972"/>
                  <a:gd name="connsiteY568" fmla="*/ 664771 h 857455"/>
                  <a:gd name="connsiteX569" fmla="*/ 62730 w 1037972"/>
                  <a:gd name="connsiteY569" fmla="*/ 688012 h 857455"/>
                  <a:gd name="connsiteX570" fmla="*/ 65437 w 1037972"/>
                  <a:gd name="connsiteY570" fmla="*/ 708321 h 857455"/>
                  <a:gd name="connsiteX571" fmla="*/ 66566 w 1037972"/>
                  <a:gd name="connsiteY571" fmla="*/ 718475 h 857455"/>
                  <a:gd name="connsiteX572" fmla="*/ 68371 w 1037972"/>
                  <a:gd name="connsiteY572" fmla="*/ 758865 h 857455"/>
                  <a:gd name="connsiteX573" fmla="*/ 71755 w 1037972"/>
                  <a:gd name="connsiteY573" fmla="*/ 779399 h 857455"/>
                  <a:gd name="connsiteX574" fmla="*/ 75366 w 1037972"/>
                  <a:gd name="connsiteY574" fmla="*/ 787071 h 857455"/>
                  <a:gd name="connsiteX575" fmla="*/ 77171 w 1037972"/>
                  <a:gd name="connsiteY575" fmla="*/ 794066 h 857455"/>
                  <a:gd name="connsiteX576" fmla="*/ 84617 w 1037972"/>
                  <a:gd name="connsiteY576" fmla="*/ 818887 h 857455"/>
                  <a:gd name="connsiteX577" fmla="*/ 94771 w 1037972"/>
                  <a:gd name="connsiteY577" fmla="*/ 832200 h 857455"/>
                  <a:gd name="connsiteX578" fmla="*/ 98156 w 1037972"/>
                  <a:gd name="connsiteY578" fmla="*/ 835585 h 857455"/>
                  <a:gd name="connsiteX579" fmla="*/ 105602 w 1037972"/>
                  <a:gd name="connsiteY579" fmla="*/ 846642 h 857455"/>
                  <a:gd name="connsiteX580" fmla="*/ 106054 w 1037972"/>
                  <a:gd name="connsiteY580" fmla="*/ 846416 h 857455"/>
                  <a:gd name="connsiteX581" fmla="*/ 113049 w 1037972"/>
                  <a:gd name="connsiteY581" fmla="*/ 843934 h 857455"/>
                  <a:gd name="connsiteX582" fmla="*/ 115982 w 1037972"/>
                  <a:gd name="connsiteY582" fmla="*/ 843934 h 85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</a:cxnLst>
                <a:rect l="l" t="t" r="r" b="b"/>
                <a:pathLst>
                  <a:path w="1037972" h="857455">
                    <a:moveTo>
                      <a:pt x="144865" y="869883"/>
                    </a:moveTo>
                    <a:cubicBezTo>
                      <a:pt x="144414" y="869883"/>
                      <a:pt x="143962" y="869883"/>
                      <a:pt x="143511" y="869883"/>
                    </a:cubicBezTo>
                    <a:cubicBezTo>
                      <a:pt x="139901" y="869432"/>
                      <a:pt x="136516" y="867401"/>
                      <a:pt x="135162" y="864693"/>
                    </a:cubicBezTo>
                    <a:cubicBezTo>
                      <a:pt x="133357" y="861309"/>
                      <a:pt x="127039" y="853862"/>
                      <a:pt x="125234" y="852057"/>
                    </a:cubicBezTo>
                    <a:cubicBezTo>
                      <a:pt x="124105" y="850929"/>
                      <a:pt x="119818" y="847093"/>
                      <a:pt x="114628" y="847995"/>
                    </a:cubicBezTo>
                    <a:cubicBezTo>
                      <a:pt x="112597" y="848221"/>
                      <a:pt x="110792" y="849124"/>
                      <a:pt x="108761" y="850026"/>
                    </a:cubicBezTo>
                    <a:cubicBezTo>
                      <a:pt x="108085" y="850252"/>
                      <a:pt x="107182" y="850703"/>
                      <a:pt x="106505" y="850929"/>
                    </a:cubicBezTo>
                    <a:lnTo>
                      <a:pt x="104700" y="851606"/>
                    </a:lnTo>
                    <a:lnTo>
                      <a:pt x="103797" y="849350"/>
                    </a:lnTo>
                    <a:cubicBezTo>
                      <a:pt x="102669" y="846642"/>
                      <a:pt x="101089" y="843031"/>
                      <a:pt x="96577" y="838293"/>
                    </a:cubicBezTo>
                    <a:cubicBezTo>
                      <a:pt x="95448" y="837164"/>
                      <a:pt x="94320" y="836036"/>
                      <a:pt x="93192" y="834908"/>
                    </a:cubicBezTo>
                    <a:cubicBezTo>
                      <a:pt x="88679" y="830621"/>
                      <a:pt x="84843" y="827010"/>
                      <a:pt x="82135" y="820241"/>
                    </a:cubicBezTo>
                    <a:cubicBezTo>
                      <a:pt x="79427" y="813923"/>
                      <a:pt x="76945" y="803769"/>
                      <a:pt x="74463" y="794969"/>
                    </a:cubicBezTo>
                    <a:cubicBezTo>
                      <a:pt x="73786" y="792487"/>
                      <a:pt x="73109" y="790230"/>
                      <a:pt x="72658" y="787974"/>
                    </a:cubicBezTo>
                    <a:cubicBezTo>
                      <a:pt x="71755" y="784815"/>
                      <a:pt x="70627" y="783009"/>
                      <a:pt x="69499" y="781430"/>
                    </a:cubicBezTo>
                    <a:cubicBezTo>
                      <a:pt x="67017" y="777594"/>
                      <a:pt x="64760" y="774209"/>
                      <a:pt x="65437" y="758865"/>
                    </a:cubicBezTo>
                    <a:cubicBezTo>
                      <a:pt x="66114" y="741942"/>
                      <a:pt x="64986" y="730208"/>
                      <a:pt x="63632" y="718926"/>
                    </a:cubicBezTo>
                    <a:cubicBezTo>
                      <a:pt x="63181" y="715541"/>
                      <a:pt x="62955" y="712157"/>
                      <a:pt x="62504" y="708772"/>
                    </a:cubicBezTo>
                    <a:cubicBezTo>
                      <a:pt x="61827" y="702228"/>
                      <a:pt x="60924" y="695233"/>
                      <a:pt x="59796" y="688689"/>
                    </a:cubicBezTo>
                    <a:cubicBezTo>
                      <a:pt x="58442" y="679664"/>
                      <a:pt x="57314" y="671315"/>
                      <a:pt x="57314" y="664997"/>
                    </a:cubicBezTo>
                    <a:cubicBezTo>
                      <a:pt x="57314" y="658904"/>
                      <a:pt x="58217" y="657099"/>
                      <a:pt x="59571" y="655294"/>
                    </a:cubicBezTo>
                    <a:cubicBezTo>
                      <a:pt x="60248" y="654391"/>
                      <a:pt x="60699" y="653714"/>
                      <a:pt x="60699" y="650781"/>
                    </a:cubicBezTo>
                    <a:cubicBezTo>
                      <a:pt x="60699" y="647622"/>
                      <a:pt x="58894" y="641981"/>
                      <a:pt x="57088" y="636565"/>
                    </a:cubicBezTo>
                    <a:cubicBezTo>
                      <a:pt x="54832" y="629796"/>
                      <a:pt x="52801" y="623478"/>
                      <a:pt x="53253" y="619642"/>
                    </a:cubicBezTo>
                    <a:cubicBezTo>
                      <a:pt x="53704" y="616031"/>
                      <a:pt x="52350" y="606780"/>
                      <a:pt x="51222" y="599559"/>
                    </a:cubicBezTo>
                    <a:cubicBezTo>
                      <a:pt x="50319" y="594144"/>
                      <a:pt x="49642" y="589405"/>
                      <a:pt x="49642" y="586923"/>
                    </a:cubicBezTo>
                    <a:cubicBezTo>
                      <a:pt x="49642" y="584892"/>
                      <a:pt x="48063" y="581507"/>
                      <a:pt x="46483" y="577897"/>
                    </a:cubicBezTo>
                    <a:cubicBezTo>
                      <a:pt x="44001" y="572482"/>
                      <a:pt x="41068" y="565938"/>
                      <a:pt x="41068" y="559620"/>
                    </a:cubicBezTo>
                    <a:cubicBezTo>
                      <a:pt x="41068" y="553076"/>
                      <a:pt x="38134" y="547886"/>
                      <a:pt x="34975" y="542696"/>
                    </a:cubicBezTo>
                    <a:cubicBezTo>
                      <a:pt x="33621" y="540214"/>
                      <a:pt x="32042" y="537732"/>
                      <a:pt x="30914" y="535024"/>
                    </a:cubicBezTo>
                    <a:cubicBezTo>
                      <a:pt x="26852" y="525998"/>
                      <a:pt x="24370" y="512234"/>
                      <a:pt x="25724" y="506819"/>
                    </a:cubicBezTo>
                    <a:cubicBezTo>
                      <a:pt x="26175" y="505013"/>
                      <a:pt x="25047" y="501403"/>
                      <a:pt x="23919" y="498018"/>
                    </a:cubicBezTo>
                    <a:cubicBezTo>
                      <a:pt x="22113" y="492603"/>
                      <a:pt x="20534" y="486962"/>
                      <a:pt x="22113" y="482900"/>
                    </a:cubicBezTo>
                    <a:cubicBezTo>
                      <a:pt x="23242" y="479967"/>
                      <a:pt x="22339" y="475454"/>
                      <a:pt x="21436" y="470941"/>
                    </a:cubicBezTo>
                    <a:cubicBezTo>
                      <a:pt x="20534" y="467105"/>
                      <a:pt x="19857" y="463043"/>
                      <a:pt x="20083" y="459207"/>
                    </a:cubicBezTo>
                    <a:cubicBezTo>
                      <a:pt x="20985" y="447925"/>
                      <a:pt x="19857" y="439350"/>
                      <a:pt x="17149" y="435289"/>
                    </a:cubicBezTo>
                    <a:cubicBezTo>
                      <a:pt x="13313" y="429422"/>
                      <a:pt x="16698" y="420847"/>
                      <a:pt x="17375" y="418817"/>
                    </a:cubicBezTo>
                    <a:cubicBezTo>
                      <a:pt x="17375" y="417012"/>
                      <a:pt x="17149" y="409565"/>
                      <a:pt x="16247" y="403247"/>
                    </a:cubicBezTo>
                    <a:cubicBezTo>
                      <a:pt x="14893" y="395575"/>
                      <a:pt x="14441" y="391739"/>
                      <a:pt x="12411" y="379329"/>
                    </a:cubicBezTo>
                    <a:cubicBezTo>
                      <a:pt x="9477" y="359472"/>
                      <a:pt x="9251" y="349995"/>
                      <a:pt x="11508" y="346610"/>
                    </a:cubicBezTo>
                    <a:cubicBezTo>
                      <a:pt x="13313" y="343902"/>
                      <a:pt x="12862" y="331492"/>
                      <a:pt x="9477" y="319984"/>
                    </a:cubicBezTo>
                    <a:cubicBezTo>
                      <a:pt x="8349" y="316148"/>
                      <a:pt x="6769" y="311860"/>
                      <a:pt x="5190" y="308024"/>
                    </a:cubicBezTo>
                    <a:cubicBezTo>
                      <a:pt x="2482" y="300804"/>
                      <a:pt x="0" y="294260"/>
                      <a:pt x="0" y="289521"/>
                    </a:cubicBezTo>
                    <a:cubicBezTo>
                      <a:pt x="0" y="282075"/>
                      <a:pt x="3385" y="268536"/>
                      <a:pt x="10605" y="261767"/>
                    </a:cubicBezTo>
                    <a:cubicBezTo>
                      <a:pt x="13990" y="258608"/>
                      <a:pt x="14216" y="254321"/>
                      <a:pt x="14441" y="250259"/>
                    </a:cubicBezTo>
                    <a:cubicBezTo>
                      <a:pt x="14667" y="246874"/>
                      <a:pt x="14667" y="243715"/>
                      <a:pt x="17149" y="242136"/>
                    </a:cubicBezTo>
                    <a:cubicBezTo>
                      <a:pt x="18277" y="241008"/>
                      <a:pt x="17826" y="234013"/>
                      <a:pt x="17826" y="229725"/>
                    </a:cubicBezTo>
                    <a:cubicBezTo>
                      <a:pt x="17600" y="223633"/>
                      <a:pt x="17375" y="217315"/>
                      <a:pt x="18729" y="213704"/>
                    </a:cubicBezTo>
                    <a:cubicBezTo>
                      <a:pt x="19631" y="211448"/>
                      <a:pt x="21436" y="208514"/>
                      <a:pt x="23242" y="205807"/>
                    </a:cubicBezTo>
                    <a:lnTo>
                      <a:pt x="25498" y="202196"/>
                    </a:lnTo>
                    <a:lnTo>
                      <a:pt x="26852" y="202422"/>
                    </a:lnTo>
                    <a:cubicBezTo>
                      <a:pt x="32944" y="203776"/>
                      <a:pt x="36103" y="205355"/>
                      <a:pt x="37232" y="207838"/>
                    </a:cubicBezTo>
                    <a:cubicBezTo>
                      <a:pt x="38360" y="210320"/>
                      <a:pt x="36780" y="212576"/>
                      <a:pt x="35652" y="214381"/>
                    </a:cubicBezTo>
                    <a:cubicBezTo>
                      <a:pt x="34750" y="215961"/>
                      <a:pt x="34073" y="217089"/>
                      <a:pt x="34298" y="217766"/>
                    </a:cubicBezTo>
                    <a:cubicBezTo>
                      <a:pt x="36103" y="221602"/>
                      <a:pt x="35878" y="223858"/>
                      <a:pt x="35652" y="226792"/>
                    </a:cubicBezTo>
                    <a:cubicBezTo>
                      <a:pt x="35426" y="228823"/>
                      <a:pt x="35201" y="231079"/>
                      <a:pt x="35426" y="234464"/>
                    </a:cubicBezTo>
                    <a:cubicBezTo>
                      <a:pt x="35878" y="238977"/>
                      <a:pt x="36780" y="239202"/>
                      <a:pt x="40165" y="240105"/>
                    </a:cubicBezTo>
                    <a:cubicBezTo>
                      <a:pt x="41970" y="240556"/>
                      <a:pt x="44001" y="241233"/>
                      <a:pt x="46483" y="242361"/>
                    </a:cubicBezTo>
                    <a:cubicBezTo>
                      <a:pt x="53253" y="245746"/>
                      <a:pt x="59119" y="245069"/>
                      <a:pt x="73335" y="241233"/>
                    </a:cubicBezTo>
                    <a:cubicBezTo>
                      <a:pt x="85294" y="238074"/>
                      <a:pt x="92515" y="228823"/>
                      <a:pt x="94546" y="213704"/>
                    </a:cubicBezTo>
                    <a:cubicBezTo>
                      <a:pt x="95448" y="206709"/>
                      <a:pt x="96577" y="203325"/>
                      <a:pt x="97479" y="200843"/>
                    </a:cubicBezTo>
                    <a:cubicBezTo>
                      <a:pt x="98382" y="198360"/>
                      <a:pt x="98833" y="197007"/>
                      <a:pt x="98382" y="193396"/>
                    </a:cubicBezTo>
                    <a:cubicBezTo>
                      <a:pt x="98156" y="192268"/>
                      <a:pt x="97930" y="190914"/>
                      <a:pt x="97705" y="189786"/>
                    </a:cubicBezTo>
                    <a:cubicBezTo>
                      <a:pt x="96802" y="184370"/>
                      <a:pt x="95900" y="178955"/>
                      <a:pt x="98833" y="176021"/>
                    </a:cubicBezTo>
                    <a:cubicBezTo>
                      <a:pt x="100413" y="174442"/>
                      <a:pt x="102895" y="173991"/>
                      <a:pt x="106054" y="174442"/>
                    </a:cubicBezTo>
                    <a:cubicBezTo>
                      <a:pt x="112823" y="175570"/>
                      <a:pt x="115756" y="178503"/>
                      <a:pt x="118690" y="181663"/>
                    </a:cubicBezTo>
                    <a:cubicBezTo>
                      <a:pt x="120721" y="183693"/>
                      <a:pt x="122752" y="185724"/>
                      <a:pt x="126362" y="187981"/>
                    </a:cubicBezTo>
                    <a:cubicBezTo>
                      <a:pt x="129972" y="190011"/>
                      <a:pt x="129972" y="190011"/>
                      <a:pt x="132229" y="187304"/>
                    </a:cubicBezTo>
                    <a:cubicBezTo>
                      <a:pt x="134711" y="184596"/>
                      <a:pt x="138772" y="179857"/>
                      <a:pt x="148926" y="174667"/>
                    </a:cubicBezTo>
                    <a:cubicBezTo>
                      <a:pt x="163142" y="167673"/>
                      <a:pt x="160886" y="161580"/>
                      <a:pt x="158404" y="154811"/>
                    </a:cubicBezTo>
                    <a:cubicBezTo>
                      <a:pt x="157501" y="152554"/>
                      <a:pt x="156598" y="150072"/>
                      <a:pt x="156373" y="147590"/>
                    </a:cubicBezTo>
                    <a:cubicBezTo>
                      <a:pt x="155470" y="139467"/>
                      <a:pt x="142834" y="124349"/>
                      <a:pt x="134485" y="116902"/>
                    </a:cubicBezTo>
                    <a:cubicBezTo>
                      <a:pt x="133583" y="116225"/>
                      <a:pt x="131326" y="114194"/>
                      <a:pt x="132003" y="111938"/>
                    </a:cubicBezTo>
                    <a:cubicBezTo>
                      <a:pt x="132906" y="109456"/>
                      <a:pt x="136065" y="109005"/>
                      <a:pt x="141254" y="108553"/>
                    </a:cubicBezTo>
                    <a:cubicBezTo>
                      <a:pt x="144865" y="108102"/>
                      <a:pt x="148926" y="107651"/>
                      <a:pt x="151860" y="106297"/>
                    </a:cubicBezTo>
                    <a:cubicBezTo>
                      <a:pt x="159306" y="102912"/>
                      <a:pt x="163819" y="96143"/>
                      <a:pt x="169009" y="88471"/>
                    </a:cubicBezTo>
                    <a:lnTo>
                      <a:pt x="169912" y="87343"/>
                    </a:lnTo>
                    <a:cubicBezTo>
                      <a:pt x="174199" y="80799"/>
                      <a:pt x="180066" y="79445"/>
                      <a:pt x="190671" y="76737"/>
                    </a:cubicBezTo>
                    <a:cubicBezTo>
                      <a:pt x="194958" y="75609"/>
                      <a:pt x="200374" y="74481"/>
                      <a:pt x="206692" y="72450"/>
                    </a:cubicBezTo>
                    <a:cubicBezTo>
                      <a:pt x="214364" y="70193"/>
                      <a:pt x="214815" y="68614"/>
                      <a:pt x="214815" y="68388"/>
                    </a:cubicBezTo>
                    <a:cubicBezTo>
                      <a:pt x="214364" y="66357"/>
                      <a:pt x="203533" y="63424"/>
                      <a:pt x="199471" y="62296"/>
                    </a:cubicBezTo>
                    <a:lnTo>
                      <a:pt x="197440" y="61844"/>
                    </a:lnTo>
                    <a:cubicBezTo>
                      <a:pt x="190897" y="60039"/>
                      <a:pt x="189543" y="60716"/>
                      <a:pt x="185707" y="62521"/>
                    </a:cubicBezTo>
                    <a:cubicBezTo>
                      <a:pt x="183902" y="63424"/>
                      <a:pt x="181871" y="64327"/>
                      <a:pt x="178712" y="65455"/>
                    </a:cubicBezTo>
                    <a:cubicBezTo>
                      <a:pt x="172168" y="67937"/>
                      <a:pt x="164496" y="66357"/>
                      <a:pt x="159983" y="61619"/>
                    </a:cubicBezTo>
                    <a:cubicBezTo>
                      <a:pt x="156824" y="58234"/>
                      <a:pt x="155921" y="53947"/>
                      <a:pt x="157501" y="49885"/>
                    </a:cubicBezTo>
                    <a:cubicBezTo>
                      <a:pt x="159081" y="46049"/>
                      <a:pt x="159306" y="42665"/>
                      <a:pt x="159757" y="39506"/>
                    </a:cubicBezTo>
                    <a:cubicBezTo>
                      <a:pt x="160209" y="34993"/>
                      <a:pt x="160886" y="30480"/>
                      <a:pt x="164270" y="25290"/>
                    </a:cubicBezTo>
                    <a:cubicBezTo>
                      <a:pt x="164947" y="24387"/>
                      <a:pt x="165399" y="23485"/>
                      <a:pt x="166076" y="22582"/>
                    </a:cubicBezTo>
                    <a:cubicBezTo>
                      <a:pt x="169912" y="16715"/>
                      <a:pt x="170589" y="16038"/>
                      <a:pt x="182773" y="7915"/>
                    </a:cubicBezTo>
                    <a:lnTo>
                      <a:pt x="183450" y="7464"/>
                    </a:lnTo>
                    <a:lnTo>
                      <a:pt x="184127" y="7689"/>
                    </a:lnTo>
                    <a:cubicBezTo>
                      <a:pt x="192702" y="9043"/>
                      <a:pt x="198794" y="10171"/>
                      <a:pt x="202630" y="10849"/>
                    </a:cubicBezTo>
                    <a:cubicBezTo>
                      <a:pt x="213236" y="12879"/>
                      <a:pt x="220231" y="9043"/>
                      <a:pt x="227000" y="4982"/>
                    </a:cubicBezTo>
                    <a:cubicBezTo>
                      <a:pt x="229708" y="3402"/>
                      <a:pt x="232190" y="2048"/>
                      <a:pt x="234898" y="920"/>
                    </a:cubicBezTo>
                    <a:cubicBezTo>
                      <a:pt x="239411" y="-885"/>
                      <a:pt x="244375" y="17"/>
                      <a:pt x="248211" y="3176"/>
                    </a:cubicBezTo>
                    <a:cubicBezTo>
                      <a:pt x="253401" y="7464"/>
                      <a:pt x="255657" y="14910"/>
                      <a:pt x="254303" y="22356"/>
                    </a:cubicBezTo>
                    <a:cubicBezTo>
                      <a:pt x="253401" y="27546"/>
                      <a:pt x="251144" y="31382"/>
                      <a:pt x="249339" y="34541"/>
                    </a:cubicBezTo>
                    <a:cubicBezTo>
                      <a:pt x="247759" y="37475"/>
                      <a:pt x="246406" y="39506"/>
                      <a:pt x="246857" y="41311"/>
                    </a:cubicBezTo>
                    <a:cubicBezTo>
                      <a:pt x="247083" y="42439"/>
                      <a:pt x="248436" y="43567"/>
                      <a:pt x="250693" y="44921"/>
                    </a:cubicBezTo>
                    <a:cubicBezTo>
                      <a:pt x="262426" y="51465"/>
                      <a:pt x="275965" y="55978"/>
                      <a:pt x="284991" y="56655"/>
                    </a:cubicBezTo>
                    <a:cubicBezTo>
                      <a:pt x="285442" y="56655"/>
                      <a:pt x="323351" y="59137"/>
                      <a:pt x="333279" y="72450"/>
                    </a:cubicBezTo>
                    <a:cubicBezTo>
                      <a:pt x="334408" y="74029"/>
                      <a:pt x="335536" y="75383"/>
                      <a:pt x="336438" y="76737"/>
                    </a:cubicBezTo>
                    <a:cubicBezTo>
                      <a:pt x="341854" y="84184"/>
                      <a:pt x="343659" y="86665"/>
                      <a:pt x="358100" y="86665"/>
                    </a:cubicBezTo>
                    <a:cubicBezTo>
                      <a:pt x="367578" y="86665"/>
                      <a:pt x="375250" y="86214"/>
                      <a:pt x="382922" y="85763"/>
                    </a:cubicBezTo>
                    <a:cubicBezTo>
                      <a:pt x="390142" y="85312"/>
                      <a:pt x="396912" y="84860"/>
                      <a:pt x="404584" y="84860"/>
                    </a:cubicBezTo>
                    <a:lnTo>
                      <a:pt x="406163" y="84860"/>
                    </a:lnTo>
                    <a:cubicBezTo>
                      <a:pt x="421507" y="84860"/>
                      <a:pt x="442718" y="84860"/>
                      <a:pt x="444072" y="102912"/>
                    </a:cubicBezTo>
                    <a:cubicBezTo>
                      <a:pt x="445426" y="120061"/>
                      <a:pt x="448585" y="125477"/>
                      <a:pt x="459641" y="128861"/>
                    </a:cubicBezTo>
                    <a:cubicBezTo>
                      <a:pt x="464831" y="130441"/>
                      <a:pt x="466862" y="128410"/>
                      <a:pt x="469344" y="125702"/>
                    </a:cubicBezTo>
                    <a:cubicBezTo>
                      <a:pt x="472052" y="122995"/>
                      <a:pt x="475662" y="119384"/>
                      <a:pt x="483334" y="121189"/>
                    </a:cubicBezTo>
                    <a:cubicBezTo>
                      <a:pt x="492586" y="123446"/>
                      <a:pt x="502740" y="120964"/>
                      <a:pt x="508832" y="119610"/>
                    </a:cubicBezTo>
                    <a:cubicBezTo>
                      <a:pt x="510412" y="119159"/>
                      <a:pt x="511540" y="118933"/>
                      <a:pt x="512442" y="118933"/>
                    </a:cubicBezTo>
                    <a:cubicBezTo>
                      <a:pt x="512217" y="118256"/>
                      <a:pt x="511991" y="117128"/>
                      <a:pt x="511765" y="116225"/>
                    </a:cubicBezTo>
                    <a:cubicBezTo>
                      <a:pt x="510412" y="110358"/>
                      <a:pt x="507930" y="99527"/>
                      <a:pt x="517632" y="96368"/>
                    </a:cubicBezTo>
                    <a:cubicBezTo>
                      <a:pt x="522596" y="94789"/>
                      <a:pt x="522596" y="93661"/>
                      <a:pt x="522822" y="92081"/>
                    </a:cubicBezTo>
                    <a:cubicBezTo>
                      <a:pt x="523273" y="89373"/>
                      <a:pt x="524176" y="86891"/>
                      <a:pt x="530720" y="84409"/>
                    </a:cubicBezTo>
                    <a:cubicBezTo>
                      <a:pt x="535458" y="82604"/>
                      <a:pt x="536135" y="78091"/>
                      <a:pt x="537038" y="73352"/>
                    </a:cubicBezTo>
                    <a:cubicBezTo>
                      <a:pt x="537940" y="67937"/>
                      <a:pt x="539294" y="61168"/>
                      <a:pt x="547643" y="61168"/>
                    </a:cubicBezTo>
                    <a:cubicBezTo>
                      <a:pt x="553510" y="61168"/>
                      <a:pt x="555315" y="60039"/>
                      <a:pt x="557346" y="58685"/>
                    </a:cubicBezTo>
                    <a:cubicBezTo>
                      <a:pt x="559828" y="57106"/>
                      <a:pt x="562536" y="55526"/>
                      <a:pt x="570885" y="55526"/>
                    </a:cubicBezTo>
                    <a:cubicBezTo>
                      <a:pt x="578105" y="55526"/>
                      <a:pt x="579685" y="53044"/>
                      <a:pt x="581716" y="49885"/>
                    </a:cubicBezTo>
                    <a:cubicBezTo>
                      <a:pt x="583521" y="46952"/>
                      <a:pt x="586003" y="43341"/>
                      <a:pt x="592321" y="41762"/>
                    </a:cubicBezTo>
                    <a:cubicBezTo>
                      <a:pt x="604732" y="38603"/>
                      <a:pt x="616240" y="37023"/>
                      <a:pt x="630907" y="48983"/>
                    </a:cubicBezTo>
                    <a:cubicBezTo>
                      <a:pt x="641286" y="57557"/>
                      <a:pt x="644897" y="70645"/>
                      <a:pt x="641738" y="77640"/>
                    </a:cubicBezTo>
                    <a:cubicBezTo>
                      <a:pt x="640158" y="81250"/>
                      <a:pt x="636773" y="83055"/>
                      <a:pt x="632486" y="82378"/>
                    </a:cubicBezTo>
                    <a:cubicBezTo>
                      <a:pt x="627973" y="81701"/>
                      <a:pt x="623460" y="79671"/>
                      <a:pt x="620076" y="78317"/>
                    </a:cubicBezTo>
                    <a:cubicBezTo>
                      <a:pt x="617819" y="77414"/>
                      <a:pt x="614434" y="75835"/>
                      <a:pt x="613532" y="76286"/>
                    </a:cubicBezTo>
                    <a:lnTo>
                      <a:pt x="613532" y="76286"/>
                    </a:lnTo>
                    <a:cubicBezTo>
                      <a:pt x="613532" y="76286"/>
                      <a:pt x="613081" y="76737"/>
                      <a:pt x="613306" y="78542"/>
                    </a:cubicBezTo>
                    <a:cubicBezTo>
                      <a:pt x="613983" y="89373"/>
                      <a:pt x="617593" y="93886"/>
                      <a:pt x="626619" y="94338"/>
                    </a:cubicBezTo>
                    <a:cubicBezTo>
                      <a:pt x="632035" y="94563"/>
                      <a:pt x="636999" y="94112"/>
                      <a:pt x="642415" y="93661"/>
                    </a:cubicBezTo>
                    <a:cubicBezTo>
                      <a:pt x="648281" y="93209"/>
                      <a:pt x="654148" y="92758"/>
                      <a:pt x="660918" y="92984"/>
                    </a:cubicBezTo>
                    <a:cubicBezTo>
                      <a:pt x="664528" y="93209"/>
                      <a:pt x="668590" y="93661"/>
                      <a:pt x="673103" y="94112"/>
                    </a:cubicBezTo>
                    <a:cubicBezTo>
                      <a:pt x="684159" y="95466"/>
                      <a:pt x="696570" y="97045"/>
                      <a:pt x="703113" y="93209"/>
                    </a:cubicBezTo>
                    <a:cubicBezTo>
                      <a:pt x="706724" y="91179"/>
                      <a:pt x="708980" y="88696"/>
                      <a:pt x="711237" y="86440"/>
                    </a:cubicBezTo>
                    <a:cubicBezTo>
                      <a:pt x="715073" y="82604"/>
                      <a:pt x="718457" y="78994"/>
                      <a:pt x="726129" y="79896"/>
                    </a:cubicBezTo>
                    <a:cubicBezTo>
                      <a:pt x="731319" y="80573"/>
                      <a:pt x="735606" y="83055"/>
                      <a:pt x="740119" y="85763"/>
                    </a:cubicBezTo>
                    <a:cubicBezTo>
                      <a:pt x="745535" y="88922"/>
                      <a:pt x="751176" y="92307"/>
                      <a:pt x="758397" y="92307"/>
                    </a:cubicBezTo>
                    <a:cubicBezTo>
                      <a:pt x="764263" y="92307"/>
                      <a:pt x="766746" y="91404"/>
                      <a:pt x="769453" y="90502"/>
                    </a:cubicBezTo>
                    <a:cubicBezTo>
                      <a:pt x="773289" y="89373"/>
                      <a:pt x="777577" y="87794"/>
                      <a:pt x="789536" y="87794"/>
                    </a:cubicBezTo>
                    <a:cubicBezTo>
                      <a:pt x="799013" y="87794"/>
                      <a:pt x="799464" y="86891"/>
                      <a:pt x="800593" y="84860"/>
                    </a:cubicBezTo>
                    <a:cubicBezTo>
                      <a:pt x="802172" y="81927"/>
                      <a:pt x="804880" y="77640"/>
                      <a:pt x="820224" y="72224"/>
                    </a:cubicBezTo>
                    <a:cubicBezTo>
                      <a:pt x="823608" y="71096"/>
                      <a:pt x="826542" y="69968"/>
                      <a:pt x="829475" y="69065"/>
                    </a:cubicBezTo>
                    <a:cubicBezTo>
                      <a:pt x="852266" y="60942"/>
                      <a:pt x="861743" y="57557"/>
                      <a:pt x="866481" y="66357"/>
                    </a:cubicBezTo>
                    <a:cubicBezTo>
                      <a:pt x="868512" y="70193"/>
                      <a:pt x="867609" y="73578"/>
                      <a:pt x="866933" y="76060"/>
                    </a:cubicBezTo>
                    <a:cubicBezTo>
                      <a:pt x="866481" y="77865"/>
                      <a:pt x="866256" y="78994"/>
                      <a:pt x="866707" y="79445"/>
                    </a:cubicBezTo>
                    <a:cubicBezTo>
                      <a:pt x="867158" y="79896"/>
                      <a:pt x="868512" y="81024"/>
                      <a:pt x="873702" y="81701"/>
                    </a:cubicBezTo>
                    <a:cubicBezTo>
                      <a:pt x="881374" y="82604"/>
                      <a:pt x="887918" y="80573"/>
                      <a:pt x="894010" y="78542"/>
                    </a:cubicBezTo>
                    <a:cubicBezTo>
                      <a:pt x="900554" y="76511"/>
                      <a:pt x="906646" y="74706"/>
                      <a:pt x="912964" y="76737"/>
                    </a:cubicBezTo>
                    <a:cubicBezTo>
                      <a:pt x="918380" y="78542"/>
                      <a:pt x="919959" y="80122"/>
                      <a:pt x="921088" y="81701"/>
                    </a:cubicBezTo>
                    <a:cubicBezTo>
                      <a:pt x="921765" y="82604"/>
                      <a:pt x="922216" y="83281"/>
                      <a:pt x="927406" y="83506"/>
                    </a:cubicBezTo>
                    <a:cubicBezTo>
                      <a:pt x="938462" y="84184"/>
                      <a:pt x="945909" y="81476"/>
                      <a:pt x="950873" y="79219"/>
                    </a:cubicBezTo>
                    <a:cubicBezTo>
                      <a:pt x="952452" y="78542"/>
                      <a:pt x="953806" y="76963"/>
                      <a:pt x="955386" y="75609"/>
                    </a:cubicBezTo>
                    <a:cubicBezTo>
                      <a:pt x="957642" y="73127"/>
                      <a:pt x="960124" y="70645"/>
                      <a:pt x="963509" y="70870"/>
                    </a:cubicBezTo>
                    <a:cubicBezTo>
                      <a:pt x="965540" y="70870"/>
                      <a:pt x="967571" y="71999"/>
                      <a:pt x="969601" y="74029"/>
                    </a:cubicBezTo>
                    <a:cubicBezTo>
                      <a:pt x="974340" y="79219"/>
                      <a:pt x="976597" y="81024"/>
                      <a:pt x="980207" y="83958"/>
                    </a:cubicBezTo>
                    <a:cubicBezTo>
                      <a:pt x="981786" y="85086"/>
                      <a:pt x="983366" y="86440"/>
                      <a:pt x="985622" y="88245"/>
                    </a:cubicBezTo>
                    <a:cubicBezTo>
                      <a:pt x="989458" y="91404"/>
                      <a:pt x="991038" y="92532"/>
                      <a:pt x="992617" y="93435"/>
                    </a:cubicBezTo>
                    <a:cubicBezTo>
                      <a:pt x="993971" y="94338"/>
                      <a:pt x="995551" y="95466"/>
                      <a:pt x="998935" y="98173"/>
                    </a:cubicBezTo>
                    <a:cubicBezTo>
                      <a:pt x="1005705" y="103815"/>
                      <a:pt x="1007059" y="104943"/>
                      <a:pt x="1007059" y="109005"/>
                    </a:cubicBezTo>
                    <a:cubicBezTo>
                      <a:pt x="1007059" y="109005"/>
                      <a:pt x="1007961" y="109230"/>
                      <a:pt x="1008187" y="109456"/>
                    </a:cubicBezTo>
                    <a:cubicBezTo>
                      <a:pt x="1009541" y="110133"/>
                      <a:pt x="1011346" y="111035"/>
                      <a:pt x="1011797" y="113066"/>
                    </a:cubicBezTo>
                    <a:cubicBezTo>
                      <a:pt x="1012023" y="114871"/>
                      <a:pt x="1011120" y="116902"/>
                      <a:pt x="1008413" y="119610"/>
                    </a:cubicBezTo>
                    <a:cubicBezTo>
                      <a:pt x="1007510" y="120512"/>
                      <a:pt x="1006607" y="121415"/>
                      <a:pt x="1005479" y="122318"/>
                    </a:cubicBezTo>
                    <a:cubicBezTo>
                      <a:pt x="998033" y="129313"/>
                      <a:pt x="990361" y="136533"/>
                      <a:pt x="997356" y="151200"/>
                    </a:cubicBezTo>
                    <a:cubicBezTo>
                      <a:pt x="1001192" y="158872"/>
                      <a:pt x="1003674" y="160678"/>
                      <a:pt x="1005254" y="161806"/>
                    </a:cubicBezTo>
                    <a:cubicBezTo>
                      <a:pt x="1008413" y="164062"/>
                      <a:pt x="1009090" y="165416"/>
                      <a:pt x="1008638" y="175119"/>
                    </a:cubicBezTo>
                    <a:cubicBezTo>
                      <a:pt x="1008413" y="182114"/>
                      <a:pt x="1008864" y="186175"/>
                      <a:pt x="1009090" y="189335"/>
                    </a:cubicBezTo>
                    <a:cubicBezTo>
                      <a:pt x="1009541" y="193847"/>
                      <a:pt x="1009767" y="195878"/>
                      <a:pt x="1007284" y="201519"/>
                    </a:cubicBezTo>
                    <a:cubicBezTo>
                      <a:pt x="1005254" y="206484"/>
                      <a:pt x="1004577" y="209868"/>
                      <a:pt x="1005705" y="212350"/>
                    </a:cubicBezTo>
                    <a:cubicBezTo>
                      <a:pt x="1006382" y="213930"/>
                      <a:pt x="1007961" y="215284"/>
                      <a:pt x="1010444" y="215961"/>
                    </a:cubicBezTo>
                    <a:cubicBezTo>
                      <a:pt x="1012023" y="216412"/>
                      <a:pt x="1013828" y="217315"/>
                      <a:pt x="1014279" y="218894"/>
                    </a:cubicBezTo>
                    <a:cubicBezTo>
                      <a:pt x="1014956" y="220474"/>
                      <a:pt x="1014054" y="221828"/>
                      <a:pt x="1013151" y="223407"/>
                    </a:cubicBezTo>
                    <a:cubicBezTo>
                      <a:pt x="1011797" y="225438"/>
                      <a:pt x="1010218" y="228371"/>
                      <a:pt x="1010895" y="233110"/>
                    </a:cubicBezTo>
                    <a:cubicBezTo>
                      <a:pt x="1012474" y="242136"/>
                      <a:pt x="1010444" y="243941"/>
                      <a:pt x="1006156" y="247100"/>
                    </a:cubicBezTo>
                    <a:cubicBezTo>
                      <a:pt x="1004802" y="248002"/>
                      <a:pt x="1003223" y="249356"/>
                      <a:pt x="1001418" y="250936"/>
                    </a:cubicBezTo>
                    <a:cubicBezTo>
                      <a:pt x="993746" y="258608"/>
                      <a:pt x="993294" y="262218"/>
                      <a:pt x="993746" y="263572"/>
                    </a:cubicBezTo>
                    <a:cubicBezTo>
                      <a:pt x="993971" y="264926"/>
                      <a:pt x="995325" y="265829"/>
                      <a:pt x="997582" y="266505"/>
                    </a:cubicBezTo>
                    <a:cubicBezTo>
                      <a:pt x="1008638" y="269890"/>
                      <a:pt x="1007059" y="282075"/>
                      <a:pt x="1006382" y="287265"/>
                    </a:cubicBezTo>
                    <a:lnTo>
                      <a:pt x="1006382" y="287942"/>
                    </a:lnTo>
                    <a:cubicBezTo>
                      <a:pt x="1005930" y="290650"/>
                      <a:pt x="1003900" y="292229"/>
                      <a:pt x="1002320" y="293583"/>
                    </a:cubicBezTo>
                    <a:cubicBezTo>
                      <a:pt x="999838" y="295388"/>
                      <a:pt x="998033" y="296968"/>
                      <a:pt x="998935" y="301029"/>
                    </a:cubicBezTo>
                    <a:cubicBezTo>
                      <a:pt x="999838" y="304865"/>
                      <a:pt x="1002771" y="306896"/>
                      <a:pt x="1006156" y="309378"/>
                    </a:cubicBezTo>
                    <a:cubicBezTo>
                      <a:pt x="1009541" y="311635"/>
                      <a:pt x="1013151" y="314342"/>
                      <a:pt x="1015182" y="318855"/>
                    </a:cubicBezTo>
                    <a:cubicBezTo>
                      <a:pt x="1015633" y="319984"/>
                      <a:pt x="1016310" y="321337"/>
                      <a:pt x="1016762" y="322466"/>
                    </a:cubicBezTo>
                    <a:cubicBezTo>
                      <a:pt x="1019921" y="329912"/>
                      <a:pt x="1022854" y="336907"/>
                      <a:pt x="1027592" y="339840"/>
                    </a:cubicBezTo>
                    <a:cubicBezTo>
                      <a:pt x="1028270" y="340292"/>
                      <a:pt x="1028946" y="340743"/>
                      <a:pt x="1029623" y="340969"/>
                    </a:cubicBezTo>
                    <a:cubicBezTo>
                      <a:pt x="1036167" y="344805"/>
                      <a:pt x="1047224" y="350897"/>
                      <a:pt x="1046547" y="363308"/>
                    </a:cubicBezTo>
                    <a:cubicBezTo>
                      <a:pt x="1045870" y="376846"/>
                      <a:pt x="1034813" y="383842"/>
                      <a:pt x="1030300" y="383842"/>
                    </a:cubicBezTo>
                    <a:cubicBezTo>
                      <a:pt x="1029623" y="383842"/>
                      <a:pt x="1028495" y="384067"/>
                      <a:pt x="1027367" y="384293"/>
                    </a:cubicBezTo>
                    <a:cubicBezTo>
                      <a:pt x="1023531" y="384970"/>
                      <a:pt x="1017664" y="385872"/>
                      <a:pt x="1013603" y="380683"/>
                    </a:cubicBezTo>
                    <a:cubicBezTo>
                      <a:pt x="1012700" y="379554"/>
                      <a:pt x="1011572" y="379103"/>
                      <a:pt x="1009992" y="379103"/>
                    </a:cubicBezTo>
                    <a:cubicBezTo>
                      <a:pt x="1005254" y="378877"/>
                      <a:pt x="998484" y="382713"/>
                      <a:pt x="995325" y="386549"/>
                    </a:cubicBezTo>
                    <a:cubicBezTo>
                      <a:pt x="994648" y="387226"/>
                      <a:pt x="993971" y="387903"/>
                      <a:pt x="993294" y="388806"/>
                    </a:cubicBezTo>
                    <a:cubicBezTo>
                      <a:pt x="987653" y="394898"/>
                      <a:pt x="977273" y="406180"/>
                      <a:pt x="978176" y="415883"/>
                    </a:cubicBezTo>
                    <a:cubicBezTo>
                      <a:pt x="979530" y="427842"/>
                      <a:pt x="978853" y="434837"/>
                      <a:pt x="972760" y="441833"/>
                    </a:cubicBezTo>
                    <a:cubicBezTo>
                      <a:pt x="970730" y="444089"/>
                      <a:pt x="971181" y="448151"/>
                      <a:pt x="971858" y="451987"/>
                    </a:cubicBezTo>
                    <a:cubicBezTo>
                      <a:pt x="972535" y="456725"/>
                      <a:pt x="973438" y="462818"/>
                      <a:pt x="967345" y="463720"/>
                    </a:cubicBezTo>
                    <a:cubicBezTo>
                      <a:pt x="958319" y="465074"/>
                      <a:pt x="946586" y="463495"/>
                      <a:pt x="935755" y="459207"/>
                    </a:cubicBezTo>
                    <a:cubicBezTo>
                      <a:pt x="927406" y="456048"/>
                      <a:pt x="928985" y="450858"/>
                      <a:pt x="930339" y="446120"/>
                    </a:cubicBezTo>
                    <a:cubicBezTo>
                      <a:pt x="931242" y="443186"/>
                      <a:pt x="932144" y="440027"/>
                      <a:pt x="931467" y="436643"/>
                    </a:cubicBezTo>
                    <a:cubicBezTo>
                      <a:pt x="930790" y="433484"/>
                      <a:pt x="928985" y="430325"/>
                      <a:pt x="927180" y="427391"/>
                    </a:cubicBezTo>
                    <a:cubicBezTo>
                      <a:pt x="923570" y="421073"/>
                      <a:pt x="919508" y="413852"/>
                      <a:pt x="924924" y="406406"/>
                    </a:cubicBezTo>
                    <a:cubicBezTo>
                      <a:pt x="931467" y="396929"/>
                      <a:pt x="933949" y="377072"/>
                      <a:pt x="933949" y="370528"/>
                    </a:cubicBezTo>
                    <a:cubicBezTo>
                      <a:pt x="933949" y="365113"/>
                      <a:pt x="921990" y="347964"/>
                      <a:pt x="901456" y="347964"/>
                    </a:cubicBezTo>
                    <a:cubicBezTo>
                      <a:pt x="890400" y="347964"/>
                      <a:pt x="885436" y="350446"/>
                      <a:pt x="881599" y="352702"/>
                    </a:cubicBezTo>
                    <a:cubicBezTo>
                      <a:pt x="877989" y="354733"/>
                      <a:pt x="874830" y="356313"/>
                      <a:pt x="868963" y="354282"/>
                    </a:cubicBezTo>
                    <a:cubicBezTo>
                      <a:pt x="861743" y="351800"/>
                      <a:pt x="857004" y="352251"/>
                      <a:pt x="852040" y="352702"/>
                    </a:cubicBezTo>
                    <a:cubicBezTo>
                      <a:pt x="850009" y="352928"/>
                      <a:pt x="847978" y="353154"/>
                      <a:pt x="845722" y="353154"/>
                    </a:cubicBezTo>
                    <a:cubicBezTo>
                      <a:pt x="842563" y="353154"/>
                      <a:pt x="840532" y="354056"/>
                      <a:pt x="838275" y="355410"/>
                    </a:cubicBezTo>
                    <a:cubicBezTo>
                      <a:pt x="835568" y="356764"/>
                      <a:pt x="832634" y="358343"/>
                      <a:pt x="827670" y="358343"/>
                    </a:cubicBezTo>
                    <a:cubicBezTo>
                      <a:pt x="818419" y="358343"/>
                      <a:pt x="795403" y="349543"/>
                      <a:pt x="788633" y="342097"/>
                    </a:cubicBezTo>
                    <a:lnTo>
                      <a:pt x="787054" y="340292"/>
                    </a:lnTo>
                    <a:cubicBezTo>
                      <a:pt x="781187" y="333748"/>
                      <a:pt x="772161" y="323820"/>
                      <a:pt x="767197" y="320435"/>
                    </a:cubicBezTo>
                    <a:cubicBezTo>
                      <a:pt x="764715" y="318855"/>
                      <a:pt x="756366" y="318404"/>
                      <a:pt x="749597" y="318178"/>
                    </a:cubicBezTo>
                    <a:cubicBezTo>
                      <a:pt x="740796" y="317953"/>
                      <a:pt x="735155" y="317727"/>
                      <a:pt x="732673" y="315922"/>
                    </a:cubicBezTo>
                    <a:cubicBezTo>
                      <a:pt x="730868" y="314568"/>
                      <a:pt x="728386" y="313440"/>
                      <a:pt x="725678" y="312312"/>
                    </a:cubicBezTo>
                    <a:cubicBezTo>
                      <a:pt x="721842" y="310507"/>
                      <a:pt x="718232" y="308927"/>
                      <a:pt x="716652" y="306896"/>
                    </a:cubicBezTo>
                    <a:cubicBezTo>
                      <a:pt x="716652" y="306896"/>
                      <a:pt x="715524" y="307799"/>
                      <a:pt x="715298" y="309378"/>
                    </a:cubicBezTo>
                    <a:cubicBezTo>
                      <a:pt x="715073" y="310281"/>
                      <a:pt x="714847" y="311860"/>
                      <a:pt x="716201" y="312989"/>
                    </a:cubicBezTo>
                    <a:cubicBezTo>
                      <a:pt x="719134" y="315471"/>
                      <a:pt x="718683" y="318855"/>
                      <a:pt x="718006" y="322691"/>
                    </a:cubicBezTo>
                    <a:cubicBezTo>
                      <a:pt x="717555" y="326527"/>
                      <a:pt x="716878" y="331266"/>
                      <a:pt x="718683" y="337810"/>
                    </a:cubicBezTo>
                    <a:cubicBezTo>
                      <a:pt x="722970" y="352928"/>
                      <a:pt x="720037" y="360374"/>
                      <a:pt x="715750" y="362631"/>
                    </a:cubicBezTo>
                    <a:cubicBezTo>
                      <a:pt x="712139" y="364436"/>
                      <a:pt x="701985" y="373913"/>
                      <a:pt x="702888" y="379329"/>
                    </a:cubicBezTo>
                    <a:cubicBezTo>
                      <a:pt x="703790" y="384518"/>
                      <a:pt x="699503" y="389708"/>
                      <a:pt x="694990" y="392416"/>
                    </a:cubicBezTo>
                    <a:cubicBezTo>
                      <a:pt x="693185" y="393544"/>
                      <a:pt x="689575" y="395349"/>
                      <a:pt x="687544" y="393544"/>
                    </a:cubicBezTo>
                    <a:cubicBezTo>
                      <a:pt x="687093" y="393093"/>
                      <a:pt x="686190" y="392416"/>
                      <a:pt x="685287" y="391513"/>
                    </a:cubicBezTo>
                    <a:cubicBezTo>
                      <a:pt x="681903" y="388129"/>
                      <a:pt x="675359" y="381585"/>
                      <a:pt x="669943" y="383842"/>
                    </a:cubicBezTo>
                    <a:cubicBezTo>
                      <a:pt x="665882" y="385421"/>
                      <a:pt x="664979" y="388129"/>
                      <a:pt x="663625" y="393319"/>
                    </a:cubicBezTo>
                    <a:cubicBezTo>
                      <a:pt x="662723" y="396703"/>
                      <a:pt x="661595" y="400765"/>
                      <a:pt x="659112" y="405504"/>
                    </a:cubicBezTo>
                    <a:cubicBezTo>
                      <a:pt x="655953" y="411596"/>
                      <a:pt x="657533" y="416334"/>
                      <a:pt x="659338" y="421750"/>
                    </a:cubicBezTo>
                    <a:cubicBezTo>
                      <a:pt x="660918" y="426489"/>
                      <a:pt x="662723" y="431904"/>
                      <a:pt x="661143" y="438448"/>
                    </a:cubicBezTo>
                    <a:cubicBezTo>
                      <a:pt x="660241" y="442284"/>
                      <a:pt x="659789" y="445443"/>
                      <a:pt x="659112" y="448376"/>
                    </a:cubicBezTo>
                    <a:cubicBezTo>
                      <a:pt x="657984" y="455823"/>
                      <a:pt x="656856" y="461689"/>
                      <a:pt x="651440" y="469587"/>
                    </a:cubicBezTo>
                    <a:cubicBezTo>
                      <a:pt x="647830" y="474777"/>
                      <a:pt x="642415" y="476808"/>
                      <a:pt x="637676" y="478613"/>
                    </a:cubicBezTo>
                    <a:cubicBezTo>
                      <a:pt x="631584" y="480869"/>
                      <a:pt x="628650" y="482223"/>
                      <a:pt x="628650" y="487413"/>
                    </a:cubicBezTo>
                    <a:cubicBezTo>
                      <a:pt x="628650" y="490121"/>
                      <a:pt x="628876" y="492377"/>
                      <a:pt x="628876" y="494182"/>
                    </a:cubicBezTo>
                    <a:cubicBezTo>
                      <a:pt x="629327" y="501177"/>
                      <a:pt x="629778" y="505690"/>
                      <a:pt x="621204" y="509752"/>
                    </a:cubicBezTo>
                    <a:cubicBezTo>
                      <a:pt x="617819" y="511331"/>
                      <a:pt x="616240" y="512911"/>
                      <a:pt x="614886" y="514265"/>
                    </a:cubicBezTo>
                    <a:cubicBezTo>
                      <a:pt x="611952" y="517198"/>
                      <a:pt x="609922" y="518101"/>
                      <a:pt x="604055" y="515619"/>
                    </a:cubicBezTo>
                    <a:cubicBezTo>
                      <a:pt x="599993" y="513814"/>
                      <a:pt x="598639" y="510655"/>
                      <a:pt x="597511" y="507947"/>
                    </a:cubicBezTo>
                    <a:cubicBezTo>
                      <a:pt x="595706" y="503885"/>
                      <a:pt x="594803" y="501854"/>
                      <a:pt x="586003" y="505013"/>
                    </a:cubicBezTo>
                    <a:cubicBezTo>
                      <a:pt x="571336" y="510429"/>
                      <a:pt x="568628" y="520132"/>
                      <a:pt x="566823" y="527127"/>
                    </a:cubicBezTo>
                    <a:lnTo>
                      <a:pt x="566372" y="528706"/>
                    </a:lnTo>
                    <a:cubicBezTo>
                      <a:pt x="564115" y="536830"/>
                      <a:pt x="554638" y="547886"/>
                      <a:pt x="542453" y="556686"/>
                    </a:cubicBezTo>
                    <a:cubicBezTo>
                      <a:pt x="537264" y="560297"/>
                      <a:pt x="533202" y="561651"/>
                      <a:pt x="529592" y="562553"/>
                    </a:cubicBezTo>
                    <a:cubicBezTo>
                      <a:pt x="523950" y="564133"/>
                      <a:pt x="519663" y="565487"/>
                      <a:pt x="512894" y="576769"/>
                    </a:cubicBezTo>
                    <a:cubicBezTo>
                      <a:pt x="507253" y="586246"/>
                      <a:pt x="501611" y="588503"/>
                      <a:pt x="497098" y="590308"/>
                    </a:cubicBezTo>
                    <a:cubicBezTo>
                      <a:pt x="492360" y="592339"/>
                      <a:pt x="489652" y="593467"/>
                      <a:pt x="488750" y="602267"/>
                    </a:cubicBezTo>
                    <a:cubicBezTo>
                      <a:pt x="487396" y="616031"/>
                      <a:pt x="482657" y="617385"/>
                      <a:pt x="475211" y="617611"/>
                    </a:cubicBezTo>
                    <a:cubicBezTo>
                      <a:pt x="472729" y="617611"/>
                      <a:pt x="469795" y="617836"/>
                      <a:pt x="466862" y="618965"/>
                    </a:cubicBezTo>
                    <a:cubicBezTo>
                      <a:pt x="461672" y="620770"/>
                      <a:pt x="461446" y="622801"/>
                      <a:pt x="460995" y="626185"/>
                    </a:cubicBezTo>
                    <a:cubicBezTo>
                      <a:pt x="460544" y="629119"/>
                      <a:pt x="460092" y="632503"/>
                      <a:pt x="456257" y="635437"/>
                    </a:cubicBezTo>
                    <a:cubicBezTo>
                      <a:pt x="448133" y="641529"/>
                      <a:pt x="429405" y="641529"/>
                      <a:pt x="419476" y="641529"/>
                    </a:cubicBezTo>
                    <a:cubicBezTo>
                      <a:pt x="417220" y="641529"/>
                      <a:pt x="414738" y="641755"/>
                      <a:pt x="412256" y="641755"/>
                    </a:cubicBezTo>
                    <a:cubicBezTo>
                      <a:pt x="404584" y="642206"/>
                      <a:pt x="396460" y="642432"/>
                      <a:pt x="390368" y="639498"/>
                    </a:cubicBezTo>
                    <a:cubicBezTo>
                      <a:pt x="382019" y="635211"/>
                      <a:pt x="370511" y="631601"/>
                      <a:pt x="364419" y="638370"/>
                    </a:cubicBezTo>
                    <a:cubicBezTo>
                      <a:pt x="361034" y="641981"/>
                      <a:pt x="363065" y="646719"/>
                      <a:pt x="366449" y="653714"/>
                    </a:cubicBezTo>
                    <a:cubicBezTo>
                      <a:pt x="368706" y="658227"/>
                      <a:pt x="371188" y="662966"/>
                      <a:pt x="371188" y="667704"/>
                    </a:cubicBezTo>
                    <a:cubicBezTo>
                      <a:pt x="371188" y="674474"/>
                      <a:pt x="370060" y="678987"/>
                      <a:pt x="368932" y="682823"/>
                    </a:cubicBezTo>
                    <a:cubicBezTo>
                      <a:pt x="368255" y="685079"/>
                      <a:pt x="367803" y="687110"/>
                      <a:pt x="367578" y="689366"/>
                    </a:cubicBezTo>
                    <a:cubicBezTo>
                      <a:pt x="366901" y="695684"/>
                      <a:pt x="360131" y="696587"/>
                      <a:pt x="353588" y="697489"/>
                    </a:cubicBezTo>
                    <a:cubicBezTo>
                      <a:pt x="351557" y="697715"/>
                      <a:pt x="349526" y="698167"/>
                      <a:pt x="347269" y="698618"/>
                    </a:cubicBezTo>
                    <a:cubicBezTo>
                      <a:pt x="342531" y="699520"/>
                      <a:pt x="338921" y="698167"/>
                      <a:pt x="335987" y="696813"/>
                    </a:cubicBezTo>
                    <a:cubicBezTo>
                      <a:pt x="332602" y="695459"/>
                      <a:pt x="331474" y="695233"/>
                      <a:pt x="330120" y="696587"/>
                    </a:cubicBezTo>
                    <a:cubicBezTo>
                      <a:pt x="322223" y="705613"/>
                      <a:pt x="313874" y="709223"/>
                      <a:pt x="305751" y="707192"/>
                    </a:cubicBezTo>
                    <a:cubicBezTo>
                      <a:pt x="299658" y="705613"/>
                      <a:pt x="295597" y="701551"/>
                      <a:pt x="292437" y="698392"/>
                    </a:cubicBezTo>
                    <a:cubicBezTo>
                      <a:pt x="290632" y="696587"/>
                      <a:pt x="288601" y="694556"/>
                      <a:pt x="287699" y="694782"/>
                    </a:cubicBezTo>
                    <a:cubicBezTo>
                      <a:pt x="284089" y="695233"/>
                      <a:pt x="278222" y="699746"/>
                      <a:pt x="275288" y="705613"/>
                    </a:cubicBezTo>
                    <a:cubicBezTo>
                      <a:pt x="271678" y="712833"/>
                      <a:pt x="262201" y="717798"/>
                      <a:pt x="254529" y="719152"/>
                    </a:cubicBezTo>
                    <a:cubicBezTo>
                      <a:pt x="248888" y="720054"/>
                      <a:pt x="246631" y="723213"/>
                      <a:pt x="244149" y="726598"/>
                    </a:cubicBezTo>
                    <a:cubicBezTo>
                      <a:pt x="243698" y="727275"/>
                      <a:pt x="243021" y="727952"/>
                      <a:pt x="242570" y="728629"/>
                    </a:cubicBezTo>
                    <a:cubicBezTo>
                      <a:pt x="239411" y="732465"/>
                      <a:pt x="230385" y="742168"/>
                      <a:pt x="229933" y="742393"/>
                    </a:cubicBezTo>
                    <a:lnTo>
                      <a:pt x="227903" y="744650"/>
                    </a:lnTo>
                    <a:lnTo>
                      <a:pt x="226774" y="741942"/>
                    </a:lnTo>
                    <a:cubicBezTo>
                      <a:pt x="226549" y="741491"/>
                      <a:pt x="222713" y="732239"/>
                      <a:pt x="212559" y="734270"/>
                    </a:cubicBezTo>
                    <a:cubicBezTo>
                      <a:pt x="205112" y="735849"/>
                      <a:pt x="202179" y="741039"/>
                      <a:pt x="200599" y="744198"/>
                    </a:cubicBezTo>
                    <a:cubicBezTo>
                      <a:pt x="199697" y="746003"/>
                      <a:pt x="198794" y="747583"/>
                      <a:pt x="197215" y="747583"/>
                    </a:cubicBezTo>
                    <a:cubicBezTo>
                      <a:pt x="196538" y="748034"/>
                      <a:pt x="192927" y="753450"/>
                      <a:pt x="193153" y="763604"/>
                    </a:cubicBezTo>
                    <a:cubicBezTo>
                      <a:pt x="193379" y="769471"/>
                      <a:pt x="191574" y="773081"/>
                      <a:pt x="190220" y="775789"/>
                    </a:cubicBezTo>
                    <a:cubicBezTo>
                      <a:pt x="188866" y="778722"/>
                      <a:pt x="188866" y="778722"/>
                      <a:pt x="190445" y="779625"/>
                    </a:cubicBezTo>
                    <a:cubicBezTo>
                      <a:pt x="192025" y="780527"/>
                      <a:pt x="193830" y="780979"/>
                      <a:pt x="195861" y="781204"/>
                    </a:cubicBezTo>
                    <a:cubicBezTo>
                      <a:pt x="200148" y="782107"/>
                      <a:pt x="205338" y="783009"/>
                      <a:pt x="207594" y="791358"/>
                    </a:cubicBezTo>
                    <a:cubicBezTo>
                      <a:pt x="209625" y="798579"/>
                      <a:pt x="205789" y="808282"/>
                      <a:pt x="202179" y="817533"/>
                    </a:cubicBezTo>
                    <a:cubicBezTo>
                      <a:pt x="200148" y="822949"/>
                      <a:pt x="198117" y="827913"/>
                      <a:pt x="197440" y="831975"/>
                    </a:cubicBezTo>
                    <a:cubicBezTo>
                      <a:pt x="197215" y="833329"/>
                      <a:pt x="196989" y="834457"/>
                      <a:pt x="196763" y="835585"/>
                    </a:cubicBezTo>
                    <a:cubicBezTo>
                      <a:pt x="195410" y="844611"/>
                      <a:pt x="194281" y="851380"/>
                      <a:pt x="185707" y="853637"/>
                    </a:cubicBezTo>
                    <a:cubicBezTo>
                      <a:pt x="181871" y="854765"/>
                      <a:pt x="177584" y="854765"/>
                      <a:pt x="173973" y="854765"/>
                    </a:cubicBezTo>
                    <a:cubicBezTo>
                      <a:pt x="169912" y="854765"/>
                      <a:pt x="165850" y="854765"/>
                      <a:pt x="164722" y="856345"/>
                    </a:cubicBezTo>
                    <a:cubicBezTo>
                      <a:pt x="162691" y="858827"/>
                      <a:pt x="159757" y="860857"/>
                      <a:pt x="157050" y="862888"/>
                    </a:cubicBezTo>
                    <a:cubicBezTo>
                      <a:pt x="154793" y="864468"/>
                      <a:pt x="152537" y="866047"/>
                      <a:pt x="151183" y="867627"/>
                    </a:cubicBezTo>
                    <a:cubicBezTo>
                      <a:pt x="149603" y="868981"/>
                      <a:pt x="147347" y="869883"/>
                      <a:pt x="144865" y="869883"/>
                    </a:cubicBezTo>
                    <a:close/>
                    <a:moveTo>
                      <a:pt x="115982" y="843934"/>
                    </a:moveTo>
                    <a:cubicBezTo>
                      <a:pt x="121849" y="843934"/>
                      <a:pt x="126362" y="847995"/>
                      <a:pt x="127716" y="849350"/>
                    </a:cubicBezTo>
                    <a:cubicBezTo>
                      <a:pt x="129521" y="851154"/>
                      <a:pt x="136290" y="858827"/>
                      <a:pt x="138321" y="862888"/>
                    </a:cubicBezTo>
                    <a:cubicBezTo>
                      <a:pt x="138998" y="864468"/>
                      <a:pt x="141480" y="865822"/>
                      <a:pt x="143737" y="866047"/>
                    </a:cubicBezTo>
                    <a:cubicBezTo>
                      <a:pt x="144865" y="866273"/>
                      <a:pt x="146670" y="866273"/>
                      <a:pt x="148024" y="864919"/>
                    </a:cubicBezTo>
                    <a:cubicBezTo>
                      <a:pt x="149603" y="862888"/>
                      <a:pt x="152086" y="861309"/>
                      <a:pt x="154568" y="859504"/>
                    </a:cubicBezTo>
                    <a:cubicBezTo>
                      <a:pt x="157275" y="857698"/>
                      <a:pt x="159983" y="855668"/>
                      <a:pt x="161563" y="853637"/>
                    </a:cubicBezTo>
                    <a:cubicBezTo>
                      <a:pt x="164045" y="850478"/>
                      <a:pt x="168558" y="850478"/>
                      <a:pt x="173973" y="850478"/>
                    </a:cubicBezTo>
                    <a:cubicBezTo>
                      <a:pt x="177584" y="850478"/>
                      <a:pt x="181420" y="850478"/>
                      <a:pt x="184804" y="849575"/>
                    </a:cubicBezTo>
                    <a:cubicBezTo>
                      <a:pt x="190897" y="847770"/>
                      <a:pt x="191799" y="843934"/>
                      <a:pt x="193153" y="834457"/>
                    </a:cubicBezTo>
                    <a:cubicBezTo>
                      <a:pt x="193379" y="833329"/>
                      <a:pt x="193604" y="832200"/>
                      <a:pt x="193830" y="830846"/>
                    </a:cubicBezTo>
                    <a:cubicBezTo>
                      <a:pt x="194507" y="826334"/>
                      <a:pt x="196538" y="821144"/>
                      <a:pt x="198794" y="815728"/>
                    </a:cubicBezTo>
                    <a:cubicBezTo>
                      <a:pt x="201953" y="807379"/>
                      <a:pt x="205789" y="797902"/>
                      <a:pt x="204210" y="791810"/>
                    </a:cubicBezTo>
                    <a:cubicBezTo>
                      <a:pt x="202630" y="785717"/>
                      <a:pt x="199471" y="785266"/>
                      <a:pt x="195410" y="784363"/>
                    </a:cubicBezTo>
                    <a:cubicBezTo>
                      <a:pt x="193153" y="783912"/>
                      <a:pt x="190897" y="783461"/>
                      <a:pt x="188866" y="782107"/>
                    </a:cubicBezTo>
                    <a:cubicBezTo>
                      <a:pt x="184353" y="779399"/>
                      <a:pt x="185932" y="776240"/>
                      <a:pt x="187286" y="773307"/>
                    </a:cubicBezTo>
                    <a:cubicBezTo>
                      <a:pt x="188415" y="770824"/>
                      <a:pt x="189994" y="767665"/>
                      <a:pt x="189768" y="762927"/>
                    </a:cubicBezTo>
                    <a:cubicBezTo>
                      <a:pt x="189543" y="754127"/>
                      <a:pt x="192025" y="747357"/>
                      <a:pt x="194733" y="744650"/>
                    </a:cubicBezTo>
                    <a:cubicBezTo>
                      <a:pt x="195410" y="743973"/>
                      <a:pt x="196086" y="743521"/>
                      <a:pt x="196989" y="743296"/>
                    </a:cubicBezTo>
                    <a:cubicBezTo>
                      <a:pt x="197215" y="743070"/>
                      <a:pt x="197440" y="742393"/>
                      <a:pt x="197892" y="741942"/>
                    </a:cubicBezTo>
                    <a:cubicBezTo>
                      <a:pt x="199697" y="738557"/>
                      <a:pt x="203082" y="732013"/>
                      <a:pt x="212333" y="730208"/>
                    </a:cubicBezTo>
                    <a:cubicBezTo>
                      <a:pt x="221133" y="728403"/>
                      <a:pt x="226774" y="733367"/>
                      <a:pt x="229482" y="737655"/>
                    </a:cubicBezTo>
                    <a:cubicBezTo>
                      <a:pt x="232416" y="734496"/>
                      <a:pt x="237831" y="728629"/>
                      <a:pt x="240087" y="725921"/>
                    </a:cubicBezTo>
                    <a:cubicBezTo>
                      <a:pt x="240539" y="725244"/>
                      <a:pt x="240990" y="724567"/>
                      <a:pt x="241667" y="724116"/>
                    </a:cubicBezTo>
                    <a:cubicBezTo>
                      <a:pt x="244149" y="720731"/>
                      <a:pt x="247534" y="716444"/>
                      <a:pt x="254529" y="715316"/>
                    </a:cubicBezTo>
                    <a:cubicBezTo>
                      <a:pt x="262201" y="713962"/>
                      <a:pt x="269873" y="708997"/>
                      <a:pt x="272581" y="703808"/>
                    </a:cubicBezTo>
                    <a:cubicBezTo>
                      <a:pt x="275740" y="697264"/>
                      <a:pt x="282509" y="691623"/>
                      <a:pt x="287699" y="690946"/>
                    </a:cubicBezTo>
                    <a:cubicBezTo>
                      <a:pt x="290632" y="690495"/>
                      <a:pt x="292889" y="692977"/>
                      <a:pt x="295822" y="695684"/>
                    </a:cubicBezTo>
                    <a:cubicBezTo>
                      <a:pt x="298756" y="698618"/>
                      <a:pt x="302366" y="702228"/>
                      <a:pt x="307330" y="703582"/>
                    </a:cubicBezTo>
                    <a:cubicBezTo>
                      <a:pt x="314099" y="705387"/>
                      <a:pt x="321094" y="702003"/>
                      <a:pt x="328090" y="694105"/>
                    </a:cubicBezTo>
                    <a:cubicBezTo>
                      <a:pt x="331249" y="690495"/>
                      <a:pt x="334859" y="691848"/>
                      <a:pt x="338244" y="693202"/>
                    </a:cubicBezTo>
                    <a:cubicBezTo>
                      <a:pt x="340951" y="694330"/>
                      <a:pt x="343885" y="695459"/>
                      <a:pt x="347495" y="694782"/>
                    </a:cubicBezTo>
                    <a:cubicBezTo>
                      <a:pt x="349752" y="694330"/>
                      <a:pt x="351782" y="694105"/>
                      <a:pt x="354039" y="693654"/>
                    </a:cubicBezTo>
                    <a:cubicBezTo>
                      <a:pt x="360583" y="692751"/>
                      <a:pt x="364644" y="692074"/>
                      <a:pt x="364870" y="688915"/>
                    </a:cubicBezTo>
                    <a:cubicBezTo>
                      <a:pt x="365095" y="686433"/>
                      <a:pt x="365772" y="684176"/>
                      <a:pt x="366449" y="681694"/>
                    </a:cubicBezTo>
                    <a:cubicBezTo>
                      <a:pt x="367578" y="678084"/>
                      <a:pt x="368706" y="674022"/>
                      <a:pt x="368706" y="667704"/>
                    </a:cubicBezTo>
                    <a:cubicBezTo>
                      <a:pt x="368706" y="663868"/>
                      <a:pt x="366449" y="659581"/>
                      <a:pt x="364419" y="655294"/>
                    </a:cubicBezTo>
                    <a:cubicBezTo>
                      <a:pt x="361034" y="648524"/>
                      <a:pt x="357424" y="641529"/>
                      <a:pt x="362839" y="635663"/>
                    </a:cubicBezTo>
                    <a:cubicBezTo>
                      <a:pt x="368932" y="628893"/>
                      <a:pt x="379537" y="629119"/>
                      <a:pt x="393301" y="635888"/>
                    </a:cubicBezTo>
                    <a:cubicBezTo>
                      <a:pt x="398491" y="638596"/>
                      <a:pt x="406163" y="638145"/>
                      <a:pt x="413384" y="637693"/>
                    </a:cubicBezTo>
                    <a:cubicBezTo>
                      <a:pt x="415866" y="637468"/>
                      <a:pt x="418348" y="637468"/>
                      <a:pt x="420604" y="637468"/>
                    </a:cubicBezTo>
                    <a:cubicBezTo>
                      <a:pt x="429630" y="637468"/>
                      <a:pt x="448133" y="637468"/>
                      <a:pt x="455128" y="632278"/>
                    </a:cubicBezTo>
                    <a:cubicBezTo>
                      <a:pt x="457836" y="630247"/>
                      <a:pt x="458062" y="627991"/>
                      <a:pt x="458513" y="625509"/>
                    </a:cubicBezTo>
                    <a:cubicBezTo>
                      <a:pt x="458964" y="621898"/>
                      <a:pt x="459641" y="617611"/>
                      <a:pt x="467088" y="615129"/>
                    </a:cubicBezTo>
                    <a:cubicBezTo>
                      <a:pt x="470698" y="614001"/>
                      <a:pt x="473857" y="613775"/>
                      <a:pt x="476565" y="613775"/>
                    </a:cubicBezTo>
                    <a:cubicBezTo>
                      <a:pt x="482657" y="613549"/>
                      <a:pt x="485365" y="613324"/>
                      <a:pt x="486493" y="601816"/>
                    </a:cubicBezTo>
                    <a:cubicBezTo>
                      <a:pt x="487621" y="590759"/>
                      <a:pt x="492134" y="588954"/>
                      <a:pt x="497098" y="586697"/>
                    </a:cubicBezTo>
                    <a:cubicBezTo>
                      <a:pt x="501386" y="584892"/>
                      <a:pt x="506124" y="582861"/>
                      <a:pt x="511089" y="574738"/>
                    </a:cubicBezTo>
                    <a:cubicBezTo>
                      <a:pt x="518535" y="562328"/>
                      <a:pt x="523725" y="560748"/>
                      <a:pt x="530043" y="558943"/>
                    </a:cubicBezTo>
                    <a:cubicBezTo>
                      <a:pt x="533427" y="557815"/>
                      <a:pt x="537038" y="556912"/>
                      <a:pt x="541776" y="553527"/>
                    </a:cubicBezTo>
                    <a:cubicBezTo>
                      <a:pt x="555090" y="544050"/>
                      <a:pt x="562536" y="533671"/>
                      <a:pt x="564341" y="527578"/>
                    </a:cubicBezTo>
                    <a:lnTo>
                      <a:pt x="564792" y="525998"/>
                    </a:lnTo>
                    <a:cubicBezTo>
                      <a:pt x="566598" y="519004"/>
                      <a:pt x="569531" y="507270"/>
                      <a:pt x="586229" y="501177"/>
                    </a:cubicBezTo>
                    <a:cubicBezTo>
                      <a:pt x="597511" y="496890"/>
                      <a:pt x="600219" y="500726"/>
                      <a:pt x="602475" y="506142"/>
                    </a:cubicBezTo>
                    <a:cubicBezTo>
                      <a:pt x="603378" y="508624"/>
                      <a:pt x="604506" y="510655"/>
                      <a:pt x="606988" y="511783"/>
                    </a:cubicBezTo>
                    <a:cubicBezTo>
                      <a:pt x="611275" y="513588"/>
                      <a:pt x="611727" y="513137"/>
                      <a:pt x="613758" y="511331"/>
                    </a:cubicBezTo>
                    <a:cubicBezTo>
                      <a:pt x="615337" y="509978"/>
                      <a:pt x="617142" y="507947"/>
                      <a:pt x="620978" y="506142"/>
                    </a:cubicBezTo>
                    <a:cubicBezTo>
                      <a:pt x="627071" y="503208"/>
                      <a:pt x="626845" y="500952"/>
                      <a:pt x="626394" y="494182"/>
                    </a:cubicBezTo>
                    <a:cubicBezTo>
                      <a:pt x="626168" y="492152"/>
                      <a:pt x="626168" y="489895"/>
                      <a:pt x="626168" y="486962"/>
                    </a:cubicBezTo>
                    <a:cubicBezTo>
                      <a:pt x="626168" y="479064"/>
                      <a:pt x="632035" y="476808"/>
                      <a:pt x="637676" y="474777"/>
                    </a:cubicBezTo>
                    <a:cubicBezTo>
                      <a:pt x="642189" y="473197"/>
                      <a:pt x="646702" y="471392"/>
                      <a:pt x="649635" y="467105"/>
                    </a:cubicBezTo>
                    <a:cubicBezTo>
                      <a:pt x="654825" y="459884"/>
                      <a:pt x="655502" y="454694"/>
                      <a:pt x="656856" y="447248"/>
                    </a:cubicBezTo>
                    <a:cubicBezTo>
                      <a:pt x="657307" y="444315"/>
                      <a:pt x="657984" y="440930"/>
                      <a:pt x="658887" y="436868"/>
                    </a:cubicBezTo>
                    <a:cubicBezTo>
                      <a:pt x="660241" y="431453"/>
                      <a:pt x="658661" y="426940"/>
                      <a:pt x="657307" y="422201"/>
                    </a:cubicBezTo>
                    <a:cubicBezTo>
                      <a:pt x="655502" y="416560"/>
                      <a:pt x="653471" y="410693"/>
                      <a:pt x="657307" y="403021"/>
                    </a:cubicBezTo>
                    <a:cubicBezTo>
                      <a:pt x="659564" y="398508"/>
                      <a:pt x="660692" y="394447"/>
                      <a:pt x="661595" y="391513"/>
                    </a:cubicBezTo>
                    <a:cubicBezTo>
                      <a:pt x="663174" y="386098"/>
                      <a:pt x="664302" y="382036"/>
                      <a:pt x="670169" y="379554"/>
                    </a:cubicBezTo>
                    <a:cubicBezTo>
                      <a:pt x="677841" y="376621"/>
                      <a:pt x="685513" y="384067"/>
                      <a:pt x="689575" y="388129"/>
                    </a:cubicBezTo>
                    <a:cubicBezTo>
                      <a:pt x="690252" y="388806"/>
                      <a:pt x="690928" y="389483"/>
                      <a:pt x="691380" y="389934"/>
                    </a:cubicBezTo>
                    <a:cubicBezTo>
                      <a:pt x="691831" y="389934"/>
                      <a:pt x="694765" y="388806"/>
                      <a:pt x="697472" y="386324"/>
                    </a:cubicBezTo>
                    <a:cubicBezTo>
                      <a:pt x="699954" y="383842"/>
                      <a:pt x="701308" y="381359"/>
                      <a:pt x="700857" y="379329"/>
                    </a:cubicBezTo>
                    <a:cubicBezTo>
                      <a:pt x="699277" y="370754"/>
                      <a:pt x="712139" y="360149"/>
                      <a:pt x="715750" y="358569"/>
                    </a:cubicBezTo>
                    <a:cubicBezTo>
                      <a:pt x="718683" y="357215"/>
                      <a:pt x="720037" y="350220"/>
                      <a:pt x="716652" y="338261"/>
                    </a:cubicBezTo>
                    <a:cubicBezTo>
                      <a:pt x="714621" y="331040"/>
                      <a:pt x="715298" y="325625"/>
                      <a:pt x="715975" y="321563"/>
                    </a:cubicBezTo>
                    <a:cubicBezTo>
                      <a:pt x="716427" y="317727"/>
                      <a:pt x="716652" y="316373"/>
                      <a:pt x="715298" y="315245"/>
                    </a:cubicBezTo>
                    <a:cubicBezTo>
                      <a:pt x="713267" y="313440"/>
                      <a:pt x="712365" y="310732"/>
                      <a:pt x="713267" y="307799"/>
                    </a:cubicBezTo>
                    <a:cubicBezTo>
                      <a:pt x="713944" y="305542"/>
                      <a:pt x="715524" y="303060"/>
                      <a:pt x="717780" y="302609"/>
                    </a:cubicBezTo>
                    <a:cubicBezTo>
                      <a:pt x="719134" y="302383"/>
                      <a:pt x="720488" y="302834"/>
                      <a:pt x="721391" y="303963"/>
                    </a:cubicBezTo>
                    <a:cubicBezTo>
                      <a:pt x="722519" y="305317"/>
                      <a:pt x="726129" y="306896"/>
                      <a:pt x="729063" y="308476"/>
                    </a:cubicBezTo>
                    <a:cubicBezTo>
                      <a:pt x="731770" y="309604"/>
                      <a:pt x="734478" y="310958"/>
                      <a:pt x="736509" y="312537"/>
                    </a:cubicBezTo>
                    <a:cubicBezTo>
                      <a:pt x="738089" y="313666"/>
                      <a:pt x="745309" y="313891"/>
                      <a:pt x="751176" y="314117"/>
                    </a:cubicBezTo>
                    <a:cubicBezTo>
                      <a:pt x="759525" y="314342"/>
                      <a:pt x="767423" y="314568"/>
                      <a:pt x="770807" y="316825"/>
                    </a:cubicBezTo>
                    <a:cubicBezTo>
                      <a:pt x="776223" y="320435"/>
                      <a:pt x="785023" y="330138"/>
                      <a:pt x="791567" y="337358"/>
                    </a:cubicBezTo>
                    <a:lnTo>
                      <a:pt x="793146" y="339164"/>
                    </a:lnTo>
                    <a:cubicBezTo>
                      <a:pt x="799013" y="345707"/>
                      <a:pt x="820901" y="354282"/>
                      <a:pt x="829250" y="354282"/>
                    </a:cubicBezTo>
                    <a:cubicBezTo>
                      <a:pt x="833311" y="354282"/>
                      <a:pt x="835793" y="353154"/>
                      <a:pt x="838275" y="351800"/>
                    </a:cubicBezTo>
                    <a:cubicBezTo>
                      <a:pt x="840758" y="350446"/>
                      <a:pt x="843465" y="349318"/>
                      <a:pt x="847527" y="349318"/>
                    </a:cubicBezTo>
                    <a:cubicBezTo>
                      <a:pt x="849558" y="349318"/>
                      <a:pt x="851363" y="349092"/>
                      <a:pt x="853394" y="348866"/>
                    </a:cubicBezTo>
                    <a:cubicBezTo>
                      <a:pt x="858584" y="348415"/>
                      <a:pt x="863999" y="347738"/>
                      <a:pt x="871897" y="350672"/>
                    </a:cubicBezTo>
                    <a:cubicBezTo>
                      <a:pt x="876184" y="352251"/>
                      <a:pt x="877989" y="351123"/>
                      <a:pt x="881599" y="349318"/>
                    </a:cubicBezTo>
                    <a:cubicBezTo>
                      <a:pt x="885661" y="347287"/>
                      <a:pt x="891302" y="344353"/>
                      <a:pt x="903262" y="344353"/>
                    </a:cubicBezTo>
                    <a:cubicBezTo>
                      <a:pt x="925601" y="344353"/>
                      <a:pt x="939591" y="362856"/>
                      <a:pt x="939591" y="370754"/>
                    </a:cubicBezTo>
                    <a:cubicBezTo>
                      <a:pt x="939591" y="376846"/>
                      <a:pt x="937109" y="398057"/>
                      <a:pt x="929888" y="408888"/>
                    </a:cubicBezTo>
                    <a:cubicBezTo>
                      <a:pt x="926052" y="414529"/>
                      <a:pt x="928985" y="419945"/>
                      <a:pt x="932370" y="426037"/>
                    </a:cubicBezTo>
                    <a:cubicBezTo>
                      <a:pt x="934175" y="429196"/>
                      <a:pt x="936206" y="432581"/>
                      <a:pt x="937109" y="436191"/>
                    </a:cubicBezTo>
                    <a:cubicBezTo>
                      <a:pt x="938237" y="440704"/>
                      <a:pt x="937109" y="444766"/>
                      <a:pt x="935980" y="447699"/>
                    </a:cubicBezTo>
                    <a:cubicBezTo>
                      <a:pt x="934626" y="452212"/>
                      <a:pt x="933949" y="454017"/>
                      <a:pt x="939139" y="456048"/>
                    </a:cubicBezTo>
                    <a:cubicBezTo>
                      <a:pt x="949293" y="460110"/>
                      <a:pt x="960576" y="461689"/>
                      <a:pt x="968925" y="460336"/>
                    </a:cubicBezTo>
                    <a:cubicBezTo>
                      <a:pt x="970955" y="460110"/>
                      <a:pt x="971181" y="458756"/>
                      <a:pt x="970279" y="452889"/>
                    </a:cubicBezTo>
                    <a:cubicBezTo>
                      <a:pt x="969601" y="448376"/>
                      <a:pt x="968925" y="443186"/>
                      <a:pt x="972084" y="439576"/>
                    </a:cubicBezTo>
                    <a:cubicBezTo>
                      <a:pt x="976822" y="434161"/>
                      <a:pt x="977950" y="428971"/>
                      <a:pt x="976597" y="416560"/>
                    </a:cubicBezTo>
                    <a:cubicBezTo>
                      <a:pt x="975468" y="405278"/>
                      <a:pt x="986525" y="393093"/>
                      <a:pt x="992617" y="386549"/>
                    </a:cubicBezTo>
                    <a:cubicBezTo>
                      <a:pt x="993294" y="385647"/>
                      <a:pt x="993971" y="384970"/>
                      <a:pt x="994648" y="384293"/>
                    </a:cubicBezTo>
                    <a:cubicBezTo>
                      <a:pt x="998484" y="380005"/>
                      <a:pt x="1006156" y="375267"/>
                      <a:pt x="1012249" y="375718"/>
                    </a:cubicBezTo>
                    <a:cubicBezTo>
                      <a:pt x="1014956" y="375718"/>
                      <a:pt x="1017213" y="376846"/>
                      <a:pt x="1018792" y="378877"/>
                    </a:cubicBezTo>
                    <a:cubicBezTo>
                      <a:pt x="1021274" y="382036"/>
                      <a:pt x="1024433" y="381811"/>
                      <a:pt x="1028946" y="381134"/>
                    </a:cubicBezTo>
                    <a:cubicBezTo>
                      <a:pt x="1030075" y="380908"/>
                      <a:pt x="1031429" y="380683"/>
                      <a:pt x="1032331" y="380683"/>
                    </a:cubicBezTo>
                    <a:cubicBezTo>
                      <a:pt x="1035265" y="380683"/>
                      <a:pt x="1044290" y="374816"/>
                      <a:pt x="1044967" y="363759"/>
                    </a:cubicBezTo>
                    <a:cubicBezTo>
                      <a:pt x="1045419" y="353605"/>
                      <a:pt x="1036393" y="348641"/>
                      <a:pt x="1029849" y="344805"/>
                    </a:cubicBezTo>
                    <a:cubicBezTo>
                      <a:pt x="1029172" y="344353"/>
                      <a:pt x="1028270" y="343902"/>
                      <a:pt x="1027592" y="343451"/>
                    </a:cubicBezTo>
                    <a:lnTo>
                      <a:pt x="1027592" y="343451"/>
                    </a:lnTo>
                    <a:cubicBezTo>
                      <a:pt x="1021726" y="339840"/>
                      <a:pt x="1018567" y="332394"/>
                      <a:pt x="1015182" y="324271"/>
                    </a:cubicBezTo>
                    <a:cubicBezTo>
                      <a:pt x="1014731" y="323143"/>
                      <a:pt x="1014279" y="321789"/>
                      <a:pt x="1013603" y="320661"/>
                    </a:cubicBezTo>
                    <a:cubicBezTo>
                      <a:pt x="1012023" y="317050"/>
                      <a:pt x="1009090" y="314794"/>
                      <a:pt x="1005930" y="312763"/>
                    </a:cubicBezTo>
                    <a:cubicBezTo>
                      <a:pt x="1002320" y="310281"/>
                      <a:pt x="998484" y="307573"/>
                      <a:pt x="997130" y="302158"/>
                    </a:cubicBezTo>
                    <a:cubicBezTo>
                      <a:pt x="995776" y="295840"/>
                      <a:pt x="999387" y="292906"/>
                      <a:pt x="1001869" y="290875"/>
                    </a:cubicBezTo>
                    <a:cubicBezTo>
                      <a:pt x="1003448" y="289521"/>
                      <a:pt x="1004351" y="288845"/>
                      <a:pt x="1004577" y="287716"/>
                    </a:cubicBezTo>
                    <a:lnTo>
                      <a:pt x="1004577" y="287039"/>
                    </a:lnTo>
                    <a:cubicBezTo>
                      <a:pt x="1005479" y="280270"/>
                      <a:pt x="1005705" y="272598"/>
                      <a:pt x="998259" y="270342"/>
                    </a:cubicBezTo>
                    <a:cubicBezTo>
                      <a:pt x="994648" y="269213"/>
                      <a:pt x="992617" y="267408"/>
                      <a:pt x="991941" y="264700"/>
                    </a:cubicBezTo>
                    <a:cubicBezTo>
                      <a:pt x="991038" y="260639"/>
                      <a:pt x="993746" y="255223"/>
                      <a:pt x="1000741" y="248454"/>
                    </a:cubicBezTo>
                    <a:cubicBezTo>
                      <a:pt x="1002771" y="246423"/>
                      <a:pt x="1004351" y="245295"/>
                      <a:pt x="1005705" y="244167"/>
                    </a:cubicBezTo>
                    <a:cubicBezTo>
                      <a:pt x="1009090" y="241684"/>
                      <a:pt x="1009992" y="240782"/>
                      <a:pt x="1008864" y="233787"/>
                    </a:cubicBezTo>
                    <a:cubicBezTo>
                      <a:pt x="1007736" y="227469"/>
                      <a:pt x="1010218" y="223633"/>
                      <a:pt x="1011572" y="221376"/>
                    </a:cubicBezTo>
                    <a:cubicBezTo>
                      <a:pt x="1011797" y="220925"/>
                      <a:pt x="1012023" y="220474"/>
                      <a:pt x="1012249" y="220248"/>
                    </a:cubicBezTo>
                    <a:cubicBezTo>
                      <a:pt x="1012023" y="220022"/>
                      <a:pt x="1011572" y="219797"/>
                      <a:pt x="1010895" y="219571"/>
                    </a:cubicBezTo>
                    <a:cubicBezTo>
                      <a:pt x="1007284" y="218443"/>
                      <a:pt x="1005028" y="216412"/>
                      <a:pt x="1003900" y="213930"/>
                    </a:cubicBezTo>
                    <a:cubicBezTo>
                      <a:pt x="1002320" y="210545"/>
                      <a:pt x="1002771" y="206258"/>
                      <a:pt x="1005479" y="200166"/>
                    </a:cubicBezTo>
                    <a:cubicBezTo>
                      <a:pt x="1007510" y="195427"/>
                      <a:pt x="1007284" y="193847"/>
                      <a:pt x="1007059" y="189786"/>
                    </a:cubicBezTo>
                    <a:cubicBezTo>
                      <a:pt x="1006833" y="186627"/>
                      <a:pt x="1006382" y="182565"/>
                      <a:pt x="1006607" y="175119"/>
                    </a:cubicBezTo>
                    <a:cubicBezTo>
                      <a:pt x="1006833" y="166544"/>
                      <a:pt x="1006382" y="166093"/>
                      <a:pt x="1004802" y="164965"/>
                    </a:cubicBezTo>
                    <a:cubicBezTo>
                      <a:pt x="1002771" y="163611"/>
                      <a:pt x="999838" y="161354"/>
                      <a:pt x="995551" y="152780"/>
                    </a:cubicBezTo>
                    <a:cubicBezTo>
                      <a:pt x="987202" y="135631"/>
                      <a:pt x="997130" y="126154"/>
                      <a:pt x="1004351" y="119384"/>
                    </a:cubicBezTo>
                    <a:cubicBezTo>
                      <a:pt x="1005254" y="118482"/>
                      <a:pt x="1006382" y="117579"/>
                      <a:pt x="1007059" y="116676"/>
                    </a:cubicBezTo>
                    <a:cubicBezTo>
                      <a:pt x="1009541" y="114194"/>
                      <a:pt x="1009315" y="113292"/>
                      <a:pt x="1009315" y="113292"/>
                    </a:cubicBezTo>
                    <a:cubicBezTo>
                      <a:pt x="1009090" y="113066"/>
                      <a:pt x="1008413" y="112615"/>
                      <a:pt x="1007736" y="112389"/>
                    </a:cubicBezTo>
                    <a:cubicBezTo>
                      <a:pt x="1006382" y="111712"/>
                      <a:pt x="1004351" y="110810"/>
                      <a:pt x="1004351" y="108553"/>
                    </a:cubicBezTo>
                    <a:cubicBezTo>
                      <a:pt x="1004351" y="106297"/>
                      <a:pt x="1004351" y="106297"/>
                      <a:pt x="997582" y="100656"/>
                    </a:cubicBezTo>
                    <a:cubicBezTo>
                      <a:pt x="994423" y="97948"/>
                      <a:pt x="992843" y="97045"/>
                      <a:pt x="991489" y="96143"/>
                    </a:cubicBezTo>
                    <a:cubicBezTo>
                      <a:pt x="989910" y="95014"/>
                      <a:pt x="988330" y="93886"/>
                      <a:pt x="984268" y="90727"/>
                    </a:cubicBezTo>
                    <a:cubicBezTo>
                      <a:pt x="982012" y="88922"/>
                      <a:pt x="980433" y="87568"/>
                      <a:pt x="978853" y="86440"/>
                    </a:cubicBezTo>
                    <a:cubicBezTo>
                      <a:pt x="975243" y="83506"/>
                      <a:pt x="972760" y="81701"/>
                      <a:pt x="967796" y="76060"/>
                    </a:cubicBezTo>
                    <a:cubicBezTo>
                      <a:pt x="966668" y="74706"/>
                      <a:pt x="965540" y="74029"/>
                      <a:pt x="964412" y="74029"/>
                    </a:cubicBezTo>
                    <a:cubicBezTo>
                      <a:pt x="962832" y="74029"/>
                      <a:pt x="961027" y="75835"/>
                      <a:pt x="959222" y="77640"/>
                    </a:cubicBezTo>
                    <a:cubicBezTo>
                      <a:pt x="957417" y="79445"/>
                      <a:pt x="955837" y="81250"/>
                      <a:pt x="953581" y="82153"/>
                    </a:cubicBezTo>
                    <a:cubicBezTo>
                      <a:pt x="947939" y="84635"/>
                      <a:pt x="940268" y="87343"/>
                      <a:pt x="928308" y="86665"/>
                    </a:cubicBezTo>
                    <a:cubicBezTo>
                      <a:pt x="922216" y="86214"/>
                      <a:pt x="920636" y="85312"/>
                      <a:pt x="919282" y="83506"/>
                    </a:cubicBezTo>
                    <a:cubicBezTo>
                      <a:pt x="918606" y="82604"/>
                      <a:pt x="917477" y="81250"/>
                      <a:pt x="912739" y="79671"/>
                    </a:cubicBezTo>
                    <a:cubicBezTo>
                      <a:pt x="907549" y="77865"/>
                      <a:pt x="902359" y="79671"/>
                      <a:pt x="896041" y="81476"/>
                    </a:cubicBezTo>
                    <a:cubicBezTo>
                      <a:pt x="889723" y="83506"/>
                      <a:pt x="882502" y="85763"/>
                      <a:pt x="874153" y="84635"/>
                    </a:cubicBezTo>
                    <a:cubicBezTo>
                      <a:pt x="868738" y="83958"/>
                      <a:pt x="865804" y="82830"/>
                      <a:pt x="864450" y="80799"/>
                    </a:cubicBezTo>
                    <a:cubicBezTo>
                      <a:pt x="863097" y="78768"/>
                      <a:pt x="863548" y="76511"/>
                      <a:pt x="864225" y="74255"/>
                    </a:cubicBezTo>
                    <a:cubicBezTo>
                      <a:pt x="864676" y="71999"/>
                      <a:pt x="865353" y="69742"/>
                      <a:pt x="863999" y="67260"/>
                    </a:cubicBezTo>
                    <a:cubicBezTo>
                      <a:pt x="861066" y="61619"/>
                      <a:pt x="853845" y="63875"/>
                      <a:pt x="831506" y="71773"/>
                    </a:cubicBezTo>
                    <a:cubicBezTo>
                      <a:pt x="828573" y="72676"/>
                      <a:pt x="825639" y="73804"/>
                      <a:pt x="822255" y="74932"/>
                    </a:cubicBezTo>
                    <a:cubicBezTo>
                      <a:pt x="808264" y="79896"/>
                      <a:pt x="806008" y="83506"/>
                      <a:pt x="804654" y="85763"/>
                    </a:cubicBezTo>
                    <a:cubicBezTo>
                      <a:pt x="802623" y="89373"/>
                      <a:pt x="800818" y="90727"/>
                      <a:pt x="790213" y="90727"/>
                    </a:cubicBezTo>
                    <a:cubicBezTo>
                      <a:pt x="778705" y="90727"/>
                      <a:pt x="774643" y="92081"/>
                      <a:pt x="771259" y="93209"/>
                    </a:cubicBezTo>
                    <a:cubicBezTo>
                      <a:pt x="768325" y="94112"/>
                      <a:pt x="765392" y="95240"/>
                      <a:pt x="758848" y="95240"/>
                    </a:cubicBezTo>
                    <a:cubicBezTo>
                      <a:pt x="750725" y="95240"/>
                      <a:pt x="744181" y="91404"/>
                      <a:pt x="738540" y="88019"/>
                    </a:cubicBezTo>
                    <a:cubicBezTo>
                      <a:pt x="734253" y="85537"/>
                      <a:pt x="730191" y="83055"/>
                      <a:pt x="725904" y="82604"/>
                    </a:cubicBezTo>
                    <a:cubicBezTo>
                      <a:pt x="720263" y="81927"/>
                      <a:pt x="717780" y="84409"/>
                      <a:pt x="714170" y="88019"/>
                    </a:cubicBezTo>
                    <a:cubicBezTo>
                      <a:pt x="711914" y="90502"/>
                      <a:pt x="709206" y="93209"/>
                      <a:pt x="705144" y="95466"/>
                    </a:cubicBezTo>
                    <a:cubicBezTo>
                      <a:pt x="697247" y="99979"/>
                      <a:pt x="684159" y="98173"/>
                      <a:pt x="672651" y="96820"/>
                    </a:cubicBezTo>
                    <a:cubicBezTo>
                      <a:pt x="668364" y="96368"/>
                      <a:pt x="664302" y="95917"/>
                      <a:pt x="660692" y="95691"/>
                    </a:cubicBezTo>
                    <a:cubicBezTo>
                      <a:pt x="654148" y="95466"/>
                      <a:pt x="648281" y="95917"/>
                      <a:pt x="642640" y="96368"/>
                    </a:cubicBezTo>
                    <a:cubicBezTo>
                      <a:pt x="636999" y="96820"/>
                      <a:pt x="631809" y="97271"/>
                      <a:pt x="626168" y="97045"/>
                    </a:cubicBezTo>
                    <a:cubicBezTo>
                      <a:pt x="612178" y="96368"/>
                      <a:pt x="609922" y="86214"/>
                      <a:pt x="609245" y="77640"/>
                    </a:cubicBezTo>
                    <a:cubicBezTo>
                      <a:pt x="609245" y="75835"/>
                      <a:pt x="609245" y="73352"/>
                      <a:pt x="611050" y="71999"/>
                    </a:cubicBezTo>
                    <a:cubicBezTo>
                      <a:pt x="613306" y="70419"/>
                      <a:pt x="616691" y="71773"/>
                      <a:pt x="621204" y="73804"/>
                    </a:cubicBezTo>
                    <a:cubicBezTo>
                      <a:pt x="624589" y="75383"/>
                      <a:pt x="628650" y="76963"/>
                      <a:pt x="632712" y="77640"/>
                    </a:cubicBezTo>
                    <a:cubicBezTo>
                      <a:pt x="635194" y="78091"/>
                      <a:pt x="636999" y="77188"/>
                      <a:pt x="637902" y="75158"/>
                    </a:cubicBezTo>
                    <a:cubicBezTo>
                      <a:pt x="640158" y="70193"/>
                      <a:pt x="637450" y="58685"/>
                      <a:pt x="627973" y="51014"/>
                    </a:cubicBezTo>
                    <a:cubicBezTo>
                      <a:pt x="614660" y="40182"/>
                      <a:pt x="604506" y="41536"/>
                      <a:pt x="592547" y="44470"/>
                    </a:cubicBezTo>
                    <a:cubicBezTo>
                      <a:pt x="587583" y="45824"/>
                      <a:pt x="586003" y="48306"/>
                      <a:pt x="584198" y="51014"/>
                    </a:cubicBezTo>
                    <a:cubicBezTo>
                      <a:pt x="581941" y="54398"/>
                      <a:pt x="579459" y="58460"/>
                      <a:pt x="570208" y="58460"/>
                    </a:cubicBezTo>
                    <a:cubicBezTo>
                      <a:pt x="562987" y="58460"/>
                      <a:pt x="560956" y="59814"/>
                      <a:pt x="558700" y="61168"/>
                    </a:cubicBezTo>
                    <a:cubicBezTo>
                      <a:pt x="556443" y="62521"/>
                      <a:pt x="553961" y="64101"/>
                      <a:pt x="546966" y="64101"/>
                    </a:cubicBezTo>
                    <a:cubicBezTo>
                      <a:pt x="542002" y="64101"/>
                      <a:pt x="541099" y="67260"/>
                      <a:pt x="539971" y="73127"/>
                    </a:cubicBezTo>
                    <a:cubicBezTo>
                      <a:pt x="539069" y="78317"/>
                      <a:pt x="537940" y="84635"/>
                      <a:pt x="531171" y="87117"/>
                    </a:cubicBezTo>
                    <a:cubicBezTo>
                      <a:pt x="526207" y="88922"/>
                      <a:pt x="525981" y="90276"/>
                      <a:pt x="525756" y="91855"/>
                    </a:cubicBezTo>
                    <a:cubicBezTo>
                      <a:pt x="525304" y="94563"/>
                      <a:pt x="524402" y="97045"/>
                      <a:pt x="517858" y="99076"/>
                    </a:cubicBezTo>
                    <a:cubicBezTo>
                      <a:pt x="511991" y="100881"/>
                      <a:pt x="513119" y="107425"/>
                      <a:pt x="514699" y="114420"/>
                    </a:cubicBezTo>
                    <a:cubicBezTo>
                      <a:pt x="515376" y="117805"/>
                      <a:pt x="515827" y="119610"/>
                      <a:pt x="514924" y="120738"/>
                    </a:cubicBezTo>
                    <a:cubicBezTo>
                      <a:pt x="514473" y="121415"/>
                      <a:pt x="513796" y="121641"/>
                      <a:pt x="513119" y="121641"/>
                    </a:cubicBezTo>
                    <a:cubicBezTo>
                      <a:pt x="512442" y="121641"/>
                      <a:pt x="510863" y="122092"/>
                      <a:pt x="509058" y="122543"/>
                    </a:cubicBezTo>
                    <a:cubicBezTo>
                      <a:pt x="502740" y="124123"/>
                      <a:pt x="492134" y="126605"/>
                      <a:pt x="481980" y="124123"/>
                    </a:cubicBezTo>
                    <a:cubicBezTo>
                      <a:pt x="476339" y="122769"/>
                      <a:pt x="474308" y="125025"/>
                      <a:pt x="471600" y="127508"/>
                    </a:cubicBezTo>
                    <a:cubicBezTo>
                      <a:pt x="468893" y="130215"/>
                      <a:pt x="465282" y="133600"/>
                      <a:pt x="458062" y="131569"/>
                    </a:cubicBezTo>
                    <a:cubicBezTo>
                      <a:pt x="444072" y="127282"/>
                      <a:pt x="440913" y="118707"/>
                      <a:pt x="439784" y="102235"/>
                    </a:cubicBezTo>
                    <a:cubicBezTo>
                      <a:pt x="438882" y="88696"/>
                      <a:pt x="424215" y="87794"/>
                      <a:pt x="405712" y="87568"/>
                    </a:cubicBezTo>
                    <a:lnTo>
                      <a:pt x="404132" y="87568"/>
                    </a:lnTo>
                    <a:cubicBezTo>
                      <a:pt x="396686" y="87568"/>
                      <a:pt x="389917" y="88019"/>
                      <a:pt x="382922" y="88471"/>
                    </a:cubicBezTo>
                    <a:cubicBezTo>
                      <a:pt x="375250" y="88922"/>
                      <a:pt x="367352" y="89373"/>
                      <a:pt x="357875" y="89373"/>
                    </a:cubicBezTo>
                    <a:cubicBezTo>
                      <a:pt x="342080" y="89373"/>
                      <a:pt x="338921" y="85989"/>
                      <a:pt x="333054" y="77865"/>
                    </a:cubicBezTo>
                    <a:cubicBezTo>
                      <a:pt x="332151" y="76511"/>
                      <a:pt x="331023" y="75158"/>
                      <a:pt x="329895" y="73578"/>
                    </a:cubicBezTo>
                    <a:cubicBezTo>
                      <a:pt x="322448" y="63650"/>
                      <a:pt x="294468" y="59814"/>
                      <a:pt x="284314" y="59362"/>
                    </a:cubicBezTo>
                    <a:cubicBezTo>
                      <a:pt x="274611" y="58685"/>
                      <a:pt x="260847" y="54173"/>
                      <a:pt x="248436" y="47177"/>
                    </a:cubicBezTo>
                    <a:cubicBezTo>
                      <a:pt x="245277" y="45372"/>
                      <a:pt x="243472" y="43567"/>
                      <a:pt x="242795" y="41311"/>
                    </a:cubicBezTo>
                    <a:cubicBezTo>
                      <a:pt x="241893" y="38152"/>
                      <a:pt x="243472" y="35218"/>
                      <a:pt x="245503" y="31833"/>
                    </a:cubicBezTo>
                    <a:cubicBezTo>
                      <a:pt x="247308" y="28674"/>
                      <a:pt x="249113" y="25290"/>
                      <a:pt x="250016" y="20777"/>
                    </a:cubicBezTo>
                    <a:cubicBezTo>
                      <a:pt x="251370" y="13330"/>
                      <a:pt x="248436" y="7915"/>
                      <a:pt x="245277" y="5207"/>
                    </a:cubicBezTo>
                    <a:cubicBezTo>
                      <a:pt x="242344" y="2951"/>
                      <a:pt x="238959" y="2274"/>
                      <a:pt x="235800" y="3402"/>
                    </a:cubicBezTo>
                    <a:cubicBezTo>
                      <a:pt x="233318" y="4305"/>
                      <a:pt x="231062" y="5884"/>
                      <a:pt x="228354" y="7238"/>
                    </a:cubicBezTo>
                    <a:cubicBezTo>
                      <a:pt x="221359" y="11300"/>
                      <a:pt x="213461" y="16038"/>
                      <a:pt x="201502" y="13556"/>
                    </a:cubicBezTo>
                    <a:cubicBezTo>
                      <a:pt x="197666" y="12879"/>
                      <a:pt x="192025" y="11751"/>
                      <a:pt x="183902" y="10397"/>
                    </a:cubicBezTo>
                    <a:cubicBezTo>
                      <a:pt x="172619" y="17844"/>
                      <a:pt x="172168" y="18295"/>
                      <a:pt x="168783" y="23485"/>
                    </a:cubicBezTo>
                    <a:cubicBezTo>
                      <a:pt x="168332" y="24162"/>
                      <a:pt x="167655" y="25064"/>
                      <a:pt x="166978" y="26192"/>
                    </a:cubicBezTo>
                    <a:cubicBezTo>
                      <a:pt x="164045" y="30705"/>
                      <a:pt x="163593" y="34316"/>
                      <a:pt x="163142" y="38829"/>
                    </a:cubicBezTo>
                    <a:cubicBezTo>
                      <a:pt x="162691" y="42439"/>
                      <a:pt x="162240" y="46049"/>
                      <a:pt x="160660" y="50337"/>
                    </a:cubicBezTo>
                    <a:cubicBezTo>
                      <a:pt x="159306" y="53947"/>
                      <a:pt x="160660" y="56655"/>
                      <a:pt x="162240" y="58234"/>
                    </a:cubicBezTo>
                    <a:cubicBezTo>
                      <a:pt x="165173" y="61168"/>
                      <a:pt x="171265" y="63198"/>
                      <a:pt x="176907" y="61168"/>
                    </a:cubicBezTo>
                    <a:cubicBezTo>
                      <a:pt x="179840" y="60039"/>
                      <a:pt x="181871" y="59137"/>
                      <a:pt x="183450" y="58234"/>
                    </a:cubicBezTo>
                    <a:cubicBezTo>
                      <a:pt x="187963" y="55978"/>
                      <a:pt x="189994" y="55301"/>
                      <a:pt x="197666" y="57332"/>
                    </a:cubicBezTo>
                    <a:lnTo>
                      <a:pt x="199697" y="57783"/>
                    </a:lnTo>
                    <a:cubicBezTo>
                      <a:pt x="210302" y="60716"/>
                      <a:pt x="217749" y="62973"/>
                      <a:pt x="217974" y="67260"/>
                    </a:cubicBezTo>
                    <a:cubicBezTo>
                      <a:pt x="217974" y="70193"/>
                      <a:pt x="214815" y="72450"/>
                      <a:pt x="207143" y="74932"/>
                    </a:cubicBezTo>
                    <a:cubicBezTo>
                      <a:pt x="200599" y="76963"/>
                      <a:pt x="195184" y="78317"/>
                      <a:pt x="190897" y="79219"/>
                    </a:cubicBezTo>
                    <a:cubicBezTo>
                      <a:pt x="180743" y="81701"/>
                      <a:pt x="176004" y="82830"/>
                      <a:pt x="172394" y="88245"/>
                    </a:cubicBezTo>
                    <a:lnTo>
                      <a:pt x="171491" y="89373"/>
                    </a:lnTo>
                    <a:cubicBezTo>
                      <a:pt x="166301" y="97271"/>
                      <a:pt x="161337" y="104717"/>
                      <a:pt x="152762" y="108553"/>
                    </a:cubicBezTo>
                    <a:cubicBezTo>
                      <a:pt x="149152" y="110133"/>
                      <a:pt x="144865" y="110584"/>
                      <a:pt x="141029" y="111035"/>
                    </a:cubicBezTo>
                    <a:cubicBezTo>
                      <a:pt x="138998" y="111261"/>
                      <a:pt x="136516" y="111487"/>
                      <a:pt x="135388" y="111938"/>
                    </a:cubicBezTo>
                    <a:cubicBezTo>
                      <a:pt x="135613" y="112164"/>
                      <a:pt x="135839" y="112615"/>
                      <a:pt x="136516" y="113066"/>
                    </a:cubicBezTo>
                    <a:cubicBezTo>
                      <a:pt x="143285" y="118933"/>
                      <a:pt x="158629" y="135631"/>
                      <a:pt x="159757" y="146236"/>
                    </a:cubicBezTo>
                    <a:cubicBezTo>
                      <a:pt x="159983" y="148267"/>
                      <a:pt x="160660" y="150298"/>
                      <a:pt x="161563" y="152554"/>
                    </a:cubicBezTo>
                    <a:cubicBezTo>
                      <a:pt x="164270" y="159775"/>
                      <a:pt x="167429" y="168575"/>
                      <a:pt x="150280" y="177150"/>
                    </a:cubicBezTo>
                    <a:cubicBezTo>
                      <a:pt x="140803" y="181888"/>
                      <a:pt x="136967" y="186175"/>
                      <a:pt x="134711" y="188883"/>
                    </a:cubicBezTo>
                    <a:cubicBezTo>
                      <a:pt x="131552" y="192719"/>
                      <a:pt x="129747" y="193622"/>
                      <a:pt x="123880" y="190237"/>
                    </a:cubicBezTo>
                    <a:cubicBezTo>
                      <a:pt x="119818" y="187755"/>
                      <a:pt x="117562" y="185499"/>
                      <a:pt x="115531" y="183468"/>
                    </a:cubicBezTo>
                    <a:cubicBezTo>
                      <a:pt x="112597" y="180534"/>
                      <a:pt x="110341" y="178278"/>
                      <a:pt x="104925" y="177375"/>
                    </a:cubicBezTo>
                    <a:cubicBezTo>
                      <a:pt x="102895" y="176924"/>
                      <a:pt x="101766" y="177150"/>
                      <a:pt x="101089" y="177827"/>
                    </a:cubicBezTo>
                    <a:cubicBezTo>
                      <a:pt x="99510" y="179406"/>
                      <a:pt x="100413" y="184370"/>
                      <a:pt x="101089" y="188432"/>
                    </a:cubicBezTo>
                    <a:cubicBezTo>
                      <a:pt x="101315" y="189786"/>
                      <a:pt x="101541" y="191140"/>
                      <a:pt x="101766" y="192268"/>
                    </a:cubicBezTo>
                    <a:cubicBezTo>
                      <a:pt x="102218" y="196555"/>
                      <a:pt x="101766" y="198586"/>
                      <a:pt x="100638" y="201294"/>
                    </a:cubicBezTo>
                    <a:cubicBezTo>
                      <a:pt x="99961" y="203550"/>
                      <a:pt x="98833" y="206935"/>
                      <a:pt x="97930" y="213479"/>
                    </a:cubicBezTo>
                    <a:cubicBezTo>
                      <a:pt x="95674" y="229951"/>
                      <a:pt x="87551" y="240556"/>
                      <a:pt x="74012" y="244167"/>
                    </a:cubicBezTo>
                    <a:cubicBezTo>
                      <a:pt x="60248" y="247777"/>
                      <a:pt x="52801" y="249131"/>
                      <a:pt x="44452" y="245069"/>
                    </a:cubicBezTo>
                    <a:cubicBezTo>
                      <a:pt x="42196" y="243941"/>
                      <a:pt x="40391" y="243490"/>
                      <a:pt x="38811" y="243038"/>
                    </a:cubicBezTo>
                    <a:cubicBezTo>
                      <a:pt x="34524" y="241910"/>
                      <a:pt x="32042" y="241008"/>
                      <a:pt x="31139" y="234238"/>
                    </a:cubicBezTo>
                    <a:cubicBezTo>
                      <a:pt x="30688" y="230402"/>
                      <a:pt x="30914" y="227920"/>
                      <a:pt x="31365" y="225664"/>
                    </a:cubicBezTo>
                    <a:cubicBezTo>
                      <a:pt x="31590" y="223181"/>
                      <a:pt x="31816" y="221602"/>
                      <a:pt x="30462" y="218894"/>
                    </a:cubicBezTo>
                    <a:cubicBezTo>
                      <a:pt x="29108" y="216186"/>
                      <a:pt x="30688" y="213704"/>
                      <a:pt x="31816" y="211899"/>
                    </a:cubicBezTo>
                    <a:cubicBezTo>
                      <a:pt x="32493" y="210771"/>
                      <a:pt x="33396" y="209417"/>
                      <a:pt x="33170" y="208740"/>
                    </a:cubicBezTo>
                    <a:cubicBezTo>
                      <a:pt x="32944" y="208289"/>
                      <a:pt x="32042" y="207161"/>
                      <a:pt x="26626" y="205807"/>
                    </a:cubicBezTo>
                    <a:lnTo>
                      <a:pt x="25724" y="207161"/>
                    </a:lnTo>
                    <a:cubicBezTo>
                      <a:pt x="23919" y="209868"/>
                      <a:pt x="22339" y="212576"/>
                      <a:pt x="21436" y="214607"/>
                    </a:cubicBezTo>
                    <a:cubicBezTo>
                      <a:pt x="20308" y="217315"/>
                      <a:pt x="20534" y="223407"/>
                      <a:pt x="20759" y="229048"/>
                    </a:cubicBezTo>
                    <a:cubicBezTo>
                      <a:pt x="21211" y="237848"/>
                      <a:pt x="21211" y="243038"/>
                      <a:pt x="18503" y="244843"/>
                    </a:cubicBezTo>
                    <a:cubicBezTo>
                      <a:pt x="17600" y="245295"/>
                      <a:pt x="17600" y="247777"/>
                      <a:pt x="17375" y="250033"/>
                    </a:cubicBezTo>
                    <a:cubicBezTo>
                      <a:pt x="17149" y="254321"/>
                      <a:pt x="16923" y="259962"/>
                      <a:pt x="12411" y="264023"/>
                    </a:cubicBezTo>
                    <a:cubicBezTo>
                      <a:pt x="6092" y="269890"/>
                      <a:pt x="2933" y="282301"/>
                      <a:pt x="2933" y="288845"/>
                    </a:cubicBezTo>
                    <a:cubicBezTo>
                      <a:pt x="2933" y="292906"/>
                      <a:pt x="5416" y="299224"/>
                      <a:pt x="7898" y="305994"/>
                    </a:cubicBezTo>
                    <a:cubicBezTo>
                      <a:pt x="9477" y="310055"/>
                      <a:pt x="11057" y="314342"/>
                      <a:pt x="12185" y="318404"/>
                    </a:cubicBezTo>
                    <a:cubicBezTo>
                      <a:pt x="14893" y="327430"/>
                      <a:pt x="17149" y="343225"/>
                      <a:pt x="13764" y="348189"/>
                    </a:cubicBezTo>
                    <a:cubicBezTo>
                      <a:pt x="12185" y="350672"/>
                      <a:pt x="12636" y="360600"/>
                      <a:pt x="15344" y="378200"/>
                    </a:cubicBezTo>
                    <a:cubicBezTo>
                      <a:pt x="17149" y="390611"/>
                      <a:pt x="17826" y="394447"/>
                      <a:pt x="19180" y="401893"/>
                    </a:cubicBezTo>
                    <a:cubicBezTo>
                      <a:pt x="20534" y="409791"/>
                      <a:pt x="20534" y="418365"/>
                      <a:pt x="20534" y="418591"/>
                    </a:cubicBezTo>
                    <a:lnTo>
                      <a:pt x="20308" y="419493"/>
                    </a:lnTo>
                    <a:cubicBezTo>
                      <a:pt x="19180" y="421750"/>
                      <a:pt x="16923" y="428745"/>
                      <a:pt x="19631" y="432807"/>
                    </a:cubicBezTo>
                    <a:cubicBezTo>
                      <a:pt x="23693" y="438899"/>
                      <a:pt x="23693" y="450407"/>
                      <a:pt x="23016" y="458982"/>
                    </a:cubicBezTo>
                    <a:cubicBezTo>
                      <a:pt x="22790" y="462366"/>
                      <a:pt x="23467" y="465977"/>
                      <a:pt x="24370" y="469813"/>
                    </a:cubicBezTo>
                    <a:cubicBezTo>
                      <a:pt x="25498" y="475003"/>
                      <a:pt x="26401" y="479967"/>
                      <a:pt x="24821" y="484028"/>
                    </a:cubicBezTo>
                    <a:cubicBezTo>
                      <a:pt x="23693" y="486962"/>
                      <a:pt x="25272" y="492152"/>
                      <a:pt x="26852" y="496665"/>
                    </a:cubicBezTo>
                    <a:cubicBezTo>
                      <a:pt x="28206" y="500952"/>
                      <a:pt x="29334" y="504788"/>
                      <a:pt x="28657" y="507496"/>
                    </a:cubicBezTo>
                    <a:cubicBezTo>
                      <a:pt x="27529" y="511557"/>
                      <a:pt x="29785" y="524645"/>
                      <a:pt x="33621" y="533219"/>
                    </a:cubicBezTo>
                    <a:cubicBezTo>
                      <a:pt x="34750" y="535701"/>
                      <a:pt x="36103" y="538183"/>
                      <a:pt x="37457" y="540440"/>
                    </a:cubicBezTo>
                    <a:cubicBezTo>
                      <a:pt x="40616" y="545855"/>
                      <a:pt x="44001" y="551722"/>
                      <a:pt x="44001" y="559394"/>
                    </a:cubicBezTo>
                    <a:cubicBezTo>
                      <a:pt x="44001" y="565035"/>
                      <a:pt x="46709" y="570902"/>
                      <a:pt x="48965" y="576092"/>
                    </a:cubicBezTo>
                    <a:cubicBezTo>
                      <a:pt x="50770" y="580154"/>
                      <a:pt x="52350" y="583764"/>
                      <a:pt x="52350" y="586697"/>
                    </a:cubicBezTo>
                    <a:cubicBezTo>
                      <a:pt x="52350" y="588728"/>
                      <a:pt x="53027" y="593692"/>
                      <a:pt x="53929" y="598657"/>
                    </a:cubicBezTo>
                    <a:cubicBezTo>
                      <a:pt x="55283" y="606554"/>
                      <a:pt x="56637" y="615580"/>
                      <a:pt x="56186" y="619867"/>
                    </a:cubicBezTo>
                    <a:cubicBezTo>
                      <a:pt x="55735" y="622801"/>
                      <a:pt x="57991" y="629344"/>
                      <a:pt x="59796" y="635211"/>
                    </a:cubicBezTo>
                    <a:cubicBezTo>
                      <a:pt x="61827" y="641078"/>
                      <a:pt x="63632" y="646719"/>
                      <a:pt x="63632" y="650781"/>
                    </a:cubicBezTo>
                    <a:cubicBezTo>
                      <a:pt x="63632" y="654391"/>
                      <a:pt x="62955" y="655971"/>
                      <a:pt x="61827" y="657325"/>
                    </a:cubicBezTo>
                    <a:cubicBezTo>
                      <a:pt x="61150" y="658453"/>
                      <a:pt x="60248" y="659581"/>
                      <a:pt x="60248" y="664771"/>
                    </a:cubicBezTo>
                    <a:cubicBezTo>
                      <a:pt x="60248" y="670863"/>
                      <a:pt x="61376" y="679212"/>
                      <a:pt x="62730" y="688012"/>
                    </a:cubicBezTo>
                    <a:cubicBezTo>
                      <a:pt x="63632" y="694782"/>
                      <a:pt x="64760" y="701551"/>
                      <a:pt x="65437" y="708321"/>
                    </a:cubicBezTo>
                    <a:cubicBezTo>
                      <a:pt x="65663" y="711705"/>
                      <a:pt x="66114" y="715090"/>
                      <a:pt x="66566" y="718475"/>
                    </a:cubicBezTo>
                    <a:cubicBezTo>
                      <a:pt x="67694" y="729757"/>
                      <a:pt x="69048" y="741716"/>
                      <a:pt x="68371" y="758865"/>
                    </a:cubicBezTo>
                    <a:cubicBezTo>
                      <a:pt x="67694" y="773081"/>
                      <a:pt x="69725" y="776014"/>
                      <a:pt x="71755" y="779399"/>
                    </a:cubicBezTo>
                    <a:cubicBezTo>
                      <a:pt x="72884" y="781204"/>
                      <a:pt x="74238" y="783235"/>
                      <a:pt x="75366" y="787071"/>
                    </a:cubicBezTo>
                    <a:cubicBezTo>
                      <a:pt x="76043" y="789328"/>
                      <a:pt x="76494" y="791584"/>
                      <a:pt x="77171" y="794066"/>
                    </a:cubicBezTo>
                    <a:cubicBezTo>
                      <a:pt x="79427" y="802866"/>
                      <a:pt x="82135" y="812795"/>
                      <a:pt x="84617" y="818887"/>
                    </a:cubicBezTo>
                    <a:cubicBezTo>
                      <a:pt x="87099" y="824980"/>
                      <a:pt x="90484" y="828139"/>
                      <a:pt x="94771" y="832200"/>
                    </a:cubicBezTo>
                    <a:cubicBezTo>
                      <a:pt x="95900" y="833329"/>
                      <a:pt x="97028" y="834457"/>
                      <a:pt x="98156" y="835585"/>
                    </a:cubicBezTo>
                    <a:cubicBezTo>
                      <a:pt x="102669" y="840098"/>
                      <a:pt x="104474" y="843708"/>
                      <a:pt x="105602" y="846642"/>
                    </a:cubicBezTo>
                    <a:cubicBezTo>
                      <a:pt x="105828" y="846642"/>
                      <a:pt x="105828" y="846416"/>
                      <a:pt x="106054" y="846416"/>
                    </a:cubicBezTo>
                    <a:cubicBezTo>
                      <a:pt x="108310" y="845513"/>
                      <a:pt x="110567" y="844385"/>
                      <a:pt x="113049" y="843934"/>
                    </a:cubicBezTo>
                    <a:cubicBezTo>
                      <a:pt x="114628" y="843934"/>
                      <a:pt x="115305" y="843934"/>
                      <a:pt x="115982" y="843934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xmlns="" id="{8AE39BEE-C6A4-4D79-930E-41988E3C4AE9}"/>
                  </a:ext>
                </a:extLst>
              </p:cNvPr>
              <p:cNvSpPr/>
              <p:nvPr/>
            </p:nvSpPr>
            <p:spPr>
              <a:xfrm>
                <a:off x="8078334" y="2826891"/>
                <a:ext cx="767197" cy="609244"/>
              </a:xfrm>
              <a:custGeom>
                <a:avLst/>
                <a:gdLst>
                  <a:gd name="connsiteX0" fmla="*/ 594428 w 767196"/>
                  <a:gd name="connsiteY0" fmla="*/ 625225 h 609244"/>
                  <a:gd name="connsiteX1" fmla="*/ 583597 w 767196"/>
                  <a:gd name="connsiteY1" fmla="*/ 622743 h 609244"/>
                  <a:gd name="connsiteX2" fmla="*/ 577956 w 767196"/>
                  <a:gd name="connsiteY2" fmla="*/ 620712 h 609244"/>
                  <a:gd name="connsiteX3" fmla="*/ 570284 w 767196"/>
                  <a:gd name="connsiteY3" fmla="*/ 611912 h 609244"/>
                  <a:gd name="connsiteX4" fmla="*/ 570510 w 767196"/>
                  <a:gd name="connsiteY4" fmla="*/ 603337 h 609244"/>
                  <a:gd name="connsiteX5" fmla="*/ 569607 w 767196"/>
                  <a:gd name="connsiteY5" fmla="*/ 596568 h 609244"/>
                  <a:gd name="connsiteX6" fmla="*/ 570961 w 767196"/>
                  <a:gd name="connsiteY6" fmla="*/ 589573 h 609244"/>
                  <a:gd name="connsiteX7" fmla="*/ 572315 w 767196"/>
                  <a:gd name="connsiteY7" fmla="*/ 586414 h 609244"/>
                  <a:gd name="connsiteX8" fmla="*/ 564643 w 767196"/>
                  <a:gd name="connsiteY8" fmla="*/ 583255 h 609244"/>
                  <a:gd name="connsiteX9" fmla="*/ 562161 w 767196"/>
                  <a:gd name="connsiteY9" fmla="*/ 582803 h 609244"/>
                  <a:gd name="connsiteX10" fmla="*/ 563515 w 767196"/>
                  <a:gd name="connsiteY10" fmla="*/ 580547 h 609244"/>
                  <a:gd name="connsiteX11" fmla="*/ 569156 w 767196"/>
                  <a:gd name="connsiteY11" fmla="*/ 566782 h 609244"/>
                  <a:gd name="connsiteX12" fmla="*/ 568705 w 767196"/>
                  <a:gd name="connsiteY12" fmla="*/ 559336 h 609244"/>
                  <a:gd name="connsiteX13" fmla="*/ 570510 w 767196"/>
                  <a:gd name="connsiteY13" fmla="*/ 542638 h 609244"/>
                  <a:gd name="connsiteX14" fmla="*/ 571413 w 767196"/>
                  <a:gd name="connsiteY14" fmla="*/ 526166 h 609244"/>
                  <a:gd name="connsiteX15" fmla="*/ 565094 w 767196"/>
                  <a:gd name="connsiteY15" fmla="*/ 508566 h 609244"/>
                  <a:gd name="connsiteX16" fmla="*/ 565320 w 767196"/>
                  <a:gd name="connsiteY16" fmla="*/ 508114 h 609244"/>
                  <a:gd name="connsiteX17" fmla="*/ 559905 w 767196"/>
                  <a:gd name="connsiteY17" fmla="*/ 489611 h 609244"/>
                  <a:gd name="connsiteX18" fmla="*/ 550879 w 767196"/>
                  <a:gd name="connsiteY18" fmla="*/ 486001 h 609244"/>
                  <a:gd name="connsiteX19" fmla="*/ 539596 w 767196"/>
                  <a:gd name="connsiteY19" fmla="*/ 479006 h 609244"/>
                  <a:gd name="connsiteX20" fmla="*/ 540273 w 767196"/>
                  <a:gd name="connsiteY20" fmla="*/ 471560 h 609244"/>
                  <a:gd name="connsiteX21" fmla="*/ 543432 w 767196"/>
                  <a:gd name="connsiteY21" fmla="*/ 460954 h 609244"/>
                  <a:gd name="connsiteX22" fmla="*/ 551556 w 767196"/>
                  <a:gd name="connsiteY22" fmla="*/ 447416 h 609244"/>
                  <a:gd name="connsiteX23" fmla="*/ 552910 w 767196"/>
                  <a:gd name="connsiteY23" fmla="*/ 446287 h 609244"/>
                  <a:gd name="connsiteX24" fmla="*/ 551556 w 767196"/>
                  <a:gd name="connsiteY24" fmla="*/ 441098 h 609244"/>
                  <a:gd name="connsiteX25" fmla="*/ 552007 w 767196"/>
                  <a:gd name="connsiteY25" fmla="*/ 432072 h 609244"/>
                  <a:gd name="connsiteX26" fmla="*/ 554715 w 767196"/>
                  <a:gd name="connsiteY26" fmla="*/ 430492 h 609244"/>
                  <a:gd name="connsiteX27" fmla="*/ 565320 w 767196"/>
                  <a:gd name="connsiteY27" fmla="*/ 421692 h 609244"/>
                  <a:gd name="connsiteX28" fmla="*/ 565997 w 767196"/>
                  <a:gd name="connsiteY28" fmla="*/ 419661 h 609244"/>
                  <a:gd name="connsiteX29" fmla="*/ 566674 w 767196"/>
                  <a:gd name="connsiteY29" fmla="*/ 417179 h 609244"/>
                  <a:gd name="connsiteX30" fmla="*/ 557197 w 767196"/>
                  <a:gd name="connsiteY30" fmla="*/ 415599 h 609244"/>
                  <a:gd name="connsiteX31" fmla="*/ 539596 w 767196"/>
                  <a:gd name="connsiteY31" fmla="*/ 411763 h 609244"/>
                  <a:gd name="connsiteX32" fmla="*/ 540048 w 767196"/>
                  <a:gd name="connsiteY32" fmla="*/ 405445 h 609244"/>
                  <a:gd name="connsiteX33" fmla="*/ 542755 w 767196"/>
                  <a:gd name="connsiteY33" fmla="*/ 396871 h 609244"/>
                  <a:gd name="connsiteX34" fmla="*/ 551556 w 767196"/>
                  <a:gd name="connsiteY34" fmla="*/ 380850 h 609244"/>
                  <a:gd name="connsiteX35" fmla="*/ 553812 w 767196"/>
                  <a:gd name="connsiteY35" fmla="*/ 380850 h 609244"/>
                  <a:gd name="connsiteX36" fmla="*/ 561258 w 767196"/>
                  <a:gd name="connsiteY36" fmla="*/ 378368 h 609244"/>
                  <a:gd name="connsiteX37" fmla="*/ 565320 w 767196"/>
                  <a:gd name="connsiteY37" fmla="*/ 373404 h 609244"/>
                  <a:gd name="connsiteX38" fmla="*/ 562161 w 767196"/>
                  <a:gd name="connsiteY38" fmla="*/ 372275 h 609244"/>
                  <a:gd name="connsiteX39" fmla="*/ 546817 w 767196"/>
                  <a:gd name="connsiteY39" fmla="*/ 374306 h 609244"/>
                  <a:gd name="connsiteX40" fmla="*/ 543658 w 767196"/>
                  <a:gd name="connsiteY40" fmla="*/ 375209 h 609244"/>
                  <a:gd name="connsiteX41" fmla="*/ 539145 w 767196"/>
                  <a:gd name="connsiteY41" fmla="*/ 360316 h 609244"/>
                  <a:gd name="connsiteX42" fmla="*/ 545238 w 767196"/>
                  <a:gd name="connsiteY42" fmla="*/ 342490 h 609244"/>
                  <a:gd name="connsiteX43" fmla="*/ 550653 w 767196"/>
                  <a:gd name="connsiteY43" fmla="*/ 340459 h 609244"/>
                  <a:gd name="connsiteX44" fmla="*/ 561710 w 767196"/>
                  <a:gd name="connsiteY44" fmla="*/ 343618 h 609244"/>
                  <a:gd name="connsiteX45" fmla="*/ 572541 w 767196"/>
                  <a:gd name="connsiteY45" fmla="*/ 346552 h 609244"/>
                  <a:gd name="connsiteX46" fmla="*/ 578633 w 767196"/>
                  <a:gd name="connsiteY46" fmla="*/ 339105 h 609244"/>
                  <a:gd name="connsiteX47" fmla="*/ 580438 w 767196"/>
                  <a:gd name="connsiteY47" fmla="*/ 335721 h 609244"/>
                  <a:gd name="connsiteX48" fmla="*/ 565094 w 767196"/>
                  <a:gd name="connsiteY48" fmla="*/ 334818 h 609244"/>
                  <a:gd name="connsiteX49" fmla="*/ 550879 w 767196"/>
                  <a:gd name="connsiteY49" fmla="*/ 334367 h 609244"/>
                  <a:gd name="connsiteX50" fmla="*/ 537791 w 767196"/>
                  <a:gd name="connsiteY50" fmla="*/ 334141 h 609244"/>
                  <a:gd name="connsiteX51" fmla="*/ 531473 w 767196"/>
                  <a:gd name="connsiteY51" fmla="*/ 337075 h 609244"/>
                  <a:gd name="connsiteX52" fmla="*/ 531248 w 767196"/>
                  <a:gd name="connsiteY52" fmla="*/ 337526 h 609244"/>
                  <a:gd name="connsiteX53" fmla="*/ 530571 w 767196"/>
                  <a:gd name="connsiteY53" fmla="*/ 338880 h 609244"/>
                  <a:gd name="connsiteX54" fmla="*/ 529217 w 767196"/>
                  <a:gd name="connsiteY54" fmla="*/ 340459 h 609244"/>
                  <a:gd name="connsiteX55" fmla="*/ 526960 w 767196"/>
                  <a:gd name="connsiteY55" fmla="*/ 340234 h 609244"/>
                  <a:gd name="connsiteX56" fmla="*/ 524253 w 767196"/>
                  <a:gd name="connsiteY56" fmla="*/ 339331 h 609244"/>
                  <a:gd name="connsiteX57" fmla="*/ 519514 w 767196"/>
                  <a:gd name="connsiteY57" fmla="*/ 335044 h 609244"/>
                  <a:gd name="connsiteX58" fmla="*/ 520417 w 767196"/>
                  <a:gd name="connsiteY58" fmla="*/ 327372 h 609244"/>
                  <a:gd name="connsiteX59" fmla="*/ 520191 w 767196"/>
                  <a:gd name="connsiteY59" fmla="*/ 325567 h 609244"/>
                  <a:gd name="connsiteX60" fmla="*/ 518160 w 767196"/>
                  <a:gd name="connsiteY60" fmla="*/ 324438 h 609244"/>
                  <a:gd name="connsiteX61" fmla="*/ 506878 w 767196"/>
                  <a:gd name="connsiteY61" fmla="*/ 338880 h 609244"/>
                  <a:gd name="connsiteX62" fmla="*/ 500108 w 767196"/>
                  <a:gd name="connsiteY62" fmla="*/ 354449 h 609244"/>
                  <a:gd name="connsiteX63" fmla="*/ 492662 w 767196"/>
                  <a:gd name="connsiteY63" fmla="*/ 363024 h 609244"/>
                  <a:gd name="connsiteX64" fmla="*/ 487247 w 767196"/>
                  <a:gd name="connsiteY64" fmla="*/ 366183 h 609244"/>
                  <a:gd name="connsiteX65" fmla="*/ 484313 w 767196"/>
                  <a:gd name="connsiteY65" fmla="*/ 369116 h 609244"/>
                  <a:gd name="connsiteX66" fmla="*/ 486570 w 767196"/>
                  <a:gd name="connsiteY66" fmla="*/ 375434 h 609244"/>
                  <a:gd name="connsiteX67" fmla="*/ 487247 w 767196"/>
                  <a:gd name="connsiteY67" fmla="*/ 382204 h 609244"/>
                  <a:gd name="connsiteX68" fmla="*/ 470774 w 767196"/>
                  <a:gd name="connsiteY68" fmla="*/ 385589 h 609244"/>
                  <a:gd name="connsiteX69" fmla="*/ 472128 w 767196"/>
                  <a:gd name="connsiteY69" fmla="*/ 388973 h 609244"/>
                  <a:gd name="connsiteX70" fmla="*/ 477092 w 767196"/>
                  <a:gd name="connsiteY70" fmla="*/ 392584 h 609244"/>
                  <a:gd name="connsiteX71" fmla="*/ 481605 w 767196"/>
                  <a:gd name="connsiteY71" fmla="*/ 392132 h 609244"/>
                  <a:gd name="connsiteX72" fmla="*/ 491985 w 767196"/>
                  <a:gd name="connsiteY72" fmla="*/ 396871 h 609244"/>
                  <a:gd name="connsiteX73" fmla="*/ 493790 w 767196"/>
                  <a:gd name="connsiteY73" fmla="*/ 403866 h 609244"/>
                  <a:gd name="connsiteX74" fmla="*/ 497175 w 767196"/>
                  <a:gd name="connsiteY74" fmla="*/ 408153 h 609244"/>
                  <a:gd name="connsiteX75" fmla="*/ 502139 w 767196"/>
                  <a:gd name="connsiteY75" fmla="*/ 430718 h 609244"/>
                  <a:gd name="connsiteX76" fmla="*/ 486344 w 767196"/>
                  <a:gd name="connsiteY76" fmla="*/ 451703 h 609244"/>
                  <a:gd name="connsiteX77" fmla="*/ 483862 w 767196"/>
                  <a:gd name="connsiteY77" fmla="*/ 453959 h 609244"/>
                  <a:gd name="connsiteX78" fmla="*/ 480026 w 767196"/>
                  <a:gd name="connsiteY78" fmla="*/ 457118 h 609244"/>
                  <a:gd name="connsiteX79" fmla="*/ 475739 w 767196"/>
                  <a:gd name="connsiteY79" fmla="*/ 464113 h 609244"/>
                  <a:gd name="connsiteX80" fmla="*/ 476867 w 767196"/>
                  <a:gd name="connsiteY80" fmla="*/ 472011 h 609244"/>
                  <a:gd name="connsiteX81" fmla="*/ 466713 w 767196"/>
                  <a:gd name="connsiteY81" fmla="*/ 478780 h 609244"/>
                  <a:gd name="connsiteX82" fmla="*/ 433768 w 767196"/>
                  <a:gd name="connsiteY82" fmla="*/ 492996 h 609244"/>
                  <a:gd name="connsiteX83" fmla="*/ 419101 w 767196"/>
                  <a:gd name="connsiteY83" fmla="*/ 499540 h 609244"/>
                  <a:gd name="connsiteX84" fmla="*/ 410527 w 767196"/>
                  <a:gd name="connsiteY84" fmla="*/ 499766 h 609244"/>
                  <a:gd name="connsiteX85" fmla="*/ 400824 w 767196"/>
                  <a:gd name="connsiteY85" fmla="*/ 502473 h 609244"/>
                  <a:gd name="connsiteX86" fmla="*/ 377808 w 767196"/>
                  <a:gd name="connsiteY86" fmla="*/ 513530 h 609244"/>
                  <a:gd name="connsiteX87" fmla="*/ 367203 w 767196"/>
                  <a:gd name="connsiteY87" fmla="*/ 517817 h 609244"/>
                  <a:gd name="connsiteX88" fmla="*/ 355469 w 767196"/>
                  <a:gd name="connsiteY88" fmla="*/ 521202 h 609244"/>
                  <a:gd name="connsiteX89" fmla="*/ 343059 w 767196"/>
                  <a:gd name="connsiteY89" fmla="*/ 524587 h 609244"/>
                  <a:gd name="connsiteX90" fmla="*/ 326135 w 767196"/>
                  <a:gd name="connsiteY90" fmla="*/ 526392 h 609244"/>
                  <a:gd name="connsiteX91" fmla="*/ 318689 w 767196"/>
                  <a:gd name="connsiteY91" fmla="*/ 526617 h 609244"/>
                  <a:gd name="connsiteX92" fmla="*/ 317561 w 767196"/>
                  <a:gd name="connsiteY92" fmla="*/ 532033 h 609244"/>
                  <a:gd name="connsiteX93" fmla="*/ 303345 w 767196"/>
                  <a:gd name="connsiteY93" fmla="*/ 530228 h 609244"/>
                  <a:gd name="connsiteX94" fmla="*/ 294319 w 767196"/>
                  <a:gd name="connsiteY94" fmla="*/ 527746 h 609244"/>
                  <a:gd name="connsiteX95" fmla="*/ 273785 w 767196"/>
                  <a:gd name="connsiteY95" fmla="*/ 518268 h 609244"/>
                  <a:gd name="connsiteX96" fmla="*/ 263406 w 767196"/>
                  <a:gd name="connsiteY96" fmla="*/ 510596 h 609244"/>
                  <a:gd name="connsiteX97" fmla="*/ 218728 w 767196"/>
                  <a:gd name="connsiteY97" fmla="*/ 470206 h 609244"/>
                  <a:gd name="connsiteX98" fmla="*/ 202932 w 767196"/>
                  <a:gd name="connsiteY98" fmla="*/ 450349 h 609244"/>
                  <a:gd name="connsiteX99" fmla="*/ 189394 w 767196"/>
                  <a:gd name="connsiteY99" fmla="*/ 432523 h 609244"/>
                  <a:gd name="connsiteX100" fmla="*/ 179465 w 767196"/>
                  <a:gd name="connsiteY100" fmla="*/ 419661 h 609244"/>
                  <a:gd name="connsiteX101" fmla="*/ 144490 w 767196"/>
                  <a:gd name="connsiteY101" fmla="*/ 379045 h 609244"/>
                  <a:gd name="connsiteX102" fmla="*/ 91463 w 767196"/>
                  <a:gd name="connsiteY102" fmla="*/ 315638 h 609244"/>
                  <a:gd name="connsiteX103" fmla="*/ 86950 w 767196"/>
                  <a:gd name="connsiteY103" fmla="*/ 293299 h 609244"/>
                  <a:gd name="connsiteX104" fmla="*/ 101843 w 767196"/>
                  <a:gd name="connsiteY104" fmla="*/ 273217 h 609244"/>
                  <a:gd name="connsiteX105" fmla="*/ 105228 w 767196"/>
                  <a:gd name="connsiteY105" fmla="*/ 272766 h 609244"/>
                  <a:gd name="connsiteX106" fmla="*/ 107258 w 767196"/>
                  <a:gd name="connsiteY106" fmla="*/ 280663 h 609244"/>
                  <a:gd name="connsiteX107" fmla="*/ 107484 w 767196"/>
                  <a:gd name="connsiteY107" fmla="*/ 285853 h 609244"/>
                  <a:gd name="connsiteX108" fmla="*/ 109966 w 767196"/>
                  <a:gd name="connsiteY108" fmla="*/ 284950 h 609244"/>
                  <a:gd name="connsiteX109" fmla="*/ 114479 w 767196"/>
                  <a:gd name="connsiteY109" fmla="*/ 284273 h 609244"/>
                  <a:gd name="connsiteX110" fmla="*/ 116961 w 767196"/>
                  <a:gd name="connsiteY110" fmla="*/ 287432 h 609244"/>
                  <a:gd name="connsiteX111" fmla="*/ 114479 w 767196"/>
                  <a:gd name="connsiteY111" fmla="*/ 298264 h 609244"/>
                  <a:gd name="connsiteX112" fmla="*/ 112223 w 767196"/>
                  <a:gd name="connsiteY112" fmla="*/ 304807 h 609244"/>
                  <a:gd name="connsiteX113" fmla="*/ 113577 w 767196"/>
                  <a:gd name="connsiteY113" fmla="*/ 307741 h 609244"/>
                  <a:gd name="connsiteX114" fmla="*/ 118315 w 767196"/>
                  <a:gd name="connsiteY114" fmla="*/ 307515 h 609244"/>
                  <a:gd name="connsiteX115" fmla="*/ 121023 w 767196"/>
                  <a:gd name="connsiteY115" fmla="*/ 305935 h 609244"/>
                  <a:gd name="connsiteX116" fmla="*/ 132305 w 767196"/>
                  <a:gd name="connsiteY116" fmla="*/ 301648 h 609244"/>
                  <a:gd name="connsiteX117" fmla="*/ 146070 w 767196"/>
                  <a:gd name="connsiteY117" fmla="*/ 300294 h 609244"/>
                  <a:gd name="connsiteX118" fmla="*/ 148100 w 767196"/>
                  <a:gd name="connsiteY118" fmla="*/ 300069 h 609244"/>
                  <a:gd name="connsiteX119" fmla="*/ 148326 w 767196"/>
                  <a:gd name="connsiteY119" fmla="*/ 302099 h 609244"/>
                  <a:gd name="connsiteX120" fmla="*/ 148326 w 767196"/>
                  <a:gd name="connsiteY120" fmla="*/ 302099 h 609244"/>
                  <a:gd name="connsiteX121" fmla="*/ 148552 w 767196"/>
                  <a:gd name="connsiteY121" fmla="*/ 302325 h 609244"/>
                  <a:gd name="connsiteX122" fmla="*/ 151711 w 767196"/>
                  <a:gd name="connsiteY122" fmla="*/ 301648 h 609244"/>
                  <a:gd name="connsiteX123" fmla="*/ 153065 w 767196"/>
                  <a:gd name="connsiteY123" fmla="*/ 299843 h 609244"/>
                  <a:gd name="connsiteX124" fmla="*/ 160737 w 767196"/>
                  <a:gd name="connsiteY124" fmla="*/ 295556 h 609244"/>
                  <a:gd name="connsiteX125" fmla="*/ 172696 w 767196"/>
                  <a:gd name="connsiteY125" fmla="*/ 296233 h 609244"/>
                  <a:gd name="connsiteX126" fmla="*/ 176983 w 767196"/>
                  <a:gd name="connsiteY126" fmla="*/ 296458 h 609244"/>
                  <a:gd name="connsiteX127" fmla="*/ 176306 w 767196"/>
                  <a:gd name="connsiteY127" fmla="*/ 294428 h 609244"/>
                  <a:gd name="connsiteX128" fmla="*/ 175855 w 767196"/>
                  <a:gd name="connsiteY128" fmla="*/ 287658 h 609244"/>
                  <a:gd name="connsiteX129" fmla="*/ 180593 w 767196"/>
                  <a:gd name="connsiteY129" fmla="*/ 285402 h 609244"/>
                  <a:gd name="connsiteX130" fmla="*/ 190973 w 767196"/>
                  <a:gd name="connsiteY130" fmla="*/ 289238 h 609244"/>
                  <a:gd name="connsiteX131" fmla="*/ 195035 w 767196"/>
                  <a:gd name="connsiteY131" fmla="*/ 291043 h 609244"/>
                  <a:gd name="connsiteX132" fmla="*/ 197066 w 767196"/>
                  <a:gd name="connsiteY132" fmla="*/ 289463 h 609244"/>
                  <a:gd name="connsiteX133" fmla="*/ 205414 w 767196"/>
                  <a:gd name="connsiteY133" fmla="*/ 285853 h 609244"/>
                  <a:gd name="connsiteX134" fmla="*/ 211507 w 767196"/>
                  <a:gd name="connsiteY134" fmla="*/ 279986 h 609244"/>
                  <a:gd name="connsiteX135" fmla="*/ 216020 w 767196"/>
                  <a:gd name="connsiteY135" fmla="*/ 273442 h 609244"/>
                  <a:gd name="connsiteX136" fmla="*/ 218502 w 767196"/>
                  <a:gd name="connsiteY136" fmla="*/ 271637 h 609244"/>
                  <a:gd name="connsiteX137" fmla="*/ 222112 w 767196"/>
                  <a:gd name="connsiteY137" fmla="*/ 270058 h 609244"/>
                  <a:gd name="connsiteX138" fmla="*/ 228656 w 767196"/>
                  <a:gd name="connsiteY138" fmla="*/ 275473 h 609244"/>
                  <a:gd name="connsiteX139" fmla="*/ 236779 w 767196"/>
                  <a:gd name="connsiteY139" fmla="*/ 281114 h 609244"/>
                  <a:gd name="connsiteX140" fmla="*/ 244903 w 767196"/>
                  <a:gd name="connsiteY140" fmla="*/ 273442 h 609244"/>
                  <a:gd name="connsiteX141" fmla="*/ 257764 w 767196"/>
                  <a:gd name="connsiteY141" fmla="*/ 249750 h 609244"/>
                  <a:gd name="connsiteX142" fmla="*/ 265888 w 767196"/>
                  <a:gd name="connsiteY142" fmla="*/ 234631 h 609244"/>
                  <a:gd name="connsiteX143" fmla="*/ 270175 w 767196"/>
                  <a:gd name="connsiteY143" fmla="*/ 231021 h 609244"/>
                  <a:gd name="connsiteX144" fmla="*/ 271754 w 767196"/>
                  <a:gd name="connsiteY144" fmla="*/ 235083 h 609244"/>
                  <a:gd name="connsiteX145" fmla="*/ 272657 w 767196"/>
                  <a:gd name="connsiteY145" fmla="*/ 240498 h 609244"/>
                  <a:gd name="connsiteX146" fmla="*/ 277170 w 767196"/>
                  <a:gd name="connsiteY146" fmla="*/ 237113 h 609244"/>
                  <a:gd name="connsiteX147" fmla="*/ 284616 w 767196"/>
                  <a:gd name="connsiteY147" fmla="*/ 231021 h 609244"/>
                  <a:gd name="connsiteX148" fmla="*/ 289355 w 767196"/>
                  <a:gd name="connsiteY148" fmla="*/ 222672 h 609244"/>
                  <a:gd name="connsiteX149" fmla="*/ 290709 w 767196"/>
                  <a:gd name="connsiteY149" fmla="*/ 217708 h 609244"/>
                  <a:gd name="connsiteX150" fmla="*/ 295447 w 767196"/>
                  <a:gd name="connsiteY150" fmla="*/ 214323 h 609244"/>
                  <a:gd name="connsiteX151" fmla="*/ 300637 w 767196"/>
                  <a:gd name="connsiteY151" fmla="*/ 211841 h 609244"/>
                  <a:gd name="connsiteX152" fmla="*/ 302894 w 767196"/>
                  <a:gd name="connsiteY152" fmla="*/ 210262 h 609244"/>
                  <a:gd name="connsiteX153" fmla="*/ 317335 w 767196"/>
                  <a:gd name="connsiteY153" fmla="*/ 198077 h 609244"/>
                  <a:gd name="connsiteX154" fmla="*/ 315530 w 767196"/>
                  <a:gd name="connsiteY154" fmla="*/ 191759 h 609244"/>
                  <a:gd name="connsiteX155" fmla="*/ 311694 w 767196"/>
                  <a:gd name="connsiteY155" fmla="*/ 192435 h 609244"/>
                  <a:gd name="connsiteX156" fmla="*/ 295673 w 767196"/>
                  <a:gd name="connsiteY156" fmla="*/ 197851 h 609244"/>
                  <a:gd name="connsiteX157" fmla="*/ 279878 w 767196"/>
                  <a:gd name="connsiteY157" fmla="*/ 192661 h 609244"/>
                  <a:gd name="connsiteX158" fmla="*/ 275590 w 767196"/>
                  <a:gd name="connsiteY158" fmla="*/ 189953 h 609244"/>
                  <a:gd name="connsiteX159" fmla="*/ 265211 w 767196"/>
                  <a:gd name="connsiteY159" fmla="*/ 189728 h 609244"/>
                  <a:gd name="connsiteX160" fmla="*/ 250769 w 767196"/>
                  <a:gd name="connsiteY160" fmla="*/ 203267 h 609244"/>
                  <a:gd name="connsiteX161" fmla="*/ 251446 w 767196"/>
                  <a:gd name="connsiteY161" fmla="*/ 208682 h 609244"/>
                  <a:gd name="connsiteX162" fmla="*/ 251446 w 767196"/>
                  <a:gd name="connsiteY162" fmla="*/ 217482 h 609244"/>
                  <a:gd name="connsiteX163" fmla="*/ 247836 w 767196"/>
                  <a:gd name="connsiteY163" fmla="*/ 219513 h 609244"/>
                  <a:gd name="connsiteX164" fmla="*/ 241518 w 767196"/>
                  <a:gd name="connsiteY164" fmla="*/ 219739 h 609244"/>
                  <a:gd name="connsiteX165" fmla="*/ 236328 w 767196"/>
                  <a:gd name="connsiteY165" fmla="*/ 221093 h 609244"/>
                  <a:gd name="connsiteX166" fmla="*/ 235425 w 767196"/>
                  <a:gd name="connsiteY166" fmla="*/ 222898 h 609244"/>
                  <a:gd name="connsiteX167" fmla="*/ 222564 w 767196"/>
                  <a:gd name="connsiteY167" fmla="*/ 229441 h 609244"/>
                  <a:gd name="connsiteX168" fmla="*/ 201353 w 767196"/>
                  <a:gd name="connsiteY168" fmla="*/ 233729 h 609244"/>
                  <a:gd name="connsiteX169" fmla="*/ 194132 w 767196"/>
                  <a:gd name="connsiteY169" fmla="*/ 235534 h 609244"/>
                  <a:gd name="connsiteX170" fmla="*/ 188717 w 767196"/>
                  <a:gd name="connsiteY170" fmla="*/ 237790 h 609244"/>
                  <a:gd name="connsiteX171" fmla="*/ 178788 w 767196"/>
                  <a:gd name="connsiteY171" fmla="*/ 239370 h 609244"/>
                  <a:gd name="connsiteX172" fmla="*/ 170214 w 767196"/>
                  <a:gd name="connsiteY172" fmla="*/ 237790 h 609244"/>
                  <a:gd name="connsiteX173" fmla="*/ 157126 w 767196"/>
                  <a:gd name="connsiteY173" fmla="*/ 236437 h 609244"/>
                  <a:gd name="connsiteX174" fmla="*/ 138849 w 767196"/>
                  <a:gd name="connsiteY174" fmla="*/ 235308 h 609244"/>
                  <a:gd name="connsiteX175" fmla="*/ 119443 w 767196"/>
                  <a:gd name="connsiteY175" fmla="*/ 228990 h 609244"/>
                  <a:gd name="connsiteX176" fmla="*/ 90561 w 767196"/>
                  <a:gd name="connsiteY176" fmla="*/ 209133 h 609244"/>
                  <a:gd name="connsiteX177" fmla="*/ 83566 w 767196"/>
                  <a:gd name="connsiteY177" fmla="*/ 204620 h 609244"/>
                  <a:gd name="connsiteX178" fmla="*/ 69124 w 767196"/>
                  <a:gd name="connsiteY178" fmla="*/ 193789 h 609244"/>
                  <a:gd name="connsiteX179" fmla="*/ 62580 w 767196"/>
                  <a:gd name="connsiteY179" fmla="*/ 188825 h 609244"/>
                  <a:gd name="connsiteX180" fmla="*/ 50396 w 767196"/>
                  <a:gd name="connsiteY180" fmla="*/ 172579 h 609244"/>
                  <a:gd name="connsiteX181" fmla="*/ 47688 w 767196"/>
                  <a:gd name="connsiteY181" fmla="*/ 164907 h 609244"/>
                  <a:gd name="connsiteX182" fmla="*/ 46108 w 767196"/>
                  <a:gd name="connsiteY182" fmla="*/ 159943 h 609244"/>
                  <a:gd name="connsiteX183" fmla="*/ 46334 w 767196"/>
                  <a:gd name="connsiteY183" fmla="*/ 156332 h 609244"/>
                  <a:gd name="connsiteX184" fmla="*/ 46560 w 767196"/>
                  <a:gd name="connsiteY184" fmla="*/ 153624 h 609244"/>
                  <a:gd name="connsiteX185" fmla="*/ 43175 w 767196"/>
                  <a:gd name="connsiteY185" fmla="*/ 150240 h 609244"/>
                  <a:gd name="connsiteX186" fmla="*/ 35729 w 767196"/>
                  <a:gd name="connsiteY186" fmla="*/ 142568 h 609244"/>
                  <a:gd name="connsiteX187" fmla="*/ 34375 w 767196"/>
                  <a:gd name="connsiteY187" fmla="*/ 134444 h 609244"/>
                  <a:gd name="connsiteX188" fmla="*/ 34600 w 767196"/>
                  <a:gd name="connsiteY188" fmla="*/ 129706 h 609244"/>
                  <a:gd name="connsiteX189" fmla="*/ 35503 w 767196"/>
                  <a:gd name="connsiteY189" fmla="*/ 114136 h 609244"/>
                  <a:gd name="connsiteX190" fmla="*/ 36631 w 767196"/>
                  <a:gd name="connsiteY190" fmla="*/ 112782 h 609244"/>
                  <a:gd name="connsiteX191" fmla="*/ 42949 w 767196"/>
                  <a:gd name="connsiteY191" fmla="*/ 108495 h 609244"/>
                  <a:gd name="connsiteX192" fmla="*/ 46560 w 767196"/>
                  <a:gd name="connsiteY192" fmla="*/ 107593 h 609244"/>
                  <a:gd name="connsiteX193" fmla="*/ 58293 w 767196"/>
                  <a:gd name="connsiteY193" fmla="*/ 102628 h 609244"/>
                  <a:gd name="connsiteX194" fmla="*/ 61227 w 767196"/>
                  <a:gd name="connsiteY194" fmla="*/ 98341 h 609244"/>
                  <a:gd name="connsiteX195" fmla="*/ 69801 w 767196"/>
                  <a:gd name="connsiteY195" fmla="*/ 92700 h 609244"/>
                  <a:gd name="connsiteX196" fmla="*/ 83566 w 767196"/>
                  <a:gd name="connsiteY196" fmla="*/ 84802 h 609244"/>
                  <a:gd name="connsiteX197" fmla="*/ 84017 w 767196"/>
                  <a:gd name="connsiteY197" fmla="*/ 84351 h 609244"/>
                  <a:gd name="connsiteX198" fmla="*/ 75668 w 767196"/>
                  <a:gd name="connsiteY198" fmla="*/ 85028 h 609244"/>
                  <a:gd name="connsiteX199" fmla="*/ 66416 w 767196"/>
                  <a:gd name="connsiteY199" fmla="*/ 87059 h 609244"/>
                  <a:gd name="connsiteX200" fmla="*/ 56262 w 767196"/>
                  <a:gd name="connsiteY200" fmla="*/ 90218 h 609244"/>
                  <a:gd name="connsiteX201" fmla="*/ 53555 w 767196"/>
                  <a:gd name="connsiteY201" fmla="*/ 94054 h 609244"/>
                  <a:gd name="connsiteX202" fmla="*/ 45206 w 767196"/>
                  <a:gd name="connsiteY202" fmla="*/ 101049 h 609244"/>
                  <a:gd name="connsiteX203" fmla="*/ 44754 w 767196"/>
                  <a:gd name="connsiteY203" fmla="*/ 101049 h 609244"/>
                  <a:gd name="connsiteX204" fmla="*/ 33923 w 767196"/>
                  <a:gd name="connsiteY204" fmla="*/ 104659 h 609244"/>
                  <a:gd name="connsiteX205" fmla="*/ 23092 w 767196"/>
                  <a:gd name="connsiteY205" fmla="*/ 118649 h 609244"/>
                  <a:gd name="connsiteX206" fmla="*/ 8425 w 767196"/>
                  <a:gd name="connsiteY206" fmla="*/ 121131 h 609244"/>
                  <a:gd name="connsiteX207" fmla="*/ 6395 w 767196"/>
                  <a:gd name="connsiteY207" fmla="*/ 121131 h 609244"/>
                  <a:gd name="connsiteX208" fmla="*/ 77 w 767196"/>
                  <a:gd name="connsiteY208" fmla="*/ 116618 h 609244"/>
                  <a:gd name="connsiteX209" fmla="*/ 3912 w 767196"/>
                  <a:gd name="connsiteY209" fmla="*/ 110075 h 609244"/>
                  <a:gd name="connsiteX210" fmla="*/ 14969 w 767196"/>
                  <a:gd name="connsiteY210" fmla="*/ 101726 h 609244"/>
                  <a:gd name="connsiteX211" fmla="*/ 14292 w 767196"/>
                  <a:gd name="connsiteY211" fmla="*/ 101049 h 609244"/>
                  <a:gd name="connsiteX212" fmla="*/ 11584 w 767196"/>
                  <a:gd name="connsiteY212" fmla="*/ 96536 h 609244"/>
                  <a:gd name="connsiteX213" fmla="*/ 10682 w 767196"/>
                  <a:gd name="connsiteY213" fmla="*/ 92700 h 609244"/>
                  <a:gd name="connsiteX214" fmla="*/ 8877 w 767196"/>
                  <a:gd name="connsiteY214" fmla="*/ 79612 h 609244"/>
                  <a:gd name="connsiteX215" fmla="*/ 14067 w 767196"/>
                  <a:gd name="connsiteY215" fmla="*/ 71489 h 609244"/>
                  <a:gd name="connsiteX216" fmla="*/ 35277 w 767196"/>
                  <a:gd name="connsiteY216" fmla="*/ 67202 h 609244"/>
                  <a:gd name="connsiteX217" fmla="*/ 41144 w 767196"/>
                  <a:gd name="connsiteY217" fmla="*/ 69233 h 609244"/>
                  <a:gd name="connsiteX218" fmla="*/ 55360 w 767196"/>
                  <a:gd name="connsiteY218" fmla="*/ 71264 h 609244"/>
                  <a:gd name="connsiteX219" fmla="*/ 76119 w 767196"/>
                  <a:gd name="connsiteY219" fmla="*/ 67653 h 609244"/>
                  <a:gd name="connsiteX220" fmla="*/ 78601 w 767196"/>
                  <a:gd name="connsiteY220" fmla="*/ 59530 h 609244"/>
                  <a:gd name="connsiteX221" fmla="*/ 78827 w 767196"/>
                  <a:gd name="connsiteY221" fmla="*/ 55920 h 609244"/>
                  <a:gd name="connsiteX222" fmla="*/ 81083 w 767196"/>
                  <a:gd name="connsiteY222" fmla="*/ 51407 h 609244"/>
                  <a:gd name="connsiteX223" fmla="*/ 81986 w 767196"/>
                  <a:gd name="connsiteY223" fmla="*/ 47119 h 609244"/>
                  <a:gd name="connsiteX224" fmla="*/ 81309 w 767196"/>
                  <a:gd name="connsiteY224" fmla="*/ 43509 h 609244"/>
                  <a:gd name="connsiteX225" fmla="*/ 86725 w 767196"/>
                  <a:gd name="connsiteY225" fmla="*/ 26360 h 609244"/>
                  <a:gd name="connsiteX226" fmla="*/ 96427 w 767196"/>
                  <a:gd name="connsiteY226" fmla="*/ 28391 h 609244"/>
                  <a:gd name="connsiteX227" fmla="*/ 100489 w 767196"/>
                  <a:gd name="connsiteY227" fmla="*/ 33129 h 609244"/>
                  <a:gd name="connsiteX228" fmla="*/ 104099 w 767196"/>
                  <a:gd name="connsiteY228" fmla="*/ 32227 h 609244"/>
                  <a:gd name="connsiteX229" fmla="*/ 107484 w 767196"/>
                  <a:gd name="connsiteY229" fmla="*/ 29970 h 609244"/>
                  <a:gd name="connsiteX230" fmla="*/ 111546 w 767196"/>
                  <a:gd name="connsiteY230" fmla="*/ 34483 h 609244"/>
                  <a:gd name="connsiteX231" fmla="*/ 123279 w 767196"/>
                  <a:gd name="connsiteY231" fmla="*/ 38770 h 609244"/>
                  <a:gd name="connsiteX232" fmla="*/ 136367 w 767196"/>
                  <a:gd name="connsiteY232" fmla="*/ 37868 h 609244"/>
                  <a:gd name="connsiteX233" fmla="*/ 143587 w 767196"/>
                  <a:gd name="connsiteY233" fmla="*/ 38770 h 609244"/>
                  <a:gd name="connsiteX234" fmla="*/ 153290 w 767196"/>
                  <a:gd name="connsiteY234" fmla="*/ 38094 h 609244"/>
                  <a:gd name="connsiteX235" fmla="*/ 162542 w 767196"/>
                  <a:gd name="connsiteY235" fmla="*/ 36063 h 609244"/>
                  <a:gd name="connsiteX236" fmla="*/ 187588 w 767196"/>
                  <a:gd name="connsiteY236" fmla="*/ 37417 h 609244"/>
                  <a:gd name="connsiteX237" fmla="*/ 188942 w 767196"/>
                  <a:gd name="connsiteY237" fmla="*/ 37642 h 609244"/>
                  <a:gd name="connsiteX238" fmla="*/ 198645 w 767196"/>
                  <a:gd name="connsiteY238" fmla="*/ 45314 h 609244"/>
                  <a:gd name="connsiteX239" fmla="*/ 219630 w 767196"/>
                  <a:gd name="connsiteY239" fmla="*/ 54340 h 609244"/>
                  <a:gd name="connsiteX240" fmla="*/ 227528 w 767196"/>
                  <a:gd name="connsiteY240" fmla="*/ 54114 h 609244"/>
                  <a:gd name="connsiteX241" fmla="*/ 243097 w 767196"/>
                  <a:gd name="connsiteY241" fmla="*/ 52986 h 609244"/>
                  <a:gd name="connsiteX242" fmla="*/ 249415 w 767196"/>
                  <a:gd name="connsiteY242" fmla="*/ 48022 h 609244"/>
                  <a:gd name="connsiteX243" fmla="*/ 257539 w 767196"/>
                  <a:gd name="connsiteY243" fmla="*/ 41253 h 609244"/>
                  <a:gd name="connsiteX244" fmla="*/ 279878 w 767196"/>
                  <a:gd name="connsiteY244" fmla="*/ 36288 h 609244"/>
                  <a:gd name="connsiteX245" fmla="*/ 289129 w 767196"/>
                  <a:gd name="connsiteY245" fmla="*/ 34258 h 609244"/>
                  <a:gd name="connsiteX246" fmla="*/ 294996 w 767196"/>
                  <a:gd name="connsiteY246" fmla="*/ 30873 h 609244"/>
                  <a:gd name="connsiteX247" fmla="*/ 300863 w 767196"/>
                  <a:gd name="connsiteY247" fmla="*/ 27714 h 609244"/>
                  <a:gd name="connsiteX248" fmla="*/ 313048 w 767196"/>
                  <a:gd name="connsiteY248" fmla="*/ 26360 h 609244"/>
                  <a:gd name="connsiteX249" fmla="*/ 315304 w 767196"/>
                  <a:gd name="connsiteY249" fmla="*/ 29293 h 609244"/>
                  <a:gd name="connsiteX250" fmla="*/ 312596 w 767196"/>
                  <a:gd name="connsiteY250" fmla="*/ 36288 h 609244"/>
                  <a:gd name="connsiteX251" fmla="*/ 310566 w 767196"/>
                  <a:gd name="connsiteY251" fmla="*/ 44412 h 609244"/>
                  <a:gd name="connsiteX252" fmla="*/ 331325 w 767196"/>
                  <a:gd name="connsiteY252" fmla="*/ 55468 h 609244"/>
                  <a:gd name="connsiteX253" fmla="*/ 349377 w 767196"/>
                  <a:gd name="connsiteY253" fmla="*/ 51407 h 609244"/>
                  <a:gd name="connsiteX254" fmla="*/ 352761 w 767196"/>
                  <a:gd name="connsiteY254" fmla="*/ 46894 h 609244"/>
                  <a:gd name="connsiteX255" fmla="*/ 359756 w 767196"/>
                  <a:gd name="connsiteY255" fmla="*/ 40350 h 609244"/>
                  <a:gd name="connsiteX256" fmla="*/ 362690 w 767196"/>
                  <a:gd name="connsiteY256" fmla="*/ 39673 h 609244"/>
                  <a:gd name="connsiteX257" fmla="*/ 370362 w 767196"/>
                  <a:gd name="connsiteY257" fmla="*/ 39222 h 609244"/>
                  <a:gd name="connsiteX258" fmla="*/ 376229 w 767196"/>
                  <a:gd name="connsiteY258" fmla="*/ 36740 h 609244"/>
                  <a:gd name="connsiteX259" fmla="*/ 378485 w 767196"/>
                  <a:gd name="connsiteY259" fmla="*/ 33806 h 609244"/>
                  <a:gd name="connsiteX260" fmla="*/ 379839 w 767196"/>
                  <a:gd name="connsiteY260" fmla="*/ 30873 h 609244"/>
                  <a:gd name="connsiteX261" fmla="*/ 376229 w 767196"/>
                  <a:gd name="connsiteY261" fmla="*/ 26811 h 609244"/>
                  <a:gd name="connsiteX262" fmla="*/ 366752 w 767196"/>
                  <a:gd name="connsiteY262" fmla="*/ 16432 h 609244"/>
                  <a:gd name="connsiteX263" fmla="*/ 366752 w 767196"/>
                  <a:gd name="connsiteY263" fmla="*/ 15980 h 609244"/>
                  <a:gd name="connsiteX264" fmla="*/ 371941 w 767196"/>
                  <a:gd name="connsiteY264" fmla="*/ 3795 h 609244"/>
                  <a:gd name="connsiteX265" fmla="*/ 373747 w 767196"/>
                  <a:gd name="connsiteY265" fmla="*/ 1539 h 609244"/>
                  <a:gd name="connsiteX266" fmla="*/ 374875 w 767196"/>
                  <a:gd name="connsiteY266" fmla="*/ 185 h 609244"/>
                  <a:gd name="connsiteX267" fmla="*/ 376003 w 767196"/>
                  <a:gd name="connsiteY267" fmla="*/ 411 h 609244"/>
                  <a:gd name="connsiteX268" fmla="*/ 394957 w 767196"/>
                  <a:gd name="connsiteY268" fmla="*/ 2667 h 609244"/>
                  <a:gd name="connsiteX269" fmla="*/ 417296 w 767196"/>
                  <a:gd name="connsiteY269" fmla="*/ 1088 h 609244"/>
                  <a:gd name="connsiteX270" fmla="*/ 451369 w 767196"/>
                  <a:gd name="connsiteY270" fmla="*/ 2667 h 609244"/>
                  <a:gd name="connsiteX271" fmla="*/ 460620 w 767196"/>
                  <a:gd name="connsiteY271" fmla="*/ 3795 h 609244"/>
                  <a:gd name="connsiteX272" fmla="*/ 481380 w 767196"/>
                  <a:gd name="connsiteY272" fmla="*/ 5375 h 609244"/>
                  <a:gd name="connsiteX273" fmla="*/ 501237 w 767196"/>
                  <a:gd name="connsiteY273" fmla="*/ 7631 h 609244"/>
                  <a:gd name="connsiteX274" fmla="*/ 519965 w 767196"/>
                  <a:gd name="connsiteY274" fmla="*/ 10114 h 609244"/>
                  <a:gd name="connsiteX275" fmla="*/ 525381 w 767196"/>
                  <a:gd name="connsiteY275" fmla="*/ 11693 h 609244"/>
                  <a:gd name="connsiteX276" fmla="*/ 544786 w 767196"/>
                  <a:gd name="connsiteY276" fmla="*/ 23201 h 609244"/>
                  <a:gd name="connsiteX277" fmla="*/ 547043 w 767196"/>
                  <a:gd name="connsiteY277" fmla="*/ 25457 h 609244"/>
                  <a:gd name="connsiteX278" fmla="*/ 550653 w 767196"/>
                  <a:gd name="connsiteY278" fmla="*/ 29068 h 609244"/>
                  <a:gd name="connsiteX279" fmla="*/ 570284 w 767196"/>
                  <a:gd name="connsiteY279" fmla="*/ 37191 h 609244"/>
                  <a:gd name="connsiteX280" fmla="*/ 591946 w 767196"/>
                  <a:gd name="connsiteY280" fmla="*/ 37191 h 609244"/>
                  <a:gd name="connsiteX281" fmla="*/ 599167 w 767196"/>
                  <a:gd name="connsiteY281" fmla="*/ 35160 h 609244"/>
                  <a:gd name="connsiteX282" fmla="*/ 612706 w 767196"/>
                  <a:gd name="connsiteY282" fmla="*/ 37642 h 609244"/>
                  <a:gd name="connsiteX283" fmla="*/ 631434 w 767196"/>
                  <a:gd name="connsiteY283" fmla="*/ 67202 h 609244"/>
                  <a:gd name="connsiteX284" fmla="*/ 630757 w 767196"/>
                  <a:gd name="connsiteY284" fmla="*/ 69007 h 609244"/>
                  <a:gd name="connsiteX285" fmla="*/ 632788 w 767196"/>
                  <a:gd name="connsiteY285" fmla="*/ 88638 h 609244"/>
                  <a:gd name="connsiteX286" fmla="*/ 640686 w 767196"/>
                  <a:gd name="connsiteY286" fmla="*/ 93377 h 609244"/>
                  <a:gd name="connsiteX287" fmla="*/ 654225 w 767196"/>
                  <a:gd name="connsiteY287" fmla="*/ 113459 h 609244"/>
                  <a:gd name="connsiteX288" fmla="*/ 654225 w 767196"/>
                  <a:gd name="connsiteY288" fmla="*/ 116167 h 609244"/>
                  <a:gd name="connsiteX289" fmla="*/ 657384 w 767196"/>
                  <a:gd name="connsiteY289" fmla="*/ 115039 h 609244"/>
                  <a:gd name="connsiteX290" fmla="*/ 663476 w 767196"/>
                  <a:gd name="connsiteY290" fmla="*/ 120229 h 609244"/>
                  <a:gd name="connsiteX291" fmla="*/ 667989 w 767196"/>
                  <a:gd name="connsiteY291" fmla="*/ 137603 h 609244"/>
                  <a:gd name="connsiteX292" fmla="*/ 673179 w 767196"/>
                  <a:gd name="connsiteY292" fmla="*/ 150465 h 609244"/>
                  <a:gd name="connsiteX293" fmla="*/ 683107 w 767196"/>
                  <a:gd name="connsiteY293" fmla="*/ 159717 h 609244"/>
                  <a:gd name="connsiteX294" fmla="*/ 704995 w 767196"/>
                  <a:gd name="connsiteY294" fmla="*/ 177543 h 609244"/>
                  <a:gd name="connsiteX295" fmla="*/ 721693 w 767196"/>
                  <a:gd name="connsiteY295" fmla="*/ 181830 h 609244"/>
                  <a:gd name="connsiteX296" fmla="*/ 740647 w 767196"/>
                  <a:gd name="connsiteY296" fmla="*/ 195369 h 609244"/>
                  <a:gd name="connsiteX297" fmla="*/ 745160 w 767196"/>
                  <a:gd name="connsiteY297" fmla="*/ 212969 h 609244"/>
                  <a:gd name="connsiteX298" fmla="*/ 750124 w 767196"/>
                  <a:gd name="connsiteY298" fmla="*/ 216805 h 609244"/>
                  <a:gd name="connsiteX299" fmla="*/ 757571 w 767196"/>
                  <a:gd name="connsiteY299" fmla="*/ 217934 h 609244"/>
                  <a:gd name="connsiteX300" fmla="*/ 758473 w 767196"/>
                  <a:gd name="connsiteY300" fmla="*/ 218159 h 609244"/>
                  <a:gd name="connsiteX301" fmla="*/ 758699 w 767196"/>
                  <a:gd name="connsiteY301" fmla="*/ 219062 h 609244"/>
                  <a:gd name="connsiteX302" fmla="*/ 764566 w 767196"/>
                  <a:gd name="connsiteY302" fmla="*/ 231472 h 609244"/>
                  <a:gd name="connsiteX303" fmla="*/ 774494 w 767196"/>
                  <a:gd name="connsiteY303" fmla="*/ 253134 h 609244"/>
                  <a:gd name="connsiteX304" fmla="*/ 777879 w 767196"/>
                  <a:gd name="connsiteY304" fmla="*/ 262837 h 609244"/>
                  <a:gd name="connsiteX305" fmla="*/ 774945 w 767196"/>
                  <a:gd name="connsiteY305" fmla="*/ 282017 h 609244"/>
                  <a:gd name="connsiteX306" fmla="*/ 758925 w 767196"/>
                  <a:gd name="connsiteY306" fmla="*/ 293751 h 609244"/>
                  <a:gd name="connsiteX307" fmla="*/ 749899 w 767196"/>
                  <a:gd name="connsiteY307" fmla="*/ 298264 h 609244"/>
                  <a:gd name="connsiteX308" fmla="*/ 736811 w 767196"/>
                  <a:gd name="connsiteY308" fmla="*/ 303905 h 609244"/>
                  <a:gd name="connsiteX309" fmla="*/ 730493 w 767196"/>
                  <a:gd name="connsiteY309" fmla="*/ 306612 h 609244"/>
                  <a:gd name="connsiteX310" fmla="*/ 735909 w 767196"/>
                  <a:gd name="connsiteY310" fmla="*/ 310900 h 609244"/>
                  <a:gd name="connsiteX311" fmla="*/ 745837 w 767196"/>
                  <a:gd name="connsiteY311" fmla="*/ 322633 h 609244"/>
                  <a:gd name="connsiteX312" fmla="*/ 738165 w 767196"/>
                  <a:gd name="connsiteY312" fmla="*/ 335495 h 609244"/>
                  <a:gd name="connsiteX313" fmla="*/ 737714 w 767196"/>
                  <a:gd name="connsiteY313" fmla="*/ 344747 h 609244"/>
                  <a:gd name="connsiteX314" fmla="*/ 739745 w 767196"/>
                  <a:gd name="connsiteY314" fmla="*/ 359188 h 609244"/>
                  <a:gd name="connsiteX315" fmla="*/ 738842 w 767196"/>
                  <a:gd name="connsiteY315" fmla="*/ 367763 h 609244"/>
                  <a:gd name="connsiteX316" fmla="*/ 726657 w 767196"/>
                  <a:gd name="connsiteY316" fmla="*/ 386717 h 609244"/>
                  <a:gd name="connsiteX317" fmla="*/ 709282 w 767196"/>
                  <a:gd name="connsiteY317" fmla="*/ 401384 h 609244"/>
                  <a:gd name="connsiteX318" fmla="*/ 707477 w 767196"/>
                  <a:gd name="connsiteY318" fmla="*/ 404092 h 609244"/>
                  <a:gd name="connsiteX319" fmla="*/ 703641 w 767196"/>
                  <a:gd name="connsiteY319" fmla="*/ 416728 h 609244"/>
                  <a:gd name="connsiteX320" fmla="*/ 701159 w 767196"/>
                  <a:gd name="connsiteY320" fmla="*/ 428236 h 609244"/>
                  <a:gd name="connsiteX321" fmla="*/ 702739 w 767196"/>
                  <a:gd name="connsiteY321" fmla="*/ 436133 h 609244"/>
                  <a:gd name="connsiteX322" fmla="*/ 717406 w 767196"/>
                  <a:gd name="connsiteY322" fmla="*/ 439067 h 609244"/>
                  <a:gd name="connsiteX323" fmla="*/ 723949 w 767196"/>
                  <a:gd name="connsiteY323" fmla="*/ 436133 h 609244"/>
                  <a:gd name="connsiteX324" fmla="*/ 738165 w 767196"/>
                  <a:gd name="connsiteY324" fmla="*/ 435231 h 609244"/>
                  <a:gd name="connsiteX325" fmla="*/ 740196 w 767196"/>
                  <a:gd name="connsiteY325" fmla="*/ 435682 h 609244"/>
                  <a:gd name="connsiteX326" fmla="*/ 758473 w 767196"/>
                  <a:gd name="connsiteY326" fmla="*/ 445159 h 609244"/>
                  <a:gd name="connsiteX327" fmla="*/ 747642 w 767196"/>
                  <a:gd name="connsiteY327" fmla="*/ 452831 h 609244"/>
                  <a:gd name="connsiteX328" fmla="*/ 731396 w 767196"/>
                  <a:gd name="connsiteY328" fmla="*/ 457118 h 609244"/>
                  <a:gd name="connsiteX329" fmla="*/ 712893 w 767196"/>
                  <a:gd name="connsiteY329" fmla="*/ 466144 h 609244"/>
                  <a:gd name="connsiteX330" fmla="*/ 711990 w 767196"/>
                  <a:gd name="connsiteY330" fmla="*/ 467272 h 609244"/>
                  <a:gd name="connsiteX331" fmla="*/ 693261 w 767196"/>
                  <a:gd name="connsiteY331" fmla="*/ 486452 h 609244"/>
                  <a:gd name="connsiteX332" fmla="*/ 681528 w 767196"/>
                  <a:gd name="connsiteY332" fmla="*/ 488934 h 609244"/>
                  <a:gd name="connsiteX333" fmla="*/ 675887 w 767196"/>
                  <a:gd name="connsiteY333" fmla="*/ 489837 h 609244"/>
                  <a:gd name="connsiteX334" fmla="*/ 677015 w 767196"/>
                  <a:gd name="connsiteY334" fmla="*/ 490965 h 609244"/>
                  <a:gd name="connsiteX335" fmla="*/ 700256 w 767196"/>
                  <a:gd name="connsiteY335" fmla="*/ 524135 h 609244"/>
                  <a:gd name="connsiteX336" fmla="*/ 702062 w 767196"/>
                  <a:gd name="connsiteY336" fmla="*/ 530453 h 609244"/>
                  <a:gd name="connsiteX337" fmla="*/ 690779 w 767196"/>
                  <a:gd name="connsiteY337" fmla="*/ 555049 h 609244"/>
                  <a:gd name="connsiteX338" fmla="*/ 675210 w 767196"/>
                  <a:gd name="connsiteY338" fmla="*/ 566782 h 609244"/>
                  <a:gd name="connsiteX339" fmla="*/ 664379 w 767196"/>
                  <a:gd name="connsiteY339" fmla="*/ 568136 h 609244"/>
                  <a:gd name="connsiteX340" fmla="*/ 656030 w 767196"/>
                  <a:gd name="connsiteY340" fmla="*/ 561367 h 609244"/>
                  <a:gd name="connsiteX341" fmla="*/ 645424 w 767196"/>
                  <a:gd name="connsiteY341" fmla="*/ 555274 h 609244"/>
                  <a:gd name="connsiteX342" fmla="*/ 641589 w 767196"/>
                  <a:gd name="connsiteY342" fmla="*/ 555726 h 609244"/>
                  <a:gd name="connsiteX343" fmla="*/ 641589 w 767196"/>
                  <a:gd name="connsiteY343" fmla="*/ 566331 h 609244"/>
                  <a:gd name="connsiteX344" fmla="*/ 642265 w 767196"/>
                  <a:gd name="connsiteY344" fmla="*/ 570167 h 609244"/>
                  <a:gd name="connsiteX345" fmla="*/ 641137 w 767196"/>
                  <a:gd name="connsiteY345" fmla="*/ 579193 h 609244"/>
                  <a:gd name="connsiteX346" fmla="*/ 638429 w 767196"/>
                  <a:gd name="connsiteY346" fmla="*/ 591378 h 609244"/>
                  <a:gd name="connsiteX347" fmla="*/ 614511 w 767196"/>
                  <a:gd name="connsiteY347" fmla="*/ 622066 h 609244"/>
                  <a:gd name="connsiteX348" fmla="*/ 594428 w 767196"/>
                  <a:gd name="connsiteY348" fmla="*/ 625225 h 609244"/>
                  <a:gd name="connsiteX349" fmla="*/ 567802 w 767196"/>
                  <a:gd name="connsiteY349" fmla="*/ 579870 h 609244"/>
                  <a:gd name="connsiteX350" fmla="*/ 575700 w 767196"/>
                  <a:gd name="connsiteY350" fmla="*/ 584609 h 609244"/>
                  <a:gd name="connsiteX351" fmla="*/ 574120 w 767196"/>
                  <a:gd name="connsiteY351" fmla="*/ 591152 h 609244"/>
                  <a:gd name="connsiteX352" fmla="*/ 572766 w 767196"/>
                  <a:gd name="connsiteY352" fmla="*/ 594537 h 609244"/>
                  <a:gd name="connsiteX353" fmla="*/ 574120 w 767196"/>
                  <a:gd name="connsiteY353" fmla="*/ 603563 h 609244"/>
                  <a:gd name="connsiteX354" fmla="*/ 573895 w 767196"/>
                  <a:gd name="connsiteY354" fmla="*/ 611235 h 609244"/>
                  <a:gd name="connsiteX355" fmla="*/ 578633 w 767196"/>
                  <a:gd name="connsiteY355" fmla="*/ 616876 h 609244"/>
                  <a:gd name="connsiteX356" fmla="*/ 584951 w 767196"/>
                  <a:gd name="connsiteY356" fmla="*/ 619132 h 609244"/>
                  <a:gd name="connsiteX357" fmla="*/ 611803 w 767196"/>
                  <a:gd name="connsiteY357" fmla="*/ 618004 h 609244"/>
                  <a:gd name="connsiteX358" fmla="*/ 633014 w 767196"/>
                  <a:gd name="connsiteY358" fmla="*/ 590475 h 609244"/>
                  <a:gd name="connsiteX359" fmla="*/ 635947 w 767196"/>
                  <a:gd name="connsiteY359" fmla="*/ 577613 h 609244"/>
                  <a:gd name="connsiteX360" fmla="*/ 636850 w 767196"/>
                  <a:gd name="connsiteY360" fmla="*/ 570167 h 609244"/>
                  <a:gd name="connsiteX361" fmla="*/ 636173 w 767196"/>
                  <a:gd name="connsiteY361" fmla="*/ 566557 h 609244"/>
                  <a:gd name="connsiteX362" fmla="*/ 637301 w 767196"/>
                  <a:gd name="connsiteY362" fmla="*/ 552792 h 609244"/>
                  <a:gd name="connsiteX363" fmla="*/ 644522 w 767196"/>
                  <a:gd name="connsiteY363" fmla="*/ 551213 h 609244"/>
                  <a:gd name="connsiteX364" fmla="*/ 657158 w 767196"/>
                  <a:gd name="connsiteY364" fmla="*/ 558433 h 609244"/>
                  <a:gd name="connsiteX365" fmla="*/ 664830 w 767196"/>
                  <a:gd name="connsiteY365" fmla="*/ 564752 h 609244"/>
                  <a:gd name="connsiteX366" fmla="*/ 670697 w 767196"/>
                  <a:gd name="connsiteY366" fmla="*/ 564075 h 609244"/>
                  <a:gd name="connsiteX367" fmla="*/ 687395 w 767196"/>
                  <a:gd name="connsiteY367" fmla="*/ 551438 h 609244"/>
                  <a:gd name="connsiteX368" fmla="*/ 696872 w 767196"/>
                  <a:gd name="connsiteY368" fmla="*/ 531582 h 609244"/>
                  <a:gd name="connsiteX369" fmla="*/ 694841 w 767196"/>
                  <a:gd name="connsiteY369" fmla="*/ 524361 h 609244"/>
                  <a:gd name="connsiteX370" fmla="*/ 672953 w 767196"/>
                  <a:gd name="connsiteY370" fmla="*/ 493673 h 609244"/>
                  <a:gd name="connsiteX371" fmla="*/ 670471 w 767196"/>
                  <a:gd name="connsiteY371" fmla="*/ 488709 h 609244"/>
                  <a:gd name="connsiteX372" fmla="*/ 679723 w 767196"/>
                  <a:gd name="connsiteY372" fmla="*/ 485324 h 609244"/>
                  <a:gd name="connsiteX373" fmla="*/ 690328 w 767196"/>
                  <a:gd name="connsiteY373" fmla="*/ 483068 h 609244"/>
                  <a:gd name="connsiteX374" fmla="*/ 707477 w 767196"/>
                  <a:gd name="connsiteY374" fmla="*/ 465242 h 609244"/>
                  <a:gd name="connsiteX375" fmla="*/ 708380 w 767196"/>
                  <a:gd name="connsiteY375" fmla="*/ 464113 h 609244"/>
                  <a:gd name="connsiteX376" fmla="*/ 729139 w 767196"/>
                  <a:gd name="connsiteY376" fmla="*/ 453508 h 609244"/>
                  <a:gd name="connsiteX377" fmla="*/ 745160 w 767196"/>
                  <a:gd name="connsiteY377" fmla="*/ 449221 h 609244"/>
                  <a:gd name="connsiteX378" fmla="*/ 753283 w 767196"/>
                  <a:gd name="connsiteY378" fmla="*/ 445159 h 609244"/>
                  <a:gd name="connsiteX379" fmla="*/ 737939 w 767196"/>
                  <a:gd name="connsiteY379" fmla="*/ 439067 h 609244"/>
                  <a:gd name="connsiteX380" fmla="*/ 735909 w 767196"/>
                  <a:gd name="connsiteY380" fmla="*/ 438615 h 609244"/>
                  <a:gd name="connsiteX381" fmla="*/ 724175 w 767196"/>
                  <a:gd name="connsiteY381" fmla="*/ 439292 h 609244"/>
                  <a:gd name="connsiteX382" fmla="*/ 717180 w 767196"/>
                  <a:gd name="connsiteY382" fmla="*/ 442226 h 609244"/>
                  <a:gd name="connsiteX383" fmla="*/ 698451 w 767196"/>
                  <a:gd name="connsiteY383" fmla="*/ 438390 h 609244"/>
                  <a:gd name="connsiteX384" fmla="*/ 695969 w 767196"/>
                  <a:gd name="connsiteY384" fmla="*/ 426656 h 609244"/>
                  <a:gd name="connsiteX385" fmla="*/ 698226 w 767196"/>
                  <a:gd name="connsiteY385" fmla="*/ 416277 h 609244"/>
                  <a:gd name="connsiteX386" fmla="*/ 702739 w 767196"/>
                  <a:gd name="connsiteY386" fmla="*/ 402061 h 609244"/>
                  <a:gd name="connsiteX387" fmla="*/ 704544 w 767196"/>
                  <a:gd name="connsiteY387" fmla="*/ 399353 h 609244"/>
                  <a:gd name="connsiteX388" fmla="*/ 723047 w 767196"/>
                  <a:gd name="connsiteY388" fmla="*/ 383558 h 609244"/>
                  <a:gd name="connsiteX389" fmla="*/ 733652 w 767196"/>
                  <a:gd name="connsiteY389" fmla="*/ 367763 h 609244"/>
                  <a:gd name="connsiteX390" fmla="*/ 734555 w 767196"/>
                  <a:gd name="connsiteY390" fmla="*/ 358511 h 609244"/>
                  <a:gd name="connsiteX391" fmla="*/ 732750 w 767196"/>
                  <a:gd name="connsiteY391" fmla="*/ 346552 h 609244"/>
                  <a:gd name="connsiteX392" fmla="*/ 734103 w 767196"/>
                  <a:gd name="connsiteY392" fmla="*/ 333239 h 609244"/>
                  <a:gd name="connsiteX393" fmla="*/ 740647 w 767196"/>
                  <a:gd name="connsiteY393" fmla="*/ 323536 h 609244"/>
                  <a:gd name="connsiteX394" fmla="*/ 732524 w 767196"/>
                  <a:gd name="connsiteY394" fmla="*/ 314510 h 609244"/>
                  <a:gd name="connsiteX395" fmla="*/ 725529 w 767196"/>
                  <a:gd name="connsiteY395" fmla="*/ 306387 h 609244"/>
                  <a:gd name="connsiteX396" fmla="*/ 734103 w 767196"/>
                  <a:gd name="connsiteY396" fmla="*/ 300520 h 609244"/>
                  <a:gd name="connsiteX397" fmla="*/ 746740 w 767196"/>
                  <a:gd name="connsiteY397" fmla="*/ 295104 h 609244"/>
                  <a:gd name="connsiteX398" fmla="*/ 755765 w 767196"/>
                  <a:gd name="connsiteY398" fmla="*/ 290591 h 609244"/>
                  <a:gd name="connsiteX399" fmla="*/ 770658 w 767196"/>
                  <a:gd name="connsiteY399" fmla="*/ 279535 h 609244"/>
                  <a:gd name="connsiteX400" fmla="*/ 773366 w 767196"/>
                  <a:gd name="connsiteY400" fmla="*/ 264868 h 609244"/>
                  <a:gd name="connsiteX401" fmla="*/ 769530 w 767196"/>
                  <a:gd name="connsiteY401" fmla="*/ 254037 h 609244"/>
                  <a:gd name="connsiteX402" fmla="*/ 760278 w 767196"/>
                  <a:gd name="connsiteY402" fmla="*/ 233954 h 609244"/>
                  <a:gd name="connsiteX403" fmla="*/ 753960 w 767196"/>
                  <a:gd name="connsiteY403" fmla="*/ 221093 h 609244"/>
                  <a:gd name="connsiteX404" fmla="*/ 748545 w 767196"/>
                  <a:gd name="connsiteY404" fmla="*/ 220416 h 609244"/>
                  <a:gd name="connsiteX405" fmla="*/ 739745 w 767196"/>
                  <a:gd name="connsiteY405" fmla="*/ 213195 h 609244"/>
                  <a:gd name="connsiteX406" fmla="*/ 735457 w 767196"/>
                  <a:gd name="connsiteY406" fmla="*/ 196723 h 609244"/>
                  <a:gd name="connsiteX407" fmla="*/ 719662 w 767196"/>
                  <a:gd name="connsiteY407" fmla="*/ 185440 h 609244"/>
                  <a:gd name="connsiteX408" fmla="*/ 701385 w 767196"/>
                  <a:gd name="connsiteY408" fmla="*/ 180702 h 609244"/>
                  <a:gd name="connsiteX409" fmla="*/ 678594 w 767196"/>
                  <a:gd name="connsiteY409" fmla="*/ 162199 h 609244"/>
                  <a:gd name="connsiteX410" fmla="*/ 669343 w 767196"/>
                  <a:gd name="connsiteY410" fmla="*/ 153399 h 609244"/>
                  <a:gd name="connsiteX411" fmla="*/ 662574 w 767196"/>
                  <a:gd name="connsiteY411" fmla="*/ 137603 h 609244"/>
                  <a:gd name="connsiteX412" fmla="*/ 658512 w 767196"/>
                  <a:gd name="connsiteY412" fmla="*/ 121583 h 609244"/>
                  <a:gd name="connsiteX413" fmla="*/ 655579 w 767196"/>
                  <a:gd name="connsiteY413" fmla="*/ 118424 h 609244"/>
                  <a:gd name="connsiteX414" fmla="*/ 653773 w 767196"/>
                  <a:gd name="connsiteY414" fmla="*/ 120229 h 609244"/>
                  <a:gd name="connsiteX415" fmla="*/ 650614 w 767196"/>
                  <a:gd name="connsiteY415" fmla="*/ 122034 h 609244"/>
                  <a:gd name="connsiteX416" fmla="*/ 648809 w 767196"/>
                  <a:gd name="connsiteY416" fmla="*/ 113234 h 609244"/>
                  <a:gd name="connsiteX417" fmla="*/ 637527 w 767196"/>
                  <a:gd name="connsiteY417" fmla="*/ 96536 h 609244"/>
                  <a:gd name="connsiteX418" fmla="*/ 628727 w 767196"/>
                  <a:gd name="connsiteY418" fmla="*/ 91120 h 609244"/>
                  <a:gd name="connsiteX419" fmla="*/ 625568 w 767196"/>
                  <a:gd name="connsiteY419" fmla="*/ 67427 h 609244"/>
                  <a:gd name="connsiteX420" fmla="*/ 626245 w 767196"/>
                  <a:gd name="connsiteY420" fmla="*/ 65622 h 609244"/>
                  <a:gd name="connsiteX421" fmla="*/ 609095 w 767196"/>
                  <a:gd name="connsiteY421" fmla="*/ 40576 h 609244"/>
                  <a:gd name="connsiteX422" fmla="*/ 599844 w 767196"/>
                  <a:gd name="connsiteY422" fmla="*/ 37868 h 609244"/>
                  <a:gd name="connsiteX423" fmla="*/ 590367 w 767196"/>
                  <a:gd name="connsiteY423" fmla="*/ 40801 h 609244"/>
                  <a:gd name="connsiteX424" fmla="*/ 568705 w 767196"/>
                  <a:gd name="connsiteY424" fmla="*/ 40801 h 609244"/>
                  <a:gd name="connsiteX425" fmla="*/ 546366 w 767196"/>
                  <a:gd name="connsiteY425" fmla="*/ 31550 h 609244"/>
                  <a:gd name="connsiteX426" fmla="*/ 542981 w 767196"/>
                  <a:gd name="connsiteY426" fmla="*/ 27939 h 609244"/>
                  <a:gd name="connsiteX427" fmla="*/ 540725 w 767196"/>
                  <a:gd name="connsiteY427" fmla="*/ 25683 h 609244"/>
                  <a:gd name="connsiteX428" fmla="*/ 522899 w 767196"/>
                  <a:gd name="connsiteY428" fmla="*/ 15078 h 609244"/>
                  <a:gd name="connsiteX429" fmla="*/ 517483 w 767196"/>
                  <a:gd name="connsiteY429" fmla="*/ 13498 h 609244"/>
                  <a:gd name="connsiteX430" fmla="*/ 500108 w 767196"/>
                  <a:gd name="connsiteY430" fmla="*/ 11242 h 609244"/>
                  <a:gd name="connsiteX431" fmla="*/ 479123 w 767196"/>
                  <a:gd name="connsiteY431" fmla="*/ 8760 h 609244"/>
                  <a:gd name="connsiteX432" fmla="*/ 460169 w 767196"/>
                  <a:gd name="connsiteY432" fmla="*/ 7180 h 609244"/>
                  <a:gd name="connsiteX433" fmla="*/ 448887 w 767196"/>
                  <a:gd name="connsiteY433" fmla="*/ 5826 h 609244"/>
                  <a:gd name="connsiteX434" fmla="*/ 416845 w 767196"/>
                  <a:gd name="connsiteY434" fmla="*/ 4472 h 609244"/>
                  <a:gd name="connsiteX435" fmla="*/ 394280 w 767196"/>
                  <a:gd name="connsiteY435" fmla="*/ 6052 h 609244"/>
                  <a:gd name="connsiteX436" fmla="*/ 375326 w 767196"/>
                  <a:gd name="connsiteY436" fmla="*/ 4021 h 609244"/>
                  <a:gd name="connsiteX437" fmla="*/ 373972 w 767196"/>
                  <a:gd name="connsiteY437" fmla="*/ 5600 h 609244"/>
                  <a:gd name="connsiteX438" fmla="*/ 369685 w 767196"/>
                  <a:gd name="connsiteY438" fmla="*/ 15529 h 609244"/>
                  <a:gd name="connsiteX439" fmla="*/ 369685 w 767196"/>
                  <a:gd name="connsiteY439" fmla="*/ 15980 h 609244"/>
                  <a:gd name="connsiteX440" fmla="*/ 377131 w 767196"/>
                  <a:gd name="connsiteY440" fmla="*/ 23201 h 609244"/>
                  <a:gd name="connsiteX441" fmla="*/ 382772 w 767196"/>
                  <a:gd name="connsiteY441" fmla="*/ 30196 h 609244"/>
                  <a:gd name="connsiteX442" fmla="*/ 380290 w 767196"/>
                  <a:gd name="connsiteY442" fmla="*/ 36288 h 609244"/>
                  <a:gd name="connsiteX443" fmla="*/ 378711 w 767196"/>
                  <a:gd name="connsiteY443" fmla="*/ 38319 h 609244"/>
                  <a:gd name="connsiteX444" fmla="*/ 369685 w 767196"/>
                  <a:gd name="connsiteY444" fmla="*/ 42606 h 609244"/>
                  <a:gd name="connsiteX445" fmla="*/ 363141 w 767196"/>
                  <a:gd name="connsiteY445" fmla="*/ 43058 h 609244"/>
                  <a:gd name="connsiteX446" fmla="*/ 359982 w 767196"/>
                  <a:gd name="connsiteY446" fmla="*/ 43960 h 609244"/>
                  <a:gd name="connsiteX447" fmla="*/ 355469 w 767196"/>
                  <a:gd name="connsiteY447" fmla="*/ 48473 h 609244"/>
                  <a:gd name="connsiteX448" fmla="*/ 350956 w 767196"/>
                  <a:gd name="connsiteY448" fmla="*/ 54114 h 609244"/>
                  <a:gd name="connsiteX449" fmla="*/ 330648 w 767196"/>
                  <a:gd name="connsiteY449" fmla="*/ 58853 h 609244"/>
                  <a:gd name="connsiteX450" fmla="*/ 306955 w 767196"/>
                  <a:gd name="connsiteY450" fmla="*/ 46217 h 609244"/>
                  <a:gd name="connsiteX451" fmla="*/ 308986 w 767196"/>
                  <a:gd name="connsiteY451" fmla="*/ 33806 h 609244"/>
                  <a:gd name="connsiteX452" fmla="*/ 311017 w 767196"/>
                  <a:gd name="connsiteY452" fmla="*/ 29745 h 609244"/>
                  <a:gd name="connsiteX453" fmla="*/ 310566 w 767196"/>
                  <a:gd name="connsiteY453" fmla="*/ 29068 h 609244"/>
                  <a:gd name="connsiteX454" fmla="*/ 302442 w 767196"/>
                  <a:gd name="connsiteY454" fmla="*/ 30422 h 609244"/>
                  <a:gd name="connsiteX455" fmla="*/ 296124 w 767196"/>
                  <a:gd name="connsiteY455" fmla="*/ 33806 h 609244"/>
                  <a:gd name="connsiteX456" fmla="*/ 290934 w 767196"/>
                  <a:gd name="connsiteY456" fmla="*/ 36740 h 609244"/>
                  <a:gd name="connsiteX457" fmla="*/ 279201 w 767196"/>
                  <a:gd name="connsiteY457" fmla="*/ 39447 h 609244"/>
                  <a:gd name="connsiteX458" fmla="*/ 258893 w 767196"/>
                  <a:gd name="connsiteY458" fmla="*/ 43960 h 609244"/>
                  <a:gd name="connsiteX459" fmla="*/ 251898 w 767196"/>
                  <a:gd name="connsiteY459" fmla="*/ 50053 h 609244"/>
                  <a:gd name="connsiteX460" fmla="*/ 243774 w 767196"/>
                  <a:gd name="connsiteY460" fmla="*/ 56145 h 609244"/>
                  <a:gd name="connsiteX461" fmla="*/ 227528 w 767196"/>
                  <a:gd name="connsiteY461" fmla="*/ 57273 h 609244"/>
                  <a:gd name="connsiteX462" fmla="*/ 219630 w 767196"/>
                  <a:gd name="connsiteY462" fmla="*/ 57499 h 609244"/>
                  <a:gd name="connsiteX463" fmla="*/ 195486 w 767196"/>
                  <a:gd name="connsiteY463" fmla="*/ 47119 h 609244"/>
                  <a:gd name="connsiteX464" fmla="*/ 188040 w 767196"/>
                  <a:gd name="connsiteY464" fmla="*/ 41027 h 609244"/>
                  <a:gd name="connsiteX465" fmla="*/ 186686 w 767196"/>
                  <a:gd name="connsiteY465" fmla="*/ 40801 h 609244"/>
                  <a:gd name="connsiteX466" fmla="*/ 162993 w 767196"/>
                  <a:gd name="connsiteY466" fmla="*/ 39673 h 609244"/>
                  <a:gd name="connsiteX467" fmla="*/ 154418 w 767196"/>
                  <a:gd name="connsiteY467" fmla="*/ 41704 h 609244"/>
                  <a:gd name="connsiteX468" fmla="*/ 143136 w 767196"/>
                  <a:gd name="connsiteY468" fmla="*/ 42606 h 609244"/>
                  <a:gd name="connsiteX469" fmla="*/ 135690 w 767196"/>
                  <a:gd name="connsiteY469" fmla="*/ 41704 h 609244"/>
                  <a:gd name="connsiteX470" fmla="*/ 124633 w 767196"/>
                  <a:gd name="connsiteY470" fmla="*/ 42381 h 609244"/>
                  <a:gd name="connsiteX471" fmla="*/ 108161 w 767196"/>
                  <a:gd name="connsiteY471" fmla="*/ 36063 h 609244"/>
                  <a:gd name="connsiteX472" fmla="*/ 107258 w 767196"/>
                  <a:gd name="connsiteY472" fmla="*/ 34258 h 609244"/>
                  <a:gd name="connsiteX473" fmla="*/ 107033 w 767196"/>
                  <a:gd name="connsiteY473" fmla="*/ 34483 h 609244"/>
                  <a:gd name="connsiteX474" fmla="*/ 98233 w 767196"/>
                  <a:gd name="connsiteY474" fmla="*/ 36063 h 609244"/>
                  <a:gd name="connsiteX475" fmla="*/ 93268 w 767196"/>
                  <a:gd name="connsiteY475" fmla="*/ 30196 h 609244"/>
                  <a:gd name="connsiteX476" fmla="*/ 88304 w 767196"/>
                  <a:gd name="connsiteY476" fmla="*/ 29745 h 609244"/>
                  <a:gd name="connsiteX477" fmla="*/ 85145 w 767196"/>
                  <a:gd name="connsiteY477" fmla="*/ 42606 h 609244"/>
                  <a:gd name="connsiteX478" fmla="*/ 86048 w 767196"/>
                  <a:gd name="connsiteY478" fmla="*/ 46668 h 609244"/>
                  <a:gd name="connsiteX479" fmla="*/ 84243 w 767196"/>
                  <a:gd name="connsiteY479" fmla="*/ 54114 h 609244"/>
                  <a:gd name="connsiteX480" fmla="*/ 82889 w 767196"/>
                  <a:gd name="connsiteY480" fmla="*/ 56597 h 609244"/>
                  <a:gd name="connsiteX481" fmla="*/ 82663 w 767196"/>
                  <a:gd name="connsiteY481" fmla="*/ 59981 h 609244"/>
                  <a:gd name="connsiteX482" fmla="*/ 78150 w 767196"/>
                  <a:gd name="connsiteY482" fmla="*/ 71264 h 609244"/>
                  <a:gd name="connsiteX483" fmla="*/ 55811 w 767196"/>
                  <a:gd name="connsiteY483" fmla="*/ 75100 h 609244"/>
                  <a:gd name="connsiteX484" fmla="*/ 40467 w 767196"/>
                  <a:gd name="connsiteY484" fmla="*/ 72843 h 609244"/>
                  <a:gd name="connsiteX485" fmla="*/ 34600 w 767196"/>
                  <a:gd name="connsiteY485" fmla="*/ 70812 h 609244"/>
                  <a:gd name="connsiteX486" fmla="*/ 16549 w 767196"/>
                  <a:gd name="connsiteY486" fmla="*/ 74648 h 609244"/>
                  <a:gd name="connsiteX487" fmla="*/ 12713 w 767196"/>
                  <a:gd name="connsiteY487" fmla="*/ 79838 h 609244"/>
                  <a:gd name="connsiteX488" fmla="*/ 14518 w 767196"/>
                  <a:gd name="connsiteY488" fmla="*/ 92023 h 609244"/>
                  <a:gd name="connsiteX489" fmla="*/ 15420 w 767196"/>
                  <a:gd name="connsiteY489" fmla="*/ 96085 h 609244"/>
                  <a:gd name="connsiteX490" fmla="*/ 16774 w 767196"/>
                  <a:gd name="connsiteY490" fmla="*/ 98341 h 609244"/>
                  <a:gd name="connsiteX491" fmla="*/ 18805 w 767196"/>
                  <a:gd name="connsiteY491" fmla="*/ 101951 h 609244"/>
                  <a:gd name="connsiteX492" fmla="*/ 5266 w 767196"/>
                  <a:gd name="connsiteY492" fmla="*/ 113685 h 609244"/>
                  <a:gd name="connsiteX493" fmla="*/ 3912 w 767196"/>
                  <a:gd name="connsiteY493" fmla="*/ 116167 h 609244"/>
                  <a:gd name="connsiteX494" fmla="*/ 6395 w 767196"/>
                  <a:gd name="connsiteY494" fmla="*/ 117521 h 609244"/>
                  <a:gd name="connsiteX495" fmla="*/ 8425 w 767196"/>
                  <a:gd name="connsiteY495" fmla="*/ 117521 h 609244"/>
                  <a:gd name="connsiteX496" fmla="*/ 20385 w 767196"/>
                  <a:gd name="connsiteY496" fmla="*/ 116167 h 609244"/>
                  <a:gd name="connsiteX497" fmla="*/ 30313 w 767196"/>
                  <a:gd name="connsiteY497" fmla="*/ 103305 h 609244"/>
                  <a:gd name="connsiteX498" fmla="*/ 44303 w 767196"/>
                  <a:gd name="connsiteY498" fmla="*/ 97664 h 609244"/>
                  <a:gd name="connsiteX499" fmla="*/ 44754 w 767196"/>
                  <a:gd name="connsiteY499" fmla="*/ 97664 h 609244"/>
                  <a:gd name="connsiteX500" fmla="*/ 50170 w 767196"/>
                  <a:gd name="connsiteY500" fmla="*/ 92249 h 609244"/>
                  <a:gd name="connsiteX501" fmla="*/ 53103 w 767196"/>
                  <a:gd name="connsiteY501" fmla="*/ 87961 h 609244"/>
                  <a:gd name="connsiteX502" fmla="*/ 65740 w 767196"/>
                  <a:gd name="connsiteY502" fmla="*/ 83674 h 609244"/>
                  <a:gd name="connsiteX503" fmla="*/ 73863 w 767196"/>
                  <a:gd name="connsiteY503" fmla="*/ 81869 h 609244"/>
                  <a:gd name="connsiteX504" fmla="*/ 87853 w 767196"/>
                  <a:gd name="connsiteY504" fmla="*/ 82997 h 609244"/>
                  <a:gd name="connsiteX505" fmla="*/ 87176 w 767196"/>
                  <a:gd name="connsiteY505" fmla="*/ 86608 h 609244"/>
                  <a:gd name="connsiteX506" fmla="*/ 85822 w 767196"/>
                  <a:gd name="connsiteY506" fmla="*/ 87736 h 609244"/>
                  <a:gd name="connsiteX507" fmla="*/ 69801 w 767196"/>
                  <a:gd name="connsiteY507" fmla="*/ 96762 h 609244"/>
                  <a:gd name="connsiteX508" fmla="*/ 64386 w 767196"/>
                  <a:gd name="connsiteY508" fmla="*/ 100146 h 609244"/>
                  <a:gd name="connsiteX509" fmla="*/ 60550 w 767196"/>
                  <a:gd name="connsiteY509" fmla="*/ 105562 h 609244"/>
                  <a:gd name="connsiteX510" fmla="*/ 47011 w 767196"/>
                  <a:gd name="connsiteY510" fmla="*/ 111429 h 609244"/>
                  <a:gd name="connsiteX511" fmla="*/ 43852 w 767196"/>
                  <a:gd name="connsiteY511" fmla="*/ 112105 h 609244"/>
                  <a:gd name="connsiteX512" fmla="*/ 39339 w 767196"/>
                  <a:gd name="connsiteY512" fmla="*/ 115039 h 609244"/>
                  <a:gd name="connsiteX513" fmla="*/ 38211 w 767196"/>
                  <a:gd name="connsiteY513" fmla="*/ 116393 h 609244"/>
                  <a:gd name="connsiteX514" fmla="*/ 37985 w 767196"/>
                  <a:gd name="connsiteY514" fmla="*/ 128352 h 609244"/>
                  <a:gd name="connsiteX515" fmla="*/ 37534 w 767196"/>
                  <a:gd name="connsiteY515" fmla="*/ 135573 h 609244"/>
                  <a:gd name="connsiteX516" fmla="*/ 38211 w 767196"/>
                  <a:gd name="connsiteY516" fmla="*/ 140086 h 609244"/>
                  <a:gd name="connsiteX517" fmla="*/ 45883 w 767196"/>
                  <a:gd name="connsiteY517" fmla="*/ 147532 h 609244"/>
                  <a:gd name="connsiteX518" fmla="*/ 50621 w 767196"/>
                  <a:gd name="connsiteY518" fmla="*/ 153173 h 609244"/>
                  <a:gd name="connsiteX519" fmla="*/ 50396 w 767196"/>
                  <a:gd name="connsiteY519" fmla="*/ 156558 h 609244"/>
                  <a:gd name="connsiteX520" fmla="*/ 50170 w 767196"/>
                  <a:gd name="connsiteY520" fmla="*/ 159717 h 609244"/>
                  <a:gd name="connsiteX521" fmla="*/ 51524 w 767196"/>
                  <a:gd name="connsiteY521" fmla="*/ 163327 h 609244"/>
                  <a:gd name="connsiteX522" fmla="*/ 54457 w 767196"/>
                  <a:gd name="connsiteY522" fmla="*/ 171450 h 609244"/>
                  <a:gd name="connsiteX523" fmla="*/ 64837 w 767196"/>
                  <a:gd name="connsiteY523" fmla="*/ 185440 h 609244"/>
                  <a:gd name="connsiteX524" fmla="*/ 71832 w 767196"/>
                  <a:gd name="connsiteY524" fmla="*/ 190856 h 609244"/>
                  <a:gd name="connsiteX525" fmla="*/ 85822 w 767196"/>
                  <a:gd name="connsiteY525" fmla="*/ 201461 h 609244"/>
                  <a:gd name="connsiteX526" fmla="*/ 92817 w 767196"/>
                  <a:gd name="connsiteY526" fmla="*/ 205974 h 609244"/>
                  <a:gd name="connsiteX527" fmla="*/ 121925 w 767196"/>
                  <a:gd name="connsiteY527" fmla="*/ 226057 h 609244"/>
                  <a:gd name="connsiteX528" fmla="*/ 138172 w 767196"/>
                  <a:gd name="connsiteY528" fmla="*/ 231472 h 609244"/>
                  <a:gd name="connsiteX529" fmla="*/ 157803 w 767196"/>
                  <a:gd name="connsiteY529" fmla="*/ 232375 h 609244"/>
                  <a:gd name="connsiteX530" fmla="*/ 170439 w 767196"/>
                  <a:gd name="connsiteY530" fmla="*/ 233729 h 609244"/>
                  <a:gd name="connsiteX531" fmla="*/ 179916 w 767196"/>
                  <a:gd name="connsiteY531" fmla="*/ 235083 h 609244"/>
                  <a:gd name="connsiteX532" fmla="*/ 186009 w 767196"/>
                  <a:gd name="connsiteY532" fmla="*/ 234857 h 609244"/>
                  <a:gd name="connsiteX533" fmla="*/ 193907 w 767196"/>
                  <a:gd name="connsiteY533" fmla="*/ 231247 h 609244"/>
                  <a:gd name="connsiteX534" fmla="*/ 199999 w 767196"/>
                  <a:gd name="connsiteY534" fmla="*/ 229893 h 609244"/>
                  <a:gd name="connsiteX535" fmla="*/ 222564 w 767196"/>
                  <a:gd name="connsiteY535" fmla="*/ 225380 h 609244"/>
                  <a:gd name="connsiteX536" fmla="*/ 232041 w 767196"/>
                  <a:gd name="connsiteY536" fmla="*/ 220867 h 609244"/>
                  <a:gd name="connsiteX537" fmla="*/ 233169 w 767196"/>
                  <a:gd name="connsiteY537" fmla="*/ 218610 h 609244"/>
                  <a:gd name="connsiteX538" fmla="*/ 241744 w 767196"/>
                  <a:gd name="connsiteY538" fmla="*/ 215451 h 609244"/>
                  <a:gd name="connsiteX539" fmla="*/ 247159 w 767196"/>
                  <a:gd name="connsiteY539" fmla="*/ 215226 h 609244"/>
                  <a:gd name="connsiteX540" fmla="*/ 248062 w 767196"/>
                  <a:gd name="connsiteY540" fmla="*/ 215226 h 609244"/>
                  <a:gd name="connsiteX541" fmla="*/ 247610 w 767196"/>
                  <a:gd name="connsiteY541" fmla="*/ 209359 h 609244"/>
                  <a:gd name="connsiteX542" fmla="*/ 246708 w 767196"/>
                  <a:gd name="connsiteY542" fmla="*/ 202815 h 609244"/>
                  <a:gd name="connsiteX543" fmla="*/ 263180 w 767196"/>
                  <a:gd name="connsiteY543" fmla="*/ 186343 h 609244"/>
                  <a:gd name="connsiteX544" fmla="*/ 277621 w 767196"/>
                  <a:gd name="connsiteY544" fmla="*/ 186794 h 609244"/>
                  <a:gd name="connsiteX545" fmla="*/ 281232 w 767196"/>
                  <a:gd name="connsiteY545" fmla="*/ 189051 h 609244"/>
                  <a:gd name="connsiteX546" fmla="*/ 296350 w 767196"/>
                  <a:gd name="connsiteY546" fmla="*/ 194015 h 609244"/>
                  <a:gd name="connsiteX547" fmla="*/ 309437 w 767196"/>
                  <a:gd name="connsiteY547" fmla="*/ 189051 h 609244"/>
                  <a:gd name="connsiteX548" fmla="*/ 317335 w 767196"/>
                  <a:gd name="connsiteY548" fmla="*/ 188374 h 609244"/>
                  <a:gd name="connsiteX549" fmla="*/ 320720 w 767196"/>
                  <a:gd name="connsiteY549" fmla="*/ 198528 h 609244"/>
                  <a:gd name="connsiteX550" fmla="*/ 304699 w 767196"/>
                  <a:gd name="connsiteY550" fmla="*/ 213195 h 609244"/>
                  <a:gd name="connsiteX551" fmla="*/ 302442 w 767196"/>
                  <a:gd name="connsiteY551" fmla="*/ 214775 h 609244"/>
                  <a:gd name="connsiteX552" fmla="*/ 296124 w 767196"/>
                  <a:gd name="connsiteY552" fmla="*/ 217708 h 609244"/>
                  <a:gd name="connsiteX553" fmla="*/ 293642 w 767196"/>
                  <a:gd name="connsiteY553" fmla="*/ 219287 h 609244"/>
                  <a:gd name="connsiteX554" fmla="*/ 292514 w 767196"/>
                  <a:gd name="connsiteY554" fmla="*/ 223123 h 609244"/>
                  <a:gd name="connsiteX555" fmla="*/ 285519 w 767196"/>
                  <a:gd name="connsiteY555" fmla="*/ 234180 h 609244"/>
                  <a:gd name="connsiteX556" fmla="*/ 279426 w 767196"/>
                  <a:gd name="connsiteY556" fmla="*/ 239370 h 609244"/>
                  <a:gd name="connsiteX557" fmla="*/ 270175 w 767196"/>
                  <a:gd name="connsiteY557" fmla="*/ 243432 h 609244"/>
                  <a:gd name="connsiteX558" fmla="*/ 267242 w 767196"/>
                  <a:gd name="connsiteY558" fmla="*/ 238242 h 609244"/>
                  <a:gd name="connsiteX559" fmla="*/ 260247 w 767196"/>
                  <a:gd name="connsiteY559" fmla="*/ 251329 h 609244"/>
                  <a:gd name="connsiteX560" fmla="*/ 247159 w 767196"/>
                  <a:gd name="connsiteY560" fmla="*/ 275248 h 609244"/>
                  <a:gd name="connsiteX561" fmla="*/ 236102 w 767196"/>
                  <a:gd name="connsiteY561" fmla="*/ 284725 h 609244"/>
                  <a:gd name="connsiteX562" fmla="*/ 224820 w 767196"/>
                  <a:gd name="connsiteY562" fmla="*/ 277730 h 609244"/>
                  <a:gd name="connsiteX563" fmla="*/ 220758 w 767196"/>
                  <a:gd name="connsiteY563" fmla="*/ 273668 h 609244"/>
                  <a:gd name="connsiteX564" fmla="*/ 219856 w 767196"/>
                  <a:gd name="connsiteY564" fmla="*/ 274345 h 609244"/>
                  <a:gd name="connsiteX565" fmla="*/ 216697 w 767196"/>
                  <a:gd name="connsiteY565" fmla="*/ 276602 h 609244"/>
                  <a:gd name="connsiteX566" fmla="*/ 213989 w 767196"/>
                  <a:gd name="connsiteY566" fmla="*/ 281114 h 609244"/>
                  <a:gd name="connsiteX567" fmla="*/ 204061 w 767196"/>
                  <a:gd name="connsiteY567" fmla="*/ 289463 h 609244"/>
                  <a:gd name="connsiteX568" fmla="*/ 200225 w 767196"/>
                  <a:gd name="connsiteY568" fmla="*/ 291720 h 609244"/>
                  <a:gd name="connsiteX569" fmla="*/ 195486 w 767196"/>
                  <a:gd name="connsiteY569" fmla="*/ 295104 h 609244"/>
                  <a:gd name="connsiteX570" fmla="*/ 188491 w 767196"/>
                  <a:gd name="connsiteY570" fmla="*/ 292397 h 609244"/>
                  <a:gd name="connsiteX571" fmla="*/ 180819 w 767196"/>
                  <a:gd name="connsiteY571" fmla="*/ 289463 h 609244"/>
                  <a:gd name="connsiteX572" fmla="*/ 179014 w 767196"/>
                  <a:gd name="connsiteY572" fmla="*/ 289915 h 609244"/>
                  <a:gd name="connsiteX573" fmla="*/ 179916 w 767196"/>
                  <a:gd name="connsiteY573" fmla="*/ 293299 h 609244"/>
                  <a:gd name="connsiteX574" fmla="*/ 180593 w 767196"/>
                  <a:gd name="connsiteY574" fmla="*/ 298715 h 609244"/>
                  <a:gd name="connsiteX575" fmla="*/ 178337 w 767196"/>
                  <a:gd name="connsiteY575" fmla="*/ 300294 h 609244"/>
                  <a:gd name="connsiteX576" fmla="*/ 172245 w 767196"/>
                  <a:gd name="connsiteY576" fmla="*/ 300069 h 609244"/>
                  <a:gd name="connsiteX577" fmla="*/ 161188 w 767196"/>
                  <a:gd name="connsiteY577" fmla="*/ 299392 h 609244"/>
                  <a:gd name="connsiteX578" fmla="*/ 156675 w 767196"/>
                  <a:gd name="connsiteY578" fmla="*/ 300069 h 609244"/>
                  <a:gd name="connsiteX579" fmla="*/ 156675 w 767196"/>
                  <a:gd name="connsiteY579" fmla="*/ 300520 h 609244"/>
                  <a:gd name="connsiteX580" fmla="*/ 153290 w 767196"/>
                  <a:gd name="connsiteY580" fmla="*/ 305935 h 609244"/>
                  <a:gd name="connsiteX581" fmla="*/ 146747 w 767196"/>
                  <a:gd name="connsiteY581" fmla="*/ 306612 h 609244"/>
                  <a:gd name="connsiteX582" fmla="*/ 145393 w 767196"/>
                  <a:gd name="connsiteY582" fmla="*/ 305259 h 609244"/>
                  <a:gd name="connsiteX583" fmla="*/ 132531 w 767196"/>
                  <a:gd name="connsiteY583" fmla="*/ 306387 h 609244"/>
                  <a:gd name="connsiteX584" fmla="*/ 123279 w 767196"/>
                  <a:gd name="connsiteY584" fmla="*/ 309997 h 609244"/>
                  <a:gd name="connsiteX585" fmla="*/ 120346 w 767196"/>
                  <a:gd name="connsiteY585" fmla="*/ 311802 h 609244"/>
                  <a:gd name="connsiteX586" fmla="*/ 111997 w 767196"/>
                  <a:gd name="connsiteY586" fmla="*/ 312028 h 609244"/>
                  <a:gd name="connsiteX587" fmla="*/ 108612 w 767196"/>
                  <a:gd name="connsiteY587" fmla="*/ 305935 h 609244"/>
                  <a:gd name="connsiteX588" fmla="*/ 111094 w 767196"/>
                  <a:gd name="connsiteY588" fmla="*/ 297812 h 609244"/>
                  <a:gd name="connsiteX589" fmla="*/ 113351 w 767196"/>
                  <a:gd name="connsiteY589" fmla="*/ 289463 h 609244"/>
                  <a:gd name="connsiteX590" fmla="*/ 112900 w 767196"/>
                  <a:gd name="connsiteY590" fmla="*/ 288561 h 609244"/>
                  <a:gd name="connsiteX591" fmla="*/ 111546 w 767196"/>
                  <a:gd name="connsiteY591" fmla="*/ 289238 h 609244"/>
                  <a:gd name="connsiteX592" fmla="*/ 107033 w 767196"/>
                  <a:gd name="connsiteY592" fmla="*/ 290366 h 609244"/>
                  <a:gd name="connsiteX593" fmla="*/ 105002 w 767196"/>
                  <a:gd name="connsiteY593" fmla="*/ 289463 h 609244"/>
                  <a:gd name="connsiteX594" fmla="*/ 103422 w 767196"/>
                  <a:gd name="connsiteY594" fmla="*/ 281340 h 609244"/>
                  <a:gd name="connsiteX595" fmla="*/ 103197 w 767196"/>
                  <a:gd name="connsiteY595" fmla="*/ 277278 h 609244"/>
                  <a:gd name="connsiteX596" fmla="*/ 90561 w 767196"/>
                  <a:gd name="connsiteY596" fmla="*/ 294428 h 609244"/>
                  <a:gd name="connsiteX597" fmla="*/ 94622 w 767196"/>
                  <a:gd name="connsiteY597" fmla="*/ 314510 h 609244"/>
                  <a:gd name="connsiteX598" fmla="*/ 146972 w 767196"/>
                  <a:gd name="connsiteY598" fmla="*/ 377014 h 609244"/>
                  <a:gd name="connsiteX599" fmla="*/ 182399 w 767196"/>
                  <a:gd name="connsiteY599" fmla="*/ 418082 h 609244"/>
                  <a:gd name="connsiteX600" fmla="*/ 192101 w 767196"/>
                  <a:gd name="connsiteY600" fmla="*/ 430943 h 609244"/>
                  <a:gd name="connsiteX601" fmla="*/ 205640 w 767196"/>
                  <a:gd name="connsiteY601" fmla="*/ 448769 h 609244"/>
                  <a:gd name="connsiteX602" fmla="*/ 221210 w 767196"/>
                  <a:gd name="connsiteY602" fmla="*/ 468401 h 609244"/>
                  <a:gd name="connsiteX603" fmla="*/ 264985 w 767196"/>
                  <a:gd name="connsiteY603" fmla="*/ 507889 h 609244"/>
                  <a:gd name="connsiteX604" fmla="*/ 276042 w 767196"/>
                  <a:gd name="connsiteY604" fmla="*/ 516012 h 609244"/>
                  <a:gd name="connsiteX605" fmla="*/ 294996 w 767196"/>
                  <a:gd name="connsiteY605" fmla="*/ 524812 h 609244"/>
                  <a:gd name="connsiteX606" fmla="*/ 304022 w 767196"/>
                  <a:gd name="connsiteY606" fmla="*/ 527294 h 609244"/>
                  <a:gd name="connsiteX607" fmla="*/ 314853 w 767196"/>
                  <a:gd name="connsiteY607" fmla="*/ 529776 h 609244"/>
                  <a:gd name="connsiteX608" fmla="*/ 314853 w 767196"/>
                  <a:gd name="connsiteY608" fmla="*/ 527746 h 609244"/>
                  <a:gd name="connsiteX609" fmla="*/ 315981 w 767196"/>
                  <a:gd name="connsiteY609" fmla="*/ 524587 h 609244"/>
                  <a:gd name="connsiteX610" fmla="*/ 326361 w 767196"/>
                  <a:gd name="connsiteY610" fmla="*/ 523233 h 609244"/>
                  <a:gd name="connsiteX611" fmla="*/ 341479 w 767196"/>
                  <a:gd name="connsiteY611" fmla="*/ 521879 h 609244"/>
                  <a:gd name="connsiteX612" fmla="*/ 354792 w 767196"/>
                  <a:gd name="connsiteY612" fmla="*/ 518268 h 609244"/>
                  <a:gd name="connsiteX613" fmla="*/ 365172 w 767196"/>
                  <a:gd name="connsiteY613" fmla="*/ 515335 h 609244"/>
                  <a:gd name="connsiteX614" fmla="*/ 376454 w 767196"/>
                  <a:gd name="connsiteY614" fmla="*/ 510822 h 609244"/>
                  <a:gd name="connsiteX615" fmla="*/ 398342 w 767196"/>
                  <a:gd name="connsiteY615" fmla="*/ 500442 h 609244"/>
                  <a:gd name="connsiteX616" fmla="*/ 411429 w 767196"/>
                  <a:gd name="connsiteY616" fmla="*/ 497058 h 609244"/>
                  <a:gd name="connsiteX617" fmla="*/ 417522 w 767196"/>
                  <a:gd name="connsiteY617" fmla="*/ 496832 h 609244"/>
                  <a:gd name="connsiteX618" fmla="*/ 431963 w 767196"/>
                  <a:gd name="connsiteY618" fmla="*/ 490288 h 609244"/>
                  <a:gd name="connsiteX619" fmla="*/ 465359 w 767196"/>
                  <a:gd name="connsiteY619" fmla="*/ 475847 h 609244"/>
                  <a:gd name="connsiteX620" fmla="*/ 473031 w 767196"/>
                  <a:gd name="connsiteY620" fmla="*/ 471334 h 609244"/>
                  <a:gd name="connsiteX621" fmla="*/ 472128 w 767196"/>
                  <a:gd name="connsiteY621" fmla="*/ 466596 h 609244"/>
                  <a:gd name="connsiteX622" fmla="*/ 477318 w 767196"/>
                  <a:gd name="connsiteY622" fmla="*/ 454862 h 609244"/>
                  <a:gd name="connsiteX623" fmla="*/ 480928 w 767196"/>
                  <a:gd name="connsiteY623" fmla="*/ 451928 h 609244"/>
                  <a:gd name="connsiteX624" fmla="*/ 483636 w 767196"/>
                  <a:gd name="connsiteY624" fmla="*/ 449446 h 609244"/>
                  <a:gd name="connsiteX625" fmla="*/ 498303 w 767196"/>
                  <a:gd name="connsiteY625" fmla="*/ 429815 h 609244"/>
                  <a:gd name="connsiteX626" fmla="*/ 495144 w 767196"/>
                  <a:gd name="connsiteY626" fmla="*/ 412215 h 609244"/>
                  <a:gd name="connsiteX627" fmla="*/ 489503 w 767196"/>
                  <a:gd name="connsiteY627" fmla="*/ 404769 h 609244"/>
                  <a:gd name="connsiteX628" fmla="*/ 487923 w 767196"/>
                  <a:gd name="connsiteY628" fmla="*/ 399127 h 609244"/>
                  <a:gd name="connsiteX629" fmla="*/ 481605 w 767196"/>
                  <a:gd name="connsiteY629" fmla="*/ 396420 h 609244"/>
                  <a:gd name="connsiteX630" fmla="*/ 476190 w 767196"/>
                  <a:gd name="connsiteY630" fmla="*/ 396871 h 609244"/>
                  <a:gd name="connsiteX631" fmla="*/ 467390 w 767196"/>
                  <a:gd name="connsiteY631" fmla="*/ 390101 h 609244"/>
                  <a:gd name="connsiteX632" fmla="*/ 466938 w 767196"/>
                  <a:gd name="connsiteY632" fmla="*/ 384009 h 609244"/>
                  <a:gd name="connsiteX633" fmla="*/ 470097 w 767196"/>
                  <a:gd name="connsiteY633" fmla="*/ 382655 h 609244"/>
                  <a:gd name="connsiteX634" fmla="*/ 483636 w 767196"/>
                  <a:gd name="connsiteY634" fmla="*/ 380399 h 609244"/>
                  <a:gd name="connsiteX635" fmla="*/ 482508 w 767196"/>
                  <a:gd name="connsiteY635" fmla="*/ 378142 h 609244"/>
                  <a:gd name="connsiteX636" fmla="*/ 479575 w 767196"/>
                  <a:gd name="connsiteY636" fmla="*/ 369793 h 609244"/>
                  <a:gd name="connsiteX637" fmla="*/ 485441 w 767196"/>
                  <a:gd name="connsiteY637" fmla="*/ 363250 h 609244"/>
                  <a:gd name="connsiteX638" fmla="*/ 488600 w 767196"/>
                  <a:gd name="connsiteY638" fmla="*/ 361670 h 609244"/>
                  <a:gd name="connsiteX639" fmla="*/ 496949 w 767196"/>
                  <a:gd name="connsiteY639" fmla="*/ 352193 h 609244"/>
                  <a:gd name="connsiteX640" fmla="*/ 502139 w 767196"/>
                  <a:gd name="connsiteY640" fmla="*/ 339557 h 609244"/>
                  <a:gd name="connsiteX641" fmla="*/ 517257 w 767196"/>
                  <a:gd name="connsiteY641" fmla="*/ 321279 h 609244"/>
                  <a:gd name="connsiteX642" fmla="*/ 522899 w 767196"/>
                  <a:gd name="connsiteY642" fmla="*/ 324664 h 609244"/>
                  <a:gd name="connsiteX643" fmla="*/ 522673 w 767196"/>
                  <a:gd name="connsiteY643" fmla="*/ 330305 h 609244"/>
                  <a:gd name="connsiteX644" fmla="*/ 522222 w 767196"/>
                  <a:gd name="connsiteY644" fmla="*/ 334367 h 609244"/>
                  <a:gd name="connsiteX645" fmla="*/ 524478 w 767196"/>
                  <a:gd name="connsiteY645" fmla="*/ 336398 h 609244"/>
                  <a:gd name="connsiteX646" fmla="*/ 526960 w 767196"/>
                  <a:gd name="connsiteY646" fmla="*/ 337075 h 609244"/>
                  <a:gd name="connsiteX647" fmla="*/ 527412 w 767196"/>
                  <a:gd name="connsiteY647" fmla="*/ 336172 h 609244"/>
                  <a:gd name="connsiteX648" fmla="*/ 527637 w 767196"/>
                  <a:gd name="connsiteY648" fmla="*/ 335721 h 609244"/>
                  <a:gd name="connsiteX649" fmla="*/ 537114 w 767196"/>
                  <a:gd name="connsiteY649" fmla="*/ 330757 h 609244"/>
                  <a:gd name="connsiteX650" fmla="*/ 550653 w 767196"/>
                  <a:gd name="connsiteY650" fmla="*/ 330982 h 609244"/>
                  <a:gd name="connsiteX651" fmla="*/ 564869 w 767196"/>
                  <a:gd name="connsiteY651" fmla="*/ 331434 h 609244"/>
                  <a:gd name="connsiteX652" fmla="*/ 584726 w 767196"/>
                  <a:gd name="connsiteY652" fmla="*/ 334818 h 609244"/>
                  <a:gd name="connsiteX653" fmla="*/ 583823 w 767196"/>
                  <a:gd name="connsiteY653" fmla="*/ 337526 h 609244"/>
                  <a:gd name="connsiteX654" fmla="*/ 581567 w 767196"/>
                  <a:gd name="connsiteY654" fmla="*/ 341136 h 609244"/>
                  <a:gd name="connsiteX655" fmla="*/ 572089 w 767196"/>
                  <a:gd name="connsiteY655" fmla="*/ 350613 h 609244"/>
                  <a:gd name="connsiteX656" fmla="*/ 560130 w 767196"/>
                  <a:gd name="connsiteY656" fmla="*/ 347454 h 609244"/>
                  <a:gd name="connsiteX657" fmla="*/ 549976 w 767196"/>
                  <a:gd name="connsiteY657" fmla="*/ 344521 h 609244"/>
                  <a:gd name="connsiteX658" fmla="*/ 547494 w 767196"/>
                  <a:gd name="connsiteY658" fmla="*/ 345649 h 609244"/>
                  <a:gd name="connsiteX659" fmla="*/ 542530 w 767196"/>
                  <a:gd name="connsiteY659" fmla="*/ 360542 h 609244"/>
                  <a:gd name="connsiteX660" fmla="*/ 544335 w 767196"/>
                  <a:gd name="connsiteY660" fmla="*/ 371147 h 609244"/>
                  <a:gd name="connsiteX661" fmla="*/ 562161 w 767196"/>
                  <a:gd name="connsiteY661" fmla="*/ 368439 h 609244"/>
                  <a:gd name="connsiteX662" fmla="*/ 568479 w 767196"/>
                  <a:gd name="connsiteY662" fmla="*/ 372275 h 609244"/>
                  <a:gd name="connsiteX663" fmla="*/ 563064 w 767196"/>
                  <a:gd name="connsiteY663" fmla="*/ 381301 h 609244"/>
                  <a:gd name="connsiteX664" fmla="*/ 553135 w 767196"/>
                  <a:gd name="connsiteY664" fmla="*/ 384686 h 609244"/>
                  <a:gd name="connsiteX665" fmla="*/ 551104 w 767196"/>
                  <a:gd name="connsiteY665" fmla="*/ 384686 h 609244"/>
                  <a:gd name="connsiteX666" fmla="*/ 545915 w 767196"/>
                  <a:gd name="connsiteY666" fmla="*/ 397999 h 609244"/>
                  <a:gd name="connsiteX667" fmla="*/ 542981 w 767196"/>
                  <a:gd name="connsiteY667" fmla="*/ 407251 h 609244"/>
                  <a:gd name="connsiteX668" fmla="*/ 542304 w 767196"/>
                  <a:gd name="connsiteY668" fmla="*/ 410184 h 609244"/>
                  <a:gd name="connsiteX669" fmla="*/ 556746 w 767196"/>
                  <a:gd name="connsiteY669" fmla="*/ 412215 h 609244"/>
                  <a:gd name="connsiteX670" fmla="*/ 569156 w 767196"/>
                  <a:gd name="connsiteY670" fmla="*/ 415599 h 609244"/>
                  <a:gd name="connsiteX671" fmla="*/ 568930 w 767196"/>
                  <a:gd name="connsiteY671" fmla="*/ 421466 h 609244"/>
                  <a:gd name="connsiteX672" fmla="*/ 568254 w 767196"/>
                  <a:gd name="connsiteY672" fmla="*/ 423271 h 609244"/>
                  <a:gd name="connsiteX673" fmla="*/ 555843 w 767196"/>
                  <a:gd name="connsiteY673" fmla="*/ 434102 h 609244"/>
                  <a:gd name="connsiteX674" fmla="*/ 553361 w 767196"/>
                  <a:gd name="connsiteY674" fmla="*/ 435456 h 609244"/>
                  <a:gd name="connsiteX675" fmla="*/ 554489 w 767196"/>
                  <a:gd name="connsiteY675" fmla="*/ 439744 h 609244"/>
                  <a:gd name="connsiteX676" fmla="*/ 556069 w 767196"/>
                  <a:gd name="connsiteY676" fmla="*/ 447867 h 609244"/>
                  <a:gd name="connsiteX677" fmla="*/ 552684 w 767196"/>
                  <a:gd name="connsiteY677" fmla="*/ 451026 h 609244"/>
                  <a:gd name="connsiteX678" fmla="*/ 546817 w 767196"/>
                  <a:gd name="connsiteY678" fmla="*/ 461857 h 609244"/>
                  <a:gd name="connsiteX679" fmla="*/ 543432 w 767196"/>
                  <a:gd name="connsiteY679" fmla="*/ 473139 h 609244"/>
                  <a:gd name="connsiteX680" fmla="*/ 542755 w 767196"/>
                  <a:gd name="connsiteY680" fmla="*/ 477652 h 609244"/>
                  <a:gd name="connsiteX681" fmla="*/ 551781 w 767196"/>
                  <a:gd name="connsiteY681" fmla="*/ 482616 h 609244"/>
                  <a:gd name="connsiteX682" fmla="*/ 561258 w 767196"/>
                  <a:gd name="connsiteY682" fmla="*/ 486452 h 609244"/>
                  <a:gd name="connsiteX683" fmla="*/ 568479 w 767196"/>
                  <a:gd name="connsiteY683" fmla="*/ 509243 h 609244"/>
                  <a:gd name="connsiteX684" fmla="*/ 568254 w 767196"/>
                  <a:gd name="connsiteY684" fmla="*/ 509694 h 609244"/>
                  <a:gd name="connsiteX685" fmla="*/ 574120 w 767196"/>
                  <a:gd name="connsiteY685" fmla="*/ 524135 h 609244"/>
                  <a:gd name="connsiteX686" fmla="*/ 572992 w 767196"/>
                  <a:gd name="connsiteY686" fmla="*/ 545120 h 609244"/>
                  <a:gd name="connsiteX687" fmla="*/ 571864 w 767196"/>
                  <a:gd name="connsiteY687" fmla="*/ 559110 h 609244"/>
                  <a:gd name="connsiteX688" fmla="*/ 572315 w 767196"/>
                  <a:gd name="connsiteY688" fmla="*/ 567008 h 609244"/>
                  <a:gd name="connsiteX689" fmla="*/ 567802 w 767196"/>
                  <a:gd name="connsiteY689" fmla="*/ 579870 h 609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</a:cxnLst>
                <a:rect l="l" t="t" r="r" b="b"/>
                <a:pathLst>
                  <a:path w="767196" h="609244">
                    <a:moveTo>
                      <a:pt x="594428" y="625225"/>
                    </a:moveTo>
                    <a:cubicBezTo>
                      <a:pt x="590592" y="625225"/>
                      <a:pt x="587208" y="624548"/>
                      <a:pt x="583597" y="622743"/>
                    </a:cubicBezTo>
                    <a:cubicBezTo>
                      <a:pt x="581341" y="621614"/>
                      <a:pt x="579536" y="621163"/>
                      <a:pt x="577956" y="620712"/>
                    </a:cubicBezTo>
                    <a:cubicBezTo>
                      <a:pt x="573669" y="619584"/>
                      <a:pt x="571187" y="618681"/>
                      <a:pt x="570284" y="611912"/>
                    </a:cubicBezTo>
                    <a:cubicBezTo>
                      <a:pt x="569833" y="608076"/>
                      <a:pt x="570059" y="605594"/>
                      <a:pt x="570510" y="603337"/>
                    </a:cubicBezTo>
                    <a:cubicBezTo>
                      <a:pt x="570736" y="600855"/>
                      <a:pt x="570961" y="599275"/>
                      <a:pt x="569607" y="596568"/>
                    </a:cubicBezTo>
                    <a:cubicBezTo>
                      <a:pt x="568254" y="593860"/>
                      <a:pt x="569833" y="591378"/>
                      <a:pt x="570961" y="589573"/>
                    </a:cubicBezTo>
                    <a:cubicBezTo>
                      <a:pt x="571638" y="588444"/>
                      <a:pt x="572541" y="587091"/>
                      <a:pt x="572315" y="586414"/>
                    </a:cubicBezTo>
                    <a:cubicBezTo>
                      <a:pt x="572089" y="585962"/>
                      <a:pt x="570961" y="584609"/>
                      <a:pt x="564643" y="583255"/>
                    </a:cubicBezTo>
                    <a:lnTo>
                      <a:pt x="562161" y="582803"/>
                    </a:lnTo>
                    <a:lnTo>
                      <a:pt x="563515" y="580547"/>
                    </a:lnTo>
                    <a:cubicBezTo>
                      <a:pt x="566448" y="575808"/>
                      <a:pt x="569156" y="570844"/>
                      <a:pt x="569156" y="566782"/>
                    </a:cubicBezTo>
                    <a:cubicBezTo>
                      <a:pt x="569156" y="564526"/>
                      <a:pt x="568930" y="561818"/>
                      <a:pt x="568705" y="559336"/>
                    </a:cubicBezTo>
                    <a:cubicBezTo>
                      <a:pt x="568028" y="553018"/>
                      <a:pt x="567351" y="546474"/>
                      <a:pt x="570510" y="542638"/>
                    </a:cubicBezTo>
                    <a:cubicBezTo>
                      <a:pt x="574346" y="537900"/>
                      <a:pt x="576602" y="533838"/>
                      <a:pt x="571413" y="526166"/>
                    </a:cubicBezTo>
                    <a:cubicBezTo>
                      <a:pt x="565546" y="517592"/>
                      <a:pt x="563289" y="514433"/>
                      <a:pt x="565094" y="508566"/>
                    </a:cubicBezTo>
                    <a:lnTo>
                      <a:pt x="565320" y="508114"/>
                    </a:lnTo>
                    <a:cubicBezTo>
                      <a:pt x="567351" y="501571"/>
                      <a:pt x="568705" y="494124"/>
                      <a:pt x="559905" y="489611"/>
                    </a:cubicBezTo>
                    <a:cubicBezTo>
                      <a:pt x="556971" y="488032"/>
                      <a:pt x="553586" y="486904"/>
                      <a:pt x="550879" y="486001"/>
                    </a:cubicBezTo>
                    <a:cubicBezTo>
                      <a:pt x="545689" y="484196"/>
                      <a:pt x="541176" y="482616"/>
                      <a:pt x="539596" y="479006"/>
                    </a:cubicBezTo>
                    <a:cubicBezTo>
                      <a:pt x="538694" y="476975"/>
                      <a:pt x="538920" y="474493"/>
                      <a:pt x="540273" y="471560"/>
                    </a:cubicBezTo>
                    <a:cubicBezTo>
                      <a:pt x="541853" y="467949"/>
                      <a:pt x="542755" y="464339"/>
                      <a:pt x="543432" y="460954"/>
                    </a:cubicBezTo>
                    <a:cubicBezTo>
                      <a:pt x="544786" y="455313"/>
                      <a:pt x="545915" y="449898"/>
                      <a:pt x="551556" y="447416"/>
                    </a:cubicBezTo>
                    <a:cubicBezTo>
                      <a:pt x="552684" y="446964"/>
                      <a:pt x="552910" y="446513"/>
                      <a:pt x="552910" y="446287"/>
                    </a:cubicBezTo>
                    <a:cubicBezTo>
                      <a:pt x="553361" y="445159"/>
                      <a:pt x="552233" y="442903"/>
                      <a:pt x="551556" y="441098"/>
                    </a:cubicBezTo>
                    <a:cubicBezTo>
                      <a:pt x="550202" y="438164"/>
                      <a:pt x="548397" y="434102"/>
                      <a:pt x="552007" y="432072"/>
                    </a:cubicBezTo>
                    <a:cubicBezTo>
                      <a:pt x="552684" y="431620"/>
                      <a:pt x="553586" y="431169"/>
                      <a:pt x="554715" y="430492"/>
                    </a:cubicBezTo>
                    <a:cubicBezTo>
                      <a:pt x="558776" y="428236"/>
                      <a:pt x="564418" y="425077"/>
                      <a:pt x="565320" y="421692"/>
                    </a:cubicBezTo>
                    <a:cubicBezTo>
                      <a:pt x="565546" y="421015"/>
                      <a:pt x="565771" y="420338"/>
                      <a:pt x="565997" y="419661"/>
                    </a:cubicBezTo>
                    <a:cubicBezTo>
                      <a:pt x="566223" y="418758"/>
                      <a:pt x="566900" y="417630"/>
                      <a:pt x="566674" y="417179"/>
                    </a:cubicBezTo>
                    <a:cubicBezTo>
                      <a:pt x="566448" y="416953"/>
                      <a:pt x="565094" y="415825"/>
                      <a:pt x="557197" y="415599"/>
                    </a:cubicBezTo>
                    <a:cubicBezTo>
                      <a:pt x="545689" y="415148"/>
                      <a:pt x="541402" y="414697"/>
                      <a:pt x="539596" y="411763"/>
                    </a:cubicBezTo>
                    <a:cubicBezTo>
                      <a:pt x="538243" y="409733"/>
                      <a:pt x="539145" y="407251"/>
                      <a:pt x="540048" y="405445"/>
                    </a:cubicBezTo>
                    <a:cubicBezTo>
                      <a:pt x="540950" y="403415"/>
                      <a:pt x="541853" y="400255"/>
                      <a:pt x="542755" y="396871"/>
                    </a:cubicBezTo>
                    <a:cubicBezTo>
                      <a:pt x="545689" y="386942"/>
                      <a:pt x="547494" y="380850"/>
                      <a:pt x="551556" y="380850"/>
                    </a:cubicBezTo>
                    <a:cubicBezTo>
                      <a:pt x="552233" y="380850"/>
                      <a:pt x="553135" y="380850"/>
                      <a:pt x="553812" y="380850"/>
                    </a:cubicBezTo>
                    <a:cubicBezTo>
                      <a:pt x="556520" y="381076"/>
                      <a:pt x="558099" y="381076"/>
                      <a:pt x="561258" y="378368"/>
                    </a:cubicBezTo>
                    <a:cubicBezTo>
                      <a:pt x="565094" y="375434"/>
                      <a:pt x="565546" y="373629"/>
                      <a:pt x="565320" y="373404"/>
                    </a:cubicBezTo>
                    <a:cubicBezTo>
                      <a:pt x="565320" y="373178"/>
                      <a:pt x="564643" y="372727"/>
                      <a:pt x="562161" y="372275"/>
                    </a:cubicBezTo>
                    <a:cubicBezTo>
                      <a:pt x="554263" y="371373"/>
                      <a:pt x="548171" y="372952"/>
                      <a:pt x="546817" y="374306"/>
                    </a:cubicBezTo>
                    <a:cubicBezTo>
                      <a:pt x="545915" y="375434"/>
                      <a:pt x="544786" y="375660"/>
                      <a:pt x="543658" y="375209"/>
                    </a:cubicBezTo>
                    <a:cubicBezTo>
                      <a:pt x="540048" y="373855"/>
                      <a:pt x="539145" y="364829"/>
                      <a:pt x="539145" y="360316"/>
                    </a:cubicBezTo>
                    <a:cubicBezTo>
                      <a:pt x="539145" y="354224"/>
                      <a:pt x="541176" y="346326"/>
                      <a:pt x="545238" y="342490"/>
                    </a:cubicBezTo>
                    <a:cubicBezTo>
                      <a:pt x="546817" y="340911"/>
                      <a:pt x="548622" y="340234"/>
                      <a:pt x="550653" y="340459"/>
                    </a:cubicBezTo>
                    <a:cubicBezTo>
                      <a:pt x="553586" y="340685"/>
                      <a:pt x="557648" y="342039"/>
                      <a:pt x="561710" y="343618"/>
                    </a:cubicBezTo>
                    <a:cubicBezTo>
                      <a:pt x="565771" y="344972"/>
                      <a:pt x="570059" y="346552"/>
                      <a:pt x="572541" y="346552"/>
                    </a:cubicBezTo>
                    <a:cubicBezTo>
                      <a:pt x="574797" y="346552"/>
                      <a:pt x="577054" y="342039"/>
                      <a:pt x="578633" y="339105"/>
                    </a:cubicBezTo>
                    <a:cubicBezTo>
                      <a:pt x="579310" y="337752"/>
                      <a:pt x="579987" y="336623"/>
                      <a:pt x="580438" y="335721"/>
                    </a:cubicBezTo>
                    <a:cubicBezTo>
                      <a:pt x="577956" y="335269"/>
                      <a:pt x="572766" y="334818"/>
                      <a:pt x="565094" y="334818"/>
                    </a:cubicBezTo>
                    <a:cubicBezTo>
                      <a:pt x="560356" y="334818"/>
                      <a:pt x="555166" y="334593"/>
                      <a:pt x="550879" y="334367"/>
                    </a:cubicBezTo>
                    <a:cubicBezTo>
                      <a:pt x="545689" y="334141"/>
                      <a:pt x="540950" y="333916"/>
                      <a:pt x="537791" y="334141"/>
                    </a:cubicBezTo>
                    <a:cubicBezTo>
                      <a:pt x="532827" y="334367"/>
                      <a:pt x="532827" y="334367"/>
                      <a:pt x="531473" y="337075"/>
                    </a:cubicBezTo>
                    <a:lnTo>
                      <a:pt x="531248" y="337526"/>
                    </a:lnTo>
                    <a:cubicBezTo>
                      <a:pt x="531022" y="338203"/>
                      <a:pt x="530796" y="338654"/>
                      <a:pt x="530571" y="338880"/>
                    </a:cubicBezTo>
                    <a:cubicBezTo>
                      <a:pt x="530345" y="339557"/>
                      <a:pt x="529894" y="340234"/>
                      <a:pt x="529217" y="340459"/>
                    </a:cubicBezTo>
                    <a:cubicBezTo>
                      <a:pt x="528314" y="340911"/>
                      <a:pt x="527412" y="340459"/>
                      <a:pt x="526960" y="340234"/>
                    </a:cubicBezTo>
                    <a:cubicBezTo>
                      <a:pt x="526509" y="340008"/>
                      <a:pt x="525606" y="339557"/>
                      <a:pt x="524253" y="339331"/>
                    </a:cubicBezTo>
                    <a:cubicBezTo>
                      <a:pt x="521996" y="338654"/>
                      <a:pt x="520191" y="337300"/>
                      <a:pt x="519514" y="335044"/>
                    </a:cubicBezTo>
                    <a:cubicBezTo>
                      <a:pt x="518611" y="332110"/>
                      <a:pt x="519288" y="328951"/>
                      <a:pt x="520417" y="327372"/>
                    </a:cubicBezTo>
                    <a:cubicBezTo>
                      <a:pt x="520417" y="327146"/>
                      <a:pt x="520642" y="326469"/>
                      <a:pt x="520191" y="325567"/>
                    </a:cubicBezTo>
                    <a:cubicBezTo>
                      <a:pt x="519740" y="324890"/>
                      <a:pt x="519063" y="324438"/>
                      <a:pt x="518160" y="324438"/>
                    </a:cubicBezTo>
                    <a:cubicBezTo>
                      <a:pt x="515001" y="324438"/>
                      <a:pt x="506878" y="330757"/>
                      <a:pt x="506878" y="338880"/>
                    </a:cubicBezTo>
                    <a:cubicBezTo>
                      <a:pt x="506878" y="348583"/>
                      <a:pt x="503493" y="351742"/>
                      <a:pt x="500108" y="354449"/>
                    </a:cubicBezTo>
                    <a:cubicBezTo>
                      <a:pt x="497852" y="356255"/>
                      <a:pt x="495370" y="358962"/>
                      <a:pt x="492662" y="363024"/>
                    </a:cubicBezTo>
                    <a:cubicBezTo>
                      <a:pt x="491308" y="365280"/>
                      <a:pt x="489052" y="365732"/>
                      <a:pt x="487247" y="366183"/>
                    </a:cubicBezTo>
                    <a:cubicBezTo>
                      <a:pt x="484990" y="366860"/>
                      <a:pt x="484313" y="366860"/>
                      <a:pt x="484313" y="369116"/>
                    </a:cubicBezTo>
                    <a:cubicBezTo>
                      <a:pt x="484313" y="371824"/>
                      <a:pt x="485441" y="373855"/>
                      <a:pt x="486570" y="375434"/>
                    </a:cubicBezTo>
                    <a:cubicBezTo>
                      <a:pt x="487698" y="377465"/>
                      <a:pt x="489277" y="379947"/>
                      <a:pt x="487247" y="382204"/>
                    </a:cubicBezTo>
                    <a:cubicBezTo>
                      <a:pt x="484087" y="385589"/>
                      <a:pt x="474385" y="385814"/>
                      <a:pt x="470774" y="385589"/>
                    </a:cubicBezTo>
                    <a:cubicBezTo>
                      <a:pt x="470774" y="386266"/>
                      <a:pt x="471226" y="387394"/>
                      <a:pt x="472128" y="388973"/>
                    </a:cubicBezTo>
                    <a:cubicBezTo>
                      <a:pt x="473482" y="391004"/>
                      <a:pt x="475513" y="392358"/>
                      <a:pt x="477092" y="392584"/>
                    </a:cubicBezTo>
                    <a:cubicBezTo>
                      <a:pt x="478672" y="392584"/>
                      <a:pt x="480026" y="392358"/>
                      <a:pt x="481605" y="392132"/>
                    </a:cubicBezTo>
                    <a:cubicBezTo>
                      <a:pt x="484990" y="391455"/>
                      <a:pt x="488826" y="390778"/>
                      <a:pt x="491985" y="396871"/>
                    </a:cubicBezTo>
                    <a:cubicBezTo>
                      <a:pt x="493565" y="399804"/>
                      <a:pt x="493790" y="402286"/>
                      <a:pt x="493790" y="403866"/>
                    </a:cubicBezTo>
                    <a:cubicBezTo>
                      <a:pt x="494016" y="406122"/>
                      <a:pt x="494016" y="406799"/>
                      <a:pt x="497175" y="408153"/>
                    </a:cubicBezTo>
                    <a:cubicBezTo>
                      <a:pt x="505975" y="412215"/>
                      <a:pt x="507329" y="418307"/>
                      <a:pt x="502139" y="430718"/>
                    </a:cubicBezTo>
                    <a:cubicBezTo>
                      <a:pt x="497401" y="442000"/>
                      <a:pt x="491308" y="447190"/>
                      <a:pt x="486344" y="451703"/>
                    </a:cubicBezTo>
                    <a:cubicBezTo>
                      <a:pt x="485441" y="452605"/>
                      <a:pt x="484539" y="453282"/>
                      <a:pt x="483862" y="453959"/>
                    </a:cubicBezTo>
                    <a:cubicBezTo>
                      <a:pt x="482508" y="455088"/>
                      <a:pt x="481380" y="456216"/>
                      <a:pt x="480026" y="457118"/>
                    </a:cubicBezTo>
                    <a:cubicBezTo>
                      <a:pt x="475739" y="460503"/>
                      <a:pt x="474385" y="461857"/>
                      <a:pt x="475739" y="464113"/>
                    </a:cubicBezTo>
                    <a:cubicBezTo>
                      <a:pt x="476867" y="466144"/>
                      <a:pt x="477995" y="469078"/>
                      <a:pt x="476867" y="472011"/>
                    </a:cubicBezTo>
                    <a:cubicBezTo>
                      <a:pt x="475739" y="474719"/>
                      <a:pt x="472580" y="476975"/>
                      <a:pt x="466713" y="478780"/>
                    </a:cubicBezTo>
                    <a:cubicBezTo>
                      <a:pt x="460395" y="480811"/>
                      <a:pt x="445728" y="487581"/>
                      <a:pt x="433768" y="492996"/>
                    </a:cubicBezTo>
                    <a:cubicBezTo>
                      <a:pt x="427450" y="495930"/>
                      <a:pt x="422035" y="498412"/>
                      <a:pt x="419101" y="499540"/>
                    </a:cubicBezTo>
                    <a:cubicBezTo>
                      <a:pt x="415265" y="501119"/>
                      <a:pt x="412558" y="500442"/>
                      <a:pt x="410527" y="499766"/>
                    </a:cubicBezTo>
                    <a:cubicBezTo>
                      <a:pt x="408045" y="499089"/>
                      <a:pt x="406014" y="498412"/>
                      <a:pt x="400824" y="502473"/>
                    </a:cubicBezTo>
                    <a:cubicBezTo>
                      <a:pt x="394055" y="507663"/>
                      <a:pt x="385480" y="510822"/>
                      <a:pt x="377808" y="513530"/>
                    </a:cubicBezTo>
                    <a:cubicBezTo>
                      <a:pt x="373747" y="514884"/>
                      <a:pt x="369911" y="516238"/>
                      <a:pt x="367203" y="517817"/>
                    </a:cubicBezTo>
                    <a:cubicBezTo>
                      <a:pt x="362916" y="520074"/>
                      <a:pt x="359080" y="520525"/>
                      <a:pt x="355469" y="521202"/>
                    </a:cubicBezTo>
                    <a:cubicBezTo>
                      <a:pt x="351859" y="521653"/>
                      <a:pt x="347797" y="522330"/>
                      <a:pt x="343059" y="524587"/>
                    </a:cubicBezTo>
                    <a:cubicBezTo>
                      <a:pt x="337869" y="527069"/>
                      <a:pt x="331325" y="526617"/>
                      <a:pt x="326135" y="526392"/>
                    </a:cubicBezTo>
                    <a:cubicBezTo>
                      <a:pt x="323653" y="526166"/>
                      <a:pt x="319366" y="525940"/>
                      <a:pt x="318689" y="526617"/>
                    </a:cubicBezTo>
                    <a:cubicBezTo>
                      <a:pt x="318915" y="528648"/>
                      <a:pt x="318915" y="530905"/>
                      <a:pt x="317561" y="532033"/>
                    </a:cubicBezTo>
                    <a:cubicBezTo>
                      <a:pt x="315530" y="533612"/>
                      <a:pt x="312822" y="532936"/>
                      <a:pt x="303345" y="530228"/>
                    </a:cubicBezTo>
                    <a:cubicBezTo>
                      <a:pt x="300863" y="529551"/>
                      <a:pt x="297929" y="528648"/>
                      <a:pt x="294319" y="527746"/>
                    </a:cubicBezTo>
                    <a:cubicBezTo>
                      <a:pt x="280329" y="524135"/>
                      <a:pt x="277621" y="521653"/>
                      <a:pt x="273785" y="518268"/>
                    </a:cubicBezTo>
                    <a:cubicBezTo>
                      <a:pt x="271529" y="516238"/>
                      <a:pt x="269047" y="513981"/>
                      <a:pt x="263406" y="510596"/>
                    </a:cubicBezTo>
                    <a:cubicBezTo>
                      <a:pt x="247385" y="501345"/>
                      <a:pt x="230236" y="483068"/>
                      <a:pt x="218728" y="470206"/>
                    </a:cubicBezTo>
                    <a:cubicBezTo>
                      <a:pt x="212184" y="462760"/>
                      <a:pt x="207671" y="456667"/>
                      <a:pt x="202932" y="450349"/>
                    </a:cubicBezTo>
                    <a:cubicBezTo>
                      <a:pt x="199096" y="444933"/>
                      <a:pt x="195035" y="439518"/>
                      <a:pt x="189394" y="432523"/>
                    </a:cubicBezTo>
                    <a:cubicBezTo>
                      <a:pt x="185783" y="428010"/>
                      <a:pt x="182624" y="423948"/>
                      <a:pt x="179465" y="419661"/>
                    </a:cubicBezTo>
                    <a:cubicBezTo>
                      <a:pt x="171793" y="409281"/>
                      <a:pt x="163670" y="398450"/>
                      <a:pt x="144490" y="379045"/>
                    </a:cubicBezTo>
                    <a:cubicBezTo>
                      <a:pt x="117412" y="351967"/>
                      <a:pt x="96427" y="324890"/>
                      <a:pt x="91463" y="315638"/>
                    </a:cubicBezTo>
                    <a:cubicBezTo>
                      <a:pt x="86499" y="306161"/>
                      <a:pt x="86048" y="300520"/>
                      <a:pt x="86950" y="293299"/>
                    </a:cubicBezTo>
                    <a:cubicBezTo>
                      <a:pt x="88079" y="285176"/>
                      <a:pt x="97556" y="276376"/>
                      <a:pt x="101843" y="273217"/>
                    </a:cubicBezTo>
                    <a:cubicBezTo>
                      <a:pt x="103422" y="272088"/>
                      <a:pt x="104551" y="272314"/>
                      <a:pt x="105228" y="272766"/>
                    </a:cubicBezTo>
                    <a:cubicBezTo>
                      <a:pt x="107258" y="273894"/>
                      <a:pt x="107258" y="276827"/>
                      <a:pt x="107258" y="280663"/>
                    </a:cubicBezTo>
                    <a:cubicBezTo>
                      <a:pt x="107258" y="282243"/>
                      <a:pt x="107258" y="284950"/>
                      <a:pt x="107484" y="285853"/>
                    </a:cubicBezTo>
                    <a:cubicBezTo>
                      <a:pt x="108387" y="285853"/>
                      <a:pt x="109064" y="285402"/>
                      <a:pt x="109966" y="284950"/>
                    </a:cubicBezTo>
                    <a:cubicBezTo>
                      <a:pt x="111320" y="284273"/>
                      <a:pt x="112900" y="283596"/>
                      <a:pt x="114479" y="284273"/>
                    </a:cubicBezTo>
                    <a:cubicBezTo>
                      <a:pt x="115607" y="284725"/>
                      <a:pt x="116284" y="285853"/>
                      <a:pt x="116961" y="287432"/>
                    </a:cubicBezTo>
                    <a:cubicBezTo>
                      <a:pt x="117864" y="290817"/>
                      <a:pt x="116284" y="294653"/>
                      <a:pt x="114479" y="298264"/>
                    </a:cubicBezTo>
                    <a:cubicBezTo>
                      <a:pt x="113351" y="300746"/>
                      <a:pt x="112223" y="303228"/>
                      <a:pt x="112223" y="304807"/>
                    </a:cubicBezTo>
                    <a:cubicBezTo>
                      <a:pt x="112223" y="306161"/>
                      <a:pt x="112674" y="307064"/>
                      <a:pt x="113577" y="307741"/>
                    </a:cubicBezTo>
                    <a:cubicBezTo>
                      <a:pt x="114705" y="308418"/>
                      <a:pt x="116510" y="308418"/>
                      <a:pt x="118315" y="307515"/>
                    </a:cubicBezTo>
                    <a:cubicBezTo>
                      <a:pt x="119218" y="307064"/>
                      <a:pt x="120120" y="306387"/>
                      <a:pt x="121023" y="305935"/>
                    </a:cubicBezTo>
                    <a:cubicBezTo>
                      <a:pt x="124408" y="303905"/>
                      <a:pt x="127792" y="301648"/>
                      <a:pt x="132305" y="301648"/>
                    </a:cubicBezTo>
                    <a:cubicBezTo>
                      <a:pt x="137269" y="301648"/>
                      <a:pt x="146070" y="300294"/>
                      <a:pt x="146070" y="300294"/>
                    </a:cubicBezTo>
                    <a:lnTo>
                      <a:pt x="148100" y="300069"/>
                    </a:lnTo>
                    <a:lnTo>
                      <a:pt x="148326" y="302099"/>
                    </a:lnTo>
                    <a:lnTo>
                      <a:pt x="148326" y="302099"/>
                    </a:lnTo>
                    <a:cubicBezTo>
                      <a:pt x="148326" y="302099"/>
                      <a:pt x="148326" y="302325"/>
                      <a:pt x="148552" y="302325"/>
                    </a:cubicBezTo>
                    <a:cubicBezTo>
                      <a:pt x="149003" y="302551"/>
                      <a:pt x="149906" y="302325"/>
                      <a:pt x="151711" y="301648"/>
                    </a:cubicBezTo>
                    <a:cubicBezTo>
                      <a:pt x="153065" y="300971"/>
                      <a:pt x="153065" y="300746"/>
                      <a:pt x="153065" y="299843"/>
                    </a:cubicBezTo>
                    <a:cubicBezTo>
                      <a:pt x="152613" y="296684"/>
                      <a:pt x="155547" y="295781"/>
                      <a:pt x="160737" y="295556"/>
                    </a:cubicBezTo>
                    <a:cubicBezTo>
                      <a:pt x="166829" y="295330"/>
                      <a:pt x="170214" y="296007"/>
                      <a:pt x="172696" y="296233"/>
                    </a:cubicBezTo>
                    <a:cubicBezTo>
                      <a:pt x="174501" y="296458"/>
                      <a:pt x="175629" y="296684"/>
                      <a:pt x="176983" y="296458"/>
                    </a:cubicBezTo>
                    <a:cubicBezTo>
                      <a:pt x="176757" y="296007"/>
                      <a:pt x="176532" y="295104"/>
                      <a:pt x="176306" y="294428"/>
                    </a:cubicBezTo>
                    <a:cubicBezTo>
                      <a:pt x="175404" y="292397"/>
                      <a:pt x="174501" y="289689"/>
                      <a:pt x="175855" y="287658"/>
                    </a:cubicBezTo>
                    <a:cubicBezTo>
                      <a:pt x="176757" y="286304"/>
                      <a:pt x="178337" y="285627"/>
                      <a:pt x="180593" y="285402"/>
                    </a:cubicBezTo>
                    <a:cubicBezTo>
                      <a:pt x="186009" y="285176"/>
                      <a:pt x="188717" y="287432"/>
                      <a:pt x="190973" y="289238"/>
                    </a:cubicBezTo>
                    <a:cubicBezTo>
                      <a:pt x="192778" y="290591"/>
                      <a:pt x="193455" y="291269"/>
                      <a:pt x="195035" y="291043"/>
                    </a:cubicBezTo>
                    <a:cubicBezTo>
                      <a:pt x="196389" y="290817"/>
                      <a:pt x="196614" y="290366"/>
                      <a:pt x="197066" y="289463"/>
                    </a:cubicBezTo>
                    <a:cubicBezTo>
                      <a:pt x="198194" y="287432"/>
                      <a:pt x="199773" y="285627"/>
                      <a:pt x="205414" y="285853"/>
                    </a:cubicBezTo>
                    <a:cubicBezTo>
                      <a:pt x="209025" y="286079"/>
                      <a:pt x="210153" y="283822"/>
                      <a:pt x="211507" y="279986"/>
                    </a:cubicBezTo>
                    <a:cubicBezTo>
                      <a:pt x="212635" y="277278"/>
                      <a:pt x="213538" y="274571"/>
                      <a:pt x="216020" y="273442"/>
                    </a:cubicBezTo>
                    <a:cubicBezTo>
                      <a:pt x="217148" y="272991"/>
                      <a:pt x="217825" y="272314"/>
                      <a:pt x="218502" y="271637"/>
                    </a:cubicBezTo>
                    <a:cubicBezTo>
                      <a:pt x="219405" y="270735"/>
                      <a:pt x="220533" y="269832"/>
                      <a:pt x="222112" y="270058"/>
                    </a:cubicBezTo>
                    <a:cubicBezTo>
                      <a:pt x="223917" y="270283"/>
                      <a:pt x="225497" y="271637"/>
                      <a:pt x="228656" y="275473"/>
                    </a:cubicBezTo>
                    <a:cubicBezTo>
                      <a:pt x="231815" y="279309"/>
                      <a:pt x="234523" y="281114"/>
                      <a:pt x="236779" y="281114"/>
                    </a:cubicBezTo>
                    <a:cubicBezTo>
                      <a:pt x="239261" y="280889"/>
                      <a:pt x="241969" y="278407"/>
                      <a:pt x="244903" y="273442"/>
                    </a:cubicBezTo>
                    <a:cubicBezTo>
                      <a:pt x="248964" y="266899"/>
                      <a:pt x="253703" y="257647"/>
                      <a:pt x="257764" y="249750"/>
                    </a:cubicBezTo>
                    <a:cubicBezTo>
                      <a:pt x="261149" y="243432"/>
                      <a:pt x="263857" y="238016"/>
                      <a:pt x="265888" y="234631"/>
                    </a:cubicBezTo>
                    <a:cubicBezTo>
                      <a:pt x="267242" y="232375"/>
                      <a:pt x="268144" y="230570"/>
                      <a:pt x="270175" y="231021"/>
                    </a:cubicBezTo>
                    <a:cubicBezTo>
                      <a:pt x="271754" y="231472"/>
                      <a:pt x="271754" y="233278"/>
                      <a:pt x="271754" y="235083"/>
                    </a:cubicBezTo>
                    <a:cubicBezTo>
                      <a:pt x="271754" y="236662"/>
                      <a:pt x="271529" y="239821"/>
                      <a:pt x="272657" y="240498"/>
                    </a:cubicBezTo>
                    <a:cubicBezTo>
                      <a:pt x="273560" y="240949"/>
                      <a:pt x="274914" y="239596"/>
                      <a:pt x="277170" y="237113"/>
                    </a:cubicBezTo>
                    <a:cubicBezTo>
                      <a:pt x="279201" y="234857"/>
                      <a:pt x="281457" y="232149"/>
                      <a:pt x="284616" y="231021"/>
                    </a:cubicBezTo>
                    <a:cubicBezTo>
                      <a:pt x="287775" y="229893"/>
                      <a:pt x="288452" y="226057"/>
                      <a:pt x="289355" y="222672"/>
                    </a:cubicBezTo>
                    <a:cubicBezTo>
                      <a:pt x="289806" y="220867"/>
                      <a:pt x="290032" y="219062"/>
                      <a:pt x="290709" y="217708"/>
                    </a:cubicBezTo>
                    <a:cubicBezTo>
                      <a:pt x="292063" y="215226"/>
                      <a:pt x="293868" y="214775"/>
                      <a:pt x="295447" y="214323"/>
                    </a:cubicBezTo>
                    <a:cubicBezTo>
                      <a:pt x="296801" y="213872"/>
                      <a:pt x="298381" y="213421"/>
                      <a:pt x="300637" y="211841"/>
                    </a:cubicBezTo>
                    <a:lnTo>
                      <a:pt x="302894" y="210262"/>
                    </a:lnTo>
                    <a:cubicBezTo>
                      <a:pt x="306730" y="207554"/>
                      <a:pt x="316884" y="200333"/>
                      <a:pt x="317335" y="198077"/>
                    </a:cubicBezTo>
                    <a:cubicBezTo>
                      <a:pt x="317561" y="196272"/>
                      <a:pt x="317109" y="192661"/>
                      <a:pt x="315530" y="191759"/>
                    </a:cubicBezTo>
                    <a:cubicBezTo>
                      <a:pt x="314402" y="191082"/>
                      <a:pt x="312822" y="191759"/>
                      <a:pt x="311694" y="192435"/>
                    </a:cubicBezTo>
                    <a:cubicBezTo>
                      <a:pt x="304022" y="197174"/>
                      <a:pt x="300637" y="198979"/>
                      <a:pt x="295673" y="197851"/>
                    </a:cubicBezTo>
                    <a:cubicBezTo>
                      <a:pt x="291386" y="196948"/>
                      <a:pt x="285519" y="194918"/>
                      <a:pt x="279878" y="192661"/>
                    </a:cubicBezTo>
                    <a:cubicBezTo>
                      <a:pt x="278073" y="191984"/>
                      <a:pt x="276719" y="190856"/>
                      <a:pt x="275590" y="189953"/>
                    </a:cubicBezTo>
                    <a:cubicBezTo>
                      <a:pt x="272657" y="187697"/>
                      <a:pt x="270852" y="186569"/>
                      <a:pt x="265211" y="189728"/>
                    </a:cubicBezTo>
                    <a:cubicBezTo>
                      <a:pt x="255734" y="194918"/>
                      <a:pt x="250995" y="199205"/>
                      <a:pt x="250769" y="203267"/>
                    </a:cubicBezTo>
                    <a:cubicBezTo>
                      <a:pt x="250544" y="204620"/>
                      <a:pt x="250995" y="206651"/>
                      <a:pt x="251446" y="208682"/>
                    </a:cubicBezTo>
                    <a:cubicBezTo>
                      <a:pt x="252123" y="211841"/>
                      <a:pt x="253026" y="215226"/>
                      <a:pt x="251446" y="217482"/>
                    </a:cubicBezTo>
                    <a:cubicBezTo>
                      <a:pt x="250769" y="218610"/>
                      <a:pt x="249415" y="219287"/>
                      <a:pt x="247836" y="219513"/>
                    </a:cubicBezTo>
                    <a:cubicBezTo>
                      <a:pt x="245354" y="219964"/>
                      <a:pt x="243323" y="219739"/>
                      <a:pt x="241518" y="219739"/>
                    </a:cubicBezTo>
                    <a:cubicBezTo>
                      <a:pt x="238359" y="219513"/>
                      <a:pt x="237231" y="219739"/>
                      <a:pt x="236328" y="221093"/>
                    </a:cubicBezTo>
                    <a:cubicBezTo>
                      <a:pt x="235877" y="221770"/>
                      <a:pt x="235651" y="222446"/>
                      <a:pt x="235425" y="222898"/>
                    </a:cubicBezTo>
                    <a:cubicBezTo>
                      <a:pt x="233620" y="226734"/>
                      <a:pt x="231589" y="229441"/>
                      <a:pt x="222564" y="229441"/>
                    </a:cubicBezTo>
                    <a:cubicBezTo>
                      <a:pt x="212410" y="229441"/>
                      <a:pt x="207220" y="231247"/>
                      <a:pt x="201353" y="233729"/>
                    </a:cubicBezTo>
                    <a:cubicBezTo>
                      <a:pt x="198645" y="234857"/>
                      <a:pt x="196163" y="235308"/>
                      <a:pt x="194132" y="235534"/>
                    </a:cubicBezTo>
                    <a:cubicBezTo>
                      <a:pt x="191650" y="235760"/>
                      <a:pt x="190071" y="235985"/>
                      <a:pt x="188717" y="237790"/>
                    </a:cubicBezTo>
                    <a:cubicBezTo>
                      <a:pt x="186009" y="241175"/>
                      <a:pt x="182624" y="240272"/>
                      <a:pt x="178788" y="239370"/>
                    </a:cubicBezTo>
                    <a:cubicBezTo>
                      <a:pt x="176306" y="238467"/>
                      <a:pt x="173598" y="237790"/>
                      <a:pt x="170214" y="237790"/>
                    </a:cubicBezTo>
                    <a:cubicBezTo>
                      <a:pt x="166378" y="237790"/>
                      <a:pt x="161865" y="237113"/>
                      <a:pt x="157126" y="236437"/>
                    </a:cubicBezTo>
                    <a:cubicBezTo>
                      <a:pt x="150357" y="235534"/>
                      <a:pt x="143362" y="234406"/>
                      <a:pt x="138849" y="235308"/>
                    </a:cubicBezTo>
                    <a:cubicBezTo>
                      <a:pt x="130049" y="237113"/>
                      <a:pt x="128695" y="236662"/>
                      <a:pt x="119443" y="228990"/>
                    </a:cubicBezTo>
                    <a:cubicBezTo>
                      <a:pt x="112223" y="223123"/>
                      <a:pt x="100715" y="215677"/>
                      <a:pt x="90561" y="209133"/>
                    </a:cubicBezTo>
                    <a:cubicBezTo>
                      <a:pt x="88079" y="207554"/>
                      <a:pt x="85822" y="205974"/>
                      <a:pt x="83566" y="204620"/>
                    </a:cubicBezTo>
                    <a:cubicBezTo>
                      <a:pt x="77247" y="200559"/>
                      <a:pt x="72735" y="196723"/>
                      <a:pt x="69124" y="193789"/>
                    </a:cubicBezTo>
                    <a:cubicBezTo>
                      <a:pt x="66642" y="191533"/>
                      <a:pt x="64386" y="189953"/>
                      <a:pt x="62580" y="188825"/>
                    </a:cubicBezTo>
                    <a:cubicBezTo>
                      <a:pt x="57165" y="185666"/>
                      <a:pt x="51975" y="177768"/>
                      <a:pt x="50396" y="172579"/>
                    </a:cubicBezTo>
                    <a:cubicBezTo>
                      <a:pt x="49944" y="170097"/>
                      <a:pt x="48816" y="167389"/>
                      <a:pt x="47688" y="164907"/>
                    </a:cubicBezTo>
                    <a:cubicBezTo>
                      <a:pt x="46560" y="161973"/>
                      <a:pt x="46108" y="160845"/>
                      <a:pt x="46108" y="159943"/>
                    </a:cubicBezTo>
                    <a:cubicBezTo>
                      <a:pt x="46108" y="159265"/>
                      <a:pt x="46334" y="157686"/>
                      <a:pt x="46334" y="156332"/>
                    </a:cubicBezTo>
                    <a:cubicBezTo>
                      <a:pt x="46560" y="155429"/>
                      <a:pt x="46560" y="154301"/>
                      <a:pt x="46560" y="153624"/>
                    </a:cubicBezTo>
                    <a:cubicBezTo>
                      <a:pt x="46108" y="152947"/>
                      <a:pt x="44303" y="151368"/>
                      <a:pt x="43175" y="150240"/>
                    </a:cubicBezTo>
                    <a:cubicBezTo>
                      <a:pt x="40693" y="147983"/>
                      <a:pt x="37759" y="145275"/>
                      <a:pt x="35729" y="142568"/>
                    </a:cubicBezTo>
                    <a:cubicBezTo>
                      <a:pt x="32795" y="138957"/>
                      <a:pt x="33698" y="136475"/>
                      <a:pt x="34375" y="134444"/>
                    </a:cubicBezTo>
                    <a:cubicBezTo>
                      <a:pt x="34826" y="133091"/>
                      <a:pt x="35277" y="131737"/>
                      <a:pt x="34600" y="129706"/>
                    </a:cubicBezTo>
                    <a:cubicBezTo>
                      <a:pt x="32795" y="124290"/>
                      <a:pt x="31893" y="118649"/>
                      <a:pt x="35503" y="114136"/>
                    </a:cubicBezTo>
                    <a:lnTo>
                      <a:pt x="36631" y="112782"/>
                    </a:lnTo>
                    <a:cubicBezTo>
                      <a:pt x="38662" y="110300"/>
                      <a:pt x="39113" y="109623"/>
                      <a:pt x="42949" y="108495"/>
                    </a:cubicBezTo>
                    <a:cubicBezTo>
                      <a:pt x="44077" y="108270"/>
                      <a:pt x="45206" y="107818"/>
                      <a:pt x="46560" y="107593"/>
                    </a:cubicBezTo>
                    <a:cubicBezTo>
                      <a:pt x="50170" y="106690"/>
                      <a:pt x="54909" y="105787"/>
                      <a:pt x="58293" y="102628"/>
                    </a:cubicBezTo>
                    <a:cubicBezTo>
                      <a:pt x="59873" y="101049"/>
                      <a:pt x="60550" y="99695"/>
                      <a:pt x="61227" y="98341"/>
                    </a:cubicBezTo>
                    <a:cubicBezTo>
                      <a:pt x="62355" y="95859"/>
                      <a:pt x="63709" y="93151"/>
                      <a:pt x="69801" y="92700"/>
                    </a:cubicBezTo>
                    <a:cubicBezTo>
                      <a:pt x="75894" y="92249"/>
                      <a:pt x="80632" y="87510"/>
                      <a:pt x="83566" y="84802"/>
                    </a:cubicBezTo>
                    <a:cubicBezTo>
                      <a:pt x="83791" y="84577"/>
                      <a:pt x="83791" y="84577"/>
                      <a:pt x="84017" y="84351"/>
                    </a:cubicBezTo>
                    <a:cubicBezTo>
                      <a:pt x="82212" y="83900"/>
                      <a:pt x="78827" y="83674"/>
                      <a:pt x="75668" y="85028"/>
                    </a:cubicBezTo>
                    <a:cubicBezTo>
                      <a:pt x="73186" y="86156"/>
                      <a:pt x="69801" y="86608"/>
                      <a:pt x="66416" y="87059"/>
                    </a:cubicBezTo>
                    <a:cubicBezTo>
                      <a:pt x="62355" y="87736"/>
                      <a:pt x="57842" y="88187"/>
                      <a:pt x="56262" y="90218"/>
                    </a:cubicBezTo>
                    <a:cubicBezTo>
                      <a:pt x="55360" y="91346"/>
                      <a:pt x="54457" y="92700"/>
                      <a:pt x="53555" y="94054"/>
                    </a:cubicBezTo>
                    <a:cubicBezTo>
                      <a:pt x="51524" y="97438"/>
                      <a:pt x="49267" y="100823"/>
                      <a:pt x="45206" y="101049"/>
                    </a:cubicBezTo>
                    <a:lnTo>
                      <a:pt x="44754" y="101049"/>
                    </a:lnTo>
                    <a:cubicBezTo>
                      <a:pt x="40918" y="101274"/>
                      <a:pt x="35277" y="101726"/>
                      <a:pt x="33923" y="104659"/>
                    </a:cubicBezTo>
                    <a:cubicBezTo>
                      <a:pt x="31893" y="108946"/>
                      <a:pt x="25575" y="116393"/>
                      <a:pt x="23092" y="118649"/>
                    </a:cubicBezTo>
                    <a:cubicBezTo>
                      <a:pt x="20610" y="121131"/>
                      <a:pt x="14744" y="121131"/>
                      <a:pt x="8425" y="121131"/>
                    </a:cubicBezTo>
                    <a:lnTo>
                      <a:pt x="6395" y="121131"/>
                    </a:lnTo>
                    <a:cubicBezTo>
                      <a:pt x="2333" y="121131"/>
                      <a:pt x="528" y="118875"/>
                      <a:pt x="77" y="116618"/>
                    </a:cubicBezTo>
                    <a:cubicBezTo>
                      <a:pt x="-375" y="113911"/>
                      <a:pt x="1205" y="110977"/>
                      <a:pt x="3912" y="110075"/>
                    </a:cubicBezTo>
                    <a:cubicBezTo>
                      <a:pt x="7297" y="108946"/>
                      <a:pt x="14518" y="103305"/>
                      <a:pt x="14969" y="101726"/>
                    </a:cubicBezTo>
                    <a:cubicBezTo>
                      <a:pt x="14969" y="101500"/>
                      <a:pt x="14969" y="101500"/>
                      <a:pt x="14292" y="101049"/>
                    </a:cubicBezTo>
                    <a:cubicBezTo>
                      <a:pt x="13390" y="100372"/>
                      <a:pt x="12036" y="99244"/>
                      <a:pt x="11584" y="96536"/>
                    </a:cubicBezTo>
                    <a:cubicBezTo>
                      <a:pt x="11359" y="95408"/>
                      <a:pt x="11133" y="94054"/>
                      <a:pt x="10682" y="92700"/>
                    </a:cubicBezTo>
                    <a:cubicBezTo>
                      <a:pt x="10005" y="88864"/>
                      <a:pt x="8877" y="84351"/>
                      <a:pt x="8877" y="79612"/>
                    </a:cubicBezTo>
                    <a:cubicBezTo>
                      <a:pt x="8877" y="76905"/>
                      <a:pt x="10682" y="73971"/>
                      <a:pt x="14067" y="71489"/>
                    </a:cubicBezTo>
                    <a:cubicBezTo>
                      <a:pt x="19031" y="67879"/>
                      <a:pt x="27831" y="64720"/>
                      <a:pt x="35277" y="67202"/>
                    </a:cubicBezTo>
                    <a:cubicBezTo>
                      <a:pt x="37985" y="68105"/>
                      <a:pt x="39790" y="68781"/>
                      <a:pt x="41144" y="69233"/>
                    </a:cubicBezTo>
                    <a:cubicBezTo>
                      <a:pt x="45206" y="70812"/>
                      <a:pt x="46334" y="71264"/>
                      <a:pt x="55360" y="71264"/>
                    </a:cubicBezTo>
                    <a:cubicBezTo>
                      <a:pt x="67319" y="71264"/>
                      <a:pt x="72283" y="69458"/>
                      <a:pt x="76119" y="67653"/>
                    </a:cubicBezTo>
                    <a:cubicBezTo>
                      <a:pt x="78150" y="66751"/>
                      <a:pt x="78376" y="62915"/>
                      <a:pt x="78601" y="59530"/>
                    </a:cubicBezTo>
                    <a:cubicBezTo>
                      <a:pt x="78601" y="58176"/>
                      <a:pt x="78827" y="57048"/>
                      <a:pt x="78827" y="55920"/>
                    </a:cubicBezTo>
                    <a:cubicBezTo>
                      <a:pt x="79278" y="53438"/>
                      <a:pt x="80181" y="52309"/>
                      <a:pt x="81083" y="51407"/>
                    </a:cubicBezTo>
                    <a:cubicBezTo>
                      <a:pt x="81986" y="50504"/>
                      <a:pt x="82437" y="49827"/>
                      <a:pt x="81986" y="47119"/>
                    </a:cubicBezTo>
                    <a:cubicBezTo>
                      <a:pt x="81760" y="45991"/>
                      <a:pt x="81535" y="44637"/>
                      <a:pt x="81309" y="43509"/>
                    </a:cubicBezTo>
                    <a:cubicBezTo>
                      <a:pt x="79955" y="37868"/>
                      <a:pt x="78150" y="29970"/>
                      <a:pt x="86725" y="26360"/>
                    </a:cubicBezTo>
                    <a:cubicBezTo>
                      <a:pt x="92817" y="23878"/>
                      <a:pt x="94622" y="24780"/>
                      <a:pt x="96427" y="28391"/>
                    </a:cubicBezTo>
                    <a:cubicBezTo>
                      <a:pt x="97330" y="29745"/>
                      <a:pt x="98233" y="31550"/>
                      <a:pt x="100489" y="33129"/>
                    </a:cubicBezTo>
                    <a:cubicBezTo>
                      <a:pt x="102520" y="34483"/>
                      <a:pt x="102745" y="34032"/>
                      <a:pt x="104099" y="32227"/>
                    </a:cubicBezTo>
                    <a:cubicBezTo>
                      <a:pt x="104776" y="31324"/>
                      <a:pt x="105905" y="29970"/>
                      <a:pt x="107484" y="29970"/>
                    </a:cubicBezTo>
                    <a:cubicBezTo>
                      <a:pt x="109515" y="30196"/>
                      <a:pt x="110417" y="32001"/>
                      <a:pt x="111546" y="34483"/>
                    </a:cubicBezTo>
                    <a:cubicBezTo>
                      <a:pt x="114930" y="42155"/>
                      <a:pt x="117864" y="41253"/>
                      <a:pt x="123279" y="38770"/>
                    </a:cubicBezTo>
                    <a:cubicBezTo>
                      <a:pt x="127792" y="36740"/>
                      <a:pt x="130951" y="37191"/>
                      <a:pt x="136367" y="37868"/>
                    </a:cubicBezTo>
                    <a:cubicBezTo>
                      <a:pt x="138398" y="38094"/>
                      <a:pt x="140654" y="38319"/>
                      <a:pt x="143587" y="38770"/>
                    </a:cubicBezTo>
                    <a:cubicBezTo>
                      <a:pt x="149680" y="39222"/>
                      <a:pt x="151034" y="38770"/>
                      <a:pt x="153290" y="38094"/>
                    </a:cubicBezTo>
                    <a:cubicBezTo>
                      <a:pt x="155095" y="37417"/>
                      <a:pt x="157578" y="36740"/>
                      <a:pt x="162542" y="36063"/>
                    </a:cubicBezTo>
                    <a:cubicBezTo>
                      <a:pt x="174952" y="34483"/>
                      <a:pt x="184204" y="36514"/>
                      <a:pt x="187588" y="37417"/>
                    </a:cubicBezTo>
                    <a:lnTo>
                      <a:pt x="188942" y="37642"/>
                    </a:lnTo>
                    <a:cubicBezTo>
                      <a:pt x="192553" y="38319"/>
                      <a:pt x="194132" y="38996"/>
                      <a:pt x="198645" y="45314"/>
                    </a:cubicBezTo>
                    <a:cubicBezTo>
                      <a:pt x="203384" y="51858"/>
                      <a:pt x="209927" y="54566"/>
                      <a:pt x="219630" y="54340"/>
                    </a:cubicBezTo>
                    <a:cubicBezTo>
                      <a:pt x="222564" y="54340"/>
                      <a:pt x="225046" y="54114"/>
                      <a:pt x="227528" y="54114"/>
                    </a:cubicBezTo>
                    <a:cubicBezTo>
                      <a:pt x="234072" y="54114"/>
                      <a:pt x="239261" y="53889"/>
                      <a:pt x="243097" y="52986"/>
                    </a:cubicBezTo>
                    <a:cubicBezTo>
                      <a:pt x="245354" y="52535"/>
                      <a:pt x="247159" y="50504"/>
                      <a:pt x="249415" y="48022"/>
                    </a:cubicBezTo>
                    <a:cubicBezTo>
                      <a:pt x="251672" y="45765"/>
                      <a:pt x="253928" y="43058"/>
                      <a:pt x="257539" y="41253"/>
                    </a:cubicBezTo>
                    <a:cubicBezTo>
                      <a:pt x="264308" y="37868"/>
                      <a:pt x="269047" y="35611"/>
                      <a:pt x="279878" y="36288"/>
                    </a:cubicBezTo>
                    <a:cubicBezTo>
                      <a:pt x="285970" y="36740"/>
                      <a:pt x="287098" y="35837"/>
                      <a:pt x="289129" y="34258"/>
                    </a:cubicBezTo>
                    <a:cubicBezTo>
                      <a:pt x="290483" y="33355"/>
                      <a:pt x="292063" y="32001"/>
                      <a:pt x="294996" y="30873"/>
                    </a:cubicBezTo>
                    <a:cubicBezTo>
                      <a:pt x="297252" y="29970"/>
                      <a:pt x="299058" y="28616"/>
                      <a:pt x="300863" y="27714"/>
                    </a:cubicBezTo>
                    <a:cubicBezTo>
                      <a:pt x="304699" y="25232"/>
                      <a:pt x="308309" y="23201"/>
                      <a:pt x="313048" y="26360"/>
                    </a:cubicBezTo>
                    <a:cubicBezTo>
                      <a:pt x="314176" y="27262"/>
                      <a:pt x="315079" y="28165"/>
                      <a:pt x="315304" y="29293"/>
                    </a:cubicBezTo>
                    <a:cubicBezTo>
                      <a:pt x="315755" y="31550"/>
                      <a:pt x="314176" y="33806"/>
                      <a:pt x="312596" y="36288"/>
                    </a:cubicBezTo>
                    <a:cubicBezTo>
                      <a:pt x="310340" y="39673"/>
                      <a:pt x="308986" y="42155"/>
                      <a:pt x="310566" y="44412"/>
                    </a:cubicBezTo>
                    <a:cubicBezTo>
                      <a:pt x="315079" y="50955"/>
                      <a:pt x="326586" y="55468"/>
                      <a:pt x="331325" y="55468"/>
                    </a:cubicBezTo>
                    <a:cubicBezTo>
                      <a:pt x="336515" y="55468"/>
                      <a:pt x="345541" y="54114"/>
                      <a:pt x="349377" y="51407"/>
                    </a:cubicBezTo>
                    <a:cubicBezTo>
                      <a:pt x="350956" y="50278"/>
                      <a:pt x="351859" y="48699"/>
                      <a:pt x="352761" y="46894"/>
                    </a:cubicBezTo>
                    <a:cubicBezTo>
                      <a:pt x="354115" y="44412"/>
                      <a:pt x="355920" y="41253"/>
                      <a:pt x="359756" y="40350"/>
                    </a:cubicBezTo>
                    <a:cubicBezTo>
                      <a:pt x="361110" y="39899"/>
                      <a:pt x="362013" y="39673"/>
                      <a:pt x="362690" y="39673"/>
                    </a:cubicBezTo>
                    <a:cubicBezTo>
                      <a:pt x="364495" y="39222"/>
                      <a:pt x="364721" y="39222"/>
                      <a:pt x="370362" y="39222"/>
                    </a:cubicBezTo>
                    <a:cubicBezTo>
                      <a:pt x="374649" y="39222"/>
                      <a:pt x="375326" y="38319"/>
                      <a:pt x="376229" y="36740"/>
                    </a:cubicBezTo>
                    <a:cubicBezTo>
                      <a:pt x="376680" y="35837"/>
                      <a:pt x="377357" y="34709"/>
                      <a:pt x="378485" y="33806"/>
                    </a:cubicBezTo>
                    <a:cubicBezTo>
                      <a:pt x="379162" y="33129"/>
                      <a:pt x="379839" y="32227"/>
                      <a:pt x="379839" y="30873"/>
                    </a:cubicBezTo>
                    <a:cubicBezTo>
                      <a:pt x="379613" y="29293"/>
                      <a:pt x="378259" y="27939"/>
                      <a:pt x="376229" y="26811"/>
                    </a:cubicBezTo>
                    <a:cubicBezTo>
                      <a:pt x="372167" y="24555"/>
                      <a:pt x="366752" y="21170"/>
                      <a:pt x="366752" y="16432"/>
                    </a:cubicBezTo>
                    <a:lnTo>
                      <a:pt x="366752" y="15980"/>
                    </a:lnTo>
                    <a:cubicBezTo>
                      <a:pt x="366752" y="12821"/>
                      <a:pt x="366752" y="9888"/>
                      <a:pt x="371941" y="3795"/>
                    </a:cubicBezTo>
                    <a:cubicBezTo>
                      <a:pt x="372618" y="2893"/>
                      <a:pt x="373295" y="2216"/>
                      <a:pt x="373747" y="1539"/>
                    </a:cubicBezTo>
                    <a:lnTo>
                      <a:pt x="374875" y="185"/>
                    </a:lnTo>
                    <a:lnTo>
                      <a:pt x="376003" y="411"/>
                    </a:lnTo>
                    <a:cubicBezTo>
                      <a:pt x="382547" y="2216"/>
                      <a:pt x="388865" y="2893"/>
                      <a:pt x="394957" y="2667"/>
                    </a:cubicBezTo>
                    <a:cubicBezTo>
                      <a:pt x="403757" y="2216"/>
                      <a:pt x="411204" y="1539"/>
                      <a:pt x="417296" y="1088"/>
                    </a:cubicBezTo>
                    <a:cubicBezTo>
                      <a:pt x="435122" y="-266"/>
                      <a:pt x="443246" y="-943"/>
                      <a:pt x="451369" y="2667"/>
                    </a:cubicBezTo>
                    <a:cubicBezTo>
                      <a:pt x="455656" y="4472"/>
                      <a:pt x="457461" y="4247"/>
                      <a:pt x="460620" y="3795"/>
                    </a:cubicBezTo>
                    <a:cubicBezTo>
                      <a:pt x="464456" y="3118"/>
                      <a:pt x="469646" y="2216"/>
                      <a:pt x="481380" y="5375"/>
                    </a:cubicBezTo>
                    <a:cubicBezTo>
                      <a:pt x="491534" y="8083"/>
                      <a:pt x="496498" y="7857"/>
                      <a:pt x="501237" y="7631"/>
                    </a:cubicBezTo>
                    <a:cubicBezTo>
                      <a:pt x="506201" y="7406"/>
                      <a:pt x="510714" y="7180"/>
                      <a:pt x="519965" y="10114"/>
                    </a:cubicBezTo>
                    <a:lnTo>
                      <a:pt x="525381" y="11693"/>
                    </a:lnTo>
                    <a:cubicBezTo>
                      <a:pt x="536663" y="15303"/>
                      <a:pt x="536889" y="15303"/>
                      <a:pt x="544786" y="23201"/>
                    </a:cubicBezTo>
                    <a:lnTo>
                      <a:pt x="547043" y="25457"/>
                    </a:lnTo>
                    <a:cubicBezTo>
                      <a:pt x="548397" y="26811"/>
                      <a:pt x="549525" y="27939"/>
                      <a:pt x="550653" y="29068"/>
                    </a:cubicBezTo>
                    <a:cubicBezTo>
                      <a:pt x="558325" y="36965"/>
                      <a:pt x="558551" y="37191"/>
                      <a:pt x="570284" y="37191"/>
                    </a:cubicBezTo>
                    <a:lnTo>
                      <a:pt x="591946" y="37191"/>
                    </a:lnTo>
                    <a:cubicBezTo>
                      <a:pt x="596234" y="37191"/>
                      <a:pt x="597813" y="36063"/>
                      <a:pt x="599167" y="35160"/>
                    </a:cubicBezTo>
                    <a:cubicBezTo>
                      <a:pt x="602326" y="32678"/>
                      <a:pt x="604583" y="32678"/>
                      <a:pt x="612706" y="37642"/>
                    </a:cubicBezTo>
                    <a:cubicBezTo>
                      <a:pt x="623988" y="44412"/>
                      <a:pt x="636173" y="53889"/>
                      <a:pt x="631434" y="67202"/>
                    </a:cubicBezTo>
                    <a:lnTo>
                      <a:pt x="630757" y="69007"/>
                    </a:lnTo>
                    <a:cubicBezTo>
                      <a:pt x="627373" y="78259"/>
                      <a:pt x="625793" y="82320"/>
                      <a:pt x="632788" y="88638"/>
                    </a:cubicBezTo>
                    <a:cubicBezTo>
                      <a:pt x="635270" y="90669"/>
                      <a:pt x="637978" y="92023"/>
                      <a:pt x="640686" y="93377"/>
                    </a:cubicBezTo>
                    <a:cubicBezTo>
                      <a:pt x="647230" y="96536"/>
                      <a:pt x="654225" y="99921"/>
                      <a:pt x="654225" y="113459"/>
                    </a:cubicBezTo>
                    <a:cubicBezTo>
                      <a:pt x="654225" y="114588"/>
                      <a:pt x="654225" y="115265"/>
                      <a:pt x="654225" y="116167"/>
                    </a:cubicBezTo>
                    <a:cubicBezTo>
                      <a:pt x="655127" y="115490"/>
                      <a:pt x="656030" y="115039"/>
                      <a:pt x="657384" y="115039"/>
                    </a:cubicBezTo>
                    <a:cubicBezTo>
                      <a:pt x="659415" y="115039"/>
                      <a:pt x="661445" y="116844"/>
                      <a:pt x="663476" y="120229"/>
                    </a:cubicBezTo>
                    <a:cubicBezTo>
                      <a:pt x="667087" y="126547"/>
                      <a:pt x="667538" y="132414"/>
                      <a:pt x="667989" y="137603"/>
                    </a:cubicBezTo>
                    <a:cubicBezTo>
                      <a:pt x="668440" y="143245"/>
                      <a:pt x="668892" y="147532"/>
                      <a:pt x="673179" y="150465"/>
                    </a:cubicBezTo>
                    <a:cubicBezTo>
                      <a:pt x="676789" y="153173"/>
                      <a:pt x="679948" y="156332"/>
                      <a:pt x="683107" y="159717"/>
                    </a:cubicBezTo>
                    <a:cubicBezTo>
                      <a:pt x="688297" y="165358"/>
                      <a:pt x="694164" y="171902"/>
                      <a:pt x="704995" y="177543"/>
                    </a:cubicBezTo>
                    <a:cubicBezTo>
                      <a:pt x="711764" y="181153"/>
                      <a:pt x="716954" y="181605"/>
                      <a:pt x="721693" y="181830"/>
                    </a:cubicBezTo>
                    <a:cubicBezTo>
                      <a:pt x="728914" y="182507"/>
                      <a:pt x="735006" y="182958"/>
                      <a:pt x="740647" y="195369"/>
                    </a:cubicBezTo>
                    <a:cubicBezTo>
                      <a:pt x="744483" y="203943"/>
                      <a:pt x="744934" y="209585"/>
                      <a:pt x="745160" y="212969"/>
                    </a:cubicBezTo>
                    <a:cubicBezTo>
                      <a:pt x="745386" y="216805"/>
                      <a:pt x="745386" y="216805"/>
                      <a:pt x="750124" y="216805"/>
                    </a:cubicBezTo>
                    <a:cubicBezTo>
                      <a:pt x="753058" y="216805"/>
                      <a:pt x="755314" y="217031"/>
                      <a:pt x="757571" y="217934"/>
                    </a:cubicBezTo>
                    <a:lnTo>
                      <a:pt x="758473" y="218159"/>
                    </a:lnTo>
                    <a:lnTo>
                      <a:pt x="758699" y="219062"/>
                    </a:lnTo>
                    <a:cubicBezTo>
                      <a:pt x="760504" y="224703"/>
                      <a:pt x="762309" y="228990"/>
                      <a:pt x="764566" y="231472"/>
                    </a:cubicBezTo>
                    <a:cubicBezTo>
                      <a:pt x="771109" y="239370"/>
                      <a:pt x="773140" y="247042"/>
                      <a:pt x="774494" y="253134"/>
                    </a:cubicBezTo>
                    <a:cubicBezTo>
                      <a:pt x="775397" y="256970"/>
                      <a:pt x="776299" y="260129"/>
                      <a:pt x="777879" y="262837"/>
                    </a:cubicBezTo>
                    <a:cubicBezTo>
                      <a:pt x="783069" y="271186"/>
                      <a:pt x="782843" y="272991"/>
                      <a:pt x="774945" y="282017"/>
                    </a:cubicBezTo>
                    <a:cubicBezTo>
                      <a:pt x="768853" y="288786"/>
                      <a:pt x="766822" y="289915"/>
                      <a:pt x="758925" y="293751"/>
                    </a:cubicBezTo>
                    <a:cubicBezTo>
                      <a:pt x="756668" y="294879"/>
                      <a:pt x="753735" y="296458"/>
                      <a:pt x="749899" y="298264"/>
                    </a:cubicBezTo>
                    <a:cubicBezTo>
                      <a:pt x="744934" y="300971"/>
                      <a:pt x="740421" y="302551"/>
                      <a:pt x="736811" y="303905"/>
                    </a:cubicBezTo>
                    <a:cubicBezTo>
                      <a:pt x="734103" y="304807"/>
                      <a:pt x="730944" y="305935"/>
                      <a:pt x="730493" y="306612"/>
                    </a:cubicBezTo>
                    <a:cubicBezTo>
                      <a:pt x="730493" y="306612"/>
                      <a:pt x="730944" y="307741"/>
                      <a:pt x="735909" y="310900"/>
                    </a:cubicBezTo>
                    <a:cubicBezTo>
                      <a:pt x="742452" y="315187"/>
                      <a:pt x="745386" y="318797"/>
                      <a:pt x="745837" y="322633"/>
                    </a:cubicBezTo>
                    <a:cubicBezTo>
                      <a:pt x="746288" y="327372"/>
                      <a:pt x="742452" y="330982"/>
                      <a:pt x="738165" y="335495"/>
                    </a:cubicBezTo>
                    <a:cubicBezTo>
                      <a:pt x="735006" y="338654"/>
                      <a:pt x="735909" y="340685"/>
                      <a:pt x="737714" y="344747"/>
                    </a:cubicBezTo>
                    <a:cubicBezTo>
                      <a:pt x="739293" y="348357"/>
                      <a:pt x="741098" y="352870"/>
                      <a:pt x="739745" y="359188"/>
                    </a:cubicBezTo>
                    <a:cubicBezTo>
                      <a:pt x="739068" y="362573"/>
                      <a:pt x="738842" y="365280"/>
                      <a:pt x="738842" y="367763"/>
                    </a:cubicBezTo>
                    <a:cubicBezTo>
                      <a:pt x="738842" y="374532"/>
                      <a:pt x="738165" y="379270"/>
                      <a:pt x="726657" y="386717"/>
                    </a:cubicBezTo>
                    <a:cubicBezTo>
                      <a:pt x="712893" y="395517"/>
                      <a:pt x="712893" y="395743"/>
                      <a:pt x="709282" y="401384"/>
                    </a:cubicBezTo>
                    <a:cubicBezTo>
                      <a:pt x="708831" y="402061"/>
                      <a:pt x="708154" y="402963"/>
                      <a:pt x="707477" y="404092"/>
                    </a:cubicBezTo>
                    <a:cubicBezTo>
                      <a:pt x="704544" y="408604"/>
                      <a:pt x="704092" y="412215"/>
                      <a:pt x="703641" y="416728"/>
                    </a:cubicBezTo>
                    <a:cubicBezTo>
                      <a:pt x="703190" y="420338"/>
                      <a:pt x="702739" y="423948"/>
                      <a:pt x="701159" y="428236"/>
                    </a:cubicBezTo>
                    <a:cubicBezTo>
                      <a:pt x="699805" y="431846"/>
                      <a:pt x="701159" y="434554"/>
                      <a:pt x="702739" y="436133"/>
                    </a:cubicBezTo>
                    <a:cubicBezTo>
                      <a:pt x="705672" y="439067"/>
                      <a:pt x="711764" y="441098"/>
                      <a:pt x="717406" y="439067"/>
                    </a:cubicBezTo>
                    <a:cubicBezTo>
                      <a:pt x="720339" y="437939"/>
                      <a:pt x="722370" y="437036"/>
                      <a:pt x="723949" y="436133"/>
                    </a:cubicBezTo>
                    <a:cubicBezTo>
                      <a:pt x="728462" y="433877"/>
                      <a:pt x="730493" y="433200"/>
                      <a:pt x="738165" y="435231"/>
                    </a:cubicBezTo>
                    <a:lnTo>
                      <a:pt x="740196" y="435682"/>
                    </a:lnTo>
                    <a:cubicBezTo>
                      <a:pt x="750801" y="438615"/>
                      <a:pt x="758248" y="440872"/>
                      <a:pt x="758473" y="445159"/>
                    </a:cubicBezTo>
                    <a:cubicBezTo>
                      <a:pt x="758473" y="448093"/>
                      <a:pt x="755314" y="450349"/>
                      <a:pt x="747642" y="452831"/>
                    </a:cubicBezTo>
                    <a:cubicBezTo>
                      <a:pt x="741098" y="454862"/>
                      <a:pt x="735683" y="456216"/>
                      <a:pt x="731396" y="457118"/>
                    </a:cubicBezTo>
                    <a:cubicBezTo>
                      <a:pt x="721242" y="459601"/>
                      <a:pt x="716503" y="460729"/>
                      <a:pt x="712893" y="466144"/>
                    </a:cubicBezTo>
                    <a:lnTo>
                      <a:pt x="711990" y="467272"/>
                    </a:lnTo>
                    <a:cubicBezTo>
                      <a:pt x="706800" y="475170"/>
                      <a:pt x="701836" y="482616"/>
                      <a:pt x="693261" y="486452"/>
                    </a:cubicBezTo>
                    <a:cubicBezTo>
                      <a:pt x="689651" y="488032"/>
                      <a:pt x="685364" y="488483"/>
                      <a:pt x="681528" y="488934"/>
                    </a:cubicBezTo>
                    <a:cubicBezTo>
                      <a:pt x="679497" y="489160"/>
                      <a:pt x="677015" y="489386"/>
                      <a:pt x="675887" y="489837"/>
                    </a:cubicBezTo>
                    <a:cubicBezTo>
                      <a:pt x="676112" y="490063"/>
                      <a:pt x="676338" y="490514"/>
                      <a:pt x="677015" y="490965"/>
                    </a:cubicBezTo>
                    <a:cubicBezTo>
                      <a:pt x="683784" y="496832"/>
                      <a:pt x="699128" y="513530"/>
                      <a:pt x="700256" y="524135"/>
                    </a:cubicBezTo>
                    <a:cubicBezTo>
                      <a:pt x="700482" y="526166"/>
                      <a:pt x="701159" y="528197"/>
                      <a:pt x="702062" y="530453"/>
                    </a:cubicBezTo>
                    <a:cubicBezTo>
                      <a:pt x="704769" y="537674"/>
                      <a:pt x="707928" y="546474"/>
                      <a:pt x="690779" y="555049"/>
                    </a:cubicBezTo>
                    <a:cubicBezTo>
                      <a:pt x="681302" y="559787"/>
                      <a:pt x="677466" y="564075"/>
                      <a:pt x="675210" y="566782"/>
                    </a:cubicBezTo>
                    <a:cubicBezTo>
                      <a:pt x="672051" y="570618"/>
                      <a:pt x="670246" y="571521"/>
                      <a:pt x="664379" y="568136"/>
                    </a:cubicBezTo>
                    <a:cubicBezTo>
                      <a:pt x="660317" y="565654"/>
                      <a:pt x="658061" y="563398"/>
                      <a:pt x="656030" y="561367"/>
                    </a:cubicBezTo>
                    <a:cubicBezTo>
                      <a:pt x="653096" y="558433"/>
                      <a:pt x="650840" y="556177"/>
                      <a:pt x="645424" y="555274"/>
                    </a:cubicBezTo>
                    <a:cubicBezTo>
                      <a:pt x="643394" y="554823"/>
                      <a:pt x="642265" y="555049"/>
                      <a:pt x="641589" y="555726"/>
                    </a:cubicBezTo>
                    <a:cubicBezTo>
                      <a:pt x="640009" y="557305"/>
                      <a:pt x="640912" y="562269"/>
                      <a:pt x="641589" y="566331"/>
                    </a:cubicBezTo>
                    <a:cubicBezTo>
                      <a:pt x="641814" y="567685"/>
                      <a:pt x="642040" y="569039"/>
                      <a:pt x="642265" y="570167"/>
                    </a:cubicBezTo>
                    <a:cubicBezTo>
                      <a:pt x="642717" y="574454"/>
                      <a:pt x="642265" y="576485"/>
                      <a:pt x="641137" y="579193"/>
                    </a:cubicBezTo>
                    <a:cubicBezTo>
                      <a:pt x="640460" y="581449"/>
                      <a:pt x="639332" y="584834"/>
                      <a:pt x="638429" y="591378"/>
                    </a:cubicBezTo>
                    <a:cubicBezTo>
                      <a:pt x="636173" y="607850"/>
                      <a:pt x="628050" y="618455"/>
                      <a:pt x="614511" y="622066"/>
                    </a:cubicBezTo>
                    <a:cubicBezTo>
                      <a:pt x="605259" y="623871"/>
                      <a:pt x="599393" y="625225"/>
                      <a:pt x="594428" y="625225"/>
                    </a:cubicBezTo>
                    <a:close/>
                    <a:moveTo>
                      <a:pt x="567802" y="579870"/>
                    </a:moveTo>
                    <a:cubicBezTo>
                      <a:pt x="572315" y="580998"/>
                      <a:pt x="574797" y="582578"/>
                      <a:pt x="575700" y="584609"/>
                    </a:cubicBezTo>
                    <a:cubicBezTo>
                      <a:pt x="576828" y="587091"/>
                      <a:pt x="575249" y="589347"/>
                      <a:pt x="574120" y="591152"/>
                    </a:cubicBezTo>
                    <a:cubicBezTo>
                      <a:pt x="573218" y="592732"/>
                      <a:pt x="572541" y="593860"/>
                      <a:pt x="572766" y="594537"/>
                    </a:cubicBezTo>
                    <a:cubicBezTo>
                      <a:pt x="574572" y="598373"/>
                      <a:pt x="574346" y="600629"/>
                      <a:pt x="574120" y="603563"/>
                    </a:cubicBezTo>
                    <a:cubicBezTo>
                      <a:pt x="573895" y="605594"/>
                      <a:pt x="573669" y="607850"/>
                      <a:pt x="573895" y="611235"/>
                    </a:cubicBezTo>
                    <a:cubicBezTo>
                      <a:pt x="574346" y="615748"/>
                      <a:pt x="575249" y="615973"/>
                      <a:pt x="578633" y="616876"/>
                    </a:cubicBezTo>
                    <a:cubicBezTo>
                      <a:pt x="580438" y="617327"/>
                      <a:pt x="582469" y="618004"/>
                      <a:pt x="584951" y="619132"/>
                    </a:cubicBezTo>
                    <a:cubicBezTo>
                      <a:pt x="591721" y="622517"/>
                      <a:pt x="597588" y="621840"/>
                      <a:pt x="611803" y="618004"/>
                    </a:cubicBezTo>
                    <a:cubicBezTo>
                      <a:pt x="623762" y="614845"/>
                      <a:pt x="630983" y="605594"/>
                      <a:pt x="633014" y="590475"/>
                    </a:cubicBezTo>
                    <a:cubicBezTo>
                      <a:pt x="633917" y="583480"/>
                      <a:pt x="635045" y="580095"/>
                      <a:pt x="635947" y="577613"/>
                    </a:cubicBezTo>
                    <a:cubicBezTo>
                      <a:pt x="636850" y="575131"/>
                      <a:pt x="637301" y="573777"/>
                      <a:pt x="636850" y="570167"/>
                    </a:cubicBezTo>
                    <a:cubicBezTo>
                      <a:pt x="636624" y="569039"/>
                      <a:pt x="636399" y="567685"/>
                      <a:pt x="636173" y="566557"/>
                    </a:cubicBezTo>
                    <a:cubicBezTo>
                      <a:pt x="635270" y="561141"/>
                      <a:pt x="634368" y="555726"/>
                      <a:pt x="637301" y="552792"/>
                    </a:cubicBezTo>
                    <a:cubicBezTo>
                      <a:pt x="638881" y="551213"/>
                      <a:pt x="641363" y="550762"/>
                      <a:pt x="644522" y="551213"/>
                    </a:cubicBezTo>
                    <a:cubicBezTo>
                      <a:pt x="651291" y="552341"/>
                      <a:pt x="654225" y="555274"/>
                      <a:pt x="657158" y="558433"/>
                    </a:cubicBezTo>
                    <a:cubicBezTo>
                      <a:pt x="659189" y="560464"/>
                      <a:pt x="661220" y="562495"/>
                      <a:pt x="664830" y="564752"/>
                    </a:cubicBezTo>
                    <a:cubicBezTo>
                      <a:pt x="668440" y="567008"/>
                      <a:pt x="668440" y="566782"/>
                      <a:pt x="670697" y="564075"/>
                    </a:cubicBezTo>
                    <a:cubicBezTo>
                      <a:pt x="673179" y="561367"/>
                      <a:pt x="677241" y="556628"/>
                      <a:pt x="687395" y="551438"/>
                    </a:cubicBezTo>
                    <a:cubicBezTo>
                      <a:pt x="701610" y="544443"/>
                      <a:pt x="699354" y="538351"/>
                      <a:pt x="696872" y="531582"/>
                    </a:cubicBezTo>
                    <a:cubicBezTo>
                      <a:pt x="695969" y="529325"/>
                      <a:pt x="695067" y="526843"/>
                      <a:pt x="694841" y="524361"/>
                    </a:cubicBezTo>
                    <a:cubicBezTo>
                      <a:pt x="693938" y="516238"/>
                      <a:pt x="681302" y="501119"/>
                      <a:pt x="672953" y="493673"/>
                    </a:cubicBezTo>
                    <a:cubicBezTo>
                      <a:pt x="672051" y="492996"/>
                      <a:pt x="669794" y="490965"/>
                      <a:pt x="670471" y="488709"/>
                    </a:cubicBezTo>
                    <a:cubicBezTo>
                      <a:pt x="671374" y="486227"/>
                      <a:pt x="674533" y="485775"/>
                      <a:pt x="679723" y="485324"/>
                    </a:cubicBezTo>
                    <a:cubicBezTo>
                      <a:pt x="683333" y="484873"/>
                      <a:pt x="687395" y="484422"/>
                      <a:pt x="690328" y="483068"/>
                    </a:cubicBezTo>
                    <a:cubicBezTo>
                      <a:pt x="697774" y="479683"/>
                      <a:pt x="702287" y="472914"/>
                      <a:pt x="707477" y="465242"/>
                    </a:cubicBezTo>
                    <a:lnTo>
                      <a:pt x="708380" y="464113"/>
                    </a:lnTo>
                    <a:cubicBezTo>
                      <a:pt x="712667" y="457570"/>
                      <a:pt x="718534" y="456216"/>
                      <a:pt x="729139" y="453508"/>
                    </a:cubicBezTo>
                    <a:cubicBezTo>
                      <a:pt x="733426" y="452380"/>
                      <a:pt x="738842" y="451252"/>
                      <a:pt x="745160" y="449221"/>
                    </a:cubicBezTo>
                    <a:cubicBezTo>
                      <a:pt x="752832" y="446964"/>
                      <a:pt x="753283" y="445385"/>
                      <a:pt x="753283" y="445159"/>
                    </a:cubicBezTo>
                    <a:cubicBezTo>
                      <a:pt x="752832" y="443128"/>
                      <a:pt x="742001" y="440195"/>
                      <a:pt x="737939" y="439067"/>
                    </a:cubicBezTo>
                    <a:lnTo>
                      <a:pt x="735909" y="438615"/>
                    </a:lnTo>
                    <a:cubicBezTo>
                      <a:pt x="729365" y="436810"/>
                      <a:pt x="728011" y="437487"/>
                      <a:pt x="724175" y="439292"/>
                    </a:cubicBezTo>
                    <a:cubicBezTo>
                      <a:pt x="722370" y="440195"/>
                      <a:pt x="720339" y="441098"/>
                      <a:pt x="717180" y="442226"/>
                    </a:cubicBezTo>
                    <a:cubicBezTo>
                      <a:pt x="710636" y="444708"/>
                      <a:pt x="702964" y="443128"/>
                      <a:pt x="698451" y="438390"/>
                    </a:cubicBezTo>
                    <a:cubicBezTo>
                      <a:pt x="695292" y="435005"/>
                      <a:pt x="694390" y="430718"/>
                      <a:pt x="695969" y="426656"/>
                    </a:cubicBezTo>
                    <a:cubicBezTo>
                      <a:pt x="697549" y="422820"/>
                      <a:pt x="697774" y="419436"/>
                      <a:pt x="698226" y="416277"/>
                    </a:cubicBezTo>
                    <a:cubicBezTo>
                      <a:pt x="698677" y="411763"/>
                      <a:pt x="699354" y="407251"/>
                      <a:pt x="702739" y="402061"/>
                    </a:cubicBezTo>
                    <a:cubicBezTo>
                      <a:pt x="703416" y="401158"/>
                      <a:pt x="703867" y="400255"/>
                      <a:pt x="704544" y="399353"/>
                    </a:cubicBezTo>
                    <a:cubicBezTo>
                      <a:pt x="708605" y="393261"/>
                      <a:pt x="709282" y="392584"/>
                      <a:pt x="723047" y="383558"/>
                    </a:cubicBezTo>
                    <a:cubicBezTo>
                      <a:pt x="733426" y="376788"/>
                      <a:pt x="733426" y="373629"/>
                      <a:pt x="733652" y="367763"/>
                    </a:cubicBezTo>
                    <a:cubicBezTo>
                      <a:pt x="733652" y="365055"/>
                      <a:pt x="733652" y="362121"/>
                      <a:pt x="734555" y="358511"/>
                    </a:cubicBezTo>
                    <a:cubicBezTo>
                      <a:pt x="735683" y="353547"/>
                      <a:pt x="734329" y="349937"/>
                      <a:pt x="732750" y="346552"/>
                    </a:cubicBezTo>
                    <a:cubicBezTo>
                      <a:pt x="730944" y="342490"/>
                      <a:pt x="729139" y="338203"/>
                      <a:pt x="734103" y="333239"/>
                    </a:cubicBezTo>
                    <a:cubicBezTo>
                      <a:pt x="737939" y="329403"/>
                      <a:pt x="741098" y="326244"/>
                      <a:pt x="740647" y="323536"/>
                    </a:cubicBezTo>
                    <a:cubicBezTo>
                      <a:pt x="740421" y="321054"/>
                      <a:pt x="737714" y="318120"/>
                      <a:pt x="732524" y="314510"/>
                    </a:cubicBezTo>
                    <a:cubicBezTo>
                      <a:pt x="727785" y="311351"/>
                      <a:pt x="725078" y="309095"/>
                      <a:pt x="725529" y="306387"/>
                    </a:cubicBezTo>
                    <a:cubicBezTo>
                      <a:pt x="725980" y="303679"/>
                      <a:pt x="728914" y="302551"/>
                      <a:pt x="734103" y="300520"/>
                    </a:cubicBezTo>
                    <a:cubicBezTo>
                      <a:pt x="737714" y="299166"/>
                      <a:pt x="742001" y="297587"/>
                      <a:pt x="746740" y="295104"/>
                    </a:cubicBezTo>
                    <a:cubicBezTo>
                      <a:pt x="750350" y="293074"/>
                      <a:pt x="753283" y="291720"/>
                      <a:pt x="755765" y="290591"/>
                    </a:cubicBezTo>
                    <a:cubicBezTo>
                      <a:pt x="763437" y="286756"/>
                      <a:pt x="765243" y="285853"/>
                      <a:pt x="770658" y="279535"/>
                    </a:cubicBezTo>
                    <a:cubicBezTo>
                      <a:pt x="777653" y="271637"/>
                      <a:pt x="777653" y="271637"/>
                      <a:pt x="773366" y="264868"/>
                    </a:cubicBezTo>
                    <a:cubicBezTo>
                      <a:pt x="771335" y="261709"/>
                      <a:pt x="770432" y="258099"/>
                      <a:pt x="769530" y="254037"/>
                    </a:cubicBezTo>
                    <a:cubicBezTo>
                      <a:pt x="768176" y="247944"/>
                      <a:pt x="766371" y="241175"/>
                      <a:pt x="760278" y="233954"/>
                    </a:cubicBezTo>
                    <a:cubicBezTo>
                      <a:pt x="758022" y="231247"/>
                      <a:pt x="755765" y="226959"/>
                      <a:pt x="753960" y="221093"/>
                    </a:cubicBezTo>
                    <a:cubicBezTo>
                      <a:pt x="752381" y="220641"/>
                      <a:pt x="750576" y="220416"/>
                      <a:pt x="748545" y="220416"/>
                    </a:cubicBezTo>
                    <a:cubicBezTo>
                      <a:pt x="741098" y="220416"/>
                      <a:pt x="740196" y="218385"/>
                      <a:pt x="739745" y="213195"/>
                    </a:cubicBezTo>
                    <a:cubicBezTo>
                      <a:pt x="739519" y="209810"/>
                      <a:pt x="739068" y="204846"/>
                      <a:pt x="735457" y="196723"/>
                    </a:cubicBezTo>
                    <a:cubicBezTo>
                      <a:pt x="730719" y="186343"/>
                      <a:pt x="726657" y="186117"/>
                      <a:pt x="719662" y="185440"/>
                    </a:cubicBezTo>
                    <a:cubicBezTo>
                      <a:pt x="714924" y="184989"/>
                      <a:pt x="708831" y="184538"/>
                      <a:pt x="701385" y="180702"/>
                    </a:cubicBezTo>
                    <a:cubicBezTo>
                      <a:pt x="689877" y="174609"/>
                      <a:pt x="683784" y="168066"/>
                      <a:pt x="678594" y="162199"/>
                    </a:cubicBezTo>
                    <a:cubicBezTo>
                      <a:pt x="675435" y="158814"/>
                      <a:pt x="672728" y="155655"/>
                      <a:pt x="669343" y="153399"/>
                    </a:cubicBezTo>
                    <a:cubicBezTo>
                      <a:pt x="663476" y="149337"/>
                      <a:pt x="663025" y="143696"/>
                      <a:pt x="662574" y="137603"/>
                    </a:cubicBezTo>
                    <a:cubicBezTo>
                      <a:pt x="662122" y="132865"/>
                      <a:pt x="661671" y="127449"/>
                      <a:pt x="658512" y="121583"/>
                    </a:cubicBezTo>
                    <a:cubicBezTo>
                      <a:pt x="656481" y="118198"/>
                      <a:pt x="655579" y="118424"/>
                      <a:pt x="655579" y="118424"/>
                    </a:cubicBezTo>
                    <a:cubicBezTo>
                      <a:pt x="655127" y="118424"/>
                      <a:pt x="654225" y="119777"/>
                      <a:pt x="653773" y="120229"/>
                    </a:cubicBezTo>
                    <a:cubicBezTo>
                      <a:pt x="653096" y="121131"/>
                      <a:pt x="652194" y="122485"/>
                      <a:pt x="650614" y="122034"/>
                    </a:cubicBezTo>
                    <a:cubicBezTo>
                      <a:pt x="648809" y="121583"/>
                      <a:pt x="648809" y="119777"/>
                      <a:pt x="648809" y="113234"/>
                    </a:cubicBezTo>
                    <a:cubicBezTo>
                      <a:pt x="648809" y="101951"/>
                      <a:pt x="643845" y="99469"/>
                      <a:pt x="637527" y="96536"/>
                    </a:cubicBezTo>
                    <a:cubicBezTo>
                      <a:pt x="634593" y="95182"/>
                      <a:pt x="631660" y="93603"/>
                      <a:pt x="628727" y="91120"/>
                    </a:cubicBezTo>
                    <a:cubicBezTo>
                      <a:pt x="619926" y="83223"/>
                      <a:pt x="622183" y="76679"/>
                      <a:pt x="625568" y="67427"/>
                    </a:cubicBezTo>
                    <a:lnTo>
                      <a:pt x="626245" y="65622"/>
                    </a:lnTo>
                    <a:cubicBezTo>
                      <a:pt x="629404" y="57273"/>
                      <a:pt x="623988" y="49602"/>
                      <a:pt x="609095" y="40576"/>
                    </a:cubicBezTo>
                    <a:cubicBezTo>
                      <a:pt x="601875" y="36288"/>
                      <a:pt x="601198" y="36740"/>
                      <a:pt x="599844" y="37868"/>
                    </a:cubicBezTo>
                    <a:cubicBezTo>
                      <a:pt x="598264" y="38996"/>
                      <a:pt x="596008" y="40801"/>
                      <a:pt x="590367" y="40801"/>
                    </a:cubicBezTo>
                    <a:lnTo>
                      <a:pt x="568705" y="40801"/>
                    </a:lnTo>
                    <a:cubicBezTo>
                      <a:pt x="555843" y="40801"/>
                      <a:pt x="554489" y="39899"/>
                      <a:pt x="546366" y="31550"/>
                    </a:cubicBezTo>
                    <a:cubicBezTo>
                      <a:pt x="545238" y="30422"/>
                      <a:pt x="544109" y="29293"/>
                      <a:pt x="542981" y="27939"/>
                    </a:cubicBezTo>
                    <a:lnTo>
                      <a:pt x="540725" y="25683"/>
                    </a:lnTo>
                    <a:cubicBezTo>
                      <a:pt x="533278" y="18237"/>
                      <a:pt x="533278" y="18237"/>
                      <a:pt x="522899" y="15078"/>
                    </a:cubicBezTo>
                    <a:cubicBezTo>
                      <a:pt x="521319" y="14626"/>
                      <a:pt x="519514" y="13949"/>
                      <a:pt x="517483" y="13498"/>
                    </a:cubicBezTo>
                    <a:cubicBezTo>
                      <a:pt x="508909" y="10790"/>
                      <a:pt x="504847" y="11016"/>
                      <a:pt x="500108" y="11242"/>
                    </a:cubicBezTo>
                    <a:cubicBezTo>
                      <a:pt x="495370" y="11467"/>
                      <a:pt x="489729" y="11693"/>
                      <a:pt x="479123" y="8760"/>
                    </a:cubicBezTo>
                    <a:cubicBezTo>
                      <a:pt x="468292" y="5826"/>
                      <a:pt x="463779" y="6503"/>
                      <a:pt x="460169" y="7180"/>
                    </a:cubicBezTo>
                    <a:cubicBezTo>
                      <a:pt x="457010" y="7631"/>
                      <a:pt x="454077" y="8308"/>
                      <a:pt x="448887" y="5826"/>
                    </a:cubicBezTo>
                    <a:cubicBezTo>
                      <a:pt x="441666" y="2667"/>
                      <a:pt x="433994" y="3118"/>
                      <a:pt x="416845" y="4472"/>
                    </a:cubicBezTo>
                    <a:cubicBezTo>
                      <a:pt x="410752" y="4924"/>
                      <a:pt x="403306" y="5600"/>
                      <a:pt x="394280" y="6052"/>
                    </a:cubicBezTo>
                    <a:cubicBezTo>
                      <a:pt x="388188" y="6503"/>
                      <a:pt x="381870" y="5826"/>
                      <a:pt x="375326" y="4021"/>
                    </a:cubicBezTo>
                    <a:cubicBezTo>
                      <a:pt x="374875" y="4472"/>
                      <a:pt x="374423" y="4924"/>
                      <a:pt x="373972" y="5600"/>
                    </a:cubicBezTo>
                    <a:cubicBezTo>
                      <a:pt x="369685" y="10790"/>
                      <a:pt x="369685" y="12821"/>
                      <a:pt x="369685" y="15529"/>
                    </a:cubicBezTo>
                    <a:lnTo>
                      <a:pt x="369685" y="15980"/>
                    </a:lnTo>
                    <a:cubicBezTo>
                      <a:pt x="369685" y="18011"/>
                      <a:pt x="372167" y="20493"/>
                      <a:pt x="377131" y="23201"/>
                    </a:cubicBezTo>
                    <a:cubicBezTo>
                      <a:pt x="380516" y="25006"/>
                      <a:pt x="382547" y="27488"/>
                      <a:pt x="382772" y="30196"/>
                    </a:cubicBezTo>
                    <a:cubicBezTo>
                      <a:pt x="382998" y="32452"/>
                      <a:pt x="382095" y="34709"/>
                      <a:pt x="380290" y="36288"/>
                    </a:cubicBezTo>
                    <a:cubicBezTo>
                      <a:pt x="379613" y="36965"/>
                      <a:pt x="379162" y="37642"/>
                      <a:pt x="378711" y="38319"/>
                    </a:cubicBezTo>
                    <a:cubicBezTo>
                      <a:pt x="377131" y="40801"/>
                      <a:pt x="375777" y="42606"/>
                      <a:pt x="369685" y="42606"/>
                    </a:cubicBezTo>
                    <a:cubicBezTo>
                      <a:pt x="364269" y="42606"/>
                      <a:pt x="364269" y="42606"/>
                      <a:pt x="363141" y="43058"/>
                    </a:cubicBezTo>
                    <a:cubicBezTo>
                      <a:pt x="362464" y="43283"/>
                      <a:pt x="361562" y="43509"/>
                      <a:pt x="359982" y="43960"/>
                    </a:cubicBezTo>
                    <a:cubicBezTo>
                      <a:pt x="357951" y="44412"/>
                      <a:pt x="356823" y="45991"/>
                      <a:pt x="355469" y="48473"/>
                    </a:cubicBezTo>
                    <a:cubicBezTo>
                      <a:pt x="354341" y="50504"/>
                      <a:pt x="353213" y="52535"/>
                      <a:pt x="350956" y="54114"/>
                    </a:cubicBezTo>
                    <a:cubicBezTo>
                      <a:pt x="345992" y="57499"/>
                      <a:pt x="336289" y="58853"/>
                      <a:pt x="330648" y="58853"/>
                    </a:cubicBezTo>
                    <a:cubicBezTo>
                      <a:pt x="324556" y="58853"/>
                      <a:pt x="311919" y="53438"/>
                      <a:pt x="306955" y="46217"/>
                    </a:cubicBezTo>
                    <a:cubicBezTo>
                      <a:pt x="303796" y="41704"/>
                      <a:pt x="306955" y="37191"/>
                      <a:pt x="308986" y="33806"/>
                    </a:cubicBezTo>
                    <a:cubicBezTo>
                      <a:pt x="309889" y="32452"/>
                      <a:pt x="311243" y="30647"/>
                      <a:pt x="311017" y="29745"/>
                    </a:cubicBezTo>
                    <a:cubicBezTo>
                      <a:pt x="311017" y="29519"/>
                      <a:pt x="310791" y="29293"/>
                      <a:pt x="310566" y="29068"/>
                    </a:cubicBezTo>
                    <a:cubicBezTo>
                      <a:pt x="307858" y="27262"/>
                      <a:pt x="306278" y="27939"/>
                      <a:pt x="302442" y="30422"/>
                    </a:cubicBezTo>
                    <a:cubicBezTo>
                      <a:pt x="300637" y="31550"/>
                      <a:pt x="298606" y="32678"/>
                      <a:pt x="296124" y="33806"/>
                    </a:cubicBezTo>
                    <a:cubicBezTo>
                      <a:pt x="293642" y="34935"/>
                      <a:pt x="292288" y="35837"/>
                      <a:pt x="290934" y="36740"/>
                    </a:cubicBezTo>
                    <a:cubicBezTo>
                      <a:pt x="288227" y="38770"/>
                      <a:pt x="286196" y="39899"/>
                      <a:pt x="279201" y="39447"/>
                    </a:cubicBezTo>
                    <a:cubicBezTo>
                      <a:pt x="269047" y="38770"/>
                      <a:pt x="265211" y="40576"/>
                      <a:pt x="258893" y="43960"/>
                    </a:cubicBezTo>
                    <a:cubicBezTo>
                      <a:pt x="255959" y="45540"/>
                      <a:pt x="253928" y="47796"/>
                      <a:pt x="251898" y="50053"/>
                    </a:cubicBezTo>
                    <a:cubicBezTo>
                      <a:pt x="249415" y="52761"/>
                      <a:pt x="247159" y="55243"/>
                      <a:pt x="243774" y="56145"/>
                    </a:cubicBezTo>
                    <a:cubicBezTo>
                      <a:pt x="239713" y="57048"/>
                      <a:pt x="234297" y="57273"/>
                      <a:pt x="227528" y="57273"/>
                    </a:cubicBezTo>
                    <a:cubicBezTo>
                      <a:pt x="225046" y="57273"/>
                      <a:pt x="222338" y="57273"/>
                      <a:pt x="219630" y="57499"/>
                    </a:cubicBezTo>
                    <a:cubicBezTo>
                      <a:pt x="208574" y="57725"/>
                      <a:pt x="200902" y="54566"/>
                      <a:pt x="195486" y="47119"/>
                    </a:cubicBezTo>
                    <a:cubicBezTo>
                      <a:pt x="191424" y="41704"/>
                      <a:pt x="190522" y="41478"/>
                      <a:pt x="188040" y="41027"/>
                    </a:cubicBezTo>
                    <a:cubicBezTo>
                      <a:pt x="187588" y="41027"/>
                      <a:pt x="187137" y="40801"/>
                      <a:pt x="186686" y="40801"/>
                    </a:cubicBezTo>
                    <a:cubicBezTo>
                      <a:pt x="183301" y="40124"/>
                      <a:pt x="174501" y="38094"/>
                      <a:pt x="162993" y="39673"/>
                    </a:cubicBezTo>
                    <a:cubicBezTo>
                      <a:pt x="158480" y="40350"/>
                      <a:pt x="156224" y="41027"/>
                      <a:pt x="154418" y="41704"/>
                    </a:cubicBezTo>
                    <a:cubicBezTo>
                      <a:pt x="151485" y="42606"/>
                      <a:pt x="149680" y="43283"/>
                      <a:pt x="143136" y="42606"/>
                    </a:cubicBezTo>
                    <a:cubicBezTo>
                      <a:pt x="140203" y="42381"/>
                      <a:pt x="137721" y="41930"/>
                      <a:pt x="135690" y="41704"/>
                    </a:cubicBezTo>
                    <a:cubicBezTo>
                      <a:pt x="130500" y="41027"/>
                      <a:pt x="128244" y="40801"/>
                      <a:pt x="124633" y="42381"/>
                    </a:cubicBezTo>
                    <a:cubicBezTo>
                      <a:pt x="118541" y="45089"/>
                      <a:pt x="112674" y="46668"/>
                      <a:pt x="108161" y="36063"/>
                    </a:cubicBezTo>
                    <a:cubicBezTo>
                      <a:pt x="107935" y="35160"/>
                      <a:pt x="107484" y="34709"/>
                      <a:pt x="107258" y="34258"/>
                    </a:cubicBezTo>
                    <a:cubicBezTo>
                      <a:pt x="107258" y="34258"/>
                      <a:pt x="107258" y="34258"/>
                      <a:pt x="107033" y="34483"/>
                    </a:cubicBezTo>
                    <a:cubicBezTo>
                      <a:pt x="105905" y="36063"/>
                      <a:pt x="103197" y="39673"/>
                      <a:pt x="98233" y="36063"/>
                    </a:cubicBezTo>
                    <a:cubicBezTo>
                      <a:pt x="95299" y="33806"/>
                      <a:pt x="93945" y="31550"/>
                      <a:pt x="93268" y="30196"/>
                    </a:cubicBezTo>
                    <a:cubicBezTo>
                      <a:pt x="92140" y="28391"/>
                      <a:pt x="92140" y="28165"/>
                      <a:pt x="88304" y="29745"/>
                    </a:cubicBezTo>
                    <a:cubicBezTo>
                      <a:pt x="83114" y="32001"/>
                      <a:pt x="83566" y="36063"/>
                      <a:pt x="85145" y="42606"/>
                    </a:cubicBezTo>
                    <a:cubicBezTo>
                      <a:pt x="85371" y="43960"/>
                      <a:pt x="85822" y="45314"/>
                      <a:pt x="86048" y="46668"/>
                    </a:cubicBezTo>
                    <a:cubicBezTo>
                      <a:pt x="86725" y="50955"/>
                      <a:pt x="85596" y="52535"/>
                      <a:pt x="84243" y="54114"/>
                    </a:cubicBezTo>
                    <a:cubicBezTo>
                      <a:pt x="83566" y="54791"/>
                      <a:pt x="83114" y="55468"/>
                      <a:pt x="82889" y="56597"/>
                    </a:cubicBezTo>
                    <a:cubicBezTo>
                      <a:pt x="82663" y="57499"/>
                      <a:pt x="82663" y="58853"/>
                      <a:pt x="82663" y="59981"/>
                    </a:cubicBezTo>
                    <a:cubicBezTo>
                      <a:pt x="82437" y="64043"/>
                      <a:pt x="82212" y="69233"/>
                      <a:pt x="78150" y="71264"/>
                    </a:cubicBezTo>
                    <a:cubicBezTo>
                      <a:pt x="73863" y="73294"/>
                      <a:pt x="68447" y="75100"/>
                      <a:pt x="55811" y="75100"/>
                    </a:cubicBezTo>
                    <a:cubicBezTo>
                      <a:pt x="46108" y="75100"/>
                      <a:pt x="44529" y="74423"/>
                      <a:pt x="40467" y="72843"/>
                    </a:cubicBezTo>
                    <a:cubicBezTo>
                      <a:pt x="39113" y="72392"/>
                      <a:pt x="37308" y="71715"/>
                      <a:pt x="34600" y="70812"/>
                    </a:cubicBezTo>
                    <a:cubicBezTo>
                      <a:pt x="28734" y="69007"/>
                      <a:pt x="21062" y="71264"/>
                      <a:pt x="16549" y="74648"/>
                    </a:cubicBezTo>
                    <a:cubicBezTo>
                      <a:pt x="14292" y="76453"/>
                      <a:pt x="12713" y="78259"/>
                      <a:pt x="12713" y="79838"/>
                    </a:cubicBezTo>
                    <a:cubicBezTo>
                      <a:pt x="12713" y="84125"/>
                      <a:pt x="13841" y="88413"/>
                      <a:pt x="14518" y="92023"/>
                    </a:cubicBezTo>
                    <a:cubicBezTo>
                      <a:pt x="14969" y="93603"/>
                      <a:pt x="15195" y="94956"/>
                      <a:pt x="15420" y="96085"/>
                    </a:cubicBezTo>
                    <a:cubicBezTo>
                      <a:pt x="15646" y="97438"/>
                      <a:pt x="16097" y="97664"/>
                      <a:pt x="16774" y="98341"/>
                    </a:cubicBezTo>
                    <a:cubicBezTo>
                      <a:pt x="17677" y="99018"/>
                      <a:pt x="18805" y="99921"/>
                      <a:pt x="18805" y="101951"/>
                    </a:cubicBezTo>
                    <a:cubicBezTo>
                      <a:pt x="18805" y="106239"/>
                      <a:pt x="7974" y="112782"/>
                      <a:pt x="5266" y="113685"/>
                    </a:cubicBezTo>
                    <a:cubicBezTo>
                      <a:pt x="4364" y="114136"/>
                      <a:pt x="3687" y="115265"/>
                      <a:pt x="3912" y="116167"/>
                    </a:cubicBezTo>
                    <a:cubicBezTo>
                      <a:pt x="4138" y="117295"/>
                      <a:pt x="5492" y="117521"/>
                      <a:pt x="6395" y="117521"/>
                    </a:cubicBezTo>
                    <a:lnTo>
                      <a:pt x="8425" y="117521"/>
                    </a:lnTo>
                    <a:cubicBezTo>
                      <a:pt x="12713" y="117521"/>
                      <a:pt x="19031" y="117521"/>
                      <a:pt x="20385" y="116167"/>
                    </a:cubicBezTo>
                    <a:cubicBezTo>
                      <a:pt x="22415" y="114136"/>
                      <a:pt x="28508" y="107141"/>
                      <a:pt x="30313" y="103305"/>
                    </a:cubicBezTo>
                    <a:cubicBezTo>
                      <a:pt x="32570" y="98341"/>
                      <a:pt x="39565" y="97890"/>
                      <a:pt x="44303" y="97664"/>
                    </a:cubicBezTo>
                    <a:lnTo>
                      <a:pt x="44754" y="97664"/>
                    </a:lnTo>
                    <a:cubicBezTo>
                      <a:pt x="46785" y="97438"/>
                      <a:pt x="48365" y="95182"/>
                      <a:pt x="50170" y="92249"/>
                    </a:cubicBezTo>
                    <a:cubicBezTo>
                      <a:pt x="51073" y="90895"/>
                      <a:pt x="51975" y="89315"/>
                      <a:pt x="53103" y="87961"/>
                    </a:cubicBezTo>
                    <a:cubicBezTo>
                      <a:pt x="55585" y="85028"/>
                      <a:pt x="60775" y="84351"/>
                      <a:pt x="65740" y="83674"/>
                    </a:cubicBezTo>
                    <a:cubicBezTo>
                      <a:pt x="68673" y="83223"/>
                      <a:pt x="71832" y="82771"/>
                      <a:pt x="73863" y="81869"/>
                    </a:cubicBezTo>
                    <a:cubicBezTo>
                      <a:pt x="78827" y="79612"/>
                      <a:pt x="86048" y="80289"/>
                      <a:pt x="87853" y="82997"/>
                    </a:cubicBezTo>
                    <a:cubicBezTo>
                      <a:pt x="88530" y="83900"/>
                      <a:pt x="88530" y="85479"/>
                      <a:pt x="87176" y="86608"/>
                    </a:cubicBezTo>
                    <a:cubicBezTo>
                      <a:pt x="86725" y="86833"/>
                      <a:pt x="86499" y="87284"/>
                      <a:pt x="85822" y="87736"/>
                    </a:cubicBezTo>
                    <a:cubicBezTo>
                      <a:pt x="82663" y="90669"/>
                      <a:pt x="77022" y="96085"/>
                      <a:pt x="69801" y="96762"/>
                    </a:cubicBezTo>
                    <a:cubicBezTo>
                      <a:pt x="65965" y="96987"/>
                      <a:pt x="65514" y="97890"/>
                      <a:pt x="64386" y="100146"/>
                    </a:cubicBezTo>
                    <a:cubicBezTo>
                      <a:pt x="63709" y="101726"/>
                      <a:pt x="62806" y="103531"/>
                      <a:pt x="60550" y="105562"/>
                    </a:cubicBezTo>
                    <a:cubicBezTo>
                      <a:pt x="56488" y="109398"/>
                      <a:pt x="51298" y="110526"/>
                      <a:pt x="47011" y="111429"/>
                    </a:cubicBezTo>
                    <a:cubicBezTo>
                      <a:pt x="45883" y="111654"/>
                      <a:pt x="44754" y="111880"/>
                      <a:pt x="43852" y="112105"/>
                    </a:cubicBezTo>
                    <a:cubicBezTo>
                      <a:pt x="40918" y="113008"/>
                      <a:pt x="40918" y="113008"/>
                      <a:pt x="39339" y="115039"/>
                    </a:cubicBezTo>
                    <a:lnTo>
                      <a:pt x="38211" y="116393"/>
                    </a:lnTo>
                    <a:cubicBezTo>
                      <a:pt x="36180" y="118875"/>
                      <a:pt x="35954" y="122259"/>
                      <a:pt x="37985" y="128352"/>
                    </a:cubicBezTo>
                    <a:cubicBezTo>
                      <a:pt x="39113" y="131737"/>
                      <a:pt x="38211" y="133993"/>
                      <a:pt x="37534" y="135573"/>
                    </a:cubicBezTo>
                    <a:cubicBezTo>
                      <a:pt x="36857" y="137378"/>
                      <a:pt x="36631" y="138055"/>
                      <a:pt x="38211" y="140086"/>
                    </a:cubicBezTo>
                    <a:cubicBezTo>
                      <a:pt x="40693" y="142568"/>
                      <a:pt x="43626" y="145275"/>
                      <a:pt x="45883" y="147532"/>
                    </a:cubicBezTo>
                    <a:cubicBezTo>
                      <a:pt x="49493" y="150917"/>
                      <a:pt x="50621" y="152045"/>
                      <a:pt x="50621" y="153173"/>
                    </a:cubicBezTo>
                    <a:cubicBezTo>
                      <a:pt x="50621" y="153850"/>
                      <a:pt x="50396" y="155204"/>
                      <a:pt x="50396" y="156558"/>
                    </a:cubicBezTo>
                    <a:cubicBezTo>
                      <a:pt x="50170" y="157912"/>
                      <a:pt x="50170" y="159265"/>
                      <a:pt x="50170" y="159717"/>
                    </a:cubicBezTo>
                    <a:cubicBezTo>
                      <a:pt x="50170" y="160168"/>
                      <a:pt x="51073" y="161748"/>
                      <a:pt x="51524" y="163327"/>
                    </a:cubicBezTo>
                    <a:cubicBezTo>
                      <a:pt x="52426" y="165809"/>
                      <a:pt x="53780" y="168743"/>
                      <a:pt x="54457" y="171450"/>
                    </a:cubicBezTo>
                    <a:cubicBezTo>
                      <a:pt x="55585" y="175738"/>
                      <a:pt x="60550" y="182733"/>
                      <a:pt x="64837" y="185440"/>
                    </a:cubicBezTo>
                    <a:cubicBezTo>
                      <a:pt x="66868" y="186794"/>
                      <a:pt x="69124" y="188600"/>
                      <a:pt x="71832" y="190856"/>
                    </a:cubicBezTo>
                    <a:cubicBezTo>
                      <a:pt x="75442" y="193789"/>
                      <a:pt x="79730" y="197400"/>
                      <a:pt x="85822" y="201461"/>
                    </a:cubicBezTo>
                    <a:cubicBezTo>
                      <a:pt x="88079" y="202815"/>
                      <a:pt x="90335" y="204395"/>
                      <a:pt x="92817" y="205974"/>
                    </a:cubicBezTo>
                    <a:cubicBezTo>
                      <a:pt x="102971" y="212518"/>
                      <a:pt x="114479" y="219964"/>
                      <a:pt x="121925" y="226057"/>
                    </a:cubicBezTo>
                    <a:cubicBezTo>
                      <a:pt x="130500" y="233052"/>
                      <a:pt x="130726" y="233052"/>
                      <a:pt x="138172" y="231472"/>
                    </a:cubicBezTo>
                    <a:cubicBezTo>
                      <a:pt x="143362" y="230344"/>
                      <a:pt x="150582" y="231472"/>
                      <a:pt x="157803" y="232375"/>
                    </a:cubicBezTo>
                    <a:cubicBezTo>
                      <a:pt x="162542" y="233052"/>
                      <a:pt x="166829" y="233729"/>
                      <a:pt x="170439" y="233729"/>
                    </a:cubicBezTo>
                    <a:cubicBezTo>
                      <a:pt x="174275" y="233729"/>
                      <a:pt x="177434" y="234406"/>
                      <a:pt x="179916" y="235083"/>
                    </a:cubicBezTo>
                    <a:cubicBezTo>
                      <a:pt x="183752" y="235985"/>
                      <a:pt x="184881" y="236211"/>
                      <a:pt x="186009" y="234857"/>
                    </a:cubicBezTo>
                    <a:cubicBezTo>
                      <a:pt x="188491" y="231924"/>
                      <a:pt x="191199" y="231698"/>
                      <a:pt x="193907" y="231247"/>
                    </a:cubicBezTo>
                    <a:cubicBezTo>
                      <a:pt x="195712" y="231021"/>
                      <a:pt x="197743" y="230795"/>
                      <a:pt x="199999" y="229893"/>
                    </a:cubicBezTo>
                    <a:cubicBezTo>
                      <a:pt x="206091" y="227185"/>
                      <a:pt x="211733" y="225380"/>
                      <a:pt x="222564" y="225380"/>
                    </a:cubicBezTo>
                    <a:cubicBezTo>
                      <a:pt x="229784" y="225380"/>
                      <a:pt x="230687" y="223575"/>
                      <a:pt x="232041" y="220867"/>
                    </a:cubicBezTo>
                    <a:cubicBezTo>
                      <a:pt x="232492" y="220190"/>
                      <a:pt x="232718" y="219513"/>
                      <a:pt x="233169" y="218610"/>
                    </a:cubicBezTo>
                    <a:cubicBezTo>
                      <a:pt x="235200" y="215226"/>
                      <a:pt x="238584" y="215451"/>
                      <a:pt x="241744" y="215451"/>
                    </a:cubicBezTo>
                    <a:cubicBezTo>
                      <a:pt x="243323" y="215451"/>
                      <a:pt x="245128" y="215677"/>
                      <a:pt x="247159" y="215226"/>
                    </a:cubicBezTo>
                    <a:cubicBezTo>
                      <a:pt x="247836" y="215451"/>
                      <a:pt x="248062" y="215226"/>
                      <a:pt x="248062" y="215226"/>
                    </a:cubicBezTo>
                    <a:cubicBezTo>
                      <a:pt x="248739" y="214323"/>
                      <a:pt x="248062" y="211615"/>
                      <a:pt x="247610" y="209359"/>
                    </a:cubicBezTo>
                    <a:cubicBezTo>
                      <a:pt x="247159" y="207102"/>
                      <a:pt x="246482" y="204846"/>
                      <a:pt x="246708" y="202815"/>
                    </a:cubicBezTo>
                    <a:cubicBezTo>
                      <a:pt x="247159" y="197400"/>
                      <a:pt x="252123" y="192435"/>
                      <a:pt x="263180" y="186343"/>
                    </a:cubicBezTo>
                    <a:cubicBezTo>
                      <a:pt x="271078" y="182056"/>
                      <a:pt x="274462" y="184538"/>
                      <a:pt x="277621" y="186794"/>
                    </a:cubicBezTo>
                    <a:cubicBezTo>
                      <a:pt x="278750" y="187697"/>
                      <a:pt x="279878" y="188374"/>
                      <a:pt x="281232" y="189051"/>
                    </a:cubicBezTo>
                    <a:cubicBezTo>
                      <a:pt x="286873" y="191307"/>
                      <a:pt x="292288" y="193112"/>
                      <a:pt x="296350" y="194015"/>
                    </a:cubicBezTo>
                    <a:cubicBezTo>
                      <a:pt x="299735" y="194692"/>
                      <a:pt x="302217" y="193789"/>
                      <a:pt x="309437" y="189051"/>
                    </a:cubicBezTo>
                    <a:cubicBezTo>
                      <a:pt x="313273" y="186569"/>
                      <a:pt x="315755" y="187246"/>
                      <a:pt x="317335" y="188374"/>
                    </a:cubicBezTo>
                    <a:cubicBezTo>
                      <a:pt x="320720" y="190630"/>
                      <a:pt x="321171" y="196046"/>
                      <a:pt x="320720" y="198528"/>
                    </a:cubicBezTo>
                    <a:cubicBezTo>
                      <a:pt x="320268" y="201687"/>
                      <a:pt x="315079" y="205974"/>
                      <a:pt x="304699" y="213195"/>
                    </a:cubicBezTo>
                    <a:lnTo>
                      <a:pt x="302442" y="214775"/>
                    </a:lnTo>
                    <a:cubicBezTo>
                      <a:pt x="299735" y="216805"/>
                      <a:pt x="297704" y="217256"/>
                      <a:pt x="296124" y="217708"/>
                    </a:cubicBezTo>
                    <a:cubicBezTo>
                      <a:pt x="294770" y="218159"/>
                      <a:pt x="294093" y="218159"/>
                      <a:pt x="293642" y="219287"/>
                    </a:cubicBezTo>
                    <a:cubicBezTo>
                      <a:pt x="293191" y="219964"/>
                      <a:pt x="292965" y="221544"/>
                      <a:pt x="292514" y="223123"/>
                    </a:cubicBezTo>
                    <a:cubicBezTo>
                      <a:pt x="291837" y="226959"/>
                      <a:pt x="290709" y="232375"/>
                      <a:pt x="285519" y="234180"/>
                    </a:cubicBezTo>
                    <a:cubicBezTo>
                      <a:pt x="283262" y="235083"/>
                      <a:pt x="281232" y="237339"/>
                      <a:pt x="279426" y="239370"/>
                    </a:cubicBezTo>
                    <a:cubicBezTo>
                      <a:pt x="276944" y="242303"/>
                      <a:pt x="274011" y="245462"/>
                      <a:pt x="270175" y="243432"/>
                    </a:cubicBezTo>
                    <a:cubicBezTo>
                      <a:pt x="268144" y="242303"/>
                      <a:pt x="267467" y="240272"/>
                      <a:pt x="267242" y="238242"/>
                    </a:cubicBezTo>
                    <a:cubicBezTo>
                      <a:pt x="265436" y="241626"/>
                      <a:pt x="262954" y="246365"/>
                      <a:pt x="260247" y="251329"/>
                    </a:cubicBezTo>
                    <a:cubicBezTo>
                      <a:pt x="255959" y="259452"/>
                      <a:pt x="251221" y="268478"/>
                      <a:pt x="247159" y="275248"/>
                    </a:cubicBezTo>
                    <a:cubicBezTo>
                      <a:pt x="243549" y="281340"/>
                      <a:pt x="239938" y="284499"/>
                      <a:pt x="236102" y="284725"/>
                    </a:cubicBezTo>
                    <a:cubicBezTo>
                      <a:pt x="231364" y="284950"/>
                      <a:pt x="227302" y="280889"/>
                      <a:pt x="224820" y="277730"/>
                    </a:cubicBezTo>
                    <a:cubicBezTo>
                      <a:pt x="222112" y="274345"/>
                      <a:pt x="220984" y="273894"/>
                      <a:pt x="220758" y="273668"/>
                    </a:cubicBezTo>
                    <a:cubicBezTo>
                      <a:pt x="220758" y="273668"/>
                      <a:pt x="220307" y="274119"/>
                      <a:pt x="219856" y="274345"/>
                    </a:cubicBezTo>
                    <a:cubicBezTo>
                      <a:pt x="219179" y="275022"/>
                      <a:pt x="218051" y="275925"/>
                      <a:pt x="216697" y="276602"/>
                    </a:cubicBezTo>
                    <a:cubicBezTo>
                      <a:pt x="215569" y="277278"/>
                      <a:pt x="214666" y="279084"/>
                      <a:pt x="213989" y="281114"/>
                    </a:cubicBezTo>
                    <a:cubicBezTo>
                      <a:pt x="212635" y="284725"/>
                      <a:pt x="210604" y="289915"/>
                      <a:pt x="204061" y="289463"/>
                    </a:cubicBezTo>
                    <a:cubicBezTo>
                      <a:pt x="201127" y="289689"/>
                      <a:pt x="200676" y="290591"/>
                      <a:pt x="200225" y="291720"/>
                    </a:cubicBezTo>
                    <a:cubicBezTo>
                      <a:pt x="199548" y="292848"/>
                      <a:pt x="198645" y="294653"/>
                      <a:pt x="195486" y="295104"/>
                    </a:cubicBezTo>
                    <a:cubicBezTo>
                      <a:pt x="192327" y="295781"/>
                      <a:pt x="190296" y="293976"/>
                      <a:pt x="188491" y="292397"/>
                    </a:cubicBezTo>
                    <a:cubicBezTo>
                      <a:pt x="186460" y="290817"/>
                      <a:pt x="184655" y="289238"/>
                      <a:pt x="180819" y="289463"/>
                    </a:cubicBezTo>
                    <a:cubicBezTo>
                      <a:pt x="179691" y="289463"/>
                      <a:pt x="179240" y="289915"/>
                      <a:pt x="179014" y="289915"/>
                    </a:cubicBezTo>
                    <a:cubicBezTo>
                      <a:pt x="178788" y="290366"/>
                      <a:pt x="179465" y="292397"/>
                      <a:pt x="179916" y="293299"/>
                    </a:cubicBezTo>
                    <a:cubicBezTo>
                      <a:pt x="180593" y="295330"/>
                      <a:pt x="181270" y="297135"/>
                      <a:pt x="180593" y="298715"/>
                    </a:cubicBezTo>
                    <a:cubicBezTo>
                      <a:pt x="180368" y="299392"/>
                      <a:pt x="179691" y="300069"/>
                      <a:pt x="178337" y="300294"/>
                    </a:cubicBezTo>
                    <a:cubicBezTo>
                      <a:pt x="176080" y="300746"/>
                      <a:pt x="174275" y="300520"/>
                      <a:pt x="172245" y="300069"/>
                    </a:cubicBezTo>
                    <a:cubicBezTo>
                      <a:pt x="169988" y="299617"/>
                      <a:pt x="166829" y="299166"/>
                      <a:pt x="161188" y="299392"/>
                    </a:cubicBezTo>
                    <a:cubicBezTo>
                      <a:pt x="157803" y="299617"/>
                      <a:pt x="156901" y="300069"/>
                      <a:pt x="156675" y="300069"/>
                    </a:cubicBezTo>
                    <a:cubicBezTo>
                      <a:pt x="156675" y="299843"/>
                      <a:pt x="156675" y="300294"/>
                      <a:pt x="156675" y="300520"/>
                    </a:cubicBezTo>
                    <a:cubicBezTo>
                      <a:pt x="156675" y="301874"/>
                      <a:pt x="156901" y="304130"/>
                      <a:pt x="153290" y="305935"/>
                    </a:cubicBezTo>
                    <a:cubicBezTo>
                      <a:pt x="150582" y="307289"/>
                      <a:pt x="148326" y="307515"/>
                      <a:pt x="146747" y="306612"/>
                    </a:cubicBezTo>
                    <a:cubicBezTo>
                      <a:pt x="146070" y="306161"/>
                      <a:pt x="145618" y="305710"/>
                      <a:pt x="145393" y="305259"/>
                    </a:cubicBezTo>
                    <a:cubicBezTo>
                      <a:pt x="142685" y="305710"/>
                      <a:pt x="136367" y="306387"/>
                      <a:pt x="132531" y="306387"/>
                    </a:cubicBezTo>
                    <a:cubicBezTo>
                      <a:pt x="129146" y="306387"/>
                      <a:pt x="126213" y="308192"/>
                      <a:pt x="123279" y="309997"/>
                    </a:cubicBezTo>
                    <a:cubicBezTo>
                      <a:pt x="122377" y="310674"/>
                      <a:pt x="121248" y="311125"/>
                      <a:pt x="120346" y="311802"/>
                    </a:cubicBezTo>
                    <a:cubicBezTo>
                      <a:pt x="117412" y="313382"/>
                      <a:pt x="114253" y="313382"/>
                      <a:pt x="111997" y="312028"/>
                    </a:cubicBezTo>
                    <a:cubicBezTo>
                      <a:pt x="109966" y="310900"/>
                      <a:pt x="108612" y="308643"/>
                      <a:pt x="108612" y="305935"/>
                    </a:cubicBezTo>
                    <a:cubicBezTo>
                      <a:pt x="108612" y="303453"/>
                      <a:pt x="109741" y="300746"/>
                      <a:pt x="111094" y="297812"/>
                    </a:cubicBezTo>
                    <a:cubicBezTo>
                      <a:pt x="112448" y="294879"/>
                      <a:pt x="114028" y="291494"/>
                      <a:pt x="113351" y="289463"/>
                    </a:cubicBezTo>
                    <a:cubicBezTo>
                      <a:pt x="113125" y="288786"/>
                      <a:pt x="112900" y="288561"/>
                      <a:pt x="112900" y="288561"/>
                    </a:cubicBezTo>
                    <a:cubicBezTo>
                      <a:pt x="112900" y="288561"/>
                      <a:pt x="111997" y="289012"/>
                      <a:pt x="111546" y="289238"/>
                    </a:cubicBezTo>
                    <a:cubicBezTo>
                      <a:pt x="110417" y="289689"/>
                      <a:pt x="108838" y="290366"/>
                      <a:pt x="107033" y="290366"/>
                    </a:cubicBezTo>
                    <a:cubicBezTo>
                      <a:pt x="106130" y="290366"/>
                      <a:pt x="105453" y="290140"/>
                      <a:pt x="105002" y="289463"/>
                    </a:cubicBezTo>
                    <a:cubicBezTo>
                      <a:pt x="103422" y="287884"/>
                      <a:pt x="103422" y="284950"/>
                      <a:pt x="103422" y="281340"/>
                    </a:cubicBezTo>
                    <a:cubicBezTo>
                      <a:pt x="103422" y="280212"/>
                      <a:pt x="103422" y="278407"/>
                      <a:pt x="103197" y="277278"/>
                    </a:cubicBezTo>
                    <a:cubicBezTo>
                      <a:pt x="98007" y="281114"/>
                      <a:pt x="91238" y="288786"/>
                      <a:pt x="90561" y="294428"/>
                    </a:cubicBezTo>
                    <a:cubicBezTo>
                      <a:pt x="89658" y="301197"/>
                      <a:pt x="90109" y="305710"/>
                      <a:pt x="94622" y="314510"/>
                    </a:cubicBezTo>
                    <a:cubicBezTo>
                      <a:pt x="99361" y="323536"/>
                      <a:pt x="120120" y="350388"/>
                      <a:pt x="146972" y="377014"/>
                    </a:cubicBezTo>
                    <a:cubicBezTo>
                      <a:pt x="166378" y="396420"/>
                      <a:pt x="174501" y="407476"/>
                      <a:pt x="182399" y="418082"/>
                    </a:cubicBezTo>
                    <a:cubicBezTo>
                      <a:pt x="185558" y="422369"/>
                      <a:pt x="188491" y="426431"/>
                      <a:pt x="192101" y="430943"/>
                    </a:cubicBezTo>
                    <a:cubicBezTo>
                      <a:pt x="197743" y="437939"/>
                      <a:pt x="201804" y="443580"/>
                      <a:pt x="205640" y="448769"/>
                    </a:cubicBezTo>
                    <a:cubicBezTo>
                      <a:pt x="210379" y="455088"/>
                      <a:pt x="214666" y="461180"/>
                      <a:pt x="221210" y="468401"/>
                    </a:cubicBezTo>
                    <a:cubicBezTo>
                      <a:pt x="232492" y="481037"/>
                      <a:pt x="249415" y="499089"/>
                      <a:pt x="264985" y="507889"/>
                    </a:cubicBezTo>
                    <a:cubicBezTo>
                      <a:pt x="271078" y="511274"/>
                      <a:pt x="273785" y="513981"/>
                      <a:pt x="276042" y="516012"/>
                    </a:cubicBezTo>
                    <a:cubicBezTo>
                      <a:pt x="279652" y="519171"/>
                      <a:pt x="281909" y="521202"/>
                      <a:pt x="294996" y="524812"/>
                    </a:cubicBezTo>
                    <a:cubicBezTo>
                      <a:pt x="298606" y="525715"/>
                      <a:pt x="301540" y="526617"/>
                      <a:pt x="304022" y="527294"/>
                    </a:cubicBezTo>
                    <a:cubicBezTo>
                      <a:pt x="309212" y="528648"/>
                      <a:pt x="313499" y="529776"/>
                      <a:pt x="314853" y="529776"/>
                    </a:cubicBezTo>
                    <a:cubicBezTo>
                      <a:pt x="314853" y="529325"/>
                      <a:pt x="314853" y="528197"/>
                      <a:pt x="314853" y="527746"/>
                    </a:cubicBezTo>
                    <a:cubicBezTo>
                      <a:pt x="314627" y="526166"/>
                      <a:pt x="315304" y="525038"/>
                      <a:pt x="315981" y="524587"/>
                    </a:cubicBezTo>
                    <a:cubicBezTo>
                      <a:pt x="317786" y="522556"/>
                      <a:pt x="321397" y="522781"/>
                      <a:pt x="326361" y="523233"/>
                    </a:cubicBezTo>
                    <a:cubicBezTo>
                      <a:pt x="331099" y="523458"/>
                      <a:pt x="337192" y="523910"/>
                      <a:pt x="341479" y="521879"/>
                    </a:cubicBezTo>
                    <a:cubicBezTo>
                      <a:pt x="346669" y="519397"/>
                      <a:pt x="351182" y="518720"/>
                      <a:pt x="354792" y="518268"/>
                    </a:cubicBezTo>
                    <a:cubicBezTo>
                      <a:pt x="358403" y="517817"/>
                      <a:pt x="361562" y="517366"/>
                      <a:pt x="365172" y="515335"/>
                    </a:cubicBezTo>
                    <a:cubicBezTo>
                      <a:pt x="368105" y="513756"/>
                      <a:pt x="372167" y="512402"/>
                      <a:pt x="376454" y="510822"/>
                    </a:cubicBezTo>
                    <a:cubicBezTo>
                      <a:pt x="383675" y="508340"/>
                      <a:pt x="392024" y="505407"/>
                      <a:pt x="398342" y="500442"/>
                    </a:cubicBezTo>
                    <a:cubicBezTo>
                      <a:pt x="404660" y="495478"/>
                      <a:pt x="407819" y="495930"/>
                      <a:pt x="411429" y="497058"/>
                    </a:cubicBezTo>
                    <a:cubicBezTo>
                      <a:pt x="413235" y="497509"/>
                      <a:pt x="414814" y="497960"/>
                      <a:pt x="417522" y="496832"/>
                    </a:cubicBezTo>
                    <a:cubicBezTo>
                      <a:pt x="420230" y="495704"/>
                      <a:pt x="425645" y="493222"/>
                      <a:pt x="431963" y="490288"/>
                    </a:cubicBezTo>
                    <a:cubicBezTo>
                      <a:pt x="443922" y="484873"/>
                      <a:pt x="458815" y="477878"/>
                      <a:pt x="465359" y="475847"/>
                    </a:cubicBezTo>
                    <a:cubicBezTo>
                      <a:pt x="469872" y="474493"/>
                      <a:pt x="472354" y="472914"/>
                      <a:pt x="473031" y="471334"/>
                    </a:cubicBezTo>
                    <a:cubicBezTo>
                      <a:pt x="473256" y="470657"/>
                      <a:pt x="473482" y="469529"/>
                      <a:pt x="472128" y="466596"/>
                    </a:cubicBezTo>
                    <a:cubicBezTo>
                      <a:pt x="469195" y="461180"/>
                      <a:pt x="473482" y="457795"/>
                      <a:pt x="477318" y="454862"/>
                    </a:cubicBezTo>
                    <a:cubicBezTo>
                      <a:pt x="478446" y="453959"/>
                      <a:pt x="479800" y="453057"/>
                      <a:pt x="480928" y="451928"/>
                    </a:cubicBezTo>
                    <a:cubicBezTo>
                      <a:pt x="481831" y="451252"/>
                      <a:pt x="482734" y="450349"/>
                      <a:pt x="483636" y="449446"/>
                    </a:cubicBezTo>
                    <a:cubicBezTo>
                      <a:pt x="488375" y="445385"/>
                      <a:pt x="494016" y="440195"/>
                      <a:pt x="498303" y="429815"/>
                    </a:cubicBezTo>
                    <a:cubicBezTo>
                      <a:pt x="503493" y="417179"/>
                      <a:pt x="500560" y="414697"/>
                      <a:pt x="495144" y="412215"/>
                    </a:cubicBezTo>
                    <a:cubicBezTo>
                      <a:pt x="490406" y="409958"/>
                      <a:pt x="489729" y="407928"/>
                      <a:pt x="489503" y="404769"/>
                    </a:cubicBezTo>
                    <a:cubicBezTo>
                      <a:pt x="489277" y="403189"/>
                      <a:pt x="489277" y="401609"/>
                      <a:pt x="487923" y="399127"/>
                    </a:cubicBezTo>
                    <a:cubicBezTo>
                      <a:pt x="486118" y="395517"/>
                      <a:pt x="484990" y="395968"/>
                      <a:pt x="481605" y="396420"/>
                    </a:cubicBezTo>
                    <a:cubicBezTo>
                      <a:pt x="480026" y="396645"/>
                      <a:pt x="478221" y="397096"/>
                      <a:pt x="476190" y="396871"/>
                    </a:cubicBezTo>
                    <a:cubicBezTo>
                      <a:pt x="472354" y="396645"/>
                      <a:pt x="468969" y="393261"/>
                      <a:pt x="467390" y="390101"/>
                    </a:cubicBezTo>
                    <a:cubicBezTo>
                      <a:pt x="466713" y="388748"/>
                      <a:pt x="465584" y="385814"/>
                      <a:pt x="466938" y="384009"/>
                    </a:cubicBezTo>
                    <a:cubicBezTo>
                      <a:pt x="467390" y="383332"/>
                      <a:pt x="468292" y="382430"/>
                      <a:pt x="470097" y="382655"/>
                    </a:cubicBezTo>
                    <a:cubicBezTo>
                      <a:pt x="475739" y="383107"/>
                      <a:pt x="482282" y="381978"/>
                      <a:pt x="483636" y="380399"/>
                    </a:cubicBezTo>
                    <a:cubicBezTo>
                      <a:pt x="483636" y="379947"/>
                      <a:pt x="482959" y="378819"/>
                      <a:pt x="482508" y="378142"/>
                    </a:cubicBezTo>
                    <a:cubicBezTo>
                      <a:pt x="481380" y="376111"/>
                      <a:pt x="479575" y="373404"/>
                      <a:pt x="479575" y="369793"/>
                    </a:cubicBezTo>
                    <a:cubicBezTo>
                      <a:pt x="479575" y="364604"/>
                      <a:pt x="483185" y="363701"/>
                      <a:pt x="485441" y="363250"/>
                    </a:cubicBezTo>
                    <a:cubicBezTo>
                      <a:pt x="487021" y="362798"/>
                      <a:pt x="488149" y="362573"/>
                      <a:pt x="488600" y="361670"/>
                    </a:cubicBezTo>
                    <a:cubicBezTo>
                      <a:pt x="491534" y="357157"/>
                      <a:pt x="494016" y="354224"/>
                      <a:pt x="496949" y="352193"/>
                    </a:cubicBezTo>
                    <a:cubicBezTo>
                      <a:pt x="499206" y="350388"/>
                      <a:pt x="502139" y="348131"/>
                      <a:pt x="502139" y="339557"/>
                    </a:cubicBezTo>
                    <a:cubicBezTo>
                      <a:pt x="502139" y="329177"/>
                      <a:pt x="512068" y="321279"/>
                      <a:pt x="517257" y="321279"/>
                    </a:cubicBezTo>
                    <a:cubicBezTo>
                      <a:pt x="519740" y="321279"/>
                      <a:pt x="521770" y="322408"/>
                      <a:pt x="522899" y="324664"/>
                    </a:cubicBezTo>
                    <a:cubicBezTo>
                      <a:pt x="523801" y="326695"/>
                      <a:pt x="523801" y="328951"/>
                      <a:pt x="522673" y="330305"/>
                    </a:cubicBezTo>
                    <a:cubicBezTo>
                      <a:pt x="522447" y="330757"/>
                      <a:pt x="521770" y="332787"/>
                      <a:pt x="522222" y="334367"/>
                    </a:cubicBezTo>
                    <a:cubicBezTo>
                      <a:pt x="522673" y="335495"/>
                      <a:pt x="523350" y="335946"/>
                      <a:pt x="524478" y="336398"/>
                    </a:cubicBezTo>
                    <a:cubicBezTo>
                      <a:pt x="525606" y="336623"/>
                      <a:pt x="526283" y="336849"/>
                      <a:pt x="526960" y="337075"/>
                    </a:cubicBezTo>
                    <a:cubicBezTo>
                      <a:pt x="527186" y="336849"/>
                      <a:pt x="527186" y="336623"/>
                      <a:pt x="527412" y="336172"/>
                    </a:cubicBezTo>
                    <a:lnTo>
                      <a:pt x="527637" y="335721"/>
                    </a:lnTo>
                    <a:cubicBezTo>
                      <a:pt x="529668" y="332110"/>
                      <a:pt x="530571" y="331208"/>
                      <a:pt x="537114" y="330757"/>
                    </a:cubicBezTo>
                    <a:cubicBezTo>
                      <a:pt x="540499" y="330531"/>
                      <a:pt x="545238" y="330757"/>
                      <a:pt x="550653" y="330982"/>
                    </a:cubicBezTo>
                    <a:cubicBezTo>
                      <a:pt x="555166" y="331208"/>
                      <a:pt x="560130" y="331434"/>
                      <a:pt x="564869" y="331434"/>
                    </a:cubicBezTo>
                    <a:cubicBezTo>
                      <a:pt x="583597" y="331434"/>
                      <a:pt x="584500" y="333690"/>
                      <a:pt x="584726" y="334818"/>
                    </a:cubicBezTo>
                    <a:cubicBezTo>
                      <a:pt x="584951" y="335269"/>
                      <a:pt x="585177" y="336398"/>
                      <a:pt x="583823" y="337526"/>
                    </a:cubicBezTo>
                    <a:cubicBezTo>
                      <a:pt x="583372" y="337977"/>
                      <a:pt x="582469" y="339782"/>
                      <a:pt x="581567" y="341136"/>
                    </a:cubicBezTo>
                    <a:cubicBezTo>
                      <a:pt x="579310" y="345423"/>
                      <a:pt x="576602" y="350613"/>
                      <a:pt x="572089" y="350613"/>
                    </a:cubicBezTo>
                    <a:cubicBezTo>
                      <a:pt x="569156" y="350613"/>
                      <a:pt x="564643" y="349034"/>
                      <a:pt x="560130" y="347454"/>
                    </a:cubicBezTo>
                    <a:cubicBezTo>
                      <a:pt x="556294" y="346101"/>
                      <a:pt x="552458" y="344747"/>
                      <a:pt x="549976" y="344521"/>
                    </a:cubicBezTo>
                    <a:cubicBezTo>
                      <a:pt x="549074" y="344521"/>
                      <a:pt x="548397" y="344747"/>
                      <a:pt x="547494" y="345649"/>
                    </a:cubicBezTo>
                    <a:cubicBezTo>
                      <a:pt x="544786" y="348131"/>
                      <a:pt x="542530" y="354675"/>
                      <a:pt x="542530" y="360542"/>
                    </a:cubicBezTo>
                    <a:cubicBezTo>
                      <a:pt x="542530" y="365506"/>
                      <a:pt x="543432" y="369568"/>
                      <a:pt x="544335" y="371147"/>
                    </a:cubicBezTo>
                    <a:cubicBezTo>
                      <a:pt x="547494" y="368665"/>
                      <a:pt x="554489" y="367537"/>
                      <a:pt x="562161" y="368439"/>
                    </a:cubicBezTo>
                    <a:cubicBezTo>
                      <a:pt x="565771" y="368891"/>
                      <a:pt x="567802" y="370019"/>
                      <a:pt x="568479" y="372275"/>
                    </a:cubicBezTo>
                    <a:cubicBezTo>
                      <a:pt x="569156" y="374758"/>
                      <a:pt x="567351" y="377917"/>
                      <a:pt x="563064" y="381301"/>
                    </a:cubicBezTo>
                    <a:cubicBezTo>
                      <a:pt x="558551" y="384912"/>
                      <a:pt x="556069" y="384686"/>
                      <a:pt x="553135" y="384686"/>
                    </a:cubicBezTo>
                    <a:cubicBezTo>
                      <a:pt x="552458" y="384686"/>
                      <a:pt x="551781" y="384686"/>
                      <a:pt x="551104" y="384686"/>
                    </a:cubicBezTo>
                    <a:cubicBezTo>
                      <a:pt x="549525" y="385363"/>
                      <a:pt x="547268" y="393486"/>
                      <a:pt x="545915" y="397999"/>
                    </a:cubicBezTo>
                    <a:cubicBezTo>
                      <a:pt x="544786" y="401609"/>
                      <a:pt x="543884" y="404994"/>
                      <a:pt x="542981" y="407251"/>
                    </a:cubicBezTo>
                    <a:cubicBezTo>
                      <a:pt x="542079" y="409281"/>
                      <a:pt x="542304" y="409958"/>
                      <a:pt x="542304" y="410184"/>
                    </a:cubicBezTo>
                    <a:cubicBezTo>
                      <a:pt x="543207" y="411763"/>
                      <a:pt x="552007" y="411989"/>
                      <a:pt x="556746" y="412215"/>
                    </a:cubicBezTo>
                    <a:cubicBezTo>
                      <a:pt x="564418" y="412440"/>
                      <a:pt x="567802" y="413343"/>
                      <a:pt x="569156" y="415599"/>
                    </a:cubicBezTo>
                    <a:cubicBezTo>
                      <a:pt x="570510" y="417405"/>
                      <a:pt x="569607" y="419661"/>
                      <a:pt x="568930" y="421466"/>
                    </a:cubicBezTo>
                    <a:cubicBezTo>
                      <a:pt x="568705" y="421918"/>
                      <a:pt x="568479" y="422595"/>
                      <a:pt x="568254" y="423271"/>
                    </a:cubicBezTo>
                    <a:cubicBezTo>
                      <a:pt x="566900" y="428010"/>
                      <a:pt x="560807" y="431395"/>
                      <a:pt x="555843" y="434102"/>
                    </a:cubicBezTo>
                    <a:cubicBezTo>
                      <a:pt x="554940" y="434554"/>
                      <a:pt x="554038" y="435005"/>
                      <a:pt x="553361" y="435456"/>
                    </a:cubicBezTo>
                    <a:cubicBezTo>
                      <a:pt x="552684" y="435908"/>
                      <a:pt x="553586" y="437487"/>
                      <a:pt x="554489" y="439744"/>
                    </a:cubicBezTo>
                    <a:cubicBezTo>
                      <a:pt x="555617" y="442226"/>
                      <a:pt x="556971" y="445159"/>
                      <a:pt x="556069" y="447867"/>
                    </a:cubicBezTo>
                    <a:cubicBezTo>
                      <a:pt x="555617" y="449221"/>
                      <a:pt x="554489" y="450349"/>
                      <a:pt x="552684" y="451026"/>
                    </a:cubicBezTo>
                    <a:cubicBezTo>
                      <a:pt x="549074" y="452605"/>
                      <a:pt x="548171" y="455990"/>
                      <a:pt x="546817" y="461857"/>
                    </a:cubicBezTo>
                    <a:cubicBezTo>
                      <a:pt x="546140" y="465242"/>
                      <a:pt x="545238" y="469078"/>
                      <a:pt x="543432" y="473139"/>
                    </a:cubicBezTo>
                    <a:cubicBezTo>
                      <a:pt x="542530" y="475170"/>
                      <a:pt x="542304" y="476524"/>
                      <a:pt x="542755" y="477652"/>
                    </a:cubicBezTo>
                    <a:cubicBezTo>
                      <a:pt x="543658" y="479683"/>
                      <a:pt x="547494" y="481037"/>
                      <a:pt x="551781" y="482616"/>
                    </a:cubicBezTo>
                    <a:cubicBezTo>
                      <a:pt x="554715" y="483519"/>
                      <a:pt x="558099" y="484647"/>
                      <a:pt x="561258" y="486452"/>
                    </a:cubicBezTo>
                    <a:cubicBezTo>
                      <a:pt x="573669" y="492545"/>
                      <a:pt x="570059" y="504278"/>
                      <a:pt x="568479" y="509243"/>
                    </a:cubicBezTo>
                    <a:lnTo>
                      <a:pt x="568254" y="509694"/>
                    </a:lnTo>
                    <a:cubicBezTo>
                      <a:pt x="567125" y="513530"/>
                      <a:pt x="568028" y="515109"/>
                      <a:pt x="574120" y="524135"/>
                    </a:cubicBezTo>
                    <a:cubicBezTo>
                      <a:pt x="580890" y="534064"/>
                      <a:pt x="577054" y="540156"/>
                      <a:pt x="572992" y="545120"/>
                    </a:cubicBezTo>
                    <a:cubicBezTo>
                      <a:pt x="570736" y="547828"/>
                      <a:pt x="571413" y="553695"/>
                      <a:pt x="571864" y="559110"/>
                    </a:cubicBezTo>
                    <a:cubicBezTo>
                      <a:pt x="572089" y="561818"/>
                      <a:pt x="572315" y="564526"/>
                      <a:pt x="572315" y="567008"/>
                    </a:cubicBezTo>
                    <a:cubicBezTo>
                      <a:pt x="572541" y="570618"/>
                      <a:pt x="570510" y="575357"/>
                      <a:pt x="567802" y="579870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xmlns="" id="{8DB38A5B-D203-4C59-9DC0-A36FE44954E2}"/>
                  </a:ext>
                </a:extLst>
              </p:cNvPr>
              <p:cNvSpPr/>
              <p:nvPr/>
            </p:nvSpPr>
            <p:spPr>
              <a:xfrm>
                <a:off x="8281717" y="2088085"/>
                <a:ext cx="1060537" cy="970278"/>
              </a:xfrm>
              <a:custGeom>
                <a:avLst/>
                <a:gdLst>
                  <a:gd name="connsiteX0" fmla="*/ 574269 w 1060536"/>
                  <a:gd name="connsiteY0" fmla="*/ 970955 h 970278"/>
                  <a:gd name="connsiteX1" fmla="*/ 566372 w 1060536"/>
                  <a:gd name="connsiteY1" fmla="*/ 968473 h 970278"/>
                  <a:gd name="connsiteX2" fmla="*/ 558926 w 1060536"/>
                  <a:gd name="connsiteY2" fmla="*/ 963960 h 970278"/>
                  <a:gd name="connsiteX3" fmla="*/ 545612 w 1060536"/>
                  <a:gd name="connsiteY3" fmla="*/ 959222 h 970278"/>
                  <a:gd name="connsiteX4" fmla="*/ 536812 w 1060536"/>
                  <a:gd name="connsiteY4" fmla="*/ 952001 h 970278"/>
                  <a:gd name="connsiteX5" fmla="*/ 532525 w 1060536"/>
                  <a:gd name="connsiteY5" fmla="*/ 935529 h 970278"/>
                  <a:gd name="connsiteX6" fmla="*/ 516730 w 1060536"/>
                  <a:gd name="connsiteY6" fmla="*/ 924246 h 970278"/>
                  <a:gd name="connsiteX7" fmla="*/ 498452 w 1060536"/>
                  <a:gd name="connsiteY7" fmla="*/ 919508 h 970278"/>
                  <a:gd name="connsiteX8" fmla="*/ 475662 w 1060536"/>
                  <a:gd name="connsiteY8" fmla="*/ 901005 h 970278"/>
                  <a:gd name="connsiteX9" fmla="*/ 466411 w 1060536"/>
                  <a:gd name="connsiteY9" fmla="*/ 892205 h 970278"/>
                  <a:gd name="connsiteX10" fmla="*/ 459641 w 1060536"/>
                  <a:gd name="connsiteY10" fmla="*/ 876409 h 970278"/>
                  <a:gd name="connsiteX11" fmla="*/ 455580 w 1060536"/>
                  <a:gd name="connsiteY11" fmla="*/ 860389 h 970278"/>
                  <a:gd name="connsiteX12" fmla="*/ 452646 w 1060536"/>
                  <a:gd name="connsiteY12" fmla="*/ 857230 h 970278"/>
                  <a:gd name="connsiteX13" fmla="*/ 450841 w 1060536"/>
                  <a:gd name="connsiteY13" fmla="*/ 859035 h 970278"/>
                  <a:gd name="connsiteX14" fmla="*/ 447682 w 1060536"/>
                  <a:gd name="connsiteY14" fmla="*/ 860840 h 970278"/>
                  <a:gd name="connsiteX15" fmla="*/ 445877 w 1060536"/>
                  <a:gd name="connsiteY15" fmla="*/ 852040 h 970278"/>
                  <a:gd name="connsiteX16" fmla="*/ 434594 w 1060536"/>
                  <a:gd name="connsiteY16" fmla="*/ 835342 h 970278"/>
                  <a:gd name="connsiteX17" fmla="*/ 425794 w 1060536"/>
                  <a:gd name="connsiteY17" fmla="*/ 829926 h 970278"/>
                  <a:gd name="connsiteX18" fmla="*/ 422635 w 1060536"/>
                  <a:gd name="connsiteY18" fmla="*/ 806233 h 970278"/>
                  <a:gd name="connsiteX19" fmla="*/ 423312 w 1060536"/>
                  <a:gd name="connsiteY19" fmla="*/ 804428 h 970278"/>
                  <a:gd name="connsiteX20" fmla="*/ 406163 w 1060536"/>
                  <a:gd name="connsiteY20" fmla="*/ 779382 h 970278"/>
                  <a:gd name="connsiteX21" fmla="*/ 396912 w 1060536"/>
                  <a:gd name="connsiteY21" fmla="*/ 776674 h 970278"/>
                  <a:gd name="connsiteX22" fmla="*/ 387434 w 1060536"/>
                  <a:gd name="connsiteY22" fmla="*/ 779607 h 970278"/>
                  <a:gd name="connsiteX23" fmla="*/ 365772 w 1060536"/>
                  <a:gd name="connsiteY23" fmla="*/ 779607 h 970278"/>
                  <a:gd name="connsiteX24" fmla="*/ 343433 w 1060536"/>
                  <a:gd name="connsiteY24" fmla="*/ 770356 h 970278"/>
                  <a:gd name="connsiteX25" fmla="*/ 340049 w 1060536"/>
                  <a:gd name="connsiteY25" fmla="*/ 766745 h 970278"/>
                  <a:gd name="connsiteX26" fmla="*/ 337792 w 1060536"/>
                  <a:gd name="connsiteY26" fmla="*/ 764489 h 970278"/>
                  <a:gd name="connsiteX27" fmla="*/ 319966 w 1060536"/>
                  <a:gd name="connsiteY27" fmla="*/ 753884 h 970278"/>
                  <a:gd name="connsiteX28" fmla="*/ 314551 w 1060536"/>
                  <a:gd name="connsiteY28" fmla="*/ 752304 h 970278"/>
                  <a:gd name="connsiteX29" fmla="*/ 297176 w 1060536"/>
                  <a:gd name="connsiteY29" fmla="*/ 750048 h 970278"/>
                  <a:gd name="connsiteX30" fmla="*/ 276191 w 1060536"/>
                  <a:gd name="connsiteY30" fmla="*/ 747566 h 970278"/>
                  <a:gd name="connsiteX31" fmla="*/ 257237 w 1060536"/>
                  <a:gd name="connsiteY31" fmla="*/ 745986 h 970278"/>
                  <a:gd name="connsiteX32" fmla="*/ 245954 w 1060536"/>
                  <a:gd name="connsiteY32" fmla="*/ 744632 h 970278"/>
                  <a:gd name="connsiteX33" fmla="*/ 213913 w 1060536"/>
                  <a:gd name="connsiteY33" fmla="*/ 743278 h 970278"/>
                  <a:gd name="connsiteX34" fmla="*/ 191348 w 1060536"/>
                  <a:gd name="connsiteY34" fmla="*/ 744858 h 970278"/>
                  <a:gd name="connsiteX35" fmla="*/ 171265 w 1060536"/>
                  <a:gd name="connsiteY35" fmla="*/ 742601 h 970278"/>
                  <a:gd name="connsiteX36" fmla="*/ 168558 w 1060536"/>
                  <a:gd name="connsiteY36" fmla="*/ 741924 h 970278"/>
                  <a:gd name="connsiteX37" fmla="*/ 170363 w 1060536"/>
                  <a:gd name="connsiteY37" fmla="*/ 739668 h 970278"/>
                  <a:gd name="connsiteX38" fmla="*/ 173973 w 1060536"/>
                  <a:gd name="connsiteY38" fmla="*/ 736960 h 970278"/>
                  <a:gd name="connsiteX39" fmla="*/ 177584 w 1060536"/>
                  <a:gd name="connsiteY39" fmla="*/ 735606 h 970278"/>
                  <a:gd name="connsiteX40" fmla="*/ 178712 w 1060536"/>
                  <a:gd name="connsiteY40" fmla="*/ 734704 h 970278"/>
                  <a:gd name="connsiteX41" fmla="*/ 172619 w 1060536"/>
                  <a:gd name="connsiteY41" fmla="*/ 724775 h 970278"/>
                  <a:gd name="connsiteX42" fmla="*/ 169009 w 1060536"/>
                  <a:gd name="connsiteY42" fmla="*/ 720037 h 970278"/>
                  <a:gd name="connsiteX43" fmla="*/ 164496 w 1060536"/>
                  <a:gd name="connsiteY43" fmla="*/ 708754 h 970278"/>
                  <a:gd name="connsiteX44" fmla="*/ 158629 w 1060536"/>
                  <a:gd name="connsiteY44" fmla="*/ 694764 h 970278"/>
                  <a:gd name="connsiteX45" fmla="*/ 155470 w 1060536"/>
                  <a:gd name="connsiteY45" fmla="*/ 674456 h 970278"/>
                  <a:gd name="connsiteX46" fmla="*/ 155470 w 1060536"/>
                  <a:gd name="connsiteY46" fmla="*/ 667010 h 970278"/>
                  <a:gd name="connsiteX47" fmla="*/ 147347 w 1060536"/>
                  <a:gd name="connsiteY47" fmla="*/ 660241 h 970278"/>
                  <a:gd name="connsiteX48" fmla="*/ 136290 w 1060536"/>
                  <a:gd name="connsiteY48" fmla="*/ 650989 h 970278"/>
                  <a:gd name="connsiteX49" fmla="*/ 129295 w 1060536"/>
                  <a:gd name="connsiteY49" fmla="*/ 612404 h 970278"/>
                  <a:gd name="connsiteX50" fmla="*/ 128618 w 1060536"/>
                  <a:gd name="connsiteY50" fmla="*/ 608793 h 970278"/>
                  <a:gd name="connsiteX51" fmla="*/ 129521 w 1060536"/>
                  <a:gd name="connsiteY51" fmla="*/ 594126 h 970278"/>
                  <a:gd name="connsiteX52" fmla="*/ 130649 w 1060536"/>
                  <a:gd name="connsiteY52" fmla="*/ 590065 h 970278"/>
                  <a:gd name="connsiteX53" fmla="*/ 120269 w 1060536"/>
                  <a:gd name="connsiteY53" fmla="*/ 590065 h 970278"/>
                  <a:gd name="connsiteX54" fmla="*/ 111018 w 1060536"/>
                  <a:gd name="connsiteY54" fmla="*/ 592321 h 970278"/>
                  <a:gd name="connsiteX55" fmla="*/ 93643 w 1060536"/>
                  <a:gd name="connsiteY55" fmla="*/ 592772 h 970278"/>
                  <a:gd name="connsiteX56" fmla="*/ 81684 w 1060536"/>
                  <a:gd name="connsiteY56" fmla="*/ 579685 h 970278"/>
                  <a:gd name="connsiteX57" fmla="*/ 79653 w 1060536"/>
                  <a:gd name="connsiteY57" fmla="*/ 576526 h 970278"/>
                  <a:gd name="connsiteX58" fmla="*/ 74238 w 1060536"/>
                  <a:gd name="connsiteY58" fmla="*/ 570208 h 970278"/>
                  <a:gd name="connsiteX59" fmla="*/ 67468 w 1060536"/>
                  <a:gd name="connsiteY59" fmla="*/ 562310 h 970278"/>
                  <a:gd name="connsiteX60" fmla="*/ 65212 w 1060536"/>
                  <a:gd name="connsiteY60" fmla="*/ 540874 h 970278"/>
                  <a:gd name="connsiteX61" fmla="*/ 63858 w 1060536"/>
                  <a:gd name="connsiteY61" fmla="*/ 539520 h 970278"/>
                  <a:gd name="connsiteX62" fmla="*/ 60248 w 1060536"/>
                  <a:gd name="connsiteY62" fmla="*/ 533202 h 970278"/>
                  <a:gd name="connsiteX63" fmla="*/ 64986 w 1060536"/>
                  <a:gd name="connsiteY63" fmla="*/ 526884 h 970278"/>
                  <a:gd name="connsiteX64" fmla="*/ 76945 w 1060536"/>
                  <a:gd name="connsiteY64" fmla="*/ 503416 h 970278"/>
                  <a:gd name="connsiteX65" fmla="*/ 77397 w 1060536"/>
                  <a:gd name="connsiteY65" fmla="*/ 500934 h 970278"/>
                  <a:gd name="connsiteX66" fmla="*/ 76945 w 1060536"/>
                  <a:gd name="connsiteY66" fmla="*/ 486944 h 970278"/>
                  <a:gd name="connsiteX67" fmla="*/ 77171 w 1060536"/>
                  <a:gd name="connsiteY67" fmla="*/ 477016 h 970278"/>
                  <a:gd name="connsiteX68" fmla="*/ 74012 w 1060536"/>
                  <a:gd name="connsiteY68" fmla="*/ 470246 h 970278"/>
                  <a:gd name="connsiteX69" fmla="*/ 73561 w 1060536"/>
                  <a:gd name="connsiteY69" fmla="*/ 470021 h 970278"/>
                  <a:gd name="connsiteX70" fmla="*/ 72207 w 1060536"/>
                  <a:gd name="connsiteY70" fmla="*/ 469118 h 970278"/>
                  <a:gd name="connsiteX71" fmla="*/ 59796 w 1060536"/>
                  <a:gd name="connsiteY71" fmla="*/ 465057 h 970278"/>
                  <a:gd name="connsiteX72" fmla="*/ 57991 w 1060536"/>
                  <a:gd name="connsiteY72" fmla="*/ 465282 h 970278"/>
                  <a:gd name="connsiteX73" fmla="*/ 38134 w 1060536"/>
                  <a:gd name="connsiteY73" fmla="*/ 465508 h 970278"/>
                  <a:gd name="connsiteX74" fmla="*/ 25498 w 1060536"/>
                  <a:gd name="connsiteY74" fmla="*/ 458062 h 970278"/>
                  <a:gd name="connsiteX75" fmla="*/ 18954 w 1060536"/>
                  <a:gd name="connsiteY75" fmla="*/ 452646 h 970278"/>
                  <a:gd name="connsiteX76" fmla="*/ 11282 w 1060536"/>
                  <a:gd name="connsiteY76" fmla="*/ 449036 h 970278"/>
                  <a:gd name="connsiteX77" fmla="*/ 2933 w 1060536"/>
                  <a:gd name="connsiteY77" fmla="*/ 442492 h 970278"/>
                  <a:gd name="connsiteX78" fmla="*/ 0 w 1060536"/>
                  <a:gd name="connsiteY78" fmla="*/ 417220 h 970278"/>
                  <a:gd name="connsiteX79" fmla="*/ 10154 w 1060536"/>
                  <a:gd name="connsiteY79" fmla="*/ 389691 h 970278"/>
                  <a:gd name="connsiteX80" fmla="*/ 15570 w 1060536"/>
                  <a:gd name="connsiteY80" fmla="*/ 379988 h 970278"/>
                  <a:gd name="connsiteX81" fmla="*/ 23242 w 1060536"/>
                  <a:gd name="connsiteY81" fmla="*/ 369157 h 970278"/>
                  <a:gd name="connsiteX82" fmla="*/ 32944 w 1060536"/>
                  <a:gd name="connsiteY82" fmla="*/ 362388 h 970278"/>
                  <a:gd name="connsiteX83" fmla="*/ 43550 w 1060536"/>
                  <a:gd name="connsiteY83" fmla="*/ 354264 h 970278"/>
                  <a:gd name="connsiteX84" fmla="*/ 54832 w 1060536"/>
                  <a:gd name="connsiteY84" fmla="*/ 345690 h 970278"/>
                  <a:gd name="connsiteX85" fmla="*/ 61601 w 1060536"/>
                  <a:gd name="connsiteY85" fmla="*/ 340500 h 970278"/>
                  <a:gd name="connsiteX86" fmla="*/ 67243 w 1060536"/>
                  <a:gd name="connsiteY86" fmla="*/ 335761 h 970278"/>
                  <a:gd name="connsiteX87" fmla="*/ 73561 w 1060536"/>
                  <a:gd name="connsiteY87" fmla="*/ 330572 h 970278"/>
                  <a:gd name="connsiteX88" fmla="*/ 79879 w 1060536"/>
                  <a:gd name="connsiteY88" fmla="*/ 313197 h 970278"/>
                  <a:gd name="connsiteX89" fmla="*/ 80104 w 1060536"/>
                  <a:gd name="connsiteY89" fmla="*/ 312520 h 970278"/>
                  <a:gd name="connsiteX90" fmla="*/ 90484 w 1060536"/>
                  <a:gd name="connsiteY90" fmla="*/ 291986 h 970278"/>
                  <a:gd name="connsiteX91" fmla="*/ 99736 w 1060536"/>
                  <a:gd name="connsiteY91" fmla="*/ 286570 h 970278"/>
                  <a:gd name="connsiteX92" fmla="*/ 107408 w 1060536"/>
                  <a:gd name="connsiteY92" fmla="*/ 281832 h 970278"/>
                  <a:gd name="connsiteX93" fmla="*/ 115531 w 1060536"/>
                  <a:gd name="connsiteY93" fmla="*/ 276191 h 970278"/>
                  <a:gd name="connsiteX94" fmla="*/ 126587 w 1060536"/>
                  <a:gd name="connsiteY94" fmla="*/ 270324 h 970278"/>
                  <a:gd name="connsiteX95" fmla="*/ 148475 w 1060536"/>
                  <a:gd name="connsiteY95" fmla="*/ 275288 h 970278"/>
                  <a:gd name="connsiteX96" fmla="*/ 154793 w 1060536"/>
                  <a:gd name="connsiteY96" fmla="*/ 294242 h 970278"/>
                  <a:gd name="connsiteX97" fmla="*/ 158178 w 1060536"/>
                  <a:gd name="connsiteY97" fmla="*/ 308233 h 970278"/>
                  <a:gd name="connsiteX98" fmla="*/ 162465 w 1060536"/>
                  <a:gd name="connsiteY98" fmla="*/ 314325 h 970278"/>
                  <a:gd name="connsiteX99" fmla="*/ 165399 w 1060536"/>
                  <a:gd name="connsiteY99" fmla="*/ 319064 h 970278"/>
                  <a:gd name="connsiteX100" fmla="*/ 187963 w 1060536"/>
                  <a:gd name="connsiteY100" fmla="*/ 316356 h 970278"/>
                  <a:gd name="connsiteX101" fmla="*/ 210302 w 1060536"/>
                  <a:gd name="connsiteY101" fmla="*/ 308007 h 970278"/>
                  <a:gd name="connsiteX102" fmla="*/ 220005 w 1060536"/>
                  <a:gd name="connsiteY102" fmla="*/ 304622 h 970278"/>
                  <a:gd name="connsiteX103" fmla="*/ 240088 w 1060536"/>
                  <a:gd name="connsiteY103" fmla="*/ 303268 h 970278"/>
                  <a:gd name="connsiteX104" fmla="*/ 246631 w 1060536"/>
                  <a:gd name="connsiteY104" fmla="*/ 303494 h 970278"/>
                  <a:gd name="connsiteX105" fmla="*/ 253852 w 1060536"/>
                  <a:gd name="connsiteY105" fmla="*/ 304171 h 970278"/>
                  <a:gd name="connsiteX106" fmla="*/ 266037 w 1060536"/>
                  <a:gd name="connsiteY106" fmla="*/ 304397 h 970278"/>
                  <a:gd name="connsiteX107" fmla="*/ 282283 w 1060536"/>
                  <a:gd name="connsiteY107" fmla="*/ 298530 h 970278"/>
                  <a:gd name="connsiteX108" fmla="*/ 288601 w 1060536"/>
                  <a:gd name="connsiteY108" fmla="*/ 295596 h 970278"/>
                  <a:gd name="connsiteX109" fmla="*/ 298304 w 1060536"/>
                  <a:gd name="connsiteY109" fmla="*/ 289053 h 970278"/>
                  <a:gd name="connsiteX110" fmla="*/ 298981 w 1060536"/>
                  <a:gd name="connsiteY110" fmla="*/ 287473 h 970278"/>
                  <a:gd name="connsiteX111" fmla="*/ 304397 w 1060536"/>
                  <a:gd name="connsiteY111" fmla="*/ 272806 h 970278"/>
                  <a:gd name="connsiteX112" fmla="*/ 313648 w 1060536"/>
                  <a:gd name="connsiteY112" fmla="*/ 259267 h 970278"/>
                  <a:gd name="connsiteX113" fmla="*/ 316130 w 1060536"/>
                  <a:gd name="connsiteY113" fmla="*/ 257011 h 970278"/>
                  <a:gd name="connsiteX114" fmla="*/ 331249 w 1060536"/>
                  <a:gd name="connsiteY114" fmla="*/ 246180 h 970278"/>
                  <a:gd name="connsiteX115" fmla="*/ 342305 w 1060536"/>
                  <a:gd name="connsiteY115" fmla="*/ 235349 h 970278"/>
                  <a:gd name="connsiteX116" fmla="*/ 343885 w 1060536"/>
                  <a:gd name="connsiteY116" fmla="*/ 233092 h 970278"/>
                  <a:gd name="connsiteX117" fmla="*/ 349075 w 1060536"/>
                  <a:gd name="connsiteY117" fmla="*/ 221359 h 970278"/>
                  <a:gd name="connsiteX118" fmla="*/ 353813 w 1060536"/>
                  <a:gd name="connsiteY118" fmla="*/ 210076 h 970278"/>
                  <a:gd name="connsiteX119" fmla="*/ 355844 w 1060536"/>
                  <a:gd name="connsiteY119" fmla="*/ 203307 h 970278"/>
                  <a:gd name="connsiteX120" fmla="*/ 363516 w 1060536"/>
                  <a:gd name="connsiteY120" fmla="*/ 188414 h 970278"/>
                  <a:gd name="connsiteX121" fmla="*/ 393978 w 1060536"/>
                  <a:gd name="connsiteY121" fmla="*/ 170588 h 970278"/>
                  <a:gd name="connsiteX122" fmla="*/ 406163 w 1060536"/>
                  <a:gd name="connsiteY122" fmla="*/ 164722 h 970278"/>
                  <a:gd name="connsiteX123" fmla="*/ 416994 w 1060536"/>
                  <a:gd name="connsiteY123" fmla="*/ 159306 h 970278"/>
                  <a:gd name="connsiteX124" fmla="*/ 424666 w 1060536"/>
                  <a:gd name="connsiteY124" fmla="*/ 158404 h 970278"/>
                  <a:gd name="connsiteX125" fmla="*/ 429405 w 1060536"/>
                  <a:gd name="connsiteY125" fmla="*/ 158178 h 970278"/>
                  <a:gd name="connsiteX126" fmla="*/ 434143 w 1060536"/>
                  <a:gd name="connsiteY126" fmla="*/ 148249 h 970278"/>
                  <a:gd name="connsiteX127" fmla="*/ 438205 w 1060536"/>
                  <a:gd name="connsiteY127" fmla="*/ 138095 h 970278"/>
                  <a:gd name="connsiteX128" fmla="*/ 442266 w 1060536"/>
                  <a:gd name="connsiteY128" fmla="*/ 132680 h 970278"/>
                  <a:gd name="connsiteX129" fmla="*/ 454903 w 1060536"/>
                  <a:gd name="connsiteY129" fmla="*/ 118239 h 970278"/>
                  <a:gd name="connsiteX130" fmla="*/ 466862 w 1060536"/>
                  <a:gd name="connsiteY130" fmla="*/ 100638 h 970278"/>
                  <a:gd name="connsiteX131" fmla="*/ 471149 w 1060536"/>
                  <a:gd name="connsiteY131" fmla="*/ 92966 h 970278"/>
                  <a:gd name="connsiteX132" fmla="*/ 484914 w 1060536"/>
                  <a:gd name="connsiteY132" fmla="*/ 67919 h 970278"/>
                  <a:gd name="connsiteX133" fmla="*/ 487396 w 1060536"/>
                  <a:gd name="connsiteY133" fmla="*/ 54381 h 970278"/>
                  <a:gd name="connsiteX134" fmla="*/ 488750 w 1060536"/>
                  <a:gd name="connsiteY134" fmla="*/ 45806 h 970278"/>
                  <a:gd name="connsiteX135" fmla="*/ 489426 w 1060536"/>
                  <a:gd name="connsiteY135" fmla="*/ 40391 h 970278"/>
                  <a:gd name="connsiteX136" fmla="*/ 493037 w 1060536"/>
                  <a:gd name="connsiteY136" fmla="*/ 29785 h 970278"/>
                  <a:gd name="connsiteX137" fmla="*/ 520791 w 1060536"/>
                  <a:gd name="connsiteY137" fmla="*/ 20308 h 970278"/>
                  <a:gd name="connsiteX138" fmla="*/ 528012 w 1060536"/>
                  <a:gd name="connsiteY138" fmla="*/ 21436 h 970278"/>
                  <a:gd name="connsiteX139" fmla="*/ 539294 w 1060536"/>
                  <a:gd name="connsiteY139" fmla="*/ 18052 h 970278"/>
                  <a:gd name="connsiteX140" fmla="*/ 554413 w 1060536"/>
                  <a:gd name="connsiteY140" fmla="*/ 5190 h 970278"/>
                  <a:gd name="connsiteX141" fmla="*/ 555315 w 1060536"/>
                  <a:gd name="connsiteY141" fmla="*/ 4287 h 970278"/>
                  <a:gd name="connsiteX142" fmla="*/ 560279 w 1060536"/>
                  <a:gd name="connsiteY142" fmla="*/ 1128 h 970278"/>
                  <a:gd name="connsiteX143" fmla="*/ 560731 w 1060536"/>
                  <a:gd name="connsiteY143" fmla="*/ 903 h 970278"/>
                  <a:gd name="connsiteX144" fmla="*/ 562762 w 1060536"/>
                  <a:gd name="connsiteY144" fmla="*/ 0 h 970278"/>
                  <a:gd name="connsiteX145" fmla="*/ 563213 w 1060536"/>
                  <a:gd name="connsiteY145" fmla="*/ 2256 h 970278"/>
                  <a:gd name="connsiteX146" fmla="*/ 561859 w 1060536"/>
                  <a:gd name="connsiteY146" fmla="*/ 9703 h 970278"/>
                  <a:gd name="connsiteX147" fmla="*/ 555541 w 1060536"/>
                  <a:gd name="connsiteY147" fmla="*/ 16698 h 970278"/>
                  <a:gd name="connsiteX148" fmla="*/ 554187 w 1060536"/>
                  <a:gd name="connsiteY148" fmla="*/ 23693 h 970278"/>
                  <a:gd name="connsiteX149" fmla="*/ 557572 w 1060536"/>
                  <a:gd name="connsiteY149" fmla="*/ 27980 h 970278"/>
                  <a:gd name="connsiteX150" fmla="*/ 565018 w 1060536"/>
                  <a:gd name="connsiteY150" fmla="*/ 31139 h 970278"/>
                  <a:gd name="connsiteX151" fmla="*/ 571110 w 1060536"/>
                  <a:gd name="connsiteY151" fmla="*/ 30462 h 970278"/>
                  <a:gd name="connsiteX152" fmla="*/ 584875 w 1060536"/>
                  <a:gd name="connsiteY152" fmla="*/ 31590 h 970278"/>
                  <a:gd name="connsiteX153" fmla="*/ 588259 w 1060536"/>
                  <a:gd name="connsiteY153" fmla="*/ 32719 h 970278"/>
                  <a:gd name="connsiteX154" fmla="*/ 609922 w 1060536"/>
                  <a:gd name="connsiteY154" fmla="*/ 38134 h 970278"/>
                  <a:gd name="connsiteX155" fmla="*/ 616917 w 1060536"/>
                  <a:gd name="connsiteY155" fmla="*/ 37457 h 970278"/>
                  <a:gd name="connsiteX156" fmla="*/ 629778 w 1060536"/>
                  <a:gd name="connsiteY156" fmla="*/ 41519 h 970278"/>
                  <a:gd name="connsiteX157" fmla="*/ 631584 w 1060536"/>
                  <a:gd name="connsiteY157" fmla="*/ 44452 h 970278"/>
                  <a:gd name="connsiteX158" fmla="*/ 628199 w 1060536"/>
                  <a:gd name="connsiteY158" fmla="*/ 44452 h 970278"/>
                  <a:gd name="connsiteX159" fmla="*/ 626619 w 1060536"/>
                  <a:gd name="connsiteY159" fmla="*/ 44452 h 970278"/>
                  <a:gd name="connsiteX160" fmla="*/ 626619 w 1060536"/>
                  <a:gd name="connsiteY160" fmla="*/ 44904 h 970278"/>
                  <a:gd name="connsiteX161" fmla="*/ 624137 w 1060536"/>
                  <a:gd name="connsiteY161" fmla="*/ 49642 h 970278"/>
                  <a:gd name="connsiteX162" fmla="*/ 622332 w 1060536"/>
                  <a:gd name="connsiteY162" fmla="*/ 52801 h 970278"/>
                  <a:gd name="connsiteX163" fmla="*/ 619624 w 1060536"/>
                  <a:gd name="connsiteY163" fmla="*/ 57088 h 970278"/>
                  <a:gd name="connsiteX164" fmla="*/ 619173 w 1060536"/>
                  <a:gd name="connsiteY164" fmla="*/ 61376 h 970278"/>
                  <a:gd name="connsiteX165" fmla="*/ 629101 w 1060536"/>
                  <a:gd name="connsiteY165" fmla="*/ 65212 h 970278"/>
                  <a:gd name="connsiteX166" fmla="*/ 632937 w 1060536"/>
                  <a:gd name="connsiteY166" fmla="*/ 66566 h 970278"/>
                  <a:gd name="connsiteX167" fmla="*/ 636548 w 1060536"/>
                  <a:gd name="connsiteY167" fmla="*/ 70176 h 970278"/>
                  <a:gd name="connsiteX168" fmla="*/ 630681 w 1060536"/>
                  <a:gd name="connsiteY168" fmla="*/ 85069 h 970278"/>
                  <a:gd name="connsiteX169" fmla="*/ 629327 w 1060536"/>
                  <a:gd name="connsiteY169" fmla="*/ 93192 h 970278"/>
                  <a:gd name="connsiteX170" fmla="*/ 628650 w 1060536"/>
                  <a:gd name="connsiteY170" fmla="*/ 101766 h 970278"/>
                  <a:gd name="connsiteX171" fmla="*/ 634968 w 1060536"/>
                  <a:gd name="connsiteY171" fmla="*/ 124331 h 970278"/>
                  <a:gd name="connsiteX172" fmla="*/ 645348 w 1060536"/>
                  <a:gd name="connsiteY172" fmla="*/ 121623 h 970278"/>
                  <a:gd name="connsiteX173" fmla="*/ 654825 w 1060536"/>
                  <a:gd name="connsiteY173" fmla="*/ 116885 h 970278"/>
                  <a:gd name="connsiteX174" fmla="*/ 665431 w 1060536"/>
                  <a:gd name="connsiteY174" fmla="*/ 114628 h 970278"/>
                  <a:gd name="connsiteX175" fmla="*/ 667010 w 1060536"/>
                  <a:gd name="connsiteY175" fmla="*/ 117787 h 970278"/>
                  <a:gd name="connsiteX176" fmla="*/ 667010 w 1060536"/>
                  <a:gd name="connsiteY176" fmla="*/ 118013 h 970278"/>
                  <a:gd name="connsiteX177" fmla="*/ 678518 w 1060536"/>
                  <a:gd name="connsiteY177" fmla="*/ 123880 h 970278"/>
                  <a:gd name="connsiteX178" fmla="*/ 683482 w 1060536"/>
                  <a:gd name="connsiteY178" fmla="*/ 126587 h 970278"/>
                  <a:gd name="connsiteX179" fmla="*/ 692508 w 1060536"/>
                  <a:gd name="connsiteY179" fmla="*/ 132229 h 970278"/>
                  <a:gd name="connsiteX180" fmla="*/ 708078 w 1060536"/>
                  <a:gd name="connsiteY180" fmla="*/ 132003 h 970278"/>
                  <a:gd name="connsiteX181" fmla="*/ 720714 w 1060536"/>
                  <a:gd name="connsiteY181" fmla="*/ 133808 h 970278"/>
                  <a:gd name="connsiteX182" fmla="*/ 725001 w 1060536"/>
                  <a:gd name="connsiteY182" fmla="*/ 144639 h 970278"/>
                  <a:gd name="connsiteX183" fmla="*/ 729965 w 1060536"/>
                  <a:gd name="connsiteY183" fmla="*/ 158629 h 970278"/>
                  <a:gd name="connsiteX184" fmla="*/ 735381 w 1060536"/>
                  <a:gd name="connsiteY184" fmla="*/ 168106 h 970278"/>
                  <a:gd name="connsiteX185" fmla="*/ 735606 w 1060536"/>
                  <a:gd name="connsiteY185" fmla="*/ 186384 h 970278"/>
                  <a:gd name="connsiteX186" fmla="*/ 734929 w 1060536"/>
                  <a:gd name="connsiteY186" fmla="*/ 187963 h 970278"/>
                  <a:gd name="connsiteX187" fmla="*/ 737412 w 1060536"/>
                  <a:gd name="connsiteY187" fmla="*/ 195410 h 970278"/>
                  <a:gd name="connsiteX188" fmla="*/ 740119 w 1060536"/>
                  <a:gd name="connsiteY188" fmla="*/ 205338 h 970278"/>
                  <a:gd name="connsiteX189" fmla="*/ 739668 w 1060536"/>
                  <a:gd name="connsiteY189" fmla="*/ 215492 h 970278"/>
                  <a:gd name="connsiteX190" fmla="*/ 744181 w 1060536"/>
                  <a:gd name="connsiteY190" fmla="*/ 222938 h 970278"/>
                  <a:gd name="connsiteX191" fmla="*/ 762007 w 1060536"/>
                  <a:gd name="connsiteY191" fmla="*/ 243246 h 970278"/>
                  <a:gd name="connsiteX192" fmla="*/ 766746 w 1060536"/>
                  <a:gd name="connsiteY192" fmla="*/ 249790 h 970278"/>
                  <a:gd name="connsiteX193" fmla="*/ 773741 w 1060536"/>
                  <a:gd name="connsiteY193" fmla="*/ 253401 h 970278"/>
                  <a:gd name="connsiteX194" fmla="*/ 789987 w 1060536"/>
                  <a:gd name="connsiteY194" fmla="*/ 264232 h 970278"/>
                  <a:gd name="connsiteX195" fmla="*/ 795854 w 1060536"/>
                  <a:gd name="connsiteY195" fmla="*/ 286570 h 970278"/>
                  <a:gd name="connsiteX196" fmla="*/ 794500 w 1060536"/>
                  <a:gd name="connsiteY196" fmla="*/ 292212 h 970278"/>
                  <a:gd name="connsiteX197" fmla="*/ 792018 w 1060536"/>
                  <a:gd name="connsiteY197" fmla="*/ 301689 h 970278"/>
                  <a:gd name="connsiteX198" fmla="*/ 790664 w 1060536"/>
                  <a:gd name="connsiteY198" fmla="*/ 306653 h 970278"/>
                  <a:gd name="connsiteX199" fmla="*/ 785249 w 1060536"/>
                  <a:gd name="connsiteY199" fmla="*/ 319741 h 970278"/>
                  <a:gd name="connsiteX200" fmla="*/ 783443 w 1060536"/>
                  <a:gd name="connsiteY200" fmla="*/ 324705 h 970278"/>
                  <a:gd name="connsiteX201" fmla="*/ 789085 w 1060536"/>
                  <a:gd name="connsiteY201" fmla="*/ 330120 h 970278"/>
                  <a:gd name="connsiteX202" fmla="*/ 806459 w 1060536"/>
                  <a:gd name="connsiteY202" fmla="*/ 330346 h 970278"/>
                  <a:gd name="connsiteX203" fmla="*/ 806234 w 1060536"/>
                  <a:gd name="connsiteY203" fmla="*/ 328315 h 970278"/>
                  <a:gd name="connsiteX204" fmla="*/ 810521 w 1060536"/>
                  <a:gd name="connsiteY204" fmla="*/ 318387 h 970278"/>
                  <a:gd name="connsiteX205" fmla="*/ 814357 w 1060536"/>
                  <a:gd name="connsiteY205" fmla="*/ 310940 h 970278"/>
                  <a:gd name="connsiteX206" fmla="*/ 818644 w 1060536"/>
                  <a:gd name="connsiteY206" fmla="*/ 303268 h 970278"/>
                  <a:gd name="connsiteX207" fmla="*/ 821352 w 1060536"/>
                  <a:gd name="connsiteY207" fmla="*/ 302140 h 970278"/>
                  <a:gd name="connsiteX208" fmla="*/ 829250 w 1060536"/>
                  <a:gd name="connsiteY208" fmla="*/ 296499 h 970278"/>
                  <a:gd name="connsiteX209" fmla="*/ 830152 w 1060536"/>
                  <a:gd name="connsiteY209" fmla="*/ 294694 h 970278"/>
                  <a:gd name="connsiteX210" fmla="*/ 839855 w 1060536"/>
                  <a:gd name="connsiteY210" fmla="*/ 288601 h 970278"/>
                  <a:gd name="connsiteX211" fmla="*/ 849558 w 1060536"/>
                  <a:gd name="connsiteY211" fmla="*/ 299207 h 970278"/>
                  <a:gd name="connsiteX212" fmla="*/ 850912 w 1060536"/>
                  <a:gd name="connsiteY212" fmla="*/ 302366 h 970278"/>
                  <a:gd name="connsiteX213" fmla="*/ 852717 w 1060536"/>
                  <a:gd name="connsiteY213" fmla="*/ 307556 h 970278"/>
                  <a:gd name="connsiteX214" fmla="*/ 853394 w 1060536"/>
                  <a:gd name="connsiteY214" fmla="*/ 309586 h 970278"/>
                  <a:gd name="connsiteX215" fmla="*/ 871220 w 1060536"/>
                  <a:gd name="connsiteY215" fmla="*/ 305525 h 970278"/>
                  <a:gd name="connsiteX216" fmla="*/ 876861 w 1060536"/>
                  <a:gd name="connsiteY216" fmla="*/ 296499 h 970278"/>
                  <a:gd name="connsiteX217" fmla="*/ 879569 w 1060536"/>
                  <a:gd name="connsiteY217" fmla="*/ 292663 h 970278"/>
                  <a:gd name="connsiteX218" fmla="*/ 898523 w 1060536"/>
                  <a:gd name="connsiteY218" fmla="*/ 286345 h 970278"/>
                  <a:gd name="connsiteX219" fmla="*/ 902133 w 1060536"/>
                  <a:gd name="connsiteY219" fmla="*/ 292663 h 970278"/>
                  <a:gd name="connsiteX220" fmla="*/ 903938 w 1060536"/>
                  <a:gd name="connsiteY220" fmla="*/ 298530 h 970278"/>
                  <a:gd name="connsiteX221" fmla="*/ 902359 w 1060536"/>
                  <a:gd name="connsiteY221" fmla="*/ 314099 h 970278"/>
                  <a:gd name="connsiteX222" fmla="*/ 902133 w 1060536"/>
                  <a:gd name="connsiteY222" fmla="*/ 314551 h 970278"/>
                  <a:gd name="connsiteX223" fmla="*/ 902585 w 1060536"/>
                  <a:gd name="connsiteY223" fmla="*/ 328766 h 970278"/>
                  <a:gd name="connsiteX224" fmla="*/ 902585 w 1060536"/>
                  <a:gd name="connsiteY224" fmla="*/ 340500 h 970278"/>
                  <a:gd name="connsiteX225" fmla="*/ 899651 w 1060536"/>
                  <a:gd name="connsiteY225" fmla="*/ 351557 h 970278"/>
                  <a:gd name="connsiteX226" fmla="*/ 900554 w 1060536"/>
                  <a:gd name="connsiteY226" fmla="*/ 352685 h 970278"/>
                  <a:gd name="connsiteX227" fmla="*/ 910482 w 1060536"/>
                  <a:gd name="connsiteY227" fmla="*/ 349751 h 970278"/>
                  <a:gd name="connsiteX228" fmla="*/ 920636 w 1060536"/>
                  <a:gd name="connsiteY228" fmla="*/ 341177 h 970278"/>
                  <a:gd name="connsiteX229" fmla="*/ 925600 w 1060536"/>
                  <a:gd name="connsiteY229" fmla="*/ 338920 h 970278"/>
                  <a:gd name="connsiteX230" fmla="*/ 938914 w 1060536"/>
                  <a:gd name="connsiteY230" fmla="*/ 336213 h 970278"/>
                  <a:gd name="connsiteX231" fmla="*/ 945457 w 1060536"/>
                  <a:gd name="connsiteY231" fmla="*/ 335761 h 970278"/>
                  <a:gd name="connsiteX232" fmla="*/ 948616 w 1060536"/>
                  <a:gd name="connsiteY232" fmla="*/ 335310 h 970278"/>
                  <a:gd name="connsiteX233" fmla="*/ 949068 w 1060536"/>
                  <a:gd name="connsiteY233" fmla="*/ 336890 h 970278"/>
                  <a:gd name="connsiteX234" fmla="*/ 952001 w 1060536"/>
                  <a:gd name="connsiteY234" fmla="*/ 347495 h 970278"/>
                  <a:gd name="connsiteX235" fmla="*/ 952001 w 1060536"/>
                  <a:gd name="connsiteY235" fmla="*/ 356746 h 970278"/>
                  <a:gd name="connsiteX236" fmla="*/ 953806 w 1060536"/>
                  <a:gd name="connsiteY236" fmla="*/ 373444 h 970278"/>
                  <a:gd name="connsiteX237" fmla="*/ 954709 w 1060536"/>
                  <a:gd name="connsiteY237" fmla="*/ 375926 h 970278"/>
                  <a:gd name="connsiteX238" fmla="*/ 968473 w 1060536"/>
                  <a:gd name="connsiteY238" fmla="*/ 397363 h 970278"/>
                  <a:gd name="connsiteX239" fmla="*/ 986525 w 1060536"/>
                  <a:gd name="connsiteY239" fmla="*/ 413384 h 970278"/>
                  <a:gd name="connsiteX240" fmla="*/ 986976 w 1060536"/>
                  <a:gd name="connsiteY240" fmla="*/ 430081 h 970278"/>
                  <a:gd name="connsiteX241" fmla="*/ 982012 w 1060536"/>
                  <a:gd name="connsiteY241" fmla="*/ 435497 h 970278"/>
                  <a:gd name="connsiteX242" fmla="*/ 977499 w 1060536"/>
                  <a:gd name="connsiteY242" fmla="*/ 440687 h 970278"/>
                  <a:gd name="connsiteX243" fmla="*/ 977725 w 1060536"/>
                  <a:gd name="connsiteY243" fmla="*/ 440687 h 970278"/>
                  <a:gd name="connsiteX244" fmla="*/ 982012 w 1060536"/>
                  <a:gd name="connsiteY244" fmla="*/ 441815 h 970278"/>
                  <a:gd name="connsiteX245" fmla="*/ 991264 w 1060536"/>
                  <a:gd name="connsiteY245" fmla="*/ 447005 h 970278"/>
                  <a:gd name="connsiteX246" fmla="*/ 991941 w 1060536"/>
                  <a:gd name="connsiteY246" fmla="*/ 453549 h 970278"/>
                  <a:gd name="connsiteX247" fmla="*/ 978853 w 1060536"/>
                  <a:gd name="connsiteY247" fmla="*/ 463477 h 970278"/>
                  <a:gd name="connsiteX248" fmla="*/ 974114 w 1060536"/>
                  <a:gd name="connsiteY248" fmla="*/ 467764 h 970278"/>
                  <a:gd name="connsiteX249" fmla="*/ 979756 w 1060536"/>
                  <a:gd name="connsiteY249" fmla="*/ 471149 h 970278"/>
                  <a:gd name="connsiteX250" fmla="*/ 988781 w 1060536"/>
                  <a:gd name="connsiteY250" fmla="*/ 466636 h 970278"/>
                  <a:gd name="connsiteX251" fmla="*/ 1002772 w 1060536"/>
                  <a:gd name="connsiteY251" fmla="*/ 461221 h 970278"/>
                  <a:gd name="connsiteX252" fmla="*/ 1016310 w 1060536"/>
                  <a:gd name="connsiteY252" fmla="*/ 466185 h 970278"/>
                  <a:gd name="connsiteX253" fmla="*/ 1023982 w 1060536"/>
                  <a:gd name="connsiteY253" fmla="*/ 469118 h 970278"/>
                  <a:gd name="connsiteX254" fmla="*/ 1030977 w 1060536"/>
                  <a:gd name="connsiteY254" fmla="*/ 466185 h 970278"/>
                  <a:gd name="connsiteX255" fmla="*/ 1041131 w 1060536"/>
                  <a:gd name="connsiteY255" fmla="*/ 461221 h 970278"/>
                  <a:gd name="connsiteX256" fmla="*/ 1047224 w 1060536"/>
                  <a:gd name="connsiteY256" fmla="*/ 458062 h 970278"/>
                  <a:gd name="connsiteX257" fmla="*/ 1057604 w 1060536"/>
                  <a:gd name="connsiteY257" fmla="*/ 457836 h 970278"/>
                  <a:gd name="connsiteX258" fmla="*/ 1064599 w 1060536"/>
                  <a:gd name="connsiteY258" fmla="*/ 465282 h 970278"/>
                  <a:gd name="connsiteX259" fmla="*/ 1067983 w 1060536"/>
                  <a:gd name="connsiteY259" fmla="*/ 468441 h 970278"/>
                  <a:gd name="connsiteX260" fmla="*/ 1072496 w 1060536"/>
                  <a:gd name="connsiteY260" fmla="*/ 468667 h 970278"/>
                  <a:gd name="connsiteX261" fmla="*/ 1069111 w 1060536"/>
                  <a:gd name="connsiteY261" fmla="*/ 471826 h 970278"/>
                  <a:gd name="connsiteX262" fmla="*/ 1043388 w 1060536"/>
                  <a:gd name="connsiteY262" fmla="*/ 496647 h 970278"/>
                  <a:gd name="connsiteX263" fmla="*/ 1005254 w 1060536"/>
                  <a:gd name="connsiteY263" fmla="*/ 526432 h 970278"/>
                  <a:gd name="connsiteX264" fmla="*/ 939591 w 1060536"/>
                  <a:gd name="connsiteY264" fmla="*/ 557797 h 970278"/>
                  <a:gd name="connsiteX265" fmla="*/ 866256 w 1060536"/>
                  <a:gd name="connsiteY265" fmla="*/ 601572 h 970278"/>
                  <a:gd name="connsiteX266" fmla="*/ 849558 w 1060536"/>
                  <a:gd name="connsiteY266" fmla="*/ 616239 h 970278"/>
                  <a:gd name="connsiteX267" fmla="*/ 848655 w 1060536"/>
                  <a:gd name="connsiteY267" fmla="*/ 622106 h 970278"/>
                  <a:gd name="connsiteX268" fmla="*/ 859486 w 1060536"/>
                  <a:gd name="connsiteY268" fmla="*/ 673554 h 970278"/>
                  <a:gd name="connsiteX269" fmla="*/ 899426 w 1060536"/>
                  <a:gd name="connsiteY269" fmla="*/ 670620 h 970278"/>
                  <a:gd name="connsiteX270" fmla="*/ 937108 w 1060536"/>
                  <a:gd name="connsiteY270" fmla="*/ 664077 h 970278"/>
                  <a:gd name="connsiteX271" fmla="*/ 943427 w 1060536"/>
                  <a:gd name="connsiteY271" fmla="*/ 668589 h 970278"/>
                  <a:gd name="connsiteX272" fmla="*/ 947714 w 1060536"/>
                  <a:gd name="connsiteY272" fmla="*/ 696344 h 970278"/>
                  <a:gd name="connsiteX273" fmla="*/ 941396 w 1060536"/>
                  <a:gd name="connsiteY273" fmla="*/ 702436 h 970278"/>
                  <a:gd name="connsiteX274" fmla="*/ 905969 w 1060536"/>
                  <a:gd name="connsiteY274" fmla="*/ 708077 h 970278"/>
                  <a:gd name="connsiteX275" fmla="*/ 887015 w 1060536"/>
                  <a:gd name="connsiteY275" fmla="*/ 731996 h 970278"/>
                  <a:gd name="connsiteX276" fmla="*/ 890625 w 1060536"/>
                  <a:gd name="connsiteY276" fmla="*/ 750048 h 970278"/>
                  <a:gd name="connsiteX277" fmla="*/ 900554 w 1060536"/>
                  <a:gd name="connsiteY277" fmla="*/ 753432 h 970278"/>
                  <a:gd name="connsiteX278" fmla="*/ 905518 w 1060536"/>
                  <a:gd name="connsiteY278" fmla="*/ 754109 h 970278"/>
                  <a:gd name="connsiteX279" fmla="*/ 909354 w 1060536"/>
                  <a:gd name="connsiteY279" fmla="*/ 763361 h 970278"/>
                  <a:gd name="connsiteX280" fmla="*/ 912739 w 1060536"/>
                  <a:gd name="connsiteY280" fmla="*/ 772838 h 970278"/>
                  <a:gd name="connsiteX281" fmla="*/ 914769 w 1060536"/>
                  <a:gd name="connsiteY281" fmla="*/ 784571 h 970278"/>
                  <a:gd name="connsiteX282" fmla="*/ 907098 w 1060536"/>
                  <a:gd name="connsiteY282" fmla="*/ 793597 h 970278"/>
                  <a:gd name="connsiteX283" fmla="*/ 906195 w 1060536"/>
                  <a:gd name="connsiteY283" fmla="*/ 793823 h 970278"/>
                  <a:gd name="connsiteX284" fmla="*/ 890625 w 1060536"/>
                  <a:gd name="connsiteY284" fmla="*/ 804654 h 970278"/>
                  <a:gd name="connsiteX285" fmla="*/ 891754 w 1060536"/>
                  <a:gd name="connsiteY285" fmla="*/ 811649 h 970278"/>
                  <a:gd name="connsiteX286" fmla="*/ 889046 w 1060536"/>
                  <a:gd name="connsiteY286" fmla="*/ 833537 h 970278"/>
                  <a:gd name="connsiteX287" fmla="*/ 858584 w 1060536"/>
                  <a:gd name="connsiteY287" fmla="*/ 828121 h 970278"/>
                  <a:gd name="connsiteX288" fmla="*/ 830378 w 1060536"/>
                  <a:gd name="connsiteY288" fmla="*/ 825865 h 970278"/>
                  <a:gd name="connsiteX289" fmla="*/ 810972 w 1060536"/>
                  <a:gd name="connsiteY289" fmla="*/ 825414 h 970278"/>
                  <a:gd name="connsiteX290" fmla="*/ 799690 w 1060536"/>
                  <a:gd name="connsiteY290" fmla="*/ 823383 h 970278"/>
                  <a:gd name="connsiteX291" fmla="*/ 795628 w 1060536"/>
                  <a:gd name="connsiteY291" fmla="*/ 823608 h 970278"/>
                  <a:gd name="connsiteX292" fmla="*/ 788182 w 1060536"/>
                  <a:gd name="connsiteY292" fmla="*/ 844368 h 970278"/>
                  <a:gd name="connsiteX293" fmla="*/ 767648 w 1060536"/>
                  <a:gd name="connsiteY293" fmla="*/ 870768 h 970278"/>
                  <a:gd name="connsiteX294" fmla="*/ 753432 w 1060536"/>
                  <a:gd name="connsiteY294" fmla="*/ 874379 h 970278"/>
                  <a:gd name="connsiteX295" fmla="*/ 748694 w 1060536"/>
                  <a:gd name="connsiteY295" fmla="*/ 877989 h 970278"/>
                  <a:gd name="connsiteX296" fmla="*/ 710785 w 1060536"/>
                  <a:gd name="connsiteY296" fmla="*/ 880697 h 970278"/>
                  <a:gd name="connsiteX297" fmla="*/ 706498 w 1060536"/>
                  <a:gd name="connsiteY297" fmla="*/ 871671 h 970278"/>
                  <a:gd name="connsiteX298" fmla="*/ 724098 w 1060536"/>
                  <a:gd name="connsiteY298" fmla="*/ 843916 h 970278"/>
                  <a:gd name="connsiteX299" fmla="*/ 738540 w 1060536"/>
                  <a:gd name="connsiteY299" fmla="*/ 843691 h 970278"/>
                  <a:gd name="connsiteX300" fmla="*/ 750725 w 1060536"/>
                  <a:gd name="connsiteY300" fmla="*/ 847527 h 970278"/>
                  <a:gd name="connsiteX301" fmla="*/ 756592 w 1060536"/>
                  <a:gd name="connsiteY301" fmla="*/ 846624 h 970278"/>
                  <a:gd name="connsiteX302" fmla="*/ 755463 w 1060536"/>
                  <a:gd name="connsiteY302" fmla="*/ 842111 h 970278"/>
                  <a:gd name="connsiteX303" fmla="*/ 752530 w 1060536"/>
                  <a:gd name="connsiteY303" fmla="*/ 829475 h 970278"/>
                  <a:gd name="connsiteX304" fmla="*/ 749822 w 1060536"/>
                  <a:gd name="connsiteY304" fmla="*/ 815711 h 970278"/>
                  <a:gd name="connsiteX305" fmla="*/ 746889 w 1060536"/>
                  <a:gd name="connsiteY305" fmla="*/ 805331 h 970278"/>
                  <a:gd name="connsiteX306" fmla="*/ 750725 w 1060536"/>
                  <a:gd name="connsiteY306" fmla="*/ 792469 h 970278"/>
                  <a:gd name="connsiteX307" fmla="*/ 756140 w 1060536"/>
                  <a:gd name="connsiteY307" fmla="*/ 780510 h 970278"/>
                  <a:gd name="connsiteX308" fmla="*/ 753432 w 1060536"/>
                  <a:gd name="connsiteY308" fmla="*/ 746663 h 970278"/>
                  <a:gd name="connsiteX309" fmla="*/ 751176 w 1060536"/>
                  <a:gd name="connsiteY309" fmla="*/ 743955 h 970278"/>
                  <a:gd name="connsiteX310" fmla="*/ 741699 w 1060536"/>
                  <a:gd name="connsiteY310" fmla="*/ 749822 h 970278"/>
                  <a:gd name="connsiteX311" fmla="*/ 734253 w 1060536"/>
                  <a:gd name="connsiteY311" fmla="*/ 755238 h 970278"/>
                  <a:gd name="connsiteX312" fmla="*/ 733350 w 1060536"/>
                  <a:gd name="connsiteY312" fmla="*/ 755689 h 970278"/>
                  <a:gd name="connsiteX313" fmla="*/ 709883 w 1060536"/>
                  <a:gd name="connsiteY313" fmla="*/ 760202 h 970278"/>
                  <a:gd name="connsiteX314" fmla="*/ 691154 w 1060536"/>
                  <a:gd name="connsiteY314" fmla="*/ 747566 h 970278"/>
                  <a:gd name="connsiteX315" fmla="*/ 694990 w 1060536"/>
                  <a:gd name="connsiteY315" fmla="*/ 731093 h 970278"/>
                  <a:gd name="connsiteX316" fmla="*/ 699729 w 1060536"/>
                  <a:gd name="connsiteY316" fmla="*/ 709883 h 970278"/>
                  <a:gd name="connsiteX317" fmla="*/ 698149 w 1060536"/>
                  <a:gd name="connsiteY317" fmla="*/ 706498 h 970278"/>
                  <a:gd name="connsiteX318" fmla="*/ 692734 w 1060536"/>
                  <a:gd name="connsiteY318" fmla="*/ 711913 h 970278"/>
                  <a:gd name="connsiteX319" fmla="*/ 688672 w 1060536"/>
                  <a:gd name="connsiteY319" fmla="*/ 716426 h 970278"/>
                  <a:gd name="connsiteX320" fmla="*/ 685287 w 1060536"/>
                  <a:gd name="connsiteY320" fmla="*/ 720262 h 970278"/>
                  <a:gd name="connsiteX321" fmla="*/ 662723 w 1060536"/>
                  <a:gd name="connsiteY321" fmla="*/ 736735 h 970278"/>
                  <a:gd name="connsiteX322" fmla="*/ 653697 w 1060536"/>
                  <a:gd name="connsiteY322" fmla="*/ 737863 h 970278"/>
                  <a:gd name="connsiteX323" fmla="*/ 653020 w 1060536"/>
                  <a:gd name="connsiteY323" fmla="*/ 733350 h 970278"/>
                  <a:gd name="connsiteX324" fmla="*/ 650538 w 1060536"/>
                  <a:gd name="connsiteY324" fmla="*/ 724098 h 970278"/>
                  <a:gd name="connsiteX325" fmla="*/ 646928 w 1060536"/>
                  <a:gd name="connsiteY325" fmla="*/ 722068 h 970278"/>
                  <a:gd name="connsiteX326" fmla="*/ 645122 w 1060536"/>
                  <a:gd name="connsiteY326" fmla="*/ 728160 h 970278"/>
                  <a:gd name="connsiteX327" fmla="*/ 643769 w 1060536"/>
                  <a:gd name="connsiteY327" fmla="*/ 733350 h 970278"/>
                  <a:gd name="connsiteX328" fmla="*/ 634743 w 1060536"/>
                  <a:gd name="connsiteY328" fmla="*/ 765166 h 970278"/>
                  <a:gd name="connsiteX329" fmla="*/ 635871 w 1060536"/>
                  <a:gd name="connsiteY329" fmla="*/ 781864 h 970278"/>
                  <a:gd name="connsiteX330" fmla="*/ 637450 w 1060536"/>
                  <a:gd name="connsiteY330" fmla="*/ 807362 h 970278"/>
                  <a:gd name="connsiteX331" fmla="*/ 644671 w 1060536"/>
                  <a:gd name="connsiteY331" fmla="*/ 829475 h 970278"/>
                  <a:gd name="connsiteX332" fmla="*/ 650312 w 1060536"/>
                  <a:gd name="connsiteY332" fmla="*/ 835342 h 970278"/>
                  <a:gd name="connsiteX333" fmla="*/ 646928 w 1060536"/>
                  <a:gd name="connsiteY333" fmla="*/ 857004 h 970278"/>
                  <a:gd name="connsiteX334" fmla="*/ 636322 w 1060536"/>
                  <a:gd name="connsiteY334" fmla="*/ 872348 h 970278"/>
                  <a:gd name="connsiteX335" fmla="*/ 632937 w 1060536"/>
                  <a:gd name="connsiteY335" fmla="*/ 900779 h 970278"/>
                  <a:gd name="connsiteX336" fmla="*/ 632035 w 1060536"/>
                  <a:gd name="connsiteY336" fmla="*/ 910482 h 970278"/>
                  <a:gd name="connsiteX337" fmla="*/ 602475 w 1060536"/>
                  <a:gd name="connsiteY337" fmla="*/ 925826 h 970278"/>
                  <a:gd name="connsiteX338" fmla="*/ 597737 w 1060536"/>
                  <a:gd name="connsiteY338" fmla="*/ 929436 h 970278"/>
                  <a:gd name="connsiteX339" fmla="*/ 602024 w 1060536"/>
                  <a:gd name="connsiteY339" fmla="*/ 939365 h 970278"/>
                  <a:gd name="connsiteX340" fmla="*/ 605409 w 1060536"/>
                  <a:gd name="connsiteY340" fmla="*/ 945006 h 970278"/>
                  <a:gd name="connsiteX341" fmla="*/ 606086 w 1060536"/>
                  <a:gd name="connsiteY341" fmla="*/ 955160 h 970278"/>
                  <a:gd name="connsiteX342" fmla="*/ 589162 w 1060536"/>
                  <a:gd name="connsiteY342" fmla="*/ 966442 h 970278"/>
                  <a:gd name="connsiteX343" fmla="*/ 582167 w 1060536"/>
                  <a:gd name="connsiteY343" fmla="*/ 968699 h 970278"/>
                  <a:gd name="connsiteX344" fmla="*/ 574269 w 1060536"/>
                  <a:gd name="connsiteY344" fmla="*/ 970955 h 970278"/>
                  <a:gd name="connsiteX345" fmla="*/ 452646 w 1060536"/>
                  <a:gd name="connsiteY345" fmla="*/ 853394 h 970278"/>
                  <a:gd name="connsiteX346" fmla="*/ 452646 w 1060536"/>
                  <a:gd name="connsiteY346" fmla="*/ 853394 h 970278"/>
                  <a:gd name="connsiteX347" fmla="*/ 458739 w 1060536"/>
                  <a:gd name="connsiteY347" fmla="*/ 858583 h 970278"/>
                  <a:gd name="connsiteX348" fmla="*/ 463252 w 1060536"/>
                  <a:gd name="connsiteY348" fmla="*/ 875958 h 970278"/>
                  <a:gd name="connsiteX349" fmla="*/ 468441 w 1060536"/>
                  <a:gd name="connsiteY349" fmla="*/ 888820 h 970278"/>
                  <a:gd name="connsiteX350" fmla="*/ 478370 w 1060536"/>
                  <a:gd name="connsiteY350" fmla="*/ 898071 h 970278"/>
                  <a:gd name="connsiteX351" fmla="*/ 500258 w 1060536"/>
                  <a:gd name="connsiteY351" fmla="*/ 915897 h 970278"/>
                  <a:gd name="connsiteX352" fmla="*/ 516955 w 1060536"/>
                  <a:gd name="connsiteY352" fmla="*/ 920185 h 970278"/>
                  <a:gd name="connsiteX353" fmla="*/ 535910 w 1060536"/>
                  <a:gd name="connsiteY353" fmla="*/ 933724 h 970278"/>
                  <a:gd name="connsiteX354" fmla="*/ 540423 w 1060536"/>
                  <a:gd name="connsiteY354" fmla="*/ 951324 h 970278"/>
                  <a:gd name="connsiteX355" fmla="*/ 545387 w 1060536"/>
                  <a:gd name="connsiteY355" fmla="*/ 955160 h 970278"/>
                  <a:gd name="connsiteX356" fmla="*/ 560956 w 1060536"/>
                  <a:gd name="connsiteY356" fmla="*/ 960575 h 970278"/>
                  <a:gd name="connsiteX357" fmla="*/ 567726 w 1060536"/>
                  <a:gd name="connsiteY357" fmla="*/ 964637 h 970278"/>
                  <a:gd name="connsiteX358" fmla="*/ 581039 w 1060536"/>
                  <a:gd name="connsiteY358" fmla="*/ 965088 h 970278"/>
                  <a:gd name="connsiteX359" fmla="*/ 588034 w 1060536"/>
                  <a:gd name="connsiteY359" fmla="*/ 962832 h 970278"/>
                  <a:gd name="connsiteX360" fmla="*/ 602475 w 1060536"/>
                  <a:gd name="connsiteY360" fmla="*/ 953581 h 970278"/>
                  <a:gd name="connsiteX361" fmla="*/ 601798 w 1060536"/>
                  <a:gd name="connsiteY361" fmla="*/ 946585 h 970278"/>
                  <a:gd name="connsiteX362" fmla="*/ 598639 w 1060536"/>
                  <a:gd name="connsiteY362" fmla="*/ 941396 h 970278"/>
                  <a:gd name="connsiteX363" fmla="*/ 593901 w 1060536"/>
                  <a:gd name="connsiteY363" fmla="*/ 928308 h 970278"/>
                  <a:gd name="connsiteX364" fmla="*/ 601121 w 1060536"/>
                  <a:gd name="connsiteY364" fmla="*/ 922441 h 970278"/>
                  <a:gd name="connsiteX365" fmla="*/ 629778 w 1060536"/>
                  <a:gd name="connsiteY365" fmla="*/ 907549 h 970278"/>
                  <a:gd name="connsiteX366" fmla="*/ 629327 w 1060536"/>
                  <a:gd name="connsiteY366" fmla="*/ 901908 h 970278"/>
                  <a:gd name="connsiteX367" fmla="*/ 632937 w 1060536"/>
                  <a:gd name="connsiteY367" fmla="*/ 870543 h 970278"/>
                  <a:gd name="connsiteX368" fmla="*/ 643769 w 1060536"/>
                  <a:gd name="connsiteY368" fmla="*/ 854973 h 970278"/>
                  <a:gd name="connsiteX369" fmla="*/ 647153 w 1060536"/>
                  <a:gd name="connsiteY369" fmla="*/ 837824 h 970278"/>
                  <a:gd name="connsiteX370" fmla="*/ 641963 w 1060536"/>
                  <a:gd name="connsiteY370" fmla="*/ 832183 h 970278"/>
                  <a:gd name="connsiteX371" fmla="*/ 633614 w 1060536"/>
                  <a:gd name="connsiteY371" fmla="*/ 807587 h 970278"/>
                  <a:gd name="connsiteX372" fmla="*/ 632035 w 1060536"/>
                  <a:gd name="connsiteY372" fmla="*/ 782315 h 970278"/>
                  <a:gd name="connsiteX373" fmla="*/ 630907 w 1060536"/>
                  <a:gd name="connsiteY373" fmla="*/ 765166 h 970278"/>
                  <a:gd name="connsiteX374" fmla="*/ 640609 w 1060536"/>
                  <a:gd name="connsiteY374" fmla="*/ 731319 h 970278"/>
                  <a:gd name="connsiteX375" fmla="*/ 641286 w 1060536"/>
                  <a:gd name="connsiteY375" fmla="*/ 727709 h 970278"/>
                  <a:gd name="connsiteX376" fmla="*/ 645574 w 1060536"/>
                  <a:gd name="connsiteY376" fmla="*/ 718683 h 970278"/>
                  <a:gd name="connsiteX377" fmla="*/ 653020 w 1060536"/>
                  <a:gd name="connsiteY377" fmla="*/ 721391 h 970278"/>
                  <a:gd name="connsiteX378" fmla="*/ 656856 w 1060536"/>
                  <a:gd name="connsiteY378" fmla="*/ 734027 h 970278"/>
                  <a:gd name="connsiteX379" fmla="*/ 656630 w 1060536"/>
                  <a:gd name="connsiteY379" fmla="*/ 734704 h 970278"/>
                  <a:gd name="connsiteX380" fmla="*/ 661369 w 1060536"/>
                  <a:gd name="connsiteY380" fmla="*/ 733124 h 970278"/>
                  <a:gd name="connsiteX381" fmla="*/ 682354 w 1060536"/>
                  <a:gd name="connsiteY381" fmla="*/ 717780 h 970278"/>
                  <a:gd name="connsiteX382" fmla="*/ 685964 w 1060536"/>
                  <a:gd name="connsiteY382" fmla="*/ 713719 h 970278"/>
                  <a:gd name="connsiteX383" fmla="*/ 689575 w 1060536"/>
                  <a:gd name="connsiteY383" fmla="*/ 709431 h 970278"/>
                  <a:gd name="connsiteX384" fmla="*/ 698826 w 1060536"/>
                  <a:gd name="connsiteY384" fmla="*/ 702662 h 970278"/>
                  <a:gd name="connsiteX385" fmla="*/ 703113 w 1060536"/>
                  <a:gd name="connsiteY385" fmla="*/ 708754 h 970278"/>
                  <a:gd name="connsiteX386" fmla="*/ 698375 w 1060536"/>
                  <a:gd name="connsiteY386" fmla="*/ 732222 h 970278"/>
                  <a:gd name="connsiteX387" fmla="*/ 694764 w 1060536"/>
                  <a:gd name="connsiteY387" fmla="*/ 746437 h 970278"/>
                  <a:gd name="connsiteX388" fmla="*/ 709883 w 1060536"/>
                  <a:gd name="connsiteY388" fmla="*/ 756366 h 970278"/>
                  <a:gd name="connsiteX389" fmla="*/ 731770 w 1060536"/>
                  <a:gd name="connsiteY389" fmla="*/ 752079 h 970278"/>
                  <a:gd name="connsiteX390" fmla="*/ 732673 w 1060536"/>
                  <a:gd name="connsiteY390" fmla="*/ 751627 h 970278"/>
                  <a:gd name="connsiteX391" fmla="*/ 738991 w 1060536"/>
                  <a:gd name="connsiteY391" fmla="*/ 746889 h 970278"/>
                  <a:gd name="connsiteX392" fmla="*/ 751853 w 1060536"/>
                  <a:gd name="connsiteY392" fmla="*/ 740119 h 970278"/>
                  <a:gd name="connsiteX393" fmla="*/ 756817 w 1060536"/>
                  <a:gd name="connsiteY393" fmla="*/ 745083 h 970278"/>
                  <a:gd name="connsiteX394" fmla="*/ 759751 w 1060536"/>
                  <a:gd name="connsiteY394" fmla="*/ 780736 h 970278"/>
                  <a:gd name="connsiteX395" fmla="*/ 753432 w 1060536"/>
                  <a:gd name="connsiteY395" fmla="*/ 794726 h 970278"/>
                  <a:gd name="connsiteX396" fmla="*/ 750273 w 1060536"/>
                  <a:gd name="connsiteY396" fmla="*/ 804654 h 970278"/>
                  <a:gd name="connsiteX397" fmla="*/ 752981 w 1060536"/>
                  <a:gd name="connsiteY397" fmla="*/ 814131 h 970278"/>
                  <a:gd name="connsiteX398" fmla="*/ 755915 w 1060536"/>
                  <a:gd name="connsiteY398" fmla="*/ 829249 h 970278"/>
                  <a:gd name="connsiteX399" fmla="*/ 758397 w 1060536"/>
                  <a:gd name="connsiteY399" fmla="*/ 840532 h 970278"/>
                  <a:gd name="connsiteX400" fmla="*/ 759074 w 1060536"/>
                  <a:gd name="connsiteY400" fmla="*/ 848429 h 970278"/>
                  <a:gd name="connsiteX401" fmla="*/ 750048 w 1060536"/>
                  <a:gd name="connsiteY401" fmla="*/ 850911 h 970278"/>
                  <a:gd name="connsiteX402" fmla="*/ 735832 w 1060536"/>
                  <a:gd name="connsiteY402" fmla="*/ 846624 h 970278"/>
                  <a:gd name="connsiteX403" fmla="*/ 725678 w 1060536"/>
                  <a:gd name="connsiteY403" fmla="*/ 846850 h 970278"/>
                  <a:gd name="connsiteX404" fmla="*/ 709883 w 1060536"/>
                  <a:gd name="connsiteY404" fmla="*/ 871671 h 970278"/>
                  <a:gd name="connsiteX405" fmla="*/ 712591 w 1060536"/>
                  <a:gd name="connsiteY405" fmla="*/ 877763 h 970278"/>
                  <a:gd name="connsiteX406" fmla="*/ 746212 w 1060536"/>
                  <a:gd name="connsiteY406" fmla="*/ 874830 h 970278"/>
                  <a:gd name="connsiteX407" fmla="*/ 750273 w 1060536"/>
                  <a:gd name="connsiteY407" fmla="*/ 871671 h 970278"/>
                  <a:gd name="connsiteX408" fmla="*/ 766971 w 1060536"/>
                  <a:gd name="connsiteY408" fmla="*/ 867158 h 970278"/>
                  <a:gd name="connsiteX409" fmla="*/ 783895 w 1060536"/>
                  <a:gd name="connsiteY409" fmla="*/ 844593 h 970278"/>
                  <a:gd name="connsiteX410" fmla="*/ 795177 w 1060536"/>
                  <a:gd name="connsiteY410" fmla="*/ 820224 h 970278"/>
                  <a:gd name="connsiteX411" fmla="*/ 798787 w 1060536"/>
                  <a:gd name="connsiteY411" fmla="*/ 819998 h 970278"/>
                  <a:gd name="connsiteX412" fmla="*/ 811875 w 1060536"/>
                  <a:gd name="connsiteY412" fmla="*/ 822254 h 970278"/>
                  <a:gd name="connsiteX413" fmla="*/ 829701 w 1060536"/>
                  <a:gd name="connsiteY413" fmla="*/ 822480 h 970278"/>
                  <a:gd name="connsiteX414" fmla="*/ 860163 w 1060536"/>
                  <a:gd name="connsiteY414" fmla="*/ 825188 h 970278"/>
                  <a:gd name="connsiteX415" fmla="*/ 886112 w 1060536"/>
                  <a:gd name="connsiteY415" fmla="*/ 831055 h 970278"/>
                  <a:gd name="connsiteX416" fmla="*/ 887466 w 1060536"/>
                  <a:gd name="connsiteY416" fmla="*/ 812777 h 970278"/>
                  <a:gd name="connsiteX417" fmla="*/ 886338 w 1060536"/>
                  <a:gd name="connsiteY417" fmla="*/ 805331 h 970278"/>
                  <a:gd name="connsiteX418" fmla="*/ 904615 w 1060536"/>
                  <a:gd name="connsiteY418" fmla="*/ 790438 h 970278"/>
                  <a:gd name="connsiteX419" fmla="*/ 905518 w 1060536"/>
                  <a:gd name="connsiteY419" fmla="*/ 790213 h 970278"/>
                  <a:gd name="connsiteX420" fmla="*/ 910482 w 1060536"/>
                  <a:gd name="connsiteY420" fmla="*/ 783669 h 970278"/>
                  <a:gd name="connsiteX421" fmla="*/ 909354 w 1060536"/>
                  <a:gd name="connsiteY421" fmla="*/ 775546 h 970278"/>
                  <a:gd name="connsiteX422" fmla="*/ 905292 w 1060536"/>
                  <a:gd name="connsiteY422" fmla="*/ 764263 h 970278"/>
                  <a:gd name="connsiteX423" fmla="*/ 903036 w 1060536"/>
                  <a:gd name="connsiteY423" fmla="*/ 757494 h 970278"/>
                  <a:gd name="connsiteX424" fmla="*/ 901005 w 1060536"/>
                  <a:gd name="connsiteY424" fmla="*/ 757268 h 970278"/>
                  <a:gd name="connsiteX425" fmla="*/ 887466 w 1060536"/>
                  <a:gd name="connsiteY425" fmla="*/ 752981 h 970278"/>
                  <a:gd name="connsiteX426" fmla="*/ 882728 w 1060536"/>
                  <a:gd name="connsiteY426" fmla="*/ 731545 h 970278"/>
                  <a:gd name="connsiteX427" fmla="*/ 905292 w 1060536"/>
                  <a:gd name="connsiteY427" fmla="*/ 704693 h 970278"/>
                  <a:gd name="connsiteX428" fmla="*/ 939591 w 1060536"/>
                  <a:gd name="connsiteY428" fmla="*/ 699052 h 970278"/>
                  <a:gd name="connsiteX429" fmla="*/ 943652 w 1060536"/>
                  <a:gd name="connsiteY429" fmla="*/ 695216 h 970278"/>
                  <a:gd name="connsiteX430" fmla="*/ 939365 w 1060536"/>
                  <a:gd name="connsiteY430" fmla="*/ 670620 h 970278"/>
                  <a:gd name="connsiteX431" fmla="*/ 935303 w 1060536"/>
                  <a:gd name="connsiteY431" fmla="*/ 668138 h 970278"/>
                  <a:gd name="connsiteX432" fmla="*/ 900554 w 1060536"/>
                  <a:gd name="connsiteY432" fmla="*/ 674231 h 970278"/>
                  <a:gd name="connsiteX433" fmla="*/ 855876 w 1060536"/>
                  <a:gd name="connsiteY433" fmla="*/ 676938 h 970278"/>
                  <a:gd name="connsiteX434" fmla="*/ 844142 w 1060536"/>
                  <a:gd name="connsiteY434" fmla="*/ 621204 h 970278"/>
                  <a:gd name="connsiteX435" fmla="*/ 844594 w 1060536"/>
                  <a:gd name="connsiteY435" fmla="*/ 616691 h 970278"/>
                  <a:gd name="connsiteX436" fmla="*/ 863999 w 1060536"/>
                  <a:gd name="connsiteY436" fmla="*/ 598413 h 970278"/>
                  <a:gd name="connsiteX437" fmla="*/ 935529 w 1060536"/>
                  <a:gd name="connsiteY437" fmla="*/ 555766 h 970278"/>
                  <a:gd name="connsiteX438" fmla="*/ 1003223 w 1060536"/>
                  <a:gd name="connsiteY438" fmla="*/ 523273 h 970278"/>
                  <a:gd name="connsiteX439" fmla="*/ 1039552 w 1060536"/>
                  <a:gd name="connsiteY439" fmla="*/ 494616 h 970278"/>
                  <a:gd name="connsiteX440" fmla="*/ 1063019 w 1060536"/>
                  <a:gd name="connsiteY440" fmla="*/ 471826 h 970278"/>
                  <a:gd name="connsiteX441" fmla="*/ 1060086 w 1060536"/>
                  <a:gd name="connsiteY441" fmla="*/ 467539 h 970278"/>
                  <a:gd name="connsiteX442" fmla="*/ 1055121 w 1060536"/>
                  <a:gd name="connsiteY442" fmla="*/ 462123 h 970278"/>
                  <a:gd name="connsiteX443" fmla="*/ 1048126 w 1060536"/>
                  <a:gd name="connsiteY443" fmla="*/ 461898 h 970278"/>
                  <a:gd name="connsiteX444" fmla="*/ 1041357 w 1060536"/>
                  <a:gd name="connsiteY444" fmla="*/ 465282 h 970278"/>
                  <a:gd name="connsiteX445" fmla="*/ 1031654 w 1060536"/>
                  <a:gd name="connsiteY445" fmla="*/ 470021 h 970278"/>
                  <a:gd name="connsiteX446" fmla="*/ 1022854 w 1060536"/>
                  <a:gd name="connsiteY446" fmla="*/ 473406 h 970278"/>
                  <a:gd name="connsiteX447" fmla="*/ 1013603 w 1060536"/>
                  <a:gd name="connsiteY447" fmla="*/ 470021 h 970278"/>
                  <a:gd name="connsiteX448" fmla="*/ 1000966 w 1060536"/>
                  <a:gd name="connsiteY448" fmla="*/ 465282 h 970278"/>
                  <a:gd name="connsiteX449" fmla="*/ 989910 w 1060536"/>
                  <a:gd name="connsiteY449" fmla="*/ 470021 h 970278"/>
                  <a:gd name="connsiteX450" fmla="*/ 978853 w 1060536"/>
                  <a:gd name="connsiteY450" fmla="*/ 475211 h 970278"/>
                  <a:gd name="connsiteX451" fmla="*/ 969376 w 1060536"/>
                  <a:gd name="connsiteY451" fmla="*/ 468667 h 970278"/>
                  <a:gd name="connsiteX452" fmla="*/ 976822 w 1060536"/>
                  <a:gd name="connsiteY452" fmla="*/ 460318 h 970278"/>
                  <a:gd name="connsiteX453" fmla="*/ 987428 w 1060536"/>
                  <a:gd name="connsiteY453" fmla="*/ 452646 h 970278"/>
                  <a:gd name="connsiteX454" fmla="*/ 986976 w 1060536"/>
                  <a:gd name="connsiteY454" fmla="*/ 449487 h 970278"/>
                  <a:gd name="connsiteX455" fmla="*/ 979981 w 1060536"/>
                  <a:gd name="connsiteY455" fmla="*/ 445877 h 970278"/>
                  <a:gd name="connsiteX456" fmla="*/ 975243 w 1060536"/>
                  <a:gd name="connsiteY456" fmla="*/ 444523 h 970278"/>
                  <a:gd name="connsiteX457" fmla="*/ 972535 w 1060536"/>
                  <a:gd name="connsiteY457" fmla="*/ 441815 h 970278"/>
                  <a:gd name="connsiteX458" fmla="*/ 978176 w 1060536"/>
                  <a:gd name="connsiteY458" fmla="*/ 433015 h 970278"/>
                  <a:gd name="connsiteX459" fmla="*/ 982915 w 1060536"/>
                  <a:gd name="connsiteY459" fmla="*/ 427825 h 970278"/>
                  <a:gd name="connsiteX460" fmla="*/ 982463 w 1060536"/>
                  <a:gd name="connsiteY460" fmla="*/ 415414 h 970278"/>
                  <a:gd name="connsiteX461" fmla="*/ 965540 w 1060536"/>
                  <a:gd name="connsiteY461" fmla="*/ 400522 h 970278"/>
                  <a:gd name="connsiteX462" fmla="*/ 950196 w 1060536"/>
                  <a:gd name="connsiteY462" fmla="*/ 377055 h 970278"/>
                  <a:gd name="connsiteX463" fmla="*/ 949293 w 1060536"/>
                  <a:gd name="connsiteY463" fmla="*/ 374573 h 970278"/>
                  <a:gd name="connsiteX464" fmla="*/ 947262 w 1060536"/>
                  <a:gd name="connsiteY464" fmla="*/ 355618 h 970278"/>
                  <a:gd name="connsiteX465" fmla="*/ 947262 w 1060536"/>
                  <a:gd name="connsiteY465" fmla="*/ 347946 h 970278"/>
                  <a:gd name="connsiteX466" fmla="*/ 944780 w 1060536"/>
                  <a:gd name="connsiteY466" fmla="*/ 339146 h 970278"/>
                  <a:gd name="connsiteX467" fmla="*/ 937785 w 1060536"/>
                  <a:gd name="connsiteY467" fmla="*/ 339823 h 970278"/>
                  <a:gd name="connsiteX468" fmla="*/ 926052 w 1060536"/>
                  <a:gd name="connsiteY468" fmla="*/ 342305 h 970278"/>
                  <a:gd name="connsiteX469" fmla="*/ 920862 w 1060536"/>
                  <a:gd name="connsiteY469" fmla="*/ 344562 h 970278"/>
                  <a:gd name="connsiteX470" fmla="*/ 912513 w 1060536"/>
                  <a:gd name="connsiteY470" fmla="*/ 351557 h 970278"/>
                  <a:gd name="connsiteX471" fmla="*/ 897395 w 1060536"/>
                  <a:gd name="connsiteY471" fmla="*/ 356070 h 970278"/>
                  <a:gd name="connsiteX472" fmla="*/ 894687 w 1060536"/>
                  <a:gd name="connsiteY472" fmla="*/ 352459 h 970278"/>
                  <a:gd name="connsiteX473" fmla="*/ 898072 w 1060536"/>
                  <a:gd name="connsiteY473" fmla="*/ 338243 h 970278"/>
                  <a:gd name="connsiteX474" fmla="*/ 897395 w 1060536"/>
                  <a:gd name="connsiteY474" fmla="*/ 329218 h 970278"/>
                  <a:gd name="connsiteX475" fmla="*/ 897169 w 1060536"/>
                  <a:gd name="connsiteY475" fmla="*/ 312746 h 970278"/>
                  <a:gd name="connsiteX476" fmla="*/ 897395 w 1060536"/>
                  <a:gd name="connsiteY476" fmla="*/ 312294 h 970278"/>
                  <a:gd name="connsiteX477" fmla="*/ 899200 w 1060536"/>
                  <a:gd name="connsiteY477" fmla="*/ 300109 h 970278"/>
                  <a:gd name="connsiteX478" fmla="*/ 896943 w 1060536"/>
                  <a:gd name="connsiteY478" fmla="*/ 293114 h 970278"/>
                  <a:gd name="connsiteX479" fmla="*/ 895815 w 1060536"/>
                  <a:gd name="connsiteY479" fmla="*/ 289504 h 970278"/>
                  <a:gd name="connsiteX480" fmla="*/ 880923 w 1060536"/>
                  <a:gd name="connsiteY480" fmla="*/ 294468 h 970278"/>
                  <a:gd name="connsiteX481" fmla="*/ 878215 w 1060536"/>
                  <a:gd name="connsiteY481" fmla="*/ 298304 h 970278"/>
                  <a:gd name="connsiteX482" fmla="*/ 873025 w 1060536"/>
                  <a:gd name="connsiteY482" fmla="*/ 306879 h 970278"/>
                  <a:gd name="connsiteX483" fmla="*/ 851814 w 1060536"/>
                  <a:gd name="connsiteY483" fmla="*/ 312971 h 970278"/>
                  <a:gd name="connsiteX484" fmla="*/ 847301 w 1060536"/>
                  <a:gd name="connsiteY484" fmla="*/ 308458 h 970278"/>
                  <a:gd name="connsiteX485" fmla="*/ 845496 w 1060536"/>
                  <a:gd name="connsiteY485" fmla="*/ 303720 h 970278"/>
                  <a:gd name="connsiteX486" fmla="*/ 844142 w 1060536"/>
                  <a:gd name="connsiteY486" fmla="*/ 300561 h 970278"/>
                  <a:gd name="connsiteX487" fmla="*/ 837599 w 1060536"/>
                  <a:gd name="connsiteY487" fmla="*/ 292437 h 970278"/>
                  <a:gd name="connsiteX488" fmla="*/ 831732 w 1060536"/>
                  <a:gd name="connsiteY488" fmla="*/ 296499 h 970278"/>
                  <a:gd name="connsiteX489" fmla="*/ 830603 w 1060536"/>
                  <a:gd name="connsiteY489" fmla="*/ 298304 h 970278"/>
                  <a:gd name="connsiteX490" fmla="*/ 821126 w 1060536"/>
                  <a:gd name="connsiteY490" fmla="*/ 305525 h 970278"/>
                  <a:gd name="connsiteX491" fmla="*/ 818644 w 1060536"/>
                  <a:gd name="connsiteY491" fmla="*/ 306653 h 970278"/>
                  <a:gd name="connsiteX492" fmla="*/ 816162 w 1060536"/>
                  <a:gd name="connsiteY492" fmla="*/ 312069 h 970278"/>
                  <a:gd name="connsiteX493" fmla="*/ 810747 w 1060536"/>
                  <a:gd name="connsiteY493" fmla="*/ 321771 h 970278"/>
                  <a:gd name="connsiteX494" fmla="*/ 808264 w 1060536"/>
                  <a:gd name="connsiteY494" fmla="*/ 328089 h 970278"/>
                  <a:gd name="connsiteX495" fmla="*/ 808490 w 1060536"/>
                  <a:gd name="connsiteY495" fmla="*/ 330797 h 970278"/>
                  <a:gd name="connsiteX496" fmla="*/ 806234 w 1060536"/>
                  <a:gd name="connsiteY496" fmla="*/ 334182 h 970278"/>
                  <a:gd name="connsiteX497" fmla="*/ 785474 w 1060536"/>
                  <a:gd name="connsiteY497" fmla="*/ 333731 h 970278"/>
                  <a:gd name="connsiteX498" fmla="*/ 777802 w 1060536"/>
                  <a:gd name="connsiteY498" fmla="*/ 325833 h 970278"/>
                  <a:gd name="connsiteX499" fmla="*/ 780510 w 1060536"/>
                  <a:gd name="connsiteY499" fmla="*/ 317935 h 970278"/>
                  <a:gd name="connsiteX500" fmla="*/ 785023 w 1060536"/>
                  <a:gd name="connsiteY500" fmla="*/ 306427 h 970278"/>
                  <a:gd name="connsiteX501" fmla="*/ 786377 w 1060536"/>
                  <a:gd name="connsiteY501" fmla="*/ 300786 h 970278"/>
                  <a:gd name="connsiteX502" fmla="*/ 788633 w 1060536"/>
                  <a:gd name="connsiteY502" fmla="*/ 291986 h 970278"/>
                  <a:gd name="connsiteX503" fmla="*/ 790213 w 1060536"/>
                  <a:gd name="connsiteY503" fmla="*/ 285894 h 970278"/>
                  <a:gd name="connsiteX504" fmla="*/ 784797 w 1060536"/>
                  <a:gd name="connsiteY504" fmla="*/ 266939 h 970278"/>
                  <a:gd name="connsiteX505" fmla="*/ 770130 w 1060536"/>
                  <a:gd name="connsiteY505" fmla="*/ 257462 h 970278"/>
                  <a:gd name="connsiteX506" fmla="*/ 761556 w 1060536"/>
                  <a:gd name="connsiteY506" fmla="*/ 252724 h 970278"/>
                  <a:gd name="connsiteX507" fmla="*/ 756592 w 1060536"/>
                  <a:gd name="connsiteY507" fmla="*/ 245954 h 970278"/>
                  <a:gd name="connsiteX508" fmla="*/ 740345 w 1060536"/>
                  <a:gd name="connsiteY508" fmla="*/ 226774 h 970278"/>
                  <a:gd name="connsiteX509" fmla="*/ 733801 w 1060536"/>
                  <a:gd name="connsiteY509" fmla="*/ 216620 h 970278"/>
                  <a:gd name="connsiteX510" fmla="*/ 734478 w 1060536"/>
                  <a:gd name="connsiteY510" fmla="*/ 204210 h 970278"/>
                  <a:gd name="connsiteX511" fmla="*/ 732222 w 1060536"/>
                  <a:gd name="connsiteY511" fmla="*/ 197892 h 970278"/>
                  <a:gd name="connsiteX512" fmla="*/ 729514 w 1060536"/>
                  <a:gd name="connsiteY512" fmla="*/ 186609 h 970278"/>
                  <a:gd name="connsiteX513" fmla="*/ 730417 w 1060536"/>
                  <a:gd name="connsiteY513" fmla="*/ 185030 h 970278"/>
                  <a:gd name="connsiteX514" fmla="*/ 730191 w 1060536"/>
                  <a:gd name="connsiteY514" fmla="*/ 169911 h 970278"/>
                  <a:gd name="connsiteX515" fmla="*/ 725001 w 1060536"/>
                  <a:gd name="connsiteY515" fmla="*/ 160886 h 970278"/>
                  <a:gd name="connsiteX516" fmla="*/ 719360 w 1060536"/>
                  <a:gd name="connsiteY516" fmla="*/ 144413 h 970278"/>
                  <a:gd name="connsiteX517" fmla="*/ 716427 w 1060536"/>
                  <a:gd name="connsiteY517" fmla="*/ 136967 h 970278"/>
                  <a:gd name="connsiteX518" fmla="*/ 707626 w 1060536"/>
                  <a:gd name="connsiteY518" fmla="*/ 135613 h 970278"/>
                  <a:gd name="connsiteX519" fmla="*/ 687995 w 1060536"/>
                  <a:gd name="connsiteY519" fmla="*/ 135388 h 970278"/>
                  <a:gd name="connsiteX520" fmla="*/ 679872 w 1060536"/>
                  <a:gd name="connsiteY520" fmla="*/ 130423 h 970278"/>
                  <a:gd name="connsiteX521" fmla="*/ 674456 w 1060536"/>
                  <a:gd name="connsiteY521" fmla="*/ 127490 h 970278"/>
                  <a:gd name="connsiteX522" fmla="*/ 663851 w 1060536"/>
                  <a:gd name="connsiteY522" fmla="*/ 122075 h 970278"/>
                  <a:gd name="connsiteX523" fmla="*/ 661369 w 1060536"/>
                  <a:gd name="connsiteY523" fmla="*/ 118464 h 970278"/>
                  <a:gd name="connsiteX524" fmla="*/ 661369 w 1060536"/>
                  <a:gd name="connsiteY524" fmla="*/ 118239 h 970278"/>
                  <a:gd name="connsiteX525" fmla="*/ 654374 w 1060536"/>
                  <a:gd name="connsiteY525" fmla="*/ 120721 h 970278"/>
                  <a:gd name="connsiteX526" fmla="*/ 645122 w 1060536"/>
                  <a:gd name="connsiteY526" fmla="*/ 125234 h 970278"/>
                  <a:gd name="connsiteX527" fmla="*/ 630455 w 1060536"/>
                  <a:gd name="connsiteY527" fmla="*/ 127264 h 970278"/>
                  <a:gd name="connsiteX528" fmla="*/ 623009 w 1060536"/>
                  <a:gd name="connsiteY528" fmla="*/ 100864 h 970278"/>
                  <a:gd name="connsiteX529" fmla="*/ 623460 w 1060536"/>
                  <a:gd name="connsiteY529" fmla="*/ 93417 h 970278"/>
                  <a:gd name="connsiteX530" fmla="*/ 625717 w 1060536"/>
                  <a:gd name="connsiteY530" fmla="*/ 82586 h 970278"/>
                  <a:gd name="connsiteX531" fmla="*/ 630907 w 1060536"/>
                  <a:gd name="connsiteY531" fmla="*/ 71078 h 970278"/>
                  <a:gd name="connsiteX532" fmla="*/ 629778 w 1060536"/>
                  <a:gd name="connsiteY532" fmla="*/ 69950 h 970278"/>
                  <a:gd name="connsiteX533" fmla="*/ 625942 w 1060536"/>
                  <a:gd name="connsiteY533" fmla="*/ 68596 h 970278"/>
                  <a:gd name="connsiteX534" fmla="*/ 614209 w 1060536"/>
                  <a:gd name="connsiteY534" fmla="*/ 63858 h 970278"/>
                  <a:gd name="connsiteX535" fmla="*/ 613758 w 1060536"/>
                  <a:gd name="connsiteY535" fmla="*/ 63407 h 970278"/>
                  <a:gd name="connsiteX536" fmla="*/ 613532 w 1060536"/>
                  <a:gd name="connsiteY536" fmla="*/ 62730 h 970278"/>
                  <a:gd name="connsiteX537" fmla="*/ 615111 w 1060536"/>
                  <a:gd name="connsiteY537" fmla="*/ 53929 h 970278"/>
                  <a:gd name="connsiteX538" fmla="*/ 616691 w 1060536"/>
                  <a:gd name="connsiteY538" fmla="*/ 51222 h 970278"/>
                  <a:gd name="connsiteX539" fmla="*/ 620076 w 1060536"/>
                  <a:gd name="connsiteY539" fmla="*/ 46257 h 970278"/>
                  <a:gd name="connsiteX540" fmla="*/ 620753 w 1060536"/>
                  <a:gd name="connsiteY540" fmla="*/ 44227 h 970278"/>
                  <a:gd name="connsiteX541" fmla="*/ 622106 w 1060536"/>
                  <a:gd name="connsiteY541" fmla="*/ 41068 h 970278"/>
                  <a:gd name="connsiteX542" fmla="*/ 615563 w 1060536"/>
                  <a:gd name="connsiteY542" fmla="*/ 41293 h 970278"/>
                  <a:gd name="connsiteX543" fmla="*/ 607665 w 1060536"/>
                  <a:gd name="connsiteY543" fmla="*/ 42196 h 970278"/>
                  <a:gd name="connsiteX544" fmla="*/ 585100 w 1060536"/>
                  <a:gd name="connsiteY544" fmla="*/ 36555 h 970278"/>
                  <a:gd name="connsiteX545" fmla="*/ 581716 w 1060536"/>
                  <a:gd name="connsiteY545" fmla="*/ 35426 h 970278"/>
                  <a:gd name="connsiteX546" fmla="*/ 569757 w 1060536"/>
                  <a:gd name="connsiteY546" fmla="*/ 34298 h 970278"/>
                  <a:gd name="connsiteX547" fmla="*/ 562987 w 1060536"/>
                  <a:gd name="connsiteY547" fmla="*/ 34975 h 970278"/>
                  <a:gd name="connsiteX548" fmla="*/ 552607 w 1060536"/>
                  <a:gd name="connsiteY548" fmla="*/ 30462 h 970278"/>
                  <a:gd name="connsiteX549" fmla="*/ 549448 w 1060536"/>
                  <a:gd name="connsiteY549" fmla="*/ 26401 h 970278"/>
                  <a:gd name="connsiteX550" fmla="*/ 551028 w 1060536"/>
                  <a:gd name="connsiteY550" fmla="*/ 13990 h 970278"/>
                  <a:gd name="connsiteX551" fmla="*/ 556895 w 1060536"/>
                  <a:gd name="connsiteY551" fmla="*/ 7672 h 970278"/>
                  <a:gd name="connsiteX552" fmla="*/ 557797 w 1060536"/>
                  <a:gd name="connsiteY552" fmla="*/ 5641 h 970278"/>
                  <a:gd name="connsiteX553" fmla="*/ 556443 w 1060536"/>
                  <a:gd name="connsiteY553" fmla="*/ 6769 h 970278"/>
                  <a:gd name="connsiteX554" fmla="*/ 554864 w 1060536"/>
                  <a:gd name="connsiteY554" fmla="*/ 8349 h 970278"/>
                  <a:gd name="connsiteX555" fmla="*/ 539971 w 1060536"/>
                  <a:gd name="connsiteY555" fmla="*/ 20985 h 970278"/>
                  <a:gd name="connsiteX556" fmla="*/ 525304 w 1060536"/>
                  <a:gd name="connsiteY556" fmla="*/ 25272 h 970278"/>
                  <a:gd name="connsiteX557" fmla="*/ 518986 w 1060536"/>
                  <a:gd name="connsiteY557" fmla="*/ 24370 h 970278"/>
                  <a:gd name="connsiteX558" fmla="*/ 493939 w 1060536"/>
                  <a:gd name="connsiteY558" fmla="*/ 32719 h 970278"/>
                  <a:gd name="connsiteX559" fmla="*/ 491457 w 1060536"/>
                  <a:gd name="connsiteY559" fmla="*/ 40842 h 970278"/>
                  <a:gd name="connsiteX560" fmla="*/ 490780 w 1060536"/>
                  <a:gd name="connsiteY560" fmla="*/ 46934 h 970278"/>
                  <a:gd name="connsiteX561" fmla="*/ 489426 w 1060536"/>
                  <a:gd name="connsiteY561" fmla="*/ 55058 h 970278"/>
                  <a:gd name="connsiteX562" fmla="*/ 486944 w 1060536"/>
                  <a:gd name="connsiteY562" fmla="*/ 69048 h 970278"/>
                  <a:gd name="connsiteX563" fmla="*/ 472503 w 1060536"/>
                  <a:gd name="connsiteY563" fmla="*/ 95674 h 970278"/>
                  <a:gd name="connsiteX564" fmla="*/ 468893 w 1060536"/>
                  <a:gd name="connsiteY564" fmla="*/ 102443 h 970278"/>
                  <a:gd name="connsiteX565" fmla="*/ 455805 w 1060536"/>
                  <a:gd name="connsiteY565" fmla="*/ 121398 h 970278"/>
                  <a:gd name="connsiteX566" fmla="*/ 444072 w 1060536"/>
                  <a:gd name="connsiteY566" fmla="*/ 134936 h 970278"/>
                  <a:gd name="connsiteX567" fmla="*/ 439559 w 1060536"/>
                  <a:gd name="connsiteY567" fmla="*/ 141029 h 970278"/>
                  <a:gd name="connsiteX568" fmla="*/ 436625 w 1060536"/>
                  <a:gd name="connsiteY568" fmla="*/ 149378 h 970278"/>
                  <a:gd name="connsiteX569" fmla="*/ 428728 w 1060536"/>
                  <a:gd name="connsiteY569" fmla="*/ 162240 h 970278"/>
                  <a:gd name="connsiteX570" fmla="*/ 423087 w 1060536"/>
                  <a:gd name="connsiteY570" fmla="*/ 162465 h 970278"/>
                  <a:gd name="connsiteX571" fmla="*/ 416543 w 1060536"/>
                  <a:gd name="connsiteY571" fmla="*/ 163142 h 970278"/>
                  <a:gd name="connsiteX572" fmla="*/ 406840 w 1060536"/>
                  <a:gd name="connsiteY572" fmla="*/ 168106 h 970278"/>
                  <a:gd name="connsiteX573" fmla="*/ 393527 w 1060536"/>
                  <a:gd name="connsiteY573" fmla="*/ 174424 h 970278"/>
                  <a:gd name="connsiteX574" fmla="*/ 364644 w 1060536"/>
                  <a:gd name="connsiteY574" fmla="*/ 191348 h 970278"/>
                  <a:gd name="connsiteX575" fmla="*/ 358326 w 1060536"/>
                  <a:gd name="connsiteY575" fmla="*/ 203984 h 970278"/>
                  <a:gd name="connsiteX576" fmla="*/ 355618 w 1060536"/>
                  <a:gd name="connsiteY576" fmla="*/ 212107 h 970278"/>
                  <a:gd name="connsiteX577" fmla="*/ 351331 w 1060536"/>
                  <a:gd name="connsiteY577" fmla="*/ 222487 h 970278"/>
                  <a:gd name="connsiteX578" fmla="*/ 345690 w 1060536"/>
                  <a:gd name="connsiteY578" fmla="*/ 235349 h 970278"/>
                  <a:gd name="connsiteX579" fmla="*/ 344110 w 1060536"/>
                  <a:gd name="connsiteY579" fmla="*/ 237605 h 970278"/>
                  <a:gd name="connsiteX580" fmla="*/ 331023 w 1060536"/>
                  <a:gd name="connsiteY580" fmla="*/ 249790 h 970278"/>
                  <a:gd name="connsiteX581" fmla="*/ 317484 w 1060536"/>
                  <a:gd name="connsiteY581" fmla="*/ 259719 h 970278"/>
                  <a:gd name="connsiteX582" fmla="*/ 315228 w 1060536"/>
                  <a:gd name="connsiteY582" fmla="*/ 261749 h 970278"/>
                  <a:gd name="connsiteX583" fmla="*/ 306879 w 1060536"/>
                  <a:gd name="connsiteY583" fmla="*/ 273483 h 970278"/>
                  <a:gd name="connsiteX584" fmla="*/ 301238 w 1060536"/>
                  <a:gd name="connsiteY584" fmla="*/ 288827 h 970278"/>
                  <a:gd name="connsiteX585" fmla="*/ 300561 w 1060536"/>
                  <a:gd name="connsiteY585" fmla="*/ 290407 h 970278"/>
                  <a:gd name="connsiteX586" fmla="*/ 288601 w 1060536"/>
                  <a:gd name="connsiteY586" fmla="*/ 298981 h 970278"/>
                  <a:gd name="connsiteX587" fmla="*/ 282735 w 1060536"/>
                  <a:gd name="connsiteY587" fmla="*/ 301689 h 970278"/>
                  <a:gd name="connsiteX588" fmla="*/ 265134 w 1060536"/>
                  <a:gd name="connsiteY588" fmla="*/ 308007 h 970278"/>
                  <a:gd name="connsiteX589" fmla="*/ 251821 w 1060536"/>
                  <a:gd name="connsiteY589" fmla="*/ 307781 h 970278"/>
                  <a:gd name="connsiteX590" fmla="*/ 245277 w 1060536"/>
                  <a:gd name="connsiteY590" fmla="*/ 307104 h 970278"/>
                  <a:gd name="connsiteX591" fmla="*/ 238734 w 1060536"/>
                  <a:gd name="connsiteY591" fmla="*/ 306879 h 970278"/>
                  <a:gd name="connsiteX592" fmla="*/ 220231 w 1060536"/>
                  <a:gd name="connsiteY592" fmla="*/ 307781 h 970278"/>
                  <a:gd name="connsiteX593" fmla="*/ 210528 w 1060536"/>
                  <a:gd name="connsiteY593" fmla="*/ 311392 h 970278"/>
                  <a:gd name="connsiteX594" fmla="*/ 188415 w 1060536"/>
                  <a:gd name="connsiteY594" fmla="*/ 319515 h 970278"/>
                  <a:gd name="connsiteX595" fmla="*/ 162014 w 1060536"/>
                  <a:gd name="connsiteY595" fmla="*/ 321546 h 970278"/>
                  <a:gd name="connsiteX596" fmla="*/ 158178 w 1060536"/>
                  <a:gd name="connsiteY596" fmla="*/ 315228 h 970278"/>
                  <a:gd name="connsiteX597" fmla="*/ 155245 w 1060536"/>
                  <a:gd name="connsiteY597" fmla="*/ 310940 h 970278"/>
                  <a:gd name="connsiteX598" fmla="*/ 150055 w 1060536"/>
                  <a:gd name="connsiteY598" fmla="*/ 293791 h 970278"/>
                  <a:gd name="connsiteX599" fmla="*/ 145090 w 1060536"/>
                  <a:gd name="connsiteY599" fmla="*/ 277996 h 970278"/>
                  <a:gd name="connsiteX600" fmla="*/ 125685 w 1060536"/>
                  <a:gd name="connsiteY600" fmla="*/ 273709 h 970278"/>
                  <a:gd name="connsiteX601" fmla="*/ 116659 w 1060536"/>
                  <a:gd name="connsiteY601" fmla="*/ 278899 h 970278"/>
                  <a:gd name="connsiteX602" fmla="*/ 108310 w 1060536"/>
                  <a:gd name="connsiteY602" fmla="*/ 284765 h 970278"/>
                  <a:gd name="connsiteX603" fmla="*/ 100864 w 1060536"/>
                  <a:gd name="connsiteY603" fmla="*/ 289504 h 970278"/>
                  <a:gd name="connsiteX604" fmla="*/ 91387 w 1060536"/>
                  <a:gd name="connsiteY604" fmla="*/ 295145 h 970278"/>
                  <a:gd name="connsiteX605" fmla="*/ 83038 w 1060536"/>
                  <a:gd name="connsiteY605" fmla="*/ 313197 h 970278"/>
                  <a:gd name="connsiteX606" fmla="*/ 82812 w 1060536"/>
                  <a:gd name="connsiteY606" fmla="*/ 313874 h 970278"/>
                  <a:gd name="connsiteX607" fmla="*/ 74238 w 1060536"/>
                  <a:gd name="connsiteY607" fmla="*/ 333956 h 970278"/>
                  <a:gd name="connsiteX608" fmla="*/ 69048 w 1060536"/>
                  <a:gd name="connsiteY608" fmla="*/ 338243 h 970278"/>
                  <a:gd name="connsiteX609" fmla="*/ 62504 w 1060536"/>
                  <a:gd name="connsiteY609" fmla="*/ 343659 h 970278"/>
                  <a:gd name="connsiteX610" fmla="*/ 56637 w 1060536"/>
                  <a:gd name="connsiteY610" fmla="*/ 348172 h 970278"/>
                  <a:gd name="connsiteX611" fmla="*/ 44904 w 1060536"/>
                  <a:gd name="connsiteY611" fmla="*/ 357198 h 970278"/>
                  <a:gd name="connsiteX612" fmla="*/ 34750 w 1060536"/>
                  <a:gd name="connsiteY612" fmla="*/ 365095 h 970278"/>
                  <a:gd name="connsiteX613" fmla="*/ 23693 w 1060536"/>
                  <a:gd name="connsiteY613" fmla="*/ 372542 h 970278"/>
                  <a:gd name="connsiteX614" fmla="*/ 18503 w 1060536"/>
                  <a:gd name="connsiteY614" fmla="*/ 381116 h 970278"/>
                  <a:gd name="connsiteX615" fmla="*/ 11508 w 1060536"/>
                  <a:gd name="connsiteY615" fmla="*/ 392624 h 970278"/>
                  <a:gd name="connsiteX616" fmla="*/ 2933 w 1060536"/>
                  <a:gd name="connsiteY616" fmla="*/ 416994 h 970278"/>
                  <a:gd name="connsiteX617" fmla="*/ 5641 w 1060536"/>
                  <a:gd name="connsiteY617" fmla="*/ 440687 h 970278"/>
                  <a:gd name="connsiteX618" fmla="*/ 11959 w 1060536"/>
                  <a:gd name="connsiteY618" fmla="*/ 445200 h 970278"/>
                  <a:gd name="connsiteX619" fmla="*/ 20534 w 1060536"/>
                  <a:gd name="connsiteY619" fmla="*/ 449261 h 970278"/>
                  <a:gd name="connsiteX620" fmla="*/ 27529 w 1060536"/>
                  <a:gd name="connsiteY620" fmla="*/ 455128 h 970278"/>
                  <a:gd name="connsiteX621" fmla="*/ 38134 w 1060536"/>
                  <a:gd name="connsiteY621" fmla="*/ 461672 h 970278"/>
                  <a:gd name="connsiteX622" fmla="*/ 56863 w 1060536"/>
                  <a:gd name="connsiteY622" fmla="*/ 461446 h 970278"/>
                  <a:gd name="connsiteX623" fmla="*/ 58668 w 1060536"/>
                  <a:gd name="connsiteY623" fmla="*/ 461221 h 970278"/>
                  <a:gd name="connsiteX624" fmla="*/ 73786 w 1060536"/>
                  <a:gd name="connsiteY624" fmla="*/ 465734 h 970278"/>
                  <a:gd name="connsiteX625" fmla="*/ 74915 w 1060536"/>
                  <a:gd name="connsiteY625" fmla="*/ 466636 h 970278"/>
                  <a:gd name="connsiteX626" fmla="*/ 75366 w 1060536"/>
                  <a:gd name="connsiteY626" fmla="*/ 466862 h 970278"/>
                  <a:gd name="connsiteX627" fmla="*/ 79879 w 1060536"/>
                  <a:gd name="connsiteY627" fmla="*/ 478595 h 970278"/>
                  <a:gd name="connsiteX628" fmla="*/ 79879 w 1060536"/>
                  <a:gd name="connsiteY628" fmla="*/ 486042 h 970278"/>
                  <a:gd name="connsiteX629" fmla="*/ 80330 w 1060536"/>
                  <a:gd name="connsiteY629" fmla="*/ 501611 h 970278"/>
                  <a:gd name="connsiteX630" fmla="*/ 79879 w 1060536"/>
                  <a:gd name="connsiteY630" fmla="*/ 504093 h 970278"/>
                  <a:gd name="connsiteX631" fmla="*/ 66340 w 1060536"/>
                  <a:gd name="connsiteY631" fmla="*/ 530043 h 970278"/>
                  <a:gd name="connsiteX632" fmla="*/ 63181 w 1060536"/>
                  <a:gd name="connsiteY632" fmla="*/ 533427 h 970278"/>
                  <a:gd name="connsiteX633" fmla="*/ 65437 w 1060536"/>
                  <a:gd name="connsiteY633" fmla="*/ 536812 h 970278"/>
                  <a:gd name="connsiteX634" fmla="*/ 67919 w 1060536"/>
                  <a:gd name="connsiteY634" fmla="*/ 541776 h 970278"/>
                  <a:gd name="connsiteX635" fmla="*/ 69725 w 1060536"/>
                  <a:gd name="connsiteY635" fmla="*/ 560505 h 970278"/>
                  <a:gd name="connsiteX636" fmla="*/ 75817 w 1060536"/>
                  <a:gd name="connsiteY636" fmla="*/ 567726 h 970278"/>
                  <a:gd name="connsiteX637" fmla="*/ 81910 w 1060536"/>
                  <a:gd name="connsiteY637" fmla="*/ 574495 h 970278"/>
                  <a:gd name="connsiteX638" fmla="*/ 83940 w 1060536"/>
                  <a:gd name="connsiteY638" fmla="*/ 577654 h 970278"/>
                  <a:gd name="connsiteX639" fmla="*/ 94320 w 1060536"/>
                  <a:gd name="connsiteY639" fmla="*/ 589388 h 970278"/>
                  <a:gd name="connsiteX640" fmla="*/ 108987 w 1060536"/>
                  <a:gd name="connsiteY640" fmla="*/ 588485 h 970278"/>
                  <a:gd name="connsiteX641" fmla="*/ 118464 w 1060536"/>
                  <a:gd name="connsiteY641" fmla="*/ 586229 h 970278"/>
                  <a:gd name="connsiteX642" fmla="*/ 132680 w 1060536"/>
                  <a:gd name="connsiteY642" fmla="*/ 587808 h 970278"/>
                  <a:gd name="connsiteX643" fmla="*/ 131777 w 1060536"/>
                  <a:gd name="connsiteY643" fmla="*/ 595931 h 970278"/>
                  <a:gd name="connsiteX644" fmla="*/ 131326 w 1060536"/>
                  <a:gd name="connsiteY644" fmla="*/ 607891 h 970278"/>
                  <a:gd name="connsiteX645" fmla="*/ 132003 w 1060536"/>
                  <a:gd name="connsiteY645" fmla="*/ 612404 h 970278"/>
                  <a:gd name="connsiteX646" fmla="*/ 138321 w 1060536"/>
                  <a:gd name="connsiteY646" fmla="*/ 648958 h 970278"/>
                  <a:gd name="connsiteX647" fmla="*/ 148250 w 1060536"/>
                  <a:gd name="connsiteY647" fmla="*/ 657081 h 970278"/>
                  <a:gd name="connsiteX648" fmla="*/ 157952 w 1060536"/>
                  <a:gd name="connsiteY648" fmla="*/ 665882 h 970278"/>
                  <a:gd name="connsiteX649" fmla="*/ 158178 w 1060536"/>
                  <a:gd name="connsiteY649" fmla="*/ 674907 h 970278"/>
                  <a:gd name="connsiteX650" fmla="*/ 160660 w 1060536"/>
                  <a:gd name="connsiteY650" fmla="*/ 692733 h 970278"/>
                  <a:gd name="connsiteX651" fmla="*/ 167204 w 1060536"/>
                  <a:gd name="connsiteY651" fmla="*/ 708077 h 970278"/>
                  <a:gd name="connsiteX652" fmla="*/ 171040 w 1060536"/>
                  <a:gd name="connsiteY652" fmla="*/ 718006 h 970278"/>
                  <a:gd name="connsiteX653" fmla="*/ 174650 w 1060536"/>
                  <a:gd name="connsiteY653" fmla="*/ 722519 h 970278"/>
                  <a:gd name="connsiteX654" fmla="*/ 181420 w 1060536"/>
                  <a:gd name="connsiteY654" fmla="*/ 735606 h 970278"/>
                  <a:gd name="connsiteX655" fmla="*/ 178260 w 1060536"/>
                  <a:gd name="connsiteY655" fmla="*/ 738991 h 970278"/>
                  <a:gd name="connsiteX656" fmla="*/ 176004 w 1060536"/>
                  <a:gd name="connsiteY656" fmla="*/ 739894 h 970278"/>
                  <a:gd name="connsiteX657" fmla="*/ 190671 w 1060536"/>
                  <a:gd name="connsiteY657" fmla="*/ 741022 h 970278"/>
                  <a:gd name="connsiteX658" fmla="*/ 213010 w 1060536"/>
                  <a:gd name="connsiteY658" fmla="*/ 739442 h 970278"/>
                  <a:gd name="connsiteX659" fmla="*/ 247083 w 1060536"/>
                  <a:gd name="connsiteY659" fmla="*/ 741022 h 970278"/>
                  <a:gd name="connsiteX660" fmla="*/ 256334 w 1060536"/>
                  <a:gd name="connsiteY660" fmla="*/ 742150 h 970278"/>
                  <a:gd name="connsiteX661" fmla="*/ 277093 w 1060536"/>
                  <a:gd name="connsiteY661" fmla="*/ 743730 h 970278"/>
                  <a:gd name="connsiteX662" fmla="*/ 296950 w 1060536"/>
                  <a:gd name="connsiteY662" fmla="*/ 745986 h 970278"/>
                  <a:gd name="connsiteX663" fmla="*/ 315679 w 1060536"/>
                  <a:gd name="connsiteY663" fmla="*/ 748468 h 970278"/>
                  <a:gd name="connsiteX664" fmla="*/ 321094 w 1060536"/>
                  <a:gd name="connsiteY664" fmla="*/ 750048 h 970278"/>
                  <a:gd name="connsiteX665" fmla="*/ 340500 w 1060536"/>
                  <a:gd name="connsiteY665" fmla="*/ 761556 h 970278"/>
                  <a:gd name="connsiteX666" fmla="*/ 342756 w 1060536"/>
                  <a:gd name="connsiteY666" fmla="*/ 763812 h 970278"/>
                  <a:gd name="connsiteX667" fmla="*/ 346367 w 1060536"/>
                  <a:gd name="connsiteY667" fmla="*/ 767422 h 970278"/>
                  <a:gd name="connsiteX668" fmla="*/ 365998 w 1060536"/>
                  <a:gd name="connsiteY668" fmla="*/ 775546 h 970278"/>
                  <a:gd name="connsiteX669" fmla="*/ 387660 w 1060536"/>
                  <a:gd name="connsiteY669" fmla="*/ 775546 h 970278"/>
                  <a:gd name="connsiteX670" fmla="*/ 394881 w 1060536"/>
                  <a:gd name="connsiteY670" fmla="*/ 773515 h 970278"/>
                  <a:gd name="connsiteX671" fmla="*/ 408420 w 1060536"/>
                  <a:gd name="connsiteY671" fmla="*/ 775997 h 970278"/>
                  <a:gd name="connsiteX672" fmla="*/ 427148 w 1060536"/>
                  <a:gd name="connsiteY672" fmla="*/ 805557 h 970278"/>
                  <a:gd name="connsiteX673" fmla="*/ 426471 w 1060536"/>
                  <a:gd name="connsiteY673" fmla="*/ 807362 h 970278"/>
                  <a:gd name="connsiteX674" fmla="*/ 428502 w 1060536"/>
                  <a:gd name="connsiteY674" fmla="*/ 826993 h 970278"/>
                  <a:gd name="connsiteX675" fmla="*/ 436400 w 1060536"/>
                  <a:gd name="connsiteY675" fmla="*/ 831732 h 970278"/>
                  <a:gd name="connsiteX676" fmla="*/ 449938 w 1060536"/>
                  <a:gd name="connsiteY676" fmla="*/ 851814 h 970278"/>
                  <a:gd name="connsiteX677" fmla="*/ 449938 w 1060536"/>
                  <a:gd name="connsiteY677" fmla="*/ 854522 h 970278"/>
                  <a:gd name="connsiteX678" fmla="*/ 452646 w 1060536"/>
                  <a:gd name="connsiteY678" fmla="*/ 853394 h 970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</a:cxnLst>
                <a:rect l="l" t="t" r="r" b="b"/>
                <a:pathLst>
                  <a:path w="1060536" h="970278">
                    <a:moveTo>
                      <a:pt x="574269" y="970955"/>
                    </a:moveTo>
                    <a:cubicBezTo>
                      <a:pt x="572013" y="970955"/>
                      <a:pt x="570208" y="970053"/>
                      <a:pt x="566372" y="968473"/>
                    </a:cubicBezTo>
                    <a:cubicBezTo>
                      <a:pt x="563213" y="967119"/>
                      <a:pt x="560956" y="965540"/>
                      <a:pt x="558926" y="963960"/>
                    </a:cubicBezTo>
                    <a:cubicBezTo>
                      <a:pt x="555090" y="961252"/>
                      <a:pt x="552156" y="959222"/>
                      <a:pt x="545612" y="959222"/>
                    </a:cubicBezTo>
                    <a:cubicBezTo>
                      <a:pt x="538166" y="959222"/>
                      <a:pt x="537263" y="957191"/>
                      <a:pt x="536812" y="952001"/>
                    </a:cubicBezTo>
                    <a:cubicBezTo>
                      <a:pt x="536587" y="948616"/>
                      <a:pt x="536135" y="943652"/>
                      <a:pt x="532525" y="935529"/>
                    </a:cubicBezTo>
                    <a:cubicBezTo>
                      <a:pt x="527786" y="925149"/>
                      <a:pt x="523725" y="924923"/>
                      <a:pt x="516730" y="924246"/>
                    </a:cubicBezTo>
                    <a:cubicBezTo>
                      <a:pt x="511991" y="923795"/>
                      <a:pt x="505899" y="923344"/>
                      <a:pt x="498452" y="919508"/>
                    </a:cubicBezTo>
                    <a:cubicBezTo>
                      <a:pt x="486944" y="913415"/>
                      <a:pt x="480852" y="906872"/>
                      <a:pt x="475662" y="901005"/>
                    </a:cubicBezTo>
                    <a:cubicBezTo>
                      <a:pt x="472503" y="897620"/>
                      <a:pt x="469795" y="894461"/>
                      <a:pt x="466411" y="892205"/>
                    </a:cubicBezTo>
                    <a:cubicBezTo>
                      <a:pt x="460544" y="888143"/>
                      <a:pt x="460093" y="882502"/>
                      <a:pt x="459641" y="876409"/>
                    </a:cubicBezTo>
                    <a:cubicBezTo>
                      <a:pt x="459190" y="871671"/>
                      <a:pt x="458739" y="866255"/>
                      <a:pt x="455580" y="860389"/>
                    </a:cubicBezTo>
                    <a:cubicBezTo>
                      <a:pt x="453549" y="857004"/>
                      <a:pt x="452646" y="857230"/>
                      <a:pt x="452646" y="857230"/>
                    </a:cubicBezTo>
                    <a:cubicBezTo>
                      <a:pt x="452195" y="857230"/>
                      <a:pt x="451292" y="858583"/>
                      <a:pt x="450841" y="859035"/>
                    </a:cubicBezTo>
                    <a:cubicBezTo>
                      <a:pt x="450164" y="859937"/>
                      <a:pt x="449261" y="861291"/>
                      <a:pt x="447682" y="860840"/>
                    </a:cubicBezTo>
                    <a:cubicBezTo>
                      <a:pt x="445877" y="860389"/>
                      <a:pt x="445877" y="858583"/>
                      <a:pt x="445877" y="852040"/>
                    </a:cubicBezTo>
                    <a:cubicBezTo>
                      <a:pt x="445877" y="840757"/>
                      <a:pt x="440913" y="838275"/>
                      <a:pt x="434594" y="835342"/>
                    </a:cubicBezTo>
                    <a:cubicBezTo>
                      <a:pt x="431661" y="833988"/>
                      <a:pt x="428728" y="832408"/>
                      <a:pt x="425794" y="829926"/>
                    </a:cubicBezTo>
                    <a:cubicBezTo>
                      <a:pt x="416994" y="822029"/>
                      <a:pt x="419251" y="815485"/>
                      <a:pt x="422635" y="806233"/>
                    </a:cubicBezTo>
                    <a:lnTo>
                      <a:pt x="423312" y="804428"/>
                    </a:lnTo>
                    <a:cubicBezTo>
                      <a:pt x="426471" y="796079"/>
                      <a:pt x="421056" y="788408"/>
                      <a:pt x="406163" y="779382"/>
                    </a:cubicBezTo>
                    <a:cubicBezTo>
                      <a:pt x="398942" y="775094"/>
                      <a:pt x="398265" y="775546"/>
                      <a:pt x="396912" y="776674"/>
                    </a:cubicBezTo>
                    <a:cubicBezTo>
                      <a:pt x="395332" y="777802"/>
                      <a:pt x="393076" y="779607"/>
                      <a:pt x="387434" y="779607"/>
                    </a:cubicBezTo>
                    <a:lnTo>
                      <a:pt x="365772" y="779607"/>
                    </a:lnTo>
                    <a:cubicBezTo>
                      <a:pt x="352911" y="779607"/>
                      <a:pt x="351557" y="778705"/>
                      <a:pt x="343433" y="770356"/>
                    </a:cubicBezTo>
                    <a:cubicBezTo>
                      <a:pt x="342305" y="769228"/>
                      <a:pt x="341177" y="768099"/>
                      <a:pt x="340049" y="766745"/>
                    </a:cubicBezTo>
                    <a:lnTo>
                      <a:pt x="337792" y="764489"/>
                    </a:lnTo>
                    <a:cubicBezTo>
                      <a:pt x="330346" y="757043"/>
                      <a:pt x="330346" y="757043"/>
                      <a:pt x="319966" y="753884"/>
                    </a:cubicBezTo>
                    <a:cubicBezTo>
                      <a:pt x="318387" y="753432"/>
                      <a:pt x="316582" y="752755"/>
                      <a:pt x="314551" y="752304"/>
                    </a:cubicBezTo>
                    <a:cubicBezTo>
                      <a:pt x="305976" y="749596"/>
                      <a:pt x="301915" y="749822"/>
                      <a:pt x="297176" y="750048"/>
                    </a:cubicBezTo>
                    <a:cubicBezTo>
                      <a:pt x="292437" y="750273"/>
                      <a:pt x="286796" y="750499"/>
                      <a:pt x="276191" y="747566"/>
                    </a:cubicBezTo>
                    <a:cubicBezTo>
                      <a:pt x="265360" y="744632"/>
                      <a:pt x="260847" y="745309"/>
                      <a:pt x="257237" y="745986"/>
                    </a:cubicBezTo>
                    <a:cubicBezTo>
                      <a:pt x="254078" y="746437"/>
                      <a:pt x="251144" y="747114"/>
                      <a:pt x="245954" y="744632"/>
                    </a:cubicBezTo>
                    <a:cubicBezTo>
                      <a:pt x="238734" y="741473"/>
                      <a:pt x="231062" y="741924"/>
                      <a:pt x="213913" y="743278"/>
                    </a:cubicBezTo>
                    <a:cubicBezTo>
                      <a:pt x="207820" y="743730"/>
                      <a:pt x="200374" y="744406"/>
                      <a:pt x="191348" y="744858"/>
                    </a:cubicBezTo>
                    <a:cubicBezTo>
                      <a:pt x="184804" y="745309"/>
                      <a:pt x="178035" y="744406"/>
                      <a:pt x="171265" y="742601"/>
                    </a:cubicBezTo>
                    <a:lnTo>
                      <a:pt x="168558" y="741924"/>
                    </a:lnTo>
                    <a:lnTo>
                      <a:pt x="170363" y="739668"/>
                    </a:lnTo>
                    <a:cubicBezTo>
                      <a:pt x="171717" y="737863"/>
                      <a:pt x="172168" y="737637"/>
                      <a:pt x="173973" y="736960"/>
                    </a:cubicBezTo>
                    <a:cubicBezTo>
                      <a:pt x="174650" y="736735"/>
                      <a:pt x="175778" y="736509"/>
                      <a:pt x="177584" y="735606"/>
                    </a:cubicBezTo>
                    <a:cubicBezTo>
                      <a:pt x="178486" y="735155"/>
                      <a:pt x="178486" y="734929"/>
                      <a:pt x="178712" y="734704"/>
                    </a:cubicBezTo>
                    <a:cubicBezTo>
                      <a:pt x="179163" y="732673"/>
                      <a:pt x="175327" y="728160"/>
                      <a:pt x="172619" y="724775"/>
                    </a:cubicBezTo>
                    <a:cubicBezTo>
                      <a:pt x="171265" y="723196"/>
                      <a:pt x="169912" y="721616"/>
                      <a:pt x="169009" y="720037"/>
                    </a:cubicBezTo>
                    <a:cubicBezTo>
                      <a:pt x="166753" y="716652"/>
                      <a:pt x="165624" y="712816"/>
                      <a:pt x="164496" y="708754"/>
                    </a:cubicBezTo>
                    <a:cubicBezTo>
                      <a:pt x="163368" y="704016"/>
                      <a:pt x="162014" y="699277"/>
                      <a:pt x="158629" y="694764"/>
                    </a:cubicBezTo>
                    <a:cubicBezTo>
                      <a:pt x="153891" y="688446"/>
                      <a:pt x="154793" y="680549"/>
                      <a:pt x="155470" y="674456"/>
                    </a:cubicBezTo>
                    <a:cubicBezTo>
                      <a:pt x="155696" y="671523"/>
                      <a:pt x="156147" y="668589"/>
                      <a:pt x="155470" y="667010"/>
                    </a:cubicBezTo>
                    <a:cubicBezTo>
                      <a:pt x="154793" y="664979"/>
                      <a:pt x="150957" y="662497"/>
                      <a:pt x="147347" y="660241"/>
                    </a:cubicBezTo>
                    <a:cubicBezTo>
                      <a:pt x="143060" y="657533"/>
                      <a:pt x="138772" y="654599"/>
                      <a:pt x="136290" y="650989"/>
                    </a:cubicBezTo>
                    <a:cubicBezTo>
                      <a:pt x="131552" y="643768"/>
                      <a:pt x="129295" y="615563"/>
                      <a:pt x="129295" y="612404"/>
                    </a:cubicBezTo>
                    <a:cubicBezTo>
                      <a:pt x="129295" y="611501"/>
                      <a:pt x="129070" y="610147"/>
                      <a:pt x="128618" y="608793"/>
                    </a:cubicBezTo>
                    <a:cubicBezTo>
                      <a:pt x="127716" y="604731"/>
                      <a:pt x="126362" y="599316"/>
                      <a:pt x="129521" y="594126"/>
                    </a:cubicBezTo>
                    <a:cubicBezTo>
                      <a:pt x="130875" y="591644"/>
                      <a:pt x="131100" y="590516"/>
                      <a:pt x="130649" y="590065"/>
                    </a:cubicBezTo>
                    <a:cubicBezTo>
                      <a:pt x="130423" y="589839"/>
                      <a:pt x="128844" y="588259"/>
                      <a:pt x="120269" y="590065"/>
                    </a:cubicBezTo>
                    <a:cubicBezTo>
                      <a:pt x="116885" y="590742"/>
                      <a:pt x="113726" y="591418"/>
                      <a:pt x="111018" y="592321"/>
                    </a:cubicBezTo>
                    <a:cubicBezTo>
                      <a:pt x="103797" y="594126"/>
                      <a:pt x="98607" y="595480"/>
                      <a:pt x="93643" y="592772"/>
                    </a:cubicBezTo>
                    <a:cubicBezTo>
                      <a:pt x="88228" y="589839"/>
                      <a:pt x="84843" y="584649"/>
                      <a:pt x="81684" y="579685"/>
                    </a:cubicBezTo>
                    <a:cubicBezTo>
                      <a:pt x="81007" y="578557"/>
                      <a:pt x="80330" y="577654"/>
                      <a:pt x="79653" y="576526"/>
                    </a:cubicBezTo>
                    <a:cubicBezTo>
                      <a:pt x="78074" y="574044"/>
                      <a:pt x="76043" y="572239"/>
                      <a:pt x="74238" y="570208"/>
                    </a:cubicBezTo>
                    <a:cubicBezTo>
                      <a:pt x="71981" y="567951"/>
                      <a:pt x="69499" y="565695"/>
                      <a:pt x="67468" y="562310"/>
                    </a:cubicBezTo>
                    <a:cubicBezTo>
                      <a:pt x="63407" y="555766"/>
                      <a:pt x="64309" y="544258"/>
                      <a:pt x="65212" y="540874"/>
                    </a:cubicBezTo>
                    <a:cubicBezTo>
                      <a:pt x="64986" y="540422"/>
                      <a:pt x="64309" y="539971"/>
                      <a:pt x="63858" y="539520"/>
                    </a:cubicBezTo>
                    <a:cubicBezTo>
                      <a:pt x="62278" y="537940"/>
                      <a:pt x="60022" y="535910"/>
                      <a:pt x="60248" y="533202"/>
                    </a:cubicBezTo>
                    <a:cubicBezTo>
                      <a:pt x="60473" y="530945"/>
                      <a:pt x="62053" y="528915"/>
                      <a:pt x="64986" y="526884"/>
                    </a:cubicBezTo>
                    <a:cubicBezTo>
                      <a:pt x="73561" y="521242"/>
                      <a:pt x="74915" y="514022"/>
                      <a:pt x="76945" y="503416"/>
                    </a:cubicBezTo>
                    <a:lnTo>
                      <a:pt x="77397" y="500934"/>
                    </a:lnTo>
                    <a:cubicBezTo>
                      <a:pt x="78525" y="494842"/>
                      <a:pt x="77622" y="490555"/>
                      <a:pt x="76945" y="486944"/>
                    </a:cubicBezTo>
                    <a:cubicBezTo>
                      <a:pt x="76268" y="483334"/>
                      <a:pt x="75591" y="480175"/>
                      <a:pt x="77171" y="477016"/>
                    </a:cubicBezTo>
                    <a:cubicBezTo>
                      <a:pt x="78976" y="473406"/>
                      <a:pt x="77171" y="472052"/>
                      <a:pt x="74012" y="470246"/>
                    </a:cubicBezTo>
                    <a:lnTo>
                      <a:pt x="73561" y="470021"/>
                    </a:lnTo>
                    <a:cubicBezTo>
                      <a:pt x="73109" y="469795"/>
                      <a:pt x="72658" y="469569"/>
                      <a:pt x="72207" y="469118"/>
                    </a:cubicBezTo>
                    <a:cubicBezTo>
                      <a:pt x="69725" y="467313"/>
                      <a:pt x="65437" y="464380"/>
                      <a:pt x="59796" y="465057"/>
                    </a:cubicBezTo>
                    <a:lnTo>
                      <a:pt x="57991" y="465282"/>
                    </a:lnTo>
                    <a:cubicBezTo>
                      <a:pt x="51447" y="466185"/>
                      <a:pt x="45806" y="466862"/>
                      <a:pt x="38134" y="465508"/>
                    </a:cubicBezTo>
                    <a:cubicBezTo>
                      <a:pt x="32493" y="464605"/>
                      <a:pt x="29108" y="461446"/>
                      <a:pt x="25498" y="458062"/>
                    </a:cubicBezTo>
                    <a:cubicBezTo>
                      <a:pt x="23467" y="456256"/>
                      <a:pt x="21662" y="454451"/>
                      <a:pt x="18954" y="452646"/>
                    </a:cubicBezTo>
                    <a:cubicBezTo>
                      <a:pt x="16021" y="450615"/>
                      <a:pt x="13539" y="449713"/>
                      <a:pt x="11282" y="449036"/>
                    </a:cubicBezTo>
                    <a:cubicBezTo>
                      <a:pt x="7898" y="447907"/>
                      <a:pt x="4739" y="446779"/>
                      <a:pt x="2933" y="442492"/>
                    </a:cubicBezTo>
                    <a:cubicBezTo>
                      <a:pt x="0" y="435948"/>
                      <a:pt x="0" y="430984"/>
                      <a:pt x="0" y="417220"/>
                    </a:cubicBezTo>
                    <a:cubicBezTo>
                      <a:pt x="0" y="404809"/>
                      <a:pt x="1805" y="395558"/>
                      <a:pt x="10154" y="389691"/>
                    </a:cubicBezTo>
                    <a:cubicBezTo>
                      <a:pt x="13087" y="387886"/>
                      <a:pt x="14441" y="383824"/>
                      <a:pt x="15570" y="379988"/>
                    </a:cubicBezTo>
                    <a:cubicBezTo>
                      <a:pt x="17149" y="375475"/>
                      <a:pt x="18729" y="370737"/>
                      <a:pt x="23242" y="369157"/>
                    </a:cubicBezTo>
                    <a:cubicBezTo>
                      <a:pt x="26626" y="368029"/>
                      <a:pt x="29560" y="365547"/>
                      <a:pt x="32944" y="362388"/>
                    </a:cubicBezTo>
                    <a:cubicBezTo>
                      <a:pt x="35878" y="359680"/>
                      <a:pt x="39262" y="356746"/>
                      <a:pt x="43550" y="354264"/>
                    </a:cubicBezTo>
                    <a:cubicBezTo>
                      <a:pt x="48514" y="351331"/>
                      <a:pt x="51899" y="348172"/>
                      <a:pt x="54832" y="345690"/>
                    </a:cubicBezTo>
                    <a:cubicBezTo>
                      <a:pt x="57314" y="343659"/>
                      <a:pt x="59345" y="341628"/>
                      <a:pt x="61601" y="340500"/>
                    </a:cubicBezTo>
                    <a:cubicBezTo>
                      <a:pt x="63632" y="339372"/>
                      <a:pt x="65437" y="337567"/>
                      <a:pt x="67243" y="335761"/>
                    </a:cubicBezTo>
                    <a:cubicBezTo>
                      <a:pt x="69048" y="333731"/>
                      <a:pt x="71079" y="331700"/>
                      <a:pt x="73561" y="330572"/>
                    </a:cubicBezTo>
                    <a:cubicBezTo>
                      <a:pt x="75591" y="329669"/>
                      <a:pt x="77848" y="323802"/>
                      <a:pt x="79879" y="313197"/>
                    </a:cubicBezTo>
                    <a:lnTo>
                      <a:pt x="80104" y="312520"/>
                    </a:lnTo>
                    <a:cubicBezTo>
                      <a:pt x="81007" y="308007"/>
                      <a:pt x="83489" y="295822"/>
                      <a:pt x="90484" y="291986"/>
                    </a:cubicBezTo>
                    <a:cubicBezTo>
                      <a:pt x="94094" y="289955"/>
                      <a:pt x="96577" y="288601"/>
                      <a:pt x="99736" y="286570"/>
                    </a:cubicBezTo>
                    <a:cubicBezTo>
                      <a:pt x="101766" y="285217"/>
                      <a:pt x="104023" y="283863"/>
                      <a:pt x="107408" y="281832"/>
                    </a:cubicBezTo>
                    <a:cubicBezTo>
                      <a:pt x="110567" y="280027"/>
                      <a:pt x="113274" y="277996"/>
                      <a:pt x="115531" y="276191"/>
                    </a:cubicBezTo>
                    <a:cubicBezTo>
                      <a:pt x="119818" y="273032"/>
                      <a:pt x="122977" y="270550"/>
                      <a:pt x="126587" y="270324"/>
                    </a:cubicBezTo>
                    <a:cubicBezTo>
                      <a:pt x="131326" y="269873"/>
                      <a:pt x="144639" y="272580"/>
                      <a:pt x="148475" y="275288"/>
                    </a:cubicBezTo>
                    <a:cubicBezTo>
                      <a:pt x="152762" y="278222"/>
                      <a:pt x="154793" y="289955"/>
                      <a:pt x="154793" y="294242"/>
                    </a:cubicBezTo>
                    <a:cubicBezTo>
                      <a:pt x="154793" y="301463"/>
                      <a:pt x="156147" y="306879"/>
                      <a:pt x="158178" y="308233"/>
                    </a:cubicBezTo>
                    <a:cubicBezTo>
                      <a:pt x="160660" y="309812"/>
                      <a:pt x="161563" y="312294"/>
                      <a:pt x="162465" y="314325"/>
                    </a:cubicBezTo>
                    <a:cubicBezTo>
                      <a:pt x="163142" y="316130"/>
                      <a:pt x="163819" y="317935"/>
                      <a:pt x="165399" y="319064"/>
                    </a:cubicBezTo>
                    <a:cubicBezTo>
                      <a:pt x="167881" y="321320"/>
                      <a:pt x="176455" y="321094"/>
                      <a:pt x="187963" y="316356"/>
                    </a:cubicBezTo>
                    <a:cubicBezTo>
                      <a:pt x="194507" y="313648"/>
                      <a:pt x="203307" y="310489"/>
                      <a:pt x="210302" y="308007"/>
                    </a:cubicBezTo>
                    <a:cubicBezTo>
                      <a:pt x="214364" y="306653"/>
                      <a:pt x="217749" y="305299"/>
                      <a:pt x="220005" y="304622"/>
                    </a:cubicBezTo>
                    <a:cubicBezTo>
                      <a:pt x="224969" y="302817"/>
                      <a:pt x="232867" y="303043"/>
                      <a:pt x="240088" y="303268"/>
                    </a:cubicBezTo>
                    <a:cubicBezTo>
                      <a:pt x="242344" y="303268"/>
                      <a:pt x="244600" y="303494"/>
                      <a:pt x="246631" y="303494"/>
                    </a:cubicBezTo>
                    <a:cubicBezTo>
                      <a:pt x="249790" y="303494"/>
                      <a:pt x="251821" y="303945"/>
                      <a:pt x="253852" y="304171"/>
                    </a:cubicBezTo>
                    <a:cubicBezTo>
                      <a:pt x="257011" y="304622"/>
                      <a:pt x="259719" y="305299"/>
                      <a:pt x="266037" y="304397"/>
                    </a:cubicBezTo>
                    <a:cubicBezTo>
                      <a:pt x="272806" y="303494"/>
                      <a:pt x="277996" y="300786"/>
                      <a:pt x="282283" y="298530"/>
                    </a:cubicBezTo>
                    <a:cubicBezTo>
                      <a:pt x="284540" y="297402"/>
                      <a:pt x="286571" y="296273"/>
                      <a:pt x="288601" y="295596"/>
                    </a:cubicBezTo>
                    <a:cubicBezTo>
                      <a:pt x="294017" y="293791"/>
                      <a:pt x="297176" y="291760"/>
                      <a:pt x="298304" y="289053"/>
                    </a:cubicBezTo>
                    <a:lnTo>
                      <a:pt x="298981" y="287473"/>
                    </a:lnTo>
                    <a:cubicBezTo>
                      <a:pt x="300561" y="283863"/>
                      <a:pt x="303043" y="277996"/>
                      <a:pt x="304397" y="272806"/>
                    </a:cubicBezTo>
                    <a:cubicBezTo>
                      <a:pt x="305976" y="266262"/>
                      <a:pt x="309587" y="263103"/>
                      <a:pt x="313648" y="259267"/>
                    </a:cubicBezTo>
                    <a:cubicBezTo>
                      <a:pt x="314551" y="258365"/>
                      <a:pt x="315228" y="257914"/>
                      <a:pt x="316130" y="257011"/>
                    </a:cubicBezTo>
                    <a:cubicBezTo>
                      <a:pt x="320418" y="252949"/>
                      <a:pt x="326510" y="247534"/>
                      <a:pt x="331249" y="246180"/>
                    </a:cubicBezTo>
                    <a:cubicBezTo>
                      <a:pt x="335085" y="245052"/>
                      <a:pt x="338695" y="240087"/>
                      <a:pt x="342305" y="235349"/>
                    </a:cubicBezTo>
                    <a:lnTo>
                      <a:pt x="343885" y="233092"/>
                    </a:lnTo>
                    <a:cubicBezTo>
                      <a:pt x="345916" y="230385"/>
                      <a:pt x="347495" y="225872"/>
                      <a:pt x="349075" y="221359"/>
                    </a:cubicBezTo>
                    <a:cubicBezTo>
                      <a:pt x="350428" y="217072"/>
                      <a:pt x="351782" y="213010"/>
                      <a:pt x="353813" y="210076"/>
                    </a:cubicBezTo>
                    <a:cubicBezTo>
                      <a:pt x="354941" y="208271"/>
                      <a:pt x="355393" y="206015"/>
                      <a:pt x="355844" y="203307"/>
                    </a:cubicBezTo>
                    <a:cubicBezTo>
                      <a:pt x="356747" y="198794"/>
                      <a:pt x="357649" y="193379"/>
                      <a:pt x="363516" y="188414"/>
                    </a:cubicBezTo>
                    <a:cubicBezTo>
                      <a:pt x="371639" y="181645"/>
                      <a:pt x="383373" y="173071"/>
                      <a:pt x="393978" y="170588"/>
                    </a:cubicBezTo>
                    <a:cubicBezTo>
                      <a:pt x="398942" y="169460"/>
                      <a:pt x="402553" y="166978"/>
                      <a:pt x="406163" y="164722"/>
                    </a:cubicBezTo>
                    <a:cubicBezTo>
                      <a:pt x="409548" y="162465"/>
                      <a:pt x="412932" y="160209"/>
                      <a:pt x="416994" y="159306"/>
                    </a:cubicBezTo>
                    <a:cubicBezTo>
                      <a:pt x="421733" y="158178"/>
                      <a:pt x="423312" y="158404"/>
                      <a:pt x="424666" y="158404"/>
                    </a:cubicBezTo>
                    <a:cubicBezTo>
                      <a:pt x="425569" y="158404"/>
                      <a:pt x="426697" y="158629"/>
                      <a:pt x="429405" y="158178"/>
                    </a:cubicBezTo>
                    <a:cubicBezTo>
                      <a:pt x="431887" y="157727"/>
                      <a:pt x="433241" y="152762"/>
                      <a:pt x="434143" y="148249"/>
                    </a:cubicBezTo>
                    <a:cubicBezTo>
                      <a:pt x="435046" y="144188"/>
                      <a:pt x="435948" y="140126"/>
                      <a:pt x="438205" y="138095"/>
                    </a:cubicBezTo>
                    <a:cubicBezTo>
                      <a:pt x="439559" y="136741"/>
                      <a:pt x="440913" y="134936"/>
                      <a:pt x="442266" y="132680"/>
                    </a:cubicBezTo>
                    <a:cubicBezTo>
                      <a:pt x="444974" y="128618"/>
                      <a:pt x="448359" y="123428"/>
                      <a:pt x="454903" y="118239"/>
                    </a:cubicBezTo>
                    <a:cubicBezTo>
                      <a:pt x="460995" y="113274"/>
                      <a:pt x="464154" y="106279"/>
                      <a:pt x="466862" y="100638"/>
                    </a:cubicBezTo>
                    <a:cubicBezTo>
                      <a:pt x="468441" y="97479"/>
                      <a:pt x="469570" y="94771"/>
                      <a:pt x="471149" y="92966"/>
                    </a:cubicBezTo>
                    <a:cubicBezTo>
                      <a:pt x="474534" y="89130"/>
                      <a:pt x="482431" y="76043"/>
                      <a:pt x="484914" y="67919"/>
                    </a:cubicBezTo>
                    <a:cubicBezTo>
                      <a:pt x="486267" y="63181"/>
                      <a:pt x="486719" y="58442"/>
                      <a:pt x="487396" y="54381"/>
                    </a:cubicBezTo>
                    <a:cubicBezTo>
                      <a:pt x="487847" y="51222"/>
                      <a:pt x="488073" y="48288"/>
                      <a:pt x="488750" y="45806"/>
                    </a:cubicBezTo>
                    <a:cubicBezTo>
                      <a:pt x="489201" y="44001"/>
                      <a:pt x="489201" y="42196"/>
                      <a:pt x="489426" y="40391"/>
                    </a:cubicBezTo>
                    <a:cubicBezTo>
                      <a:pt x="489652" y="36780"/>
                      <a:pt x="489878" y="33170"/>
                      <a:pt x="493037" y="29785"/>
                    </a:cubicBezTo>
                    <a:cubicBezTo>
                      <a:pt x="497775" y="25047"/>
                      <a:pt x="511540" y="20308"/>
                      <a:pt x="520791" y="20308"/>
                    </a:cubicBezTo>
                    <a:cubicBezTo>
                      <a:pt x="523950" y="20308"/>
                      <a:pt x="526207" y="20985"/>
                      <a:pt x="528012" y="21436"/>
                    </a:cubicBezTo>
                    <a:cubicBezTo>
                      <a:pt x="531848" y="22339"/>
                      <a:pt x="533879" y="22790"/>
                      <a:pt x="539294" y="18052"/>
                    </a:cubicBezTo>
                    <a:cubicBezTo>
                      <a:pt x="545838" y="12185"/>
                      <a:pt x="550802" y="7898"/>
                      <a:pt x="554413" y="5190"/>
                    </a:cubicBezTo>
                    <a:cubicBezTo>
                      <a:pt x="554864" y="4964"/>
                      <a:pt x="555090" y="4513"/>
                      <a:pt x="555315" y="4287"/>
                    </a:cubicBezTo>
                    <a:cubicBezTo>
                      <a:pt x="556218" y="3159"/>
                      <a:pt x="557120" y="2256"/>
                      <a:pt x="560279" y="1128"/>
                    </a:cubicBezTo>
                    <a:cubicBezTo>
                      <a:pt x="560279" y="1128"/>
                      <a:pt x="560505" y="903"/>
                      <a:pt x="560731" y="903"/>
                    </a:cubicBezTo>
                    <a:lnTo>
                      <a:pt x="562762" y="0"/>
                    </a:lnTo>
                    <a:lnTo>
                      <a:pt x="563213" y="2256"/>
                    </a:lnTo>
                    <a:cubicBezTo>
                      <a:pt x="563890" y="4964"/>
                      <a:pt x="563213" y="7221"/>
                      <a:pt x="561859" y="9703"/>
                    </a:cubicBezTo>
                    <a:cubicBezTo>
                      <a:pt x="559602" y="12862"/>
                      <a:pt x="557346" y="15118"/>
                      <a:pt x="555541" y="16698"/>
                    </a:cubicBezTo>
                    <a:cubicBezTo>
                      <a:pt x="551931" y="20082"/>
                      <a:pt x="551479" y="20534"/>
                      <a:pt x="554187" y="23693"/>
                    </a:cubicBezTo>
                    <a:cubicBezTo>
                      <a:pt x="555766" y="25498"/>
                      <a:pt x="556669" y="26852"/>
                      <a:pt x="557572" y="27980"/>
                    </a:cubicBezTo>
                    <a:cubicBezTo>
                      <a:pt x="559828" y="30913"/>
                      <a:pt x="559828" y="31139"/>
                      <a:pt x="565018" y="31139"/>
                    </a:cubicBezTo>
                    <a:cubicBezTo>
                      <a:pt x="567500" y="31139"/>
                      <a:pt x="569531" y="30913"/>
                      <a:pt x="571110" y="30462"/>
                    </a:cubicBezTo>
                    <a:cubicBezTo>
                      <a:pt x="574721" y="29785"/>
                      <a:pt x="577880" y="29334"/>
                      <a:pt x="584875" y="31590"/>
                    </a:cubicBezTo>
                    <a:lnTo>
                      <a:pt x="588259" y="32719"/>
                    </a:lnTo>
                    <a:cubicBezTo>
                      <a:pt x="596608" y="35426"/>
                      <a:pt x="603152" y="37683"/>
                      <a:pt x="609922" y="38134"/>
                    </a:cubicBezTo>
                    <a:cubicBezTo>
                      <a:pt x="612404" y="38360"/>
                      <a:pt x="614660" y="37909"/>
                      <a:pt x="616917" y="37457"/>
                    </a:cubicBezTo>
                    <a:cubicBezTo>
                      <a:pt x="621429" y="36555"/>
                      <a:pt x="626394" y="35652"/>
                      <a:pt x="629778" y="41519"/>
                    </a:cubicBezTo>
                    <a:lnTo>
                      <a:pt x="631584" y="44452"/>
                    </a:lnTo>
                    <a:lnTo>
                      <a:pt x="628199" y="44452"/>
                    </a:lnTo>
                    <a:cubicBezTo>
                      <a:pt x="627748" y="44452"/>
                      <a:pt x="627071" y="44452"/>
                      <a:pt x="626619" y="44452"/>
                    </a:cubicBezTo>
                    <a:cubicBezTo>
                      <a:pt x="626619" y="44678"/>
                      <a:pt x="626619" y="44678"/>
                      <a:pt x="626619" y="44904"/>
                    </a:cubicBezTo>
                    <a:cubicBezTo>
                      <a:pt x="626394" y="46257"/>
                      <a:pt x="626168" y="48288"/>
                      <a:pt x="624137" y="49642"/>
                    </a:cubicBezTo>
                    <a:cubicBezTo>
                      <a:pt x="623460" y="50093"/>
                      <a:pt x="622783" y="51447"/>
                      <a:pt x="622332" y="52801"/>
                    </a:cubicBezTo>
                    <a:cubicBezTo>
                      <a:pt x="621655" y="54381"/>
                      <a:pt x="620978" y="56186"/>
                      <a:pt x="619624" y="57088"/>
                    </a:cubicBezTo>
                    <a:cubicBezTo>
                      <a:pt x="619173" y="57540"/>
                      <a:pt x="618947" y="59345"/>
                      <a:pt x="619173" y="61376"/>
                    </a:cubicBezTo>
                    <a:cubicBezTo>
                      <a:pt x="621204" y="62504"/>
                      <a:pt x="625491" y="63858"/>
                      <a:pt x="629101" y="65212"/>
                    </a:cubicBezTo>
                    <a:cubicBezTo>
                      <a:pt x="630455" y="65663"/>
                      <a:pt x="631809" y="66114"/>
                      <a:pt x="632937" y="66566"/>
                    </a:cubicBezTo>
                    <a:cubicBezTo>
                      <a:pt x="634743" y="67243"/>
                      <a:pt x="636097" y="68371"/>
                      <a:pt x="636548" y="70176"/>
                    </a:cubicBezTo>
                    <a:cubicBezTo>
                      <a:pt x="637902" y="74689"/>
                      <a:pt x="633614" y="81684"/>
                      <a:pt x="630681" y="85069"/>
                    </a:cubicBezTo>
                    <a:cubicBezTo>
                      <a:pt x="629101" y="87099"/>
                      <a:pt x="629101" y="90033"/>
                      <a:pt x="629327" y="93192"/>
                    </a:cubicBezTo>
                    <a:cubicBezTo>
                      <a:pt x="629327" y="95900"/>
                      <a:pt x="629553" y="98833"/>
                      <a:pt x="628650" y="101766"/>
                    </a:cubicBezTo>
                    <a:cubicBezTo>
                      <a:pt x="627071" y="107408"/>
                      <a:pt x="631809" y="120946"/>
                      <a:pt x="634968" y="124331"/>
                    </a:cubicBezTo>
                    <a:cubicBezTo>
                      <a:pt x="636548" y="125910"/>
                      <a:pt x="638353" y="125234"/>
                      <a:pt x="645348" y="121623"/>
                    </a:cubicBezTo>
                    <a:cubicBezTo>
                      <a:pt x="647830" y="120269"/>
                      <a:pt x="650989" y="118690"/>
                      <a:pt x="654825" y="116885"/>
                    </a:cubicBezTo>
                    <a:cubicBezTo>
                      <a:pt x="661594" y="113726"/>
                      <a:pt x="664077" y="113726"/>
                      <a:pt x="665431" y="114628"/>
                    </a:cubicBezTo>
                    <a:cubicBezTo>
                      <a:pt x="666784" y="115531"/>
                      <a:pt x="667010" y="117110"/>
                      <a:pt x="667010" y="117787"/>
                    </a:cubicBezTo>
                    <a:cubicBezTo>
                      <a:pt x="667010" y="117787"/>
                      <a:pt x="667010" y="118013"/>
                      <a:pt x="667010" y="118013"/>
                    </a:cubicBezTo>
                    <a:cubicBezTo>
                      <a:pt x="670395" y="118690"/>
                      <a:pt x="673554" y="120721"/>
                      <a:pt x="678518" y="123880"/>
                    </a:cubicBezTo>
                    <a:cubicBezTo>
                      <a:pt x="680323" y="125008"/>
                      <a:pt x="681903" y="125910"/>
                      <a:pt x="683482" y="126587"/>
                    </a:cubicBezTo>
                    <a:cubicBezTo>
                      <a:pt x="686190" y="127941"/>
                      <a:pt x="689123" y="129295"/>
                      <a:pt x="692508" y="132229"/>
                    </a:cubicBezTo>
                    <a:cubicBezTo>
                      <a:pt x="695893" y="135162"/>
                      <a:pt x="700857" y="135162"/>
                      <a:pt x="708078" y="132003"/>
                    </a:cubicBezTo>
                    <a:cubicBezTo>
                      <a:pt x="711914" y="130198"/>
                      <a:pt x="717103" y="131100"/>
                      <a:pt x="720714" y="133808"/>
                    </a:cubicBezTo>
                    <a:cubicBezTo>
                      <a:pt x="724098" y="136290"/>
                      <a:pt x="725678" y="140352"/>
                      <a:pt x="725001" y="144639"/>
                    </a:cubicBezTo>
                    <a:cubicBezTo>
                      <a:pt x="724324" y="150055"/>
                      <a:pt x="726806" y="153665"/>
                      <a:pt x="729965" y="158629"/>
                    </a:cubicBezTo>
                    <a:cubicBezTo>
                      <a:pt x="731770" y="161337"/>
                      <a:pt x="733801" y="164496"/>
                      <a:pt x="735381" y="168106"/>
                    </a:cubicBezTo>
                    <a:cubicBezTo>
                      <a:pt x="739668" y="177583"/>
                      <a:pt x="738540" y="180517"/>
                      <a:pt x="735606" y="186384"/>
                    </a:cubicBezTo>
                    <a:lnTo>
                      <a:pt x="734929" y="187963"/>
                    </a:lnTo>
                    <a:cubicBezTo>
                      <a:pt x="733801" y="189994"/>
                      <a:pt x="735155" y="192250"/>
                      <a:pt x="737412" y="195410"/>
                    </a:cubicBezTo>
                    <a:cubicBezTo>
                      <a:pt x="739442" y="198343"/>
                      <a:pt x="741699" y="201728"/>
                      <a:pt x="740119" y="205338"/>
                    </a:cubicBezTo>
                    <a:cubicBezTo>
                      <a:pt x="738991" y="207820"/>
                      <a:pt x="738991" y="211656"/>
                      <a:pt x="739668" y="215492"/>
                    </a:cubicBezTo>
                    <a:cubicBezTo>
                      <a:pt x="740571" y="219328"/>
                      <a:pt x="742150" y="222036"/>
                      <a:pt x="744181" y="222938"/>
                    </a:cubicBezTo>
                    <a:cubicBezTo>
                      <a:pt x="748243" y="224744"/>
                      <a:pt x="754786" y="233318"/>
                      <a:pt x="762007" y="243246"/>
                    </a:cubicBezTo>
                    <a:cubicBezTo>
                      <a:pt x="764038" y="246180"/>
                      <a:pt x="765843" y="248436"/>
                      <a:pt x="766746" y="249790"/>
                    </a:cubicBezTo>
                    <a:cubicBezTo>
                      <a:pt x="767874" y="251144"/>
                      <a:pt x="770582" y="252272"/>
                      <a:pt x="773741" y="253401"/>
                    </a:cubicBezTo>
                    <a:cubicBezTo>
                      <a:pt x="778930" y="255431"/>
                      <a:pt x="785474" y="258139"/>
                      <a:pt x="789987" y="264232"/>
                    </a:cubicBezTo>
                    <a:cubicBezTo>
                      <a:pt x="798562" y="275965"/>
                      <a:pt x="796757" y="284314"/>
                      <a:pt x="795854" y="286570"/>
                    </a:cubicBezTo>
                    <a:cubicBezTo>
                      <a:pt x="795403" y="288150"/>
                      <a:pt x="794951" y="290181"/>
                      <a:pt x="794500" y="292212"/>
                    </a:cubicBezTo>
                    <a:cubicBezTo>
                      <a:pt x="793823" y="295145"/>
                      <a:pt x="793146" y="298530"/>
                      <a:pt x="792018" y="301689"/>
                    </a:cubicBezTo>
                    <a:cubicBezTo>
                      <a:pt x="791567" y="303268"/>
                      <a:pt x="791115" y="304848"/>
                      <a:pt x="790664" y="306653"/>
                    </a:cubicBezTo>
                    <a:cubicBezTo>
                      <a:pt x="789987" y="310715"/>
                      <a:pt x="789085" y="315228"/>
                      <a:pt x="785249" y="319741"/>
                    </a:cubicBezTo>
                    <a:cubicBezTo>
                      <a:pt x="783669" y="321546"/>
                      <a:pt x="783218" y="323351"/>
                      <a:pt x="783443" y="324705"/>
                    </a:cubicBezTo>
                    <a:cubicBezTo>
                      <a:pt x="783895" y="326510"/>
                      <a:pt x="785700" y="328089"/>
                      <a:pt x="789085" y="330120"/>
                    </a:cubicBezTo>
                    <a:cubicBezTo>
                      <a:pt x="794049" y="332828"/>
                      <a:pt x="805331" y="331925"/>
                      <a:pt x="806459" y="330346"/>
                    </a:cubicBezTo>
                    <a:cubicBezTo>
                      <a:pt x="806459" y="329895"/>
                      <a:pt x="806234" y="328992"/>
                      <a:pt x="806234" y="328315"/>
                    </a:cubicBezTo>
                    <a:cubicBezTo>
                      <a:pt x="806008" y="325156"/>
                      <a:pt x="805557" y="321320"/>
                      <a:pt x="810521" y="318387"/>
                    </a:cubicBezTo>
                    <a:cubicBezTo>
                      <a:pt x="812552" y="317033"/>
                      <a:pt x="813454" y="313874"/>
                      <a:pt x="814357" y="310940"/>
                    </a:cubicBezTo>
                    <a:cubicBezTo>
                      <a:pt x="815260" y="307556"/>
                      <a:pt x="816162" y="304622"/>
                      <a:pt x="818644" y="303268"/>
                    </a:cubicBezTo>
                    <a:cubicBezTo>
                      <a:pt x="819547" y="302817"/>
                      <a:pt x="820449" y="302366"/>
                      <a:pt x="821352" y="302140"/>
                    </a:cubicBezTo>
                    <a:cubicBezTo>
                      <a:pt x="824285" y="300786"/>
                      <a:pt x="827444" y="299432"/>
                      <a:pt x="829250" y="296499"/>
                    </a:cubicBezTo>
                    <a:cubicBezTo>
                      <a:pt x="829701" y="295822"/>
                      <a:pt x="829927" y="295371"/>
                      <a:pt x="830152" y="294694"/>
                    </a:cubicBezTo>
                    <a:cubicBezTo>
                      <a:pt x="831957" y="291309"/>
                      <a:pt x="833763" y="287924"/>
                      <a:pt x="839855" y="288601"/>
                    </a:cubicBezTo>
                    <a:cubicBezTo>
                      <a:pt x="845496" y="289278"/>
                      <a:pt x="847527" y="294242"/>
                      <a:pt x="849558" y="299207"/>
                    </a:cubicBezTo>
                    <a:cubicBezTo>
                      <a:pt x="850009" y="300335"/>
                      <a:pt x="850460" y="301238"/>
                      <a:pt x="850912" y="302366"/>
                    </a:cubicBezTo>
                    <a:cubicBezTo>
                      <a:pt x="851814" y="304397"/>
                      <a:pt x="852491" y="306202"/>
                      <a:pt x="852717" y="307556"/>
                    </a:cubicBezTo>
                    <a:cubicBezTo>
                      <a:pt x="852942" y="308458"/>
                      <a:pt x="853168" y="309361"/>
                      <a:pt x="853394" y="309586"/>
                    </a:cubicBezTo>
                    <a:cubicBezTo>
                      <a:pt x="865127" y="309586"/>
                      <a:pt x="870317" y="307330"/>
                      <a:pt x="871220" y="305525"/>
                    </a:cubicBezTo>
                    <a:cubicBezTo>
                      <a:pt x="873251" y="301689"/>
                      <a:pt x="874379" y="299884"/>
                      <a:pt x="876861" y="296499"/>
                    </a:cubicBezTo>
                    <a:cubicBezTo>
                      <a:pt x="877538" y="295371"/>
                      <a:pt x="878440" y="294242"/>
                      <a:pt x="879569" y="292663"/>
                    </a:cubicBezTo>
                    <a:cubicBezTo>
                      <a:pt x="884533" y="285442"/>
                      <a:pt x="895815" y="285668"/>
                      <a:pt x="898523" y="286345"/>
                    </a:cubicBezTo>
                    <a:cubicBezTo>
                      <a:pt x="901005" y="287022"/>
                      <a:pt x="901682" y="289730"/>
                      <a:pt x="902133" y="292663"/>
                    </a:cubicBezTo>
                    <a:cubicBezTo>
                      <a:pt x="902585" y="294694"/>
                      <a:pt x="903036" y="296725"/>
                      <a:pt x="903938" y="298530"/>
                    </a:cubicBezTo>
                    <a:cubicBezTo>
                      <a:pt x="906872" y="303720"/>
                      <a:pt x="905969" y="305750"/>
                      <a:pt x="902359" y="314099"/>
                    </a:cubicBezTo>
                    <a:lnTo>
                      <a:pt x="902133" y="314551"/>
                    </a:lnTo>
                    <a:cubicBezTo>
                      <a:pt x="900328" y="318612"/>
                      <a:pt x="901456" y="324028"/>
                      <a:pt x="902585" y="328766"/>
                    </a:cubicBezTo>
                    <a:cubicBezTo>
                      <a:pt x="903713" y="333505"/>
                      <a:pt x="904615" y="337567"/>
                      <a:pt x="902585" y="340500"/>
                    </a:cubicBezTo>
                    <a:cubicBezTo>
                      <a:pt x="900328" y="344110"/>
                      <a:pt x="898974" y="349074"/>
                      <a:pt x="899651" y="351557"/>
                    </a:cubicBezTo>
                    <a:cubicBezTo>
                      <a:pt x="899877" y="352459"/>
                      <a:pt x="900328" y="352685"/>
                      <a:pt x="900554" y="352685"/>
                    </a:cubicBezTo>
                    <a:cubicBezTo>
                      <a:pt x="903938" y="354490"/>
                      <a:pt x="907549" y="355167"/>
                      <a:pt x="910482" y="349751"/>
                    </a:cubicBezTo>
                    <a:cubicBezTo>
                      <a:pt x="913641" y="344110"/>
                      <a:pt x="916575" y="342756"/>
                      <a:pt x="920636" y="341177"/>
                    </a:cubicBezTo>
                    <a:cubicBezTo>
                      <a:pt x="921990" y="340500"/>
                      <a:pt x="923795" y="339823"/>
                      <a:pt x="925600" y="338920"/>
                    </a:cubicBezTo>
                    <a:cubicBezTo>
                      <a:pt x="930790" y="336213"/>
                      <a:pt x="935078" y="336213"/>
                      <a:pt x="938914" y="336213"/>
                    </a:cubicBezTo>
                    <a:cubicBezTo>
                      <a:pt x="941170" y="336213"/>
                      <a:pt x="943201" y="336213"/>
                      <a:pt x="945457" y="335761"/>
                    </a:cubicBezTo>
                    <a:lnTo>
                      <a:pt x="948616" y="335310"/>
                    </a:lnTo>
                    <a:lnTo>
                      <a:pt x="949068" y="336890"/>
                    </a:lnTo>
                    <a:cubicBezTo>
                      <a:pt x="950647" y="341628"/>
                      <a:pt x="951550" y="345239"/>
                      <a:pt x="952001" y="347495"/>
                    </a:cubicBezTo>
                    <a:cubicBezTo>
                      <a:pt x="953129" y="351782"/>
                      <a:pt x="952452" y="354264"/>
                      <a:pt x="952001" y="356746"/>
                    </a:cubicBezTo>
                    <a:cubicBezTo>
                      <a:pt x="951324" y="360357"/>
                      <a:pt x="950422" y="363967"/>
                      <a:pt x="953806" y="373444"/>
                    </a:cubicBezTo>
                    <a:lnTo>
                      <a:pt x="954709" y="375926"/>
                    </a:lnTo>
                    <a:cubicBezTo>
                      <a:pt x="959899" y="390593"/>
                      <a:pt x="960576" y="392399"/>
                      <a:pt x="968473" y="397363"/>
                    </a:cubicBezTo>
                    <a:cubicBezTo>
                      <a:pt x="979304" y="404132"/>
                      <a:pt x="984494" y="410450"/>
                      <a:pt x="986525" y="413384"/>
                    </a:cubicBezTo>
                    <a:cubicBezTo>
                      <a:pt x="989458" y="417671"/>
                      <a:pt x="991941" y="423312"/>
                      <a:pt x="986976" y="430081"/>
                    </a:cubicBezTo>
                    <a:cubicBezTo>
                      <a:pt x="985622" y="431887"/>
                      <a:pt x="983592" y="433917"/>
                      <a:pt x="982012" y="435497"/>
                    </a:cubicBezTo>
                    <a:cubicBezTo>
                      <a:pt x="980433" y="437076"/>
                      <a:pt x="977950" y="439559"/>
                      <a:pt x="977499" y="440687"/>
                    </a:cubicBezTo>
                    <a:cubicBezTo>
                      <a:pt x="977499" y="440687"/>
                      <a:pt x="977725" y="440687"/>
                      <a:pt x="977725" y="440687"/>
                    </a:cubicBezTo>
                    <a:cubicBezTo>
                      <a:pt x="979079" y="441138"/>
                      <a:pt x="980658" y="441589"/>
                      <a:pt x="982012" y="441815"/>
                    </a:cubicBezTo>
                    <a:cubicBezTo>
                      <a:pt x="985397" y="442492"/>
                      <a:pt x="989007" y="443395"/>
                      <a:pt x="991264" y="447005"/>
                    </a:cubicBezTo>
                    <a:cubicBezTo>
                      <a:pt x="992617" y="449036"/>
                      <a:pt x="992843" y="451292"/>
                      <a:pt x="991941" y="453549"/>
                    </a:cubicBezTo>
                    <a:cubicBezTo>
                      <a:pt x="990587" y="457610"/>
                      <a:pt x="985848" y="461221"/>
                      <a:pt x="978853" y="463477"/>
                    </a:cubicBezTo>
                    <a:cubicBezTo>
                      <a:pt x="975694" y="464605"/>
                      <a:pt x="973889" y="466185"/>
                      <a:pt x="974114" y="467764"/>
                    </a:cubicBezTo>
                    <a:cubicBezTo>
                      <a:pt x="974340" y="469344"/>
                      <a:pt x="976597" y="471149"/>
                      <a:pt x="979756" y="471149"/>
                    </a:cubicBezTo>
                    <a:cubicBezTo>
                      <a:pt x="982689" y="471149"/>
                      <a:pt x="985622" y="468893"/>
                      <a:pt x="988781" y="466636"/>
                    </a:cubicBezTo>
                    <a:cubicBezTo>
                      <a:pt x="992843" y="463703"/>
                      <a:pt x="997356" y="460318"/>
                      <a:pt x="1002772" y="461221"/>
                    </a:cubicBezTo>
                    <a:cubicBezTo>
                      <a:pt x="1007510" y="462123"/>
                      <a:pt x="1012249" y="464380"/>
                      <a:pt x="1016310" y="466185"/>
                    </a:cubicBezTo>
                    <a:cubicBezTo>
                      <a:pt x="1019469" y="467764"/>
                      <a:pt x="1022403" y="469118"/>
                      <a:pt x="1023982" y="469118"/>
                    </a:cubicBezTo>
                    <a:cubicBezTo>
                      <a:pt x="1025787" y="469118"/>
                      <a:pt x="1028044" y="467990"/>
                      <a:pt x="1030977" y="466185"/>
                    </a:cubicBezTo>
                    <a:cubicBezTo>
                      <a:pt x="1033685" y="464831"/>
                      <a:pt x="1036844" y="463026"/>
                      <a:pt x="1041131" y="461221"/>
                    </a:cubicBezTo>
                    <a:cubicBezTo>
                      <a:pt x="1044065" y="460092"/>
                      <a:pt x="1045870" y="458964"/>
                      <a:pt x="1047224" y="458062"/>
                    </a:cubicBezTo>
                    <a:cubicBezTo>
                      <a:pt x="1050608" y="456031"/>
                      <a:pt x="1051962" y="455579"/>
                      <a:pt x="1057604" y="457836"/>
                    </a:cubicBezTo>
                    <a:cubicBezTo>
                      <a:pt x="1062342" y="459641"/>
                      <a:pt x="1063696" y="463026"/>
                      <a:pt x="1064599" y="465282"/>
                    </a:cubicBezTo>
                    <a:cubicBezTo>
                      <a:pt x="1065501" y="467539"/>
                      <a:pt x="1065952" y="468216"/>
                      <a:pt x="1067983" y="468441"/>
                    </a:cubicBezTo>
                    <a:lnTo>
                      <a:pt x="1072496" y="468667"/>
                    </a:lnTo>
                    <a:lnTo>
                      <a:pt x="1069111" y="471826"/>
                    </a:lnTo>
                    <a:cubicBezTo>
                      <a:pt x="1059409" y="480852"/>
                      <a:pt x="1050834" y="489201"/>
                      <a:pt x="1043388" y="496647"/>
                    </a:cubicBezTo>
                    <a:cubicBezTo>
                      <a:pt x="1027367" y="512442"/>
                      <a:pt x="1015859" y="523950"/>
                      <a:pt x="1005254" y="526432"/>
                    </a:cubicBezTo>
                    <a:cubicBezTo>
                      <a:pt x="989007" y="530043"/>
                      <a:pt x="948842" y="547643"/>
                      <a:pt x="939591" y="557797"/>
                    </a:cubicBezTo>
                    <a:cubicBezTo>
                      <a:pt x="929437" y="568854"/>
                      <a:pt x="890400" y="594126"/>
                      <a:pt x="866256" y="601572"/>
                    </a:cubicBezTo>
                    <a:cubicBezTo>
                      <a:pt x="849332" y="606762"/>
                      <a:pt x="849332" y="611275"/>
                      <a:pt x="849558" y="616239"/>
                    </a:cubicBezTo>
                    <a:cubicBezTo>
                      <a:pt x="849558" y="618270"/>
                      <a:pt x="849558" y="620075"/>
                      <a:pt x="848655" y="622106"/>
                    </a:cubicBezTo>
                    <a:cubicBezTo>
                      <a:pt x="846173" y="627747"/>
                      <a:pt x="846850" y="661820"/>
                      <a:pt x="859486" y="673554"/>
                    </a:cubicBezTo>
                    <a:cubicBezTo>
                      <a:pt x="868963" y="682354"/>
                      <a:pt x="881825" y="681451"/>
                      <a:pt x="899426" y="670620"/>
                    </a:cubicBezTo>
                    <a:cubicBezTo>
                      <a:pt x="909354" y="664528"/>
                      <a:pt x="927631" y="661369"/>
                      <a:pt x="937108" y="664077"/>
                    </a:cubicBezTo>
                    <a:cubicBezTo>
                      <a:pt x="940268" y="664979"/>
                      <a:pt x="942524" y="666559"/>
                      <a:pt x="943427" y="668589"/>
                    </a:cubicBezTo>
                    <a:cubicBezTo>
                      <a:pt x="946360" y="674682"/>
                      <a:pt x="951099" y="687995"/>
                      <a:pt x="947714" y="696344"/>
                    </a:cubicBezTo>
                    <a:cubicBezTo>
                      <a:pt x="946586" y="699277"/>
                      <a:pt x="944329" y="701308"/>
                      <a:pt x="941396" y="702436"/>
                    </a:cubicBezTo>
                    <a:cubicBezTo>
                      <a:pt x="930565" y="706047"/>
                      <a:pt x="917477" y="708077"/>
                      <a:pt x="905969" y="708077"/>
                    </a:cubicBezTo>
                    <a:cubicBezTo>
                      <a:pt x="896718" y="708077"/>
                      <a:pt x="890851" y="715749"/>
                      <a:pt x="887015" y="731996"/>
                    </a:cubicBezTo>
                    <a:cubicBezTo>
                      <a:pt x="884759" y="742150"/>
                      <a:pt x="888369" y="747566"/>
                      <a:pt x="890625" y="750048"/>
                    </a:cubicBezTo>
                    <a:cubicBezTo>
                      <a:pt x="893333" y="752755"/>
                      <a:pt x="897169" y="754109"/>
                      <a:pt x="900554" y="753432"/>
                    </a:cubicBezTo>
                    <a:cubicBezTo>
                      <a:pt x="902585" y="752981"/>
                      <a:pt x="904164" y="753207"/>
                      <a:pt x="905518" y="754109"/>
                    </a:cubicBezTo>
                    <a:cubicBezTo>
                      <a:pt x="908000" y="755914"/>
                      <a:pt x="908677" y="759525"/>
                      <a:pt x="909354" y="763361"/>
                    </a:cubicBezTo>
                    <a:cubicBezTo>
                      <a:pt x="910031" y="766971"/>
                      <a:pt x="910708" y="770582"/>
                      <a:pt x="912739" y="772838"/>
                    </a:cubicBezTo>
                    <a:cubicBezTo>
                      <a:pt x="915446" y="775997"/>
                      <a:pt x="916123" y="780059"/>
                      <a:pt x="914769" y="784571"/>
                    </a:cubicBezTo>
                    <a:cubicBezTo>
                      <a:pt x="913416" y="789084"/>
                      <a:pt x="910031" y="792920"/>
                      <a:pt x="907098" y="793597"/>
                    </a:cubicBezTo>
                    <a:lnTo>
                      <a:pt x="906195" y="793823"/>
                    </a:lnTo>
                    <a:cubicBezTo>
                      <a:pt x="899200" y="795403"/>
                      <a:pt x="890174" y="798336"/>
                      <a:pt x="890625" y="804654"/>
                    </a:cubicBezTo>
                    <a:cubicBezTo>
                      <a:pt x="890851" y="806911"/>
                      <a:pt x="891302" y="809167"/>
                      <a:pt x="891754" y="811649"/>
                    </a:cubicBezTo>
                    <a:cubicBezTo>
                      <a:pt x="893107" y="819547"/>
                      <a:pt x="894913" y="828573"/>
                      <a:pt x="889046" y="833537"/>
                    </a:cubicBezTo>
                    <a:cubicBezTo>
                      <a:pt x="881599" y="839855"/>
                      <a:pt x="871445" y="836019"/>
                      <a:pt x="858584" y="828121"/>
                    </a:cubicBezTo>
                    <a:cubicBezTo>
                      <a:pt x="852040" y="824060"/>
                      <a:pt x="840532" y="824962"/>
                      <a:pt x="830378" y="825865"/>
                    </a:cubicBezTo>
                    <a:cubicBezTo>
                      <a:pt x="822255" y="826542"/>
                      <a:pt x="815260" y="827219"/>
                      <a:pt x="810972" y="825414"/>
                    </a:cubicBezTo>
                    <a:cubicBezTo>
                      <a:pt x="804429" y="822931"/>
                      <a:pt x="802398" y="823157"/>
                      <a:pt x="799690" y="823383"/>
                    </a:cubicBezTo>
                    <a:cubicBezTo>
                      <a:pt x="798562" y="823608"/>
                      <a:pt x="797208" y="823608"/>
                      <a:pt x="795628" y="823608"/>
                    </a:cubicBezTo>
                    <a:cubicBezTo>
                      <a:pt x="792244" y="823608"/>
                      <a:pt x="788182" y="838501"/>
                      <a:pt x="788182" y="844368"/>
                    </a:cubicBezTo>
                    <a:cubicBezTo>
                      <a:pt x="788182" y="853619"/>
                      <a:pt x="783895" y="869866"/>
                      <a:pt x="767648" y="870768"/>
                    </a:cubicBezTo>
                    <a:cubicBezTo>
                      <a:pt x="756366" y="871445"/>
                      <a:pt x="755463" y="872348"/>
                      <a:pt x="753432" y="874379"/>
                    </a:cubicBezTo>
                    <a:cubicBezTo>
                      <a:pt x="752530" y="875281"/>
                      <a:pt x="751176" y="876635"/>
                      <a:pt x="748694" y="877989"/>
                    </a:cubicBezTo>
                    <a:cubicBezTo>
                      <a:pt x="741022" y="882727"/>
                      <a:pt x="721165" y="887917"/>
                      <a:pt x="710785" y="880697"/>
                    </a:cubicBezTo>
                    <a:cubicBezTo>
                      <a:pt x="707852" y="878666"/>
                      <a:pt x="706498" y="875507"/>
                      <a:pt x="706498" y="871671"/>
                    </a:cubicBezTo>
                    <a:cubicBezTo>
                      <a:pt x="706498" y="861968"/>
                      <a:pt x="715750" y="849332"/>
                      <a:pt x="724098" y="843916"/>
                    </a:cubicBezTo>
                    <a:cubicBezTo>
                      <a:pt x="731319" y="839178"/>
                      <a:pt x="734704" y="841209"/>
                      <a:pt x="738540" y="843691"/>
                    </a:cubicBezTo>
                    <a:cubicBezTo>
                      <a:pt x="741248" y="845496"/>
                      <a:pt x="744407" y="847527"/>
                      <a:pt x="750725" y="847527"/>
                    </a:cubicBezTo>
                    <a:cubicBezTo>
                      <a:pt x="755689" y="847527"/>
                      <a:pt x="756592" y="846850"/>
                      <a:pt x="756592" y="846624"/>
                    </a:cubicBezTo>
                    <a:cubicBezTo>
                      <a:pt x="756817" y="846173"/>
                      <a:pt x="756140" y="843916"/>
                      <a:pt x="755463" y="842111"/>
                    </a:cubicBezTo>
                    <a:cubicBezTo>
                      <a:pt x="754335" y="838952"/>
                      <a:pt x="752530" y="834665"/>
                      <a:pt x="752530" y="829475"/>
                    </a:cubicBezTo>
                    <a:cubicBezTo>
                      <a:pt x="752530" y="822029"/>
                      <a:pt x="751402" y="819095"/>
                      <a:pt x="749822" y="815711"/>
                    </a:cubicBezTo>
                    <a:cubicBezTo>
                      <a:pt x="748694" y="813229"/>
                      <a:pt x="747566" y="810295"/>
                      <a:pt x="746889" y="805331"/>
                    </a:cubicBezTo>
                    <a:cubicBezTo>
                      <a:pt x="745760" y="798562"/>
                      <a:pt x="748243" y="795628"/>
                      <a:pt x="750725" y="792469"/>
                    </a:cubicBezTo>
                    <a:cubicBezTo>
                      <a:pt x="752981" y="789536"/>
                      <a:pt x="755238" y="786602"/>
                      <a:pt x="756140" y="780510"/>
                    </a:cubicBezTo>
                    <a:cubicBezTo>
                      <a:pt x="757945" y="766745"/>
                      <a:pt x="758171" y="757720"/>
                      <a:pt x="753432" y="746663"/>
                    </a:cubicBezTo>
                    <a:cubicBezTo>
                      <a:pt x="752756" y="745083"/>
                      <a:pt x="751853" y="744181"/>
                      <a:pt x="751176" y="743955"/>
                    </a:cubicBezTo>
                    <a:cubicBezTo>
                      <a:pt x="748920" y="743504"/>
                      <a:pt x="744858" y="746889"/>
                      <a:pt x="741699" y="749822"/>
                    </a:cubicBezTo>
                    <a:cubicBezTo>
                      <a:pt x="739217" y="752079"/>
                      <a:pt x="736735" y="754335"/>
                      <a:pt x="734253" y="755238"/>
                    </a:cubicBezTo>
                    <a:lnTo>
                      <a:pt x="733350" y="755689"/>
                    </a:lnTo>
                    <a:cubicBezTo>
                      <a:pt x="727032" y="758397"/>
                      <a:pt x="722970" y="760202"/>
                      <a:pt x="709883" y="760202"/>
                    </a:cubicBezTo>
                    <a:cubicBezTo>
                      <a:pt x="695441" y="760202"/>
                      <a:pt x="693185" y="755463"/>
                      <a:pt x="691154" y="747566"/>
                    </a:cubicBezTo>
                    <a:cubicBezTo>
                      <a:pt x="690252" y="743504"/>
                      <a:pt x="692508" y="737863"/>
                      <a:pt x="694990" y="731093"/>
                    </a:cubicBezTo>
                    <a:cubicBezTo>
                      <a:pt x="697924" y="723873"/>
                      <a:pt x="701083" y="715524"/>
                      <a:pt x="699729" y="709883"/>
                    </a:cubicBezTo>
                    <a:cubicBezTo>
                      <a:pt x="699052" y="706724"/>
                      <a:pt x="698149" y="706498"/>
                      <a:pt x="698149" y="706498"/>
                    </a:cubicBezTo>
                    <a:cubicBezTo>
                      <a:pt x="697247" y="706498"/>
                      <a:pt x="694313" y="709883"/>
                      <a:pt x="692734" y="711913"/>
                    </a:cubicBezTo>
                    <a:cubicBezTo>
                      <a:pt x="691380" y="713493"/>
                      <a:pt x="690026" y="715073"/>
                      <a:pt x="688672" y="716426"/>
                    </a:cubicBezTo>
                    <a:cubicBezTo>
                      <a:pt x="687544" y="717555"/>
                      <a:pt x="686416" y="718909"/>
                      <a:pt x="685287" y="720262"/>
                    </a:cubicBezTo>
                    <a:cubicBezTo>
                      <a:pt x="680774" y="725452"/>
                      <a:pt x="674908" y="731996"/>
                      <a:pt x="662723" y="736735"/>
                    </a:cubicBezTo>
                    <a:cubicBezTo>
                      <a:pt x="657307" y="738765"/>
                      <a:pt x="655276" y="738991"/>
                      <a:pt x="653697" y="737863"/>
                    </a:cubicBezTo>
                    <a:cubicBezTo>
                      <a:pt x="652343" y="736735"/>
                      <a:pt x="652569" y="734929"/>
                      <a:pt x="653020" y="733350"/>
                    </a:cubicBezTo>
                    <a:cubicBezTo>
                      <a:pt x="653471" y="730642"/>
                      <a:pt x="654148" y="727483"/>
                      <a:pt x="650538" y="724098"/>
                    </a:cubicBezTo>
                    <a:cubicBezTo>
                      <a:pt x="648507" y="722293"/>
                      <a:pt x="647379" y="721842"/>
                      <a:pt x="646928" y="722068"/>
                    </a:cubicBezTo>
                    <a:cubicBezTo>
                      <a:pt x="646025" y="722519"/>
                      <a:pt x="645348" y="726355"/>
                      <a:pt x="645122" y="728160"/>
                    </a:cubicBezTo>
                    <a:cubicBezTo>
                      <a:pt x="644897" y="730416"/>
                      <a:pt x="644671" y="732222"/>
                      <a:pt x="643769" y="733350"/>
                    </a:cubicBezTo>
                    <a:cubicBezTo>
                      <a:pt x="641963" y="736058"/>
                      <a:pt x="634743" y="751627"/>
                      <a:pt x="634743" y="765166"/>
                    </a:cubicBezTo>
                    <a:cubicBezTo>
                      <a:pt x="634743" y="771484"/>
                      <a:pt x="635194" y="776223"/>
                      <a:pt x="635871" y="781864"/>
                    </a:cubicBezTo>
                    <a:cubicBezTo>
                      <a:pt x="636548" y="788408"/>
                      <a:pt x="637450" y="796079"/>
                      <a:pt x="637450" y="807362"/>
                    </a:cubicBezTo>
                    <a:cubicBezTo>
                      <a:pt x="637450" y="822254"/>
                      <a:pt x="639932" y="824736"/>
                      <a:pt x="644671" y="829475"/>
                    </a:cubicBezTo>
                    <a:cubicBezTo>
                      <a:pt x="646251" y="831055"/>
                      <a:pt x="648056" y="832860"/>
                      <a:pt x="650312" y="835342"/>
                    </a:cubicBezTo>
                    <a:cubicBezTo>
                      <a:pt x="657082" y="843691"/>
                      <a:pt x="653471" y="848429"/>
                      <a:pt x="646928" y="857004"/>
                    </a:cubicBezTo>
                    <a:cubicBezTo>
                      <a:pt x="643994" y="860840"/>
                      <a:pt x="640384" y="865578"/>
                      <a:pt x="636322" y="872348"/>
                    </a:cubicBezTo>
                    <a:cubicBezTo>
                      <a:pt x="628425" y="885210"/>
                      <a:pt x="631132" y="894687"/>
                      <a:pt x="632937" y="900779"/>
                    </a:cubicBezTo>
                    <a:cubicBezTo>
                      <a:pt x="634066" y="904615"/>
                      <a:pt x="635194" y="908451"/>
                      <a:pt x="632035" y="910482"/>
                    </a:cubicBezTo>
                    <a:cubicBezTo>
                      <a:pt x="625491" y="914769"/>
                      <a:pt x="615337" y="921087"/>
                      <a:pt x="602475" y="925826"/>
                    </a:cubicBezTo>
                    <a:cubicBezTo>
                      <a:pt x="599767" y="926729"/>
                      <a:pt x="598188" y="928082"/>
                      <a:pt x="597737" y="929436"/>
                    </a:cubicBezTo>
                    <a:cubicBezTo>
                      <a:pt x="596834" y="931918"/>
                      <a:pt x="599542" y="935754"/>
                      <a:pt x="602024" y="939365"/>
                    </a:cubicBezTo>
                    <a:cubicBezTo>
                      <a:pt x="603378" y="941170"/>
                      <a:pt x="604506" y="943201"/>
                      <a:pt x="605409" y="945006"/>
                    </a:cubicBezTo>
                    <a:cubicBezTo>
                      <a:pt x="607214" y="948616"/>
                      <a:pt x="607439" y="952001"/>
                      <a:pt x="606086" y="955160"/>
                    </a:cubicBezTo>
                    <a:cubicBezTo>
                      <a:pt x="604055" y="959899"/>
                      <a:pt x="598639" y="963735"/>
                      <a:pt x="589162" y="966442"/>
                    </a:cubicBezTo>
                    <a:cubicBezTo>
                      <a:pt x="586229" y="967345"/>
                      <a:pt x="583972" y="968022"/>
                      <a:pt x="582167" y="968699"/>
                    </a:cubicBezTo>
                    <a:cubicBezTo>
                      <a:pt x="578557" y="970278"/>
                      <a:pt x="576300" y="970955"/>
                      <a:pt x="574269" y="970955"/>
                    </a:cubicBezTo>
                    <a:close/>
                    <a:moveTo>
                      <a:pt x="452646" y="853394"/>
                    </a:moveTo>
                    <a:cubicBezTo>
                      <a:pt x="452646" y="853394"/>
                      <a:pt x="452646" y="853394"/>
                      <a:pt x="452646" y="853394"/>
                    </a:cubicBezTo>
                    <a:cubicBezTo>
                      <a:pt x="454903" y="853394"/>
                      <a:pt x="456933" y="855199"/>
                      <a:pt x="458739" y="858583"/>
                    </a:cubicBezTo>
                    <a:cubicBezTo>
                      <a:pt x="462349" y="864902"/>
                      <a:pt x="462800" y="870768"/>
                      <a:pt x="463252" y="875958"/>
                    </a:cubicBezTo>
                    <a:cubicBezTo>
                      <a:pt x="463703" y="881599"/>
                      <a:pt x="464154" y="885887"/>
                      <a:pt x="468441" y="888820"/>
                    </a:cubicBezTo>
                    <a:cubicBezTo>
                      <a:pt x="472052" y="891528"/>
                      <a:pt x="475211" y="894687"/>
                      <a:pt x="478370" y="898071"/>
                    </a:cubicBezTo>
                    <a:cubicBezTo>
                      <a:pt x="483560" y="903713"/>
                      <a:pt x="489426" y="910256"/>
                      <a:pt x="500258" y="915897"/>
                    </a:cubicBezTo>
                    <a:cubicBezTo>
                      <a:pt x="507027" y="919508"/>
                      <a:pt x="512217" y="919959"/>
                      <a:pt x="516955" y="920185"/>
                    </a:cubicBezTo>
                    <a:cubicBezTo>
                      <a:pt x="524176" y="920862"/>
                      <a:pt x="530268" y="921313"/>
                      <a:pt x="535910" y="933724"/>
                    </a:cubicBezTo>
                    <a:cubicBezTo>
                      <a:pt x="539746" y="942298"/>
                      <a:pt x="540197" y="947939"/>
                      <a:pt x="540423" y="951324"/>
                    </a:cubicBezTo>
                    <a:cubicBezTo>
                      <a:pt x="540648" y="955160"/>
                      <a:pt x="540648" y="955160"/>
                      <a:pt x="545387" y="955160"/>
                    </a:cubicBezTo>
                    <a:cubicBezTo>
                      <a:pt x="553284" y="955160"/>
                      <a:pt x="557120" y="957868"/>
                      <a:pt x="560956" y="960575"/>
                    </a:cubicBezTo>
                    <a:cubicBezTo>
                      <a:pt x="562987" y="961929"/>
                      <a:pt x="565018" y="963509"/>
                      <a:pt x="567726" y="964637"/>
                    </a:cubicBezTo>
                    <a:cubicBezTo>
                      <a:pt x="573818" y="967345"/>
                      <a:pt x="573818" y="967345"/>
                      <a:pt x="581039" y="965088"/>
                    </a:cubicBezTo>
                    <a:cubicBezTo>
                      <a:pt x="582844" y="964411"/>
                      <a:pt x="585100" y="963735"/>
                      <a:pt x="588034" y="962832"/>
                    </a:cubicBezTo>
                    <a:cubicBezTo>
                      <a:pt x="596157" y="960350"/>
                      <a:pt x="601121" y="957191"/>
                      <a:pt x="602475" y="953581"/>
                    </a:cubicBezTo>
                    <a:cubicBezTo>
                      <a:pt x="603378" y="951550"/>
                      <a:pt x="603152" y="949293"/>
                      <a:pt x="601798" y="946585"/>
                    </a:cubicBezTo>
                    <a:cubicBezTo>
                      <a:pt x="600896" y="945006"/>
                      <a:pt x="599767" y="943201"/>
                      <a:pt x="598639" y="941396"/>
                    </a:cubicBezTo>
                    <a:cubicBezTo>
                      <a:pt x="595706" y="937108"/>
                      <a:pt x="592547" y="932595"/>
                      <a:pt x="593901" y="928308"/>
                    </a:cubicBezTo>
                    <a:cubicBezTo>
                      <a:pt x="594803" y="925600"/>
                      <a:pt x="597060" y="923795"/>
                      <a:pt x="601121" y="922441"/>
                    </a:cubicBezTo>
                    <a:cubicBezTo>
                      <a:pt x="613532" y="917928"/>
                      <a:pt x="623460" y="911836"/>
                      <a:pt x="629778" y="907549"/>
                    </a:cubicBezTo>
                    <a:cubicBezTo>
                      <a:pt x="630681" y="906872"/>
                      <a:pt x="630230" y="905518"/>
                      <a:pt x="629327" y="901908"/>
                    </a:cubicBezTo>
                    <a:cubicBezTo>
                      <a:pt x="627522" y="895589"/>
                      <a:pt x="624363" y="884758"/>
                      <a:pt x="632937" y="870543"/>
                    </a:cubicBezTo>
                    <a:cubicBezTo>
                      <a:pt x="636999" y="863773"/>
                      <a:pt x="640835" y="858809"/>
                      <a:pt x="643769" y="854973"/>
                    </a:cubicBezTo>
                    <a:cubicBezTo>
                      <a:pt x="650312" y="846173"/>
                      <a:pt x="652117" y="843916"/>
                      <a:pt x="647153" y="837824"/>
                    </a:cubicBezTo>
                    <a:cubicBezTo>
                      <a:pt x="645122" y="835342"/>
                      <a:pt x="643543" y="833762"/>
                      <a:pt x="641963" y="832183"/>
                    </a:cubicBezTo>
                    <a:cubicBezTo>
                      <a:pt x="636322" y="826767"/>
                      <a:pt x="633614" y="823383"/>
                      <a:pt x="633614" y="807587"/>
                    </a:cubicBezTo>
                    <a:cubicBezTo>
                      <a:pt x="633614" y="796305"/>
                      <a:pt x="632712" y="788859"/>
                      <a:pt x="632035" y="782315"/>
                    </a:cubicBezTo>
                    <a:cubicBezTo>
                      <a:pt x="631358" y="776900"/>
                      <a:pt x="630907" y="771710"/>
                      <a:pt x="630907" y="765166"/>
                    </a:cubicBezTo>
                    <a:cubicBezTo>
                      <a:pt x="630907" y="750725"/>
                      <a:pt x="638579" y="734252"/>
                      <a:pt x="640609" y="731319"/>
                    </a:cubicBezTo>
                    <a:cubicBezTo>
                      <a:pt x="640835" y="730868"/>
                      <a:pt x="641061" y="729063"/>
                      <a:pt x="641286" y="727709"/>
                    </a:cubicBezTo>
                    <a:cubicBezTo>
                      <a:pt x="641738" y="724098"/>
                      <a:pt x="642415" y="719811"/>
                      <a:pt x="645574" y="718683"/>
                    </a:cubicBezTo>
                    <a:cubicBezTo>
                      <a:pt x="648281" y="717780"/>
                      <a:pt x="650989" y="719811"/>
                      <a:pt x="653020" y="721391"/>
                    </a:cubicBezTo>
                    <a:cubicBezTo>
                      <a:pt x="658210" y="726129"/>
                      <a:pt x="657307" y="731319"/>
                      <a:pt x="656856" y="734027"/>
                    </a:cubicBezTo>
                    <a:cubicBezTo>
                      <a:pt x="656856" y="734252"/>
                      <a:pt x="656856" y="734478"/>
                      <a:pt x="656630" y="734704"/>
                    </a:cubicBezTo>
                    <a:cubicBezTo>
                      <a:pt x="657307" y="734478"/>
                      <a:pt x="658887" y="734252"/>
                      <a:pt x="661369" y="733124"/>
                    </a:cubicBezTo>
                    <a:cubicBezTo>
                      <a:pt x="672877" y="728837"/>
                      <a:pt x="677841" y="722970"/>
                      <a:pt x="682354" y="717780"/>
                    </a:cubicBezTo>
                    <a:cubicBezTo>
                      <a:pt x="683482" y="716426"/>
                      <a:pt x="684836" y="715073"/>
                      <a:pt x="685964" y="713719"/>
                    </a:cubicBezTo>
                    <a:cubicBezTo>
                      <a:pt x="687093" y="712590"/>
                      <a:pt x="688446" y="711011"/>
                      <a:pt x="689575" y="709431"/>
                    </a:cubicBezTo>
                    <a:cubicBezTo>
                      <a:pt x="692734" y="705370"/>
                      <a:pt x="695667" y="701985"/>
                      <a:pt x="698826" y="702662"/>
                    </a:cubicBezTo>
                    <a:cubicBezTo>
                      <a:pt x="701534" y="703339"/>
                      <a:pt x="702662" y="706498"/>
                      <a:pt x="703113" y="708754"/>
                    </a:cubicBezTo>
                    <a:cubicBezTo>
                      <a:pt x="704919" y="715524"/>
                      <a:pt x="701308" y="724324"/>
                      <a:pt x="698375" y="732222"/>
                    </a:cubicBezTo>
                    <a:cubicBezTo>
                      <a:pt x="696118" y="737863"/>
                      <a:pt x="694088" y="743504"/>
                      <a:pt x="694764" y="746437"/>
                    </a:cubicBezTo>
                    <a:cubicBezTo>
                      <a:pt x="696570" y="753207"/>
                      <a:pt x="697698" y="756366"/>
                      <a:pt x="709883" y="756366"/>
                    </a:cubicBezTo>
                    <a:cubicBezTo>
                      <a:pt x="722068" y="756366"/>
                      <a:pt x="725678" y="754786"/>
                      <a:pt x="731770" y="752079"/>
                    </a:cubicBezTo>
                    <a:lnTo>
                      <a:pt x="732673" y="751627"/>
                    </a:lnTo>
                    <a:cubicBezTo>
                      <a:pt x="734478" y="750950"/>
                      <a:pt x="736735" y="748919"/>
                      <a:pt x="738991" y="746889"/>
                    </a:cubicBezTo>
                    <a:cubicBezTo>
                      <a:pt x="743278" y="743053"/>
                      <a:pt x="747566" y="739217"/>
                      <a:pt x="751853" y="740119"/>
                    </a:cubicBezTo>
                    <a:cubicBezTo>
                      <a:pt x="753884" y="740571"/>
                      <a:pt x="755689" y="742376"/>
                      <a:pt x="756817" y="745083"/>
                    </a:cubicBezTo>
                    <a:cubicBezTo>
                      <a:pt x="761781" y="756817"/>
                      <a:pt x="761556" y="766745"/>
                      <a:pt x="759751" y="780736"/>
                    </a:cubicBezTo>
                    <a:cubicBezTo>
                      <a:pt x="758848" y="787956"/>
                      <a:pt x="755915" y="791792"/>
                      <a:pt x="753432" y="794726"/>
                    </a:cubicBezTo>
                    <a:cubicBezTo>
                      <a:pt x="750950" y="797659"/>
                      <a:pt x="749371" y="799690"/>
                      <a:pt x="750273" y="804654"/>
                    </a:cubicBezTo>
                    <a:cubicBezTo>
                      <a:pt x="750950" y="809167"/>
                      <a:pt x="752079" y="811649"/>
                      <a:pt x="752981" y="814131"/>
                    </a:cubicBezTo>
                    <a:cubicBezTo>
                      <a:pt x="754561" y="817741"/>
                      <a:pt x="755915" y="821352"/>
                      <a:pt x="755915" y="829249"/>
                    </a:cubicBezTo>
                    <a:cubicBezTo>
                      <a:pt x="755915" y="833762"/>
                      <a:pt x="757268" y="837373"/>
                      <a:pt x="758397" y="840532"/>
                    </a:cubicBezTo>
                    <a:cubicBezTo>
                      <a:pt x="759751" y="843691"/>
                      <a:pt x="760653" y="846173"/>
                      <a:pt x="759074" y="848429"/>
                    </a:cubicBezTo>
                    <a:cubicBezTo>
                      <a:pt x="757720" y="850235"/>
                      <a:pt x="755238" y="850911"/>
                      <a:pt x="750048" y="850911"/>
                    </a:cubicBezTo>
                    <a:cubicBezTo>
                      <a:pt x="742827" y="850911"/>
                      <a:pt x="738766" y="848429"/>
                      <a:pt x="735832" y="846624"/>
                    </a:cubicBezTo>
                    <a:cubicBezTo>
                      <a:pt x="732447" y="844593"/>
                      <a:pt x="730868" y="843465"/>
                      <a:pt x="725678" y="846850"/>
                    </a:cubicBezTo>
                    <a:cubicBezTo>
                      <a:pt x="717329" y="852491"/>
                      <a:pt x="709883" y="863999"/>
                      <a:pt x="709883" y="871671"/>
                    </a:cubicBezTo>
                    <a:cubicBezTo>
                      <a:pt x="709883" y="874379"/>
                      <a:pt x="710785" y="876409"/>
                      <a:pt x="712591" y="877763"/>
                    </a:cubicBezTo>
                    <a:cubicBezTo>
                      <a:pt x="721165" y="883630"/>
                      <a:pt x="739217" y="879343"/>
                      <a:pt x="746212" y="874830"/>
                    </a:cubicBezTo>
                    <a:cubicBezTo>
                      <a:pt x="748243" y="873476"/>
                      <a:pt x="749371" y="872573"/>
                      <a:pt x="750273" y="871671"/>
                    </a:cubicBezTo>
                    <a:cubicBezTo>
                      <a:pt x="752981" y="868963"/>
                      <a:pt x="754786" y="867835"/>
                      <a:pt x="766971" y="867158"/>
                    </a:cubicBezTo>
                    <a:cubicBezTo>
                      <a:pt x="783895" y="866255"/>
                      <a:pt x="783895" y="845496"/>
                      <a:pt x="783895" y="844593"/>
                    </a:cubicBezTo>
                    <a:cubicBezTo>
                      <a:pt x="783895" y="841209"/>
                      <a:pt x="787054" y="820224"/>
                      <a:pt x="795177" y="820224"/>
                    </a:cubicBezTo>
                    <a:cubicBezTo>
                      <a:pt x="796531" y="820224"/>
                      <a:pt x="797659" y="819998"/>
                      <a:pt x="798787" y="819998"/>
                    </a:cubicBezTo>
                    <a:cubicBezTo>
                      <a:pt x="801946" y="819547"/>
                      <a:pt x="804654" y="819321"/>
                      <a:pt x="811875" y="822254"/>
                    </a:cubicBezTo>
                    <a:cubicBezTo>
                      <a:pt x="815485" y="823608"/>
                      <a:pt x="822255" y="823157"/>
                      <a:pt x="829701" y="822480"/>
                    </a:cubicBezTo>
                    <a:cubicBezTo>
                      <a:pt x="840532" y="821577"/>
                      <a:pt x="852491" y="820449"/>
                      <a:pt x="860163" y="825188"/>
                    </a:cubicBezTo>
                    <a:cubicBezTo>
                      <a:pt x="873927" y="833537"/>
                      <a:pt x="881148" y="835342"/>
                      <a:pt x="886112" y="831055"/>
                    </a:cubicBezTo>
                    <a:cubicBezTo>
                      <a:pt x="890174" y="827444"/>
                      <a:pt x="888820" y="819998"/>
                      <a:pt x="887466" y="812777"/>
                    </a:cubicBezTo>
                    <a:cubicBezTo>
                      <a:pt x="887015" y="810295"/>
                      <a:pt x="886564" y="807813"/>
                      <a:pt x="886338" y="805331"/>
                    </a:cubicBezTo>
                    <a:cubicBezTo>
                      <a:pt x="885210" y="794951"/>
                      <a:pt x="899426" y="791567"/>
                      <a:pt x="904615" y="790438"/>
                    </a:cubicBezTo>
                    <a:lnTo>
                      <a:pt x="905518" y="790213"/>
                    </a:lnTo>
                    <a:cubicBezTo>
                      <a:pt x="906872" y="789987"/>
                      <a:pt x="909354" y="787279"/>
                      <a:pt x="910482" y="783669"/>
                    </a:cubicBezTo>
                    <a:cubicBezTo>
                      <a:pt x="911159" y="781412"/>
                      <a:pt x="911610" y="778253"/>
                      <a:pt x="909354" y="775546"/>
                    </a:cubicBezTo>
                    <a:cubicBezTo>
                      <a:pt x="906646" y="772387"/>
                      <a:pt x="905969" y="768099"/>
                      <a:pt x="905292" y="764263"/>
                    </a:cubicBezTo>
                    <a:cubicBezTo>
                      <a:pt x="904841" y="761330"/>
                      <a:pt x="904164" y="758397"/>
                      <a:pt x="903036" y="757494"/>
                    </a:cubicBezTo>
                    <a:cubicBezTo>
                      <a:pt x="902810" y="757268"/>
                      <a:pt x="902359" y="757043"/>
                      <a:pt x="901005" y="757268"/>
                    </a:cubicBezTo>
                    <a:cubicBezTo>
                      <a:pt x="896492" y="758397"/>
                      <a:pt x="891302" y="756591"/>
                      <a:pt x="887466" y="752981"/>
                    </a:cubicBezTo>
                    <a:cubicBezTo>
                      <a:pt x="884533" y="750048"/>
                      <a:pt x="880020" y="743504"/>
                      <a:pt x="882728" y="731545"/>
                    </a:cubicBezTo>
                    <a:cubicBezTo>
                      <a:pt x="886789" y="713493"/>
                      <a:pt x="894010" y="704693"/>
                      <a:pt x="905292" y="704693"/>
                    </a:cubicBezTo>
                    <a:cubicBezTo>
                      <a:pt x="916349" y="704693"/>
                      <a:pt x="928985" y="702662"/>
                      <a:pt x="939591" y="699052"/>
                    </a:cubicBezTo>
                    <a:cubicBezTo>
                      <a:pt x="941621" y="698375"/>
                      <a:pt x="942975" y="697021"/>
                      <a:pt x="943652" y="695216"/>
                    </a:cubicBezTo>
                    <a:cubicBezTo>
                      <a:pt x="946360" y="688898"/>
                      <a:pt x="942524" y="676713"/>
                      <a:pt x="939365" y="670620"/>
                    </a:cubicBezTo>
                    <a:cubicBezTo>
                      <a:pt x="938914" y="669492"/>
                      <a:pt x="937560" y="668589"/>
                      <a:pt x="935303" y="668138"/>
                    </a:cubicBezTo>
                    <a:cubicBezTo>
                      <a:pt x="926729" y="665656"/>
                      <a:pt x="909580" y="668815"/>
                      <a:pt x="900554" y="674231"/>
                    </a:cubicBezTo>
                    <a:cubicBezTo>
                      <a:pt x="893559" y="678518"/>
                      <a:pt x="872122" y="691831"/>
                      <a:pt x="855876" y="676938"/>
                    </a:cubicBezTo>
                    <a:cubicBezTo>
                      <a:pt x="842111" y="664302"/>
                      <a:pt x="840983" y="628876"/>
                      <a:pt x="844142" y="621204"/>
                    </a:cubicBezTo>
                    <a:cubicBezTo>
                      <a:pt x="844594" y="619850"/>
                      <a:pt x="844594" y="618496"/>
                      <a:pt x="844594" y="616691"/>
                    </a:cubicBezTo>
                    <a:cubicBezTo>
                      <a:pt x="844594" y="609696"/>
                      <a:pt x="845947" y="604055"/>
                      <a:pt x="863999" y="598413"/>
                    </a:cubicBezTo>
                    <a:cubicBezTo>
                      <a:pt x="888820" y="590742"/>
                      <a:pt x="926729" y="565469"/>
                      <a:pt x="935529" y="555766"/>
                    </a:cubicBezTo>
                    <a:cubicBezTo>
                      <a:pt x="945457" y="544935"/>
                      <a:pt x="986074" y="527109"/>
                      <a:pt x="1003223" y="523273"/>
                    </a:cubicBezTo>
                    <a:cubicBezTo>
                      <a:pt x="1012926" y="521017"/>
                      <a:pt x="1024208" y="509960"/>
                      <a:pt x="1039552" y="494616"/>
                    </a:cubicBezTo>
                    <a:cubicBezTo>
                      <a:pt x="1046321" y="487847"/>
                      <a:pt x="1054219" y="480175"/>
                      <a:pt x="1063019" y="471826"/>
                    </a:cubicBezTo>
                    <a:cubicBezTo>
                      <a:pt x="1061440" y="470698"/>
                      <a:pt x="1060537" y="468893"/>
                      <a:pt x="1060086" y="467539"/>
                    </a:cubicBezTo>
                    <a:cubicBezTo>
                      <a:pt x="1059183" y="465282"/>
                      <a:pt x="1058280" y="463251"/>
                      <a:pt x="1055121" y="462123"/>
                    </a:cubicBezTo>
                    <a:cubicBezTo>
                      <a:pt x="1050834" y="460318"/>
                      <a:pt x="1050383" y="460544"/>
                      <a:pt x="1048126" y="461898"/>
                    </a:cubicBezTo>
                    <a:cubicBezTo>
                      <a:pt x="1046772" y="462800"/>
                      <a:pt x="1044742" y="463928"/>
                      <a:pt x="1041357" y="465282"/>
                    </a:cubicBezTo>
                    <a:cubicBezTo>
                      <a:pt x="1037295" y="466862"/>
                      <a:pt x="1034136" y="468667"/>
                      <a:pt x="1031654" y="470021"/>
                    </a:cubicBezTo>
                    <a:cubicBezTo>
                      <a:pt x="1028269" y="471826"/>
                      <a:pt x="1025562" y="473406"/>
                      <a:pt x="1022854" y="473406"/>
                    </a:cubicBezTo>
                    <a:cubicBezTo>
                      <a:pt x="1020372" y="473406"/>
                      <a:pt x="1017438" y="472052"/>
                      <a:pt x="1013603" y="470021"/>
                    </a:cubicBezTo>
                    <a:cubicBezTo>
                      <a:pt x="1009766" y="468216"/>
                      <a:pt x="1005254" y="465959"/>
                      <a:pt x="1000966" y="465282"/>
                    </a:cubicBezTo>
                    <a:cubicBezTo>
                      <a:pt x="997130" y="464605"/>
                      <a:pt x="993520" y="467313"/>
                      <a:pt x="989910" y="470021"/>
                    </a:cubicBezTo>
                    <a:cubicBezTo>
                      <a:pt x="986525" y="472503"/>
                      <a:pt x="982915" y="475211"/>
                      <a:pt x="978853" y="475211"/>
                    </a:cubicBezTo>
                    <a:cubicBezTo>
                      <a:pt x="974114" y="475211"/>
                      <a:pt x="970053" y="472503"/>
                      <a:pt x="969376" y="468667"/>
                    </a:cubicBezTo>
                    <a:cubicBezTo>
                      <a:pt x="969150" y="467313"/>
                      <a:pt x="969150" y="462575"/>
                      <a:pt x="976822" y="460318"/>
                    </a:cubicBezTo>
                    <a:cubicBezTo>
                      <a:pt x="982463" y="458513"/>
                      <a:pt x="986525" y="455805"/>
                      <a:pt x="987428" y="452646"/>
                    </a:cubicBezTo>
                    <a:cubicBezTo>
                      <a:pt x="987879" y="451518"/>
                      <a:pt x="987653" y="450390"/>
                      <a:pt x="986976" y="449487"/>
                    </a:cubicBezTo>
                    <a:cubicBezTo>
                      <a:pt x="985397" y="447231"/>
                      <a:pt x="983140" y="446554"/>
                      <a:pt x="979981" y="445877"/>
                    </a:cubicBezTo>
                    <a:cubicBezTo>
                      <a:pt x="978627" y="445651"/>
                      <a:pt x="976822" y="445200"/>
                      <a:pt x="975243" y="444523"/>
                    </a:cubicBezTo>
                    <a:cubicBezTo>
                      <a:pt x="973437" y="443846"/>
                      <a:pt x="972761" y="442718"/>
                      <a:pt x="972535" y="441815"/>
                    </a:cubicBezTo>
                    <a:cubicBezTo>
                      <a:pt x="971858" y="439107"/>
                      <a:pt x="974566" y="436400"/>
                      <a:pt x="978176" y="433015"/>
                    </a:cubicBezTo>
                    <a:cubicBezTo>
                      <a:pt x="979981" y="431435"/>
                      <a:pt x="981561" y="429630"/>
                      <a:pt x="982915" y="427825"/>
                    </a:cubicBezTo>
                    <a:cubicBezTo>
                      <a:pt x="986299" y="423312"/>
                      <a:pt x="985171" y="419476"/>
                      <a:pt x="982463" y="415414"/>
                    </a:cubicBezTo>
                    <a:cubicBezTo>
                      <a:pt x="979304" y="410676"/>
                      <a:pt x="973212" y="405260"/>
                      <a:pt x="965540" y="400522"/>
                    </a:cubicBezTo>
                    <a:cubicBezTo>
                      <a:pt x="956514" y="394881"/>
                      <a:pt x="955386" y="391722"/>
                      <a:pt x="950196" y="377055"/>
                    </a:cubicBezTo>
                    <a:lnTo>
                      <a:pt x="949293" y="374573"/>
                    </a:lnTo>
                    <a:cubicBezTo>
                      <a:pt x="945457" y="363967"/>
                      <a:pt x="946360" y="359454"/>
                      <a:pt x="947262" y="355618"/>
                    </a:cubicBezTo>
                    <a:cubicBezTo>
                      <a:pt x="947714" y="353136"/>
                      <a:pt x="948165" y="351331"/>
                      <a:pt x="947262" y="347946"/>
                    </a:cubicBezTo>
                    <a:cubicBezTo>
                      <a:pt x="946811" y="345915"/>
                      <a:pt x="945909" y="342982"/>
                      <a:pt x="944780" y="339146"/>
                    </a:cubicBezTo>
                    <a:cubicBezTo>
                      <a:pt x="942298" y="339597"/>
                      <a:pt x="939816" y="339597"/>
                      <a:pt x="937785" y="339823"/>
                    </a:cubicBezTo>
                    <a:cubicBezTo>
                      <a:pt x="933949" y="339823"/>
                      <a:pt x="930565" y="340049"/>
                      <a:pt x="926052" y="342305"/>
                    </a:cubicBezTo>
                    <a:cubicBezTo>
                      <a:pt x="924021" y="343433"/>
                      <a:pt x="922216" y="344110"/>
                      <a:pt x="920862" y="344562"/>
                    </a:cubicBezTo>
                    <a:cubicBezTo>
                      <a:pt x="917026" y="346141"/>
                      <a:pt x="914995" y="347044"/>
                      <a:pt x="912513" y="351557"/>
                    </a:cubicBezTo>
                    <a:cubicBezTo>
                      <a:pt x="909128" y="357875"/>
                      <a:pt x="903938" y="359454"/>
                      <a:pt x="897395" y="356070"/>
                    </a:cubicBezTo>
                    <a:cubicBezTo>
                      <a:pt x="896041" y="355393"/>
                      <a:pt x="895138" y="354264"/>
                      <a:pt x="894687" y="352459"/>
                    </a:cubicBezTo>
                    <a:cubicBezTo>
                      <a:pt x="893559" y="348398"/>
                      <a:pt x="895590" y="342305"/>
                      <a:pt x="898072" y="338243"/>
                    </a:cubicBezTo>
                    <a:cubicBezTo>
                      <a:pt x="899200" y="336664"/>
                      <a:pt x="898297" y="333054"/>
                      <a:pt x="897395" y="329218"/>
                    </a:cubicBezTo>
                    <a:cubicBezTo>
                      <a:pt x="896267" y="324028"/>
                      <a:pt x="894913" y="318161"/>
                      <a:pt x="897169" y="312746"/>
                    </a:cubicBezTo>
                    <a:lnTo>
                      <a:pt x="897395" y="312294"/>
                    </a:lnTo>
                    <a:cubicBezTo>
                      <a:pt x="901005" y="303720"/>
                      <a:pt x="901005" y="303494"/>
                      <a:pt x="899200" y="300109"/>
                    </a:cubicBezTo>
                    <a:cubicBezTo>
                      <a:pt x="897846" y="297853"/>
                      <a:pt x="897395" y="295371"/>
                      <a:pt x="896943" y="293114"/>
                    </a:cubicBezTo>
                    <a:cubicBezTo>
                      <a:pt x="896718" y="291760"/>
                      <a:pt x="896267" y="289955"/>
                      <a:pt x="895815" y="289504"/>
                    </a:cubicBezTo>
                    <a:cubicBezTo>
                      <a:pt x="894010" y="289053"/>
                      <a:pt x="884759" y="289053"/>
                      <a:pt x="880923" y="294468"/>
                    </a:cubicBezTo>
                    <a:cubicBezTo>
                      <a:pt x="879794" y="296048"/>
                      <a:pt x="878892" y="297176"/>
                      <a:pt x="878215" y="298304"/>
                    </a:cubicBezTo>
                    <a:cubicBezTo>
                      <a:pt x="875733" y="301689"/>
                      <a:pt x="874830" y="303043"/>
                      <a:pt x="873025" y="306879"/>
                    </a:cubicBezTo>
                    <a:cubicBezTo>
                      <a:pt x="870543" y="311843"/>
                      <a:pt x="860163" y="312971"/>
                      <a:pt x="851814" y="312971"/>
                    </a:cubicBezTo>
                    <a:cubicBezTo>
                      <a:pt x="848881" y="312971"/>
                      <a:pt x="848204" y="310715"/>
                      <a:pt x="847301" y="308458"/>
                    </a:cubicBezTo>
                    <a:cubicBezTo>
                      <a:pt x="846850" y="307330"/>
                      <a:pt x="846399" y="305750"/>
                      <a:pt x="845496" y="303720"/>
                    </a:cubicBezTo>
                    <a:cubicBezTo>
                      <a:pt x="845045" y="302591"/>
                      <a:pt x="844594" y="301463"/>
                      <a:pt x="844142" y="300561"/>
                    </a:cubicBezTo>
                    <a:cubicBezTo>
                      <a:pt x="842337" y="295822"/>
                      <a:pt x="840983" y="292663"/>
                      <a:pt x="837599" y="292437"/>
                    </a:cubicBezTo>
                    <a:cubicBezTo>
                      <a:pt x="833988" y="291986"/>
                      <a:pt x="833537" y="293114"/>
                      <a:pt x="831732" y="296499"/>
                    </a:cubicBezTo>
                    <a:cubicBezTo>
                      <a:pt x="831506" y="297176"/>
                      <a:pt x="831055" y="297627"/>
                      <a:pt x="830603" y="298304"/>
                    </a:cubicBezTo>
                    <a:cubicBezTo>
                      <a:pt x="828347" y="302366"/>
                      <a:pt x="824511" y="303945"/>
                      <a:pt x="821126" y="305525"/>
                    </a:cubicBezTo>
                    <a:cubicBezTo>
                      <a:pt x="820224" y="305976"/>
                      <a:pt x="819321" y="306202"/>
                      <a:pt x="818644" y="306653"/>
                    </a:cubicBezTo>
                    <a:cubicBezTo>
                      <a:pt x="817516" y="307104"/>
                      <a:pt x="816839" y="309812"/>
                      <a:pt x="816162" y="312069"/>
                    </a:cubicBezTo>
                    <a:cubicBezTo>
                      <a:pt x="815034" y="315679"/>
                      <a:pt x="813906" y="319741"/>
                      <a:pt x="810747" y="321771"/>
                    </a:cubicBezTo>
                    <a:cubicBezTo>
                      <a:pt x="807813" y="323577"/>
                      <a:pt x="808039" y="325382"/>
                      <a:pt x="808264" y="328089"/>
                    </a:cubicBezTo>
                    <a:cubicBezTo>
                      <a:pt x="808264" y="328992"/>
                      <a:pt x="808490" y="329895"/>
                      <a:pt x="808490" y="330797"/>
                    </a:cubicBezTo>
                    <a:cubicBezTo>
                      <a:pt x="808490" y="331474"/>
                      <a:pt x="808264" y="333054"/>
                      <a:pt x="806234" y="334182"/>
                    </a:cubicBezTo>
                    <a:cubicBezTo>
                      <a:pt x="801721" y="336664"/>
                      <a:pt x="790664" y="336438"/>
                      <a:pt x="785474" y="333731"/>
                    </a:cubicBezTo>
                    <a:cubicBezTo>
                      <a:pt x="782315" y="331925"/>
                      <a:pt x="778705" y="329443"/>
                      <a:pt x="777802" y="325833"/>
                    </a:cubicBezTo>
                    <a:cubicBezTo>
                      <a:pt x="777351" y="323351"/>
                      <a:pt x="778254" y="320643"/>
                      <a:pt x="780510" y="317935"/>
                    </a:cubicBezTo>
                    <a:cubicBezTo>
                      <a:pt x="783669" y="314099"/>
                      <a:pt x="784346" y="310263"/>
                      <a:pt x="785023" y="306427"/>
                    </a:cubicBezTo>
                    <a:cubicBezTo>
                      <a:pt x="785474" y="304397"/>
                      <a:pt x="785700" y="302591"/>
                      <a:pt x="786377" y="300786"/>
                    </a:cubicBezTo>
                    <a:cubicBezTo>
                      <a:pt x="787505" y="298078"/>
                      <a:pt x="787956" y="294919"/>
                      <a:pt x="788633" y="291986"/>
                    </a:cubicBezTo>
                    <a:cubicBezTo>
                      <a:pt x="789085" y="289730"/>
                      <a:pt x="789536" y="287473"/>
                      <a:pt x="790213" y="285894"/>
                    </a:cubicBezTo>
                    <a:cubicBezTo>
                      <a:pt x="791567" y="282058"/>
                      <a:pt x="790664" y="275063"/>
                      <a:pt x="784797" y="266939"/>
                    </a:cubicBezTo>
                    <a:cubicBezTo>
                      <a:pt x="780961" y="261749"/>
                      <a:pt x="775320" y="259493"/>
                      <a:pt x="770130" y="257462"/>
                    </a:cubicBezTo>
                    <a:cubicBezTo>
                      <a:pt x="766520" y="256108"/>
                      <a:pt x="763361" y="254754"/>
                      <a:pt x="761556" y="252724"/>
                    </a:cubicBezTo>
                    <a:cubicBezTo>
                      <a:pt x="760428" y="251370"/>
                      <a:pt x="758622" y="249113"/>
                      <a:pt x="756592" y="245954"/>
                    </a:cubicBezTo>
                    <a:cubicBezTo>
                      <a:pt x="751853" y="239411"/>
                      <a:pt x="743955" y="228354"/>
                      <a:pt x="740345" y="226774"/>
                    </a:cubicBezTo>
                    <a:cubicBezTo>
                      <a:pt x="737186" y="225420"/>
                      <a:pt x="734704" y="221584"/>
                      <a:pt x="733801" y="216620"/>
                    </a:cubicBezTo>
                    <a:cubicBezTo>
                      <a:pt x="732899" y="212107"/>
                      <a:pt x="733124" y="207369"/>
                      <a:pt x="734478" y="204210"/>
                    </a:cubicBezTo>
                    <a:cubicBezTo>
                      <a:pt x="735155" y="202630"/>
                      <a:pt x="734027" y="200599"/>
                      <a:pt x="732222" y="197892"/>
                    </a:cubicBezTo>
                    <a:cubicBezTo>
                      <a:pt x="730191" y="194733"/>
                      <a:pt x="727483" y="190897"/>
                      <a:pt x="729514" y="186609"/>
                    </a:cubicBezTo>
                    <a:lnTo>
                      <a:pt x="730417" y="185030"/>
                    </a:lnTo>
                    <a:cubicBezTo>
                      <a:pt x="732899" y="180066"/>
                      <a:pt x="733801" y="178260"/>
                      <a:pt x="730191" y="169911"/>
                    </a:cubicBezTo>
                    <a:cubicBezTo>
                      <a:pt x="728611" y="166527"/>
                      <a:pt x="726806" y="163593"/>
                      <a:pt x="725001" y="160886"/>
                    </a:cubicBezTo>
                    <a:cubicBezTo>
                      <a:pt x="721616" y="155921"/>
                      <a:pt x="718457" y="151183"/>
                      <a:pt x="719360" y="144413"/>
                    </a:cubicBezTo>
                    <a:cubicBezTo>
                      <a:pt x="719811" y="140578"/>
                      <a:pt x="718006" y="138321"/>
                      <a:pt x="716427" y="136967"/>
                    </a:cubicBezTo>
                    <a:cubicBezTo>
                      <a:pt x="713944" y="135162"/>
                      <a:pt x="710108" y="134485"/>
                      <a:pt x="707626" y="135613"/>
                    </a:cubicBezTo>
                    <a:cubicBezTo>
                      <a:pt x="704467" y="136967"/>
                      <a:pt x="694990" y="141254"/>
                      <a:pt x="687995" y="135388"/>
                    </a:cubicBezTo>
                    <a:cubicBezTo>
                      <a:pt x="685062" y="132906"/>
                      <a:pt x="682580" y="131552"/>
                      <a:pt x="679872" y="130423"/>
                    </a:cubicBezTo>
                    <a:cubicBezTo>
                      <a:pt x="678067" y="129521"/>
                      <a:pt x="676487" y="128844"/>
                      <a:pt x="674456" y="127490"/>
                    </a:cubicBezTo>
                    <a:cubicBezTo>
                      <a:pt x="669718" y="124557"/>
                      <a:pt x="666559" y="122751"/>
                      <a:pt x="663851" y="122075"/>
                    </a:cubicBezTo>
                    <a:cubicBezTo>
                      <a:pt x="661369" y="121623"/>
                      <a:pt x="661369" y="119367"/>
                      <a:pt x="661369" y="118464"/>
                    </a:cubicBezTo>
                    <a:cubicBezTo>
                      <a:pt x="661369" y="118464"/>
                      <a:pt x="661369" y="118239"/>
                      <a:pt x="661369" y="118239"/>
                    </a:cubicBezTo>
                    <a:cubicBezTo>
                      <a:pt x="660692" y="118239"/>
                      <a:pt x="658887" y="118690"/>
                      <a:pt x="654374" y="120721"/>
                    </a:cubicBezTo>
                    <a:cubicBezTo>
                      <a:pt x="650538" y="122526"/>
                      <a:pt x="647604" y="123880"/>
                      <a:pt x="645122" y="125234"/>
                    </a:cubicBezTo>
                    <a:cubicBezTo>
                      <a:pt x="637902" y="128844"/>
                      <a:pt x="634066" y="130875"/>
                      <a:pt x="630455" y="127264"/>
                    </a:cubicBezTo>
                    <a:cubicBezTo>
                      <a:pt x="626394" y="123203"/>
                      <a:pt x="620978" y="108084"/>
                      <a:pt x="623009" y="100864"/>
                    </a:cubicBezTo>
                    <a:cubicBezTo>
                      <a:pt x="623686" y="98607"/>
                      <a:pt x="623686" y="95900"/>
                      <a:pt x="623460" y="93417"/>
                    </a:cubicBezTo>
                    <a:cubicBezTo>
                      <a:pt x="623235" y="89581"/>
                      <a:pt x="623235" y="85746"/>
                      <a:pt x="625717" y="82586"/>
                    </a:cubicBezTo>
                    <a:cubicBezTo>
                      <a:pt x="628650" y="78976"/>
                      <a:pt x="631584" y="73561"/>
                      <a:pt x="630907" y="71078"/>
                    </a:cubicBezTo>
                    <a:cubicBezTo>
                      <a:pt x="630681" y="70627"/>
                      <a:pt x="630681" y="70176"/>
                      <a:pt x="629778" y="69950"/>
                    </a:cubicBezTo>
                    <a:cubicBezTo>
                      <a:pt x="628425" y="69499"/>
                      <a:pt x="627296" y="69048"/>
                      <a:pt x="625942" y="68596"/>
                    </a:cubicBezTo>
                    <a:cubicBezTo>
                      <a:pt x="620978" y="67017"/>
                      <a:pt x="616465" y="65663"/>
                      <a:pt x="614209" y="63858"/>
                    </a:cubicBezTo>
                    <a:lnTo>
                      <a:pt x="613758" y="63407"/>
                    </a:lnTo>
                    <a:lnTo>
                      <a:pt x="613532" y="62730"/>
                    </a:lnTo>
                    <a:cubicBezTo>
                      <a:pt x="613306" y="61601"/>
                      <a:pt x="612178" y="55960"/>
                      <a:pt x="615111" y="53929"/>
                    </a:cubicBezTo>
                    <a:cubicBezTo>
                      <a:pt x="615788" y="53478"/>
                      <a:pt x="616240" y="52350"/>
                      <a:pt x="616691" y="51222"/>
                    </a:cubicBezTo>
                    <a:cubicBezTo>
                      <a:pt x="617368" y="49416"/>
                      <a:pt x="618045" y="47611"/>
                      <a:pt x="620076" y="46257"/>
                    </a:cubicBezTo>
                    <a:cubicBezTo>
                      <a:pt x="620527" y="46032"/>
                      <a:pt x="620527" y="45355"/>
                      <a:pt x="620753" y="44227"/>
                    </a:cubicBezTo>
                    <a:cubicBezTo>
                      <a:pt x="620978" y="43098"/>
                      <a:pt x="620978" y="41970"/>
                      <a:pt x="622106" y="41068"/>
                    </a:cubicBezTo>
                    <a:cubicBezTo>
                      <a:pt x="620527" y="40391"/>
                      <a:pt x="618496" y="40616"/>
                      <a:pt x="615563" y="41293"/>
                    </a:cubicBezTo>
                    <a:cubicBezTo>
                      <a:pt x="613306" y="41744"/>
                      <a:pt x="610598" y="42196"/>
                      <a:pt x="607665" y="42196"/>
                    </a:cubicBezTo>
                    <a:cubicBezTo>
                      <a:pt x="600219" y="41744"/>
                      <a:pt x="593675" y="39488"/>
                      <a:pt x="585100" y="36555"/>
                    </a:cubicBezTo>
                    <a:lnTo>
                      <a:pt x="581716" y="35426"/>
                    </a:lnTo>
                    <a:cubicBezTo>
                      <a:pt x="575623" y="33396"/>
                      <a:pt x="573141" y="33847"/>
                      <a:pt x="569757" y="34298"/>
                    </a:cubicBezTo>
                    <a:cubicBezTo>
                      <a:pt x="567951" y="34524"/>
                      <a:pt x="565921" y="34975"/>
                      <a:pt x="562987" y="34975"/>
                    </a:cubicBezTo>
                    <a:cubicBezTo>
                      <a:pt x="556443" y="34975"/>
                      <a:pt x="555541" y="34298"/>
                      <a:pt x="552607" y="30462"/>
                    </a:cubicBezTo>
                    <a:cubicBezTo>
                      <a:pt x="551931" y="29334"/>
                      <a:pt x="550802" y="28206"/>
                      <a:pt x="549448" y="26401"/>
                    </a:cubicBezTo>
                    <a:cubicBezTo>
                      <a:pt x="544259" y="20308"/>
                      <a:pt x="547418" y="17375"/>
                      <a:pt x="551028" y="13990"/>
                    </a:cubicBezTo>
                    <a:cubicBezTo>
                      <a:pt x="552833" y="12411"/>
                      <a:pt x="554864" y="10380"/>
                      <a:pt x="556895" y="7672"/>
                    </a:cubicBezTo>
                    <a:cubicBezTo>
                      <a:pt x="557346" y="6995"/>
                      <a:pt x="557572" y="6318"/>
                      <a:pt x="557797" y="5641"/>
                    </a:cubicBezTo>
                    <a:cubicBezTo>
                      <a:pt x="557120" y="6092"/>
                      <a:pt x="556895" y="6318"/>
                      <a:pt x="556443" y="6769"/>
                    </a:cubicBezTo>
                    <a:cubicBezTo>
                      <a:pt x="555992" y="7221"/>
                      <a:pt x="555541" y="7672"/>
                      <a:pt x="554864" y="8349"/>
                    </a:cubicBezTo>
                    <a:cubicBezTo>
                      <a:pt x="551479" y="11057"/>
                      <a:pt x="546289" y="15118"/>
                      <a:pt x="539971" y="20985"/>
                    </a:cubicBezTo>
                    <a:cubicBezTo>
                      <a:pt x="533202" y="27077"/>
                      <a:pt x="529592" y="26175"/>
                      <a:pt x="525304" y="25272"/>
                    </a:cubicBezTo>
                    <a:cubicBezTo>
                      <a:pt x="523499" y="24821"/>
                      <a:pt x="521468" y="24370"/>
                      <a:pt x="518986" y="24370"/>
                    </a:cubicBezTo>
                    <a:cubicBezTo>
                      <a:pt x="510186" y="24370"/>
                      <a:pt x="497775" y="29108"/>
                      <a:pt x="493939" y="32719"/>
                    </a:cubicBezTo>
                    <a:cubicBezTo>
                      <a:pt x="491683" y="34975"/>
                      <a:pt x="491457" y="37457"/>
                      <a:pt x="491457" y="40842"/>
                    </a:cubicBezTo>
                    <a:cubicBezTo>
                      <a:pt x="491457" y="42873"/>
                      <a:pt x="491232" y="44678"/>
                      <a:pt x="490780" y="46934"/>
                    </a:cubicBezTo>
                    <a:cubicBezTo>
                      <a:pt x="490103" y="49191"/>
                      <a:pt x="489878" y="52124"/>
                      <a:pt x="489426" y="55058"/>
                    </a:cubicBezTo>
                    <a:cubicBezTo>
                      <a:pt x="488975" y="59345"/>
                      <a:pt x="488298" y="64083"/>
                      <a:pt x="486944" y="69048"/>
                    </a:cubicBezTo>
                    <a:cubicBezTo>
                      <a:pt x="484688" y="77622"/>
                      <a:pt x="476565" y="91161"/>
                      <a:pt x="472503" y="95674"/>
                    </a:cubicBezTo>
                    <a:cubicBezTo>
                      <a:pt x="471375" y="97028"/>
                      <a:pt x="470247" y="99510"/>
                      <a:pt x="468893" y="102443"/>
                    </a:cubicBezTo>
                    <a:cubicBezTo>
                      <a:pt x="466185" y="108084"/>
                      <a:pt x="462575" y="115982"/>
                      <a:pt x="455805" y="121398"/>
                    </a:cubicBezTo>
                    <a:cubicBezTo>
                      <a:pt x="449713" y="126362"/>
                      <a:pt x="446554" y="131100"/>
                      <a:pt x="444072" y="134936"/>
                    </a:cubicBezTo>
                    <a:cubicBezTo>
                      <a:pt x="442492" y="137193"/>
                      <a:pt x="441138" y="139224"/>
                      <a:pt x="439559" y="141029"/>
                    </a:cubicBezTo>
                    <a:cubicBezTo>
                      <a:pt x="438205" y="142383"/>
                      <a:pt x="437302" y="145993"/>
                      <a:pt x="436625" y="149378"/>
                    </a:cubicBezTo>
                    <a:cubicBezTo>
                      <a:pt x="435271" y="155019"/>
                      <a:pt x="433918" y="161563"/>
                      <a:pt x="428728" y="162240"/>
                    </a:cubicBezTo>
                    <a:cubicBezTo>
                      <a:pt x="425569" y="162691"/>
                      <a:pt x="424215" y="162465"/>
                      <a:pt x="423087" y="162465"/>
                    </a:cubicBezTo>
                    <a:cubicBezTo>
                      <a:pt x="421958" y="162240"/>
                      <a:pt x="420830" y="162240"/>
                      <a:pt x="416543" y="163142"/>
                    </a:cubicBezTo>
                    <a:cubicBezTo>
                      <a:pt x="413158" y="164045"/>
                      <a:pt x="409999" y="165850"/>
                      <a:pt x="406840" y="168106"/>
                    </a:cubicBezTo>
                    <a:cubicBezTo>
                      <a:pt x="403230" y="170588"/>
                      <a:pt x="398942" y="173296"/>
                      <a:pt x="393527" y="174424"/>
                    </a:cubicBezTo>
                    <a:cubicBezTo>
                      <a:pt x="383824" y="176681"/>
                      <a:pt x="372542" y="185030"/>
                      <a:pt x="364644" y="191348"/>
                    </a:cubicBezTo>
                    <a:cubicBezTo>
                      <a:pt x="359906" y="195184"/>
                      <a:pt x="359003" y="199697"/>
                      <a:pt x="358326" y="203984"/>
                    </a:cubicBezTo>
                    <a:cubicBezTo>
                      <a:pt x="357875" y="206692"/>
                      <a:pt x="357198" y="209625"/>
                      <a:pt x="355618" y="212107"/>
                    </a:cubicBezTo>
                    <a:cubicBezTo>
                      <a:pt x="354039" y="214589"/>
                      <a:pt x="352685" y="218651"/>
                      <a:pt x="351331" y="222487"/>
                    </a:cubicBezTo>
                    <a:cubicBezTo>
                      <a:pt x="349752" y="227226"/>
                      <a:pt x="348172" y="231964"/>
                      <a:pt x="345690" y="235349"/>
                    </a:cubicBezTo>
                    <a:lnTo>
                      <a:pt x="344110" y="237605"/>
                    </a:lnTo>
                    <a:cubicBezTo>
                      <a:pt x="340274" y="242795"/>
                      <a:pt x="336213" y="248436"/>
                      <a:pt x="331023" y="249790"/>
                    </a:cubicBezTo>
                    <a:cubicBezTo>
                      <a:pt x="327187" y="250918"/>
                      <a:pt x="321546" y="255883"/>
                      <a:pt x="317484" y="259719"/>
                    </a:cubicBezTo>
                    <a:cubicBezTo>
                      <a:pt x="316807" y="260396"/>
                      <a:pt x="315905" y="261073"/>
                      <a:pt x="315228" y="261749"/>
                    </a:cubicBezTo>
                    <a:cubicBezTo>
                      <a:pt x="310940" y="265585"/>
                      <a:pt x="308233" y="268068"/>
                      <a:pt x="306879" y="273483"/>
                    </a:cubicBezTo>
                    <a:cubicBezTo>
                      <a:pt x="305525" y="278899"/>
                      <a:pt x="303043" y="284991"/>
                      <a:pt x="301238" y="288827"/>
                    </a:cubicBezTo>
                    <a:lnTo>
                      <a:pt x="300561" y="290407"/>
                    </a:lnTo>
                    <a:cubicBezTo>
                      <a:pt x="298981" y="294017"/>
                      <a:pt x="295145" y="296725"/>
                      <a:pt x="288601" y="298981"/>
                    </a:cubicBezTo>
                    <a:cubicBezTo>
                      <a:pt x="286796" y="299658"/>
                      <a:pt x="284991" y="300561"/>
                      <a:pt x="282735" y="301689"/>
                    </a:cubicBezTo>
                    <a:cubicBezTo>
                      <a:pt x="278222" y="303945"/>
                      <a:pt x="272806" y="306879"/>
                      <a:pt x="265134" y="308007"/>
                    </a:cubicBezTo>
                    <a:cubicBezTo>
                      <a:pt x="258139" y="308909"/>
                      <a:pt x="254980" y="308233"/>
                      <a:pt x="251821" y="307781"/>
                    </a:cubicBezTo>
                    <a:cubicBezTo>
                      <a:pt x="249790" y="307330"/>
                      <a:pt x="247985" y="307104"/>
                      <a:pt x="245277" y="307104"/>
                    </a:cubicBezTo>
                    <a:cubicBezTo>
                      <a:pt x="243247" y="307104"/>
                      <a:pt x="240990" y="307104"/>
                      <a:pt x="238734" y="306879"/>
                    </a:cubicBezTo>
                    <a:cubicBezTo>
                      <a:pt x="232416" y="306653"/>
                      <a:pt x="224292" y="306202"/>
                      <a:pt x="220231" y="307781"/>
                    </a:cubicBezTo>
                    <a:cubicBezTo>
                      <a:pt x="217974" y="308684"/>
                      <a:pt x="214589" y="309812"/>
                      <a:pt x="210528" y="311392"/>
                    </a:cubicBezTo>
                    <a:cubicBezTo>
                      <a:pt x="203533" y="313874"/>
                      <a:pt x="194958" y="317033"/>
                      <a:pt x="188415" y="319515"/>
                    </a:cubicBezTo>
                    <a:cubicBezTo>
                      <a:pt x="179389" y="323125"/>
                      <a:pt x="166978" y="326059"/>
                      <a:pt x="162014" y="321546"/>
                    </a:cubicBezTo>
                    <a:cubicBezTo>
                      <a:pt x="159983" y="319741"/>
                      <a:pt x="158855" y="317258"/>
                      <a:pt x="158178" y="315228"/>
                    </a:cubicBezTo>
                    <a:cubicBezTo>
                      <a:pt x="157275" y="313197"/>
                      <a:pt x="156824" y="311617"/>
                      <a:pt x="155245" y="310940"/>
                    </a:cubicBezTo>
                    <a:cubicBezTo>
                      <a:pt x="150957" y="308233"/>
                      <a:pt x="150055" y="300109"/>
                      <a:pt x="150055" y="293791"/>
                    </a:cubicBezTo>
                    <a:cubicBezTo>
                      <a:pt x="150055" y="289278"/>
                      <a:pt x="147573" y="279576"/>
                      <a:pt x="145090" y="277996"/>
                    </a:cubicBezTo>
                    <a:cubicBezTo>
                      <a:pt x="142157" y="275965"/>
                      <a:pt x="129972" y="273257"/>
                      <a:pt x="125685" y="273709"/>
                    </a:cubicBezTo>
                    <a:cubicBezTo>
                      <a:pt x="123203" y="273934"/>
                      <a:pt x="120269" y="276191"/>
                      <a:pt x="116659" y="278899"/>
                    </a:cubicBezTo>
                    <a:cubicBezTo>
                      <a:pt x="114177" y="280704"/>
                      <a:pt x="111469" y="282735"/>
                      <a:pt x="108310" y="284765"/>
                    </a:cubicBezTo>
                    <a:cubicBezTo>
                      <a:pt x="105151" y="286796"/>
                      <a:pt x="102669" y="288150"/>
                      <a:pt x="100864" y="289504"/>
                    </a:cubicBezTo>
                    <a:cubicBezTo>
                      <a:pt x="97705" y="291535"/>
                      <a:pt x="95223" y="293114"/>
                      <a:pt x="91387" y="295145"/>
                    </a:cubicBezTo>
                    <a:cubicBezTo>
                      <a:pt x="85971" y="298078"/>
                      <a:pt x="83715" y="309361"/>
                      <a:pt x="83038" y="313197"/>
                    </a:cubicBezTo>
                    <a:lnTo>
                      <a:pt x="82812" y="313874"/>
                    </a:lnTo>
                    <a:cubicBezTo>
                      <a:pt x="81007" y="323125"/>
                      <a:pt x="78751" y="331925"/>
                      <a:pt x="74238" y="333956"/>
                    </a:cubicBezTo>
                    <a:cubicBezTo>
                      <a:pt x="72432" y="334633"/>
                      <a:pt x="70853" y="336438"/>
                      <a:pt x="69048" y="338243"/>
                    </a:cubicBezTo>
                    <a:cubicBezTo>
                      <a:pt x="67017" y="340274"/>
                      <a:pt x="65212" y="342531"/>
                      <a:pt x="62504" y="343659"/>
                    </a:cubicBezTo>
                    <a:cubicBezTo>
                      <a:pt x="60699" y="344562"/>
                      <a:pt x="58894" y="346141"/>
                      <a:pt x="56637" y="348172"/>
                    </a:cubicBezTo>
                    <a:cubicBezTo>
                      <a:pt x="53704" y="350654"/>
                      <a:pt x="50093" y="354039"/>
                      <a:pt x="44904" y="357198"/>
                    </a:cubicBezTo>
                    <a:cubicBezTo>
                      <a:pt x="40842" y="359680"/>
                      <a:pt x="37683" y="362388"/>
                      <a:pt x="34750" y="365095"/>
                    </a:cubicBezTo>
                    <a:cubicBezTo>
                      <a:pt x="31139" y="368254"/>
                      <a:pt x="27980" y="371188"/>
                      <a:pt x="23693" y="372542"/>
                    </a:cubicBezTo>
                    <a:cubicBezTo>
                      <a:pt x="20985" y="373444"/>
                      <a:pt x="19857" y="377055"/>
                      <a:pt x="18503" y="381116"/>
                    </a:cubicBezTo>
                    <a:cubicBezTo>
                      <a:pt x="17149" y="385178"/>
                      <a:pt x="15570" y="389916"/>
                      <a:pt x="11508" y="392624"/>
                    </a:cubicBezTo>
                    <a:cubicBezTo>
                      <a:pt x="5190" y="396686"/>
                      <a:pt x="2933" y="403455"/>
                      <a:pt x="2933" y="416994"/>
                    </a:cubicBezTo>
                    <a:cubicBezTo>
                      <a:pt x="2933" y="430307"/>
                      <a:pt x="2933" y="434820"/>
                      <a:pt x="5641" y="440687"/>
                    </a:cubicBezTo>
                    <a:cubicBezTo>
                      <a:pt x="6995" y="443620"/>
                      <a:pt x="8800" y="444072"/>
                      <a:pt x="11959" y="445200"/>
                    </a:cubicBezTo>
                    <a:cubicBezTo>
                      <a:pt x="14216" y="446102"/>
                      <a:pt x="17149" y="447005"/>
                      <a:pt x="20534" y="449261"/>
                    </a:cubicBezTo>
                    <a:cubicBezTo>
                      <a:pt x="23467" y="451292"/>
                      <a:pt x="25498" y="453323"/>
                      <a:pt x="27529" y="455128"/>
                    </a:cubicBezTo>
                    <a:cubicBezTo>
                      <a:pt x="30914" y="458287"/>
                      <a:pt x="33621" y="460769"/>
                      <a:pt x="38134" y="461672"/>
                    </a:cubicBezTo>
                    <a:cubicBezTo>
                      <a:pt x="45129" y="463026"/>
                      <a:pt x="50319" y="462349"/>
                      <a:pt x="56863" y="461446"/>
                    </a:cubicBezTo>
                    <a:lnTo>
                      <a:pt x="58668" y="461221"/>
                    </a:lnTo>
                    <a:cubicBezTo>
                      <a:pt x="65663" y="460318"/>
                      <a:pt x="70853" y="463928"/>
                      <a:pt x="73786" y="465734"/>
                    </a:cubicBezTo>
                    <a:cubicBezTo>
                      <a:pt x="74238" y="465959"/>
                      <a:pt x="74689" y="466410"/>
                      <a:pt x="74915" y="466636"/>
                    </a:cubicBezTo>
                    <a:lnTo>
                      <a:pt x="75366" y="466862"/>
                    </a:lnTo>
                    <a:cubicBezTo>
                      <a:pt x="77848" y="468216"/>
                      <a:pt x="83263" y="471600"/>
                      <a:pt x="79879" y="478595"/>
                    </a:cubicBezTo>
                    <a:cubicBezTo>
                      <a:pt x="78751" y="480626"/>
                      <a:pt x="79427" y="482883"/>
                      <a:pt x="79879" y="486042"/>
                    </a:cubicBezTo>
                    <a:cubicBezTo>
                      <a:pt x="80781" y="489878"/>
                      <a:pt x="81684" y="494842"/>
                      <a:pt x="80330" y="501611"/>
                    </a:cubicBezTo>
                    <a:lnTo>
                      <a:pt x="79879" y="504093"/>
                    </a:lnTo>
                    <a:cubicBezTo>
                      <a:pt x="77848" y="514924"/>
                      <a:pt x="76268" y="523499"/>
                      <a:pt x="66340" y="530043"/>
                    </a:cubicBezTo>
                    <a:cubicBezTo>
                      <a:pt x="63632" y="531848"/>
                      <a:pt x="63181" y="532976"/>
                      <a:pt x="63181" y="533427"/>
                    </a:cubicBezTo>
                    <a:cubicBezTo>
                      <a:pt x="63181" y="534556"/>
                      <a:pt x="64309" y="535684"/>
                      <a:pt x="65437" y="536812"/>
                    </a:cubicBezTo>
                    <a:cubicBezTo>
                      <a:pt x="67017" y="538166"/>
                      <a:pt x="68596" y="539745"/>
                      <a:pt x="67919" y="541776"/>
                    </a:cubicBezTo>
                    <a:cubicBezTo>
                      <a:pt x="67017" y="544258"/>
                      <a:pt x="66340" y="555089"/>
                      <a:pt x="69725" y="560505"/>
                    </a:cubicBezTo>
                    <a:cubicBezTo>
                      <a:pt x="71530" y="563438"/>
                      <a:pt x="73561" y="565469"/>
                      <a:pt x="75817" y="567726"/>
                    </a:cubicBezTo>
                    <a:cubicBezTo>
                      <a:pt x="77848" y="569756"/>
                      <a:pt x="79879" y="571787"/>
                      <a:pt x="81910" y="574495"/>
                    </a:cubicBezTo>
                    <a:cubicBezTo>
                      <a:pt x="82586" y="575623"/>
                      <a:pt x="83263" y="576526"/>
                      <a:pt x="83940" y="577654"/>
                    </a:cubicBezTo>
                    <a:cubicBezTo>
                      <a:pt x="86874" y="582167"/>
                      <a:pt x="89807" y="586906"/>
                      <a:pt x="94320" y="589388"/>
                    </a:cubicBezTo>
                    <a:cubicBezTo>
                      <a:pt x="97930" y="591418"/>
                      <a:pt x="102443" y="590290"/>
                      <a:pt x="108987" y="588485"/>
                    </a:cubicBezTo>
                    <a:cubicBezTo>
                      <a:pt x="111695" y="587808"/>
                      <a:pt x="114854" y="586906"/>
                      <a:pt x="118464" y="586229"/>
                    </a:cubicBezTo>
                    <a:cubicBezTo>
                      <a:pt x="126362" y="584649"/>
                      <a:pt x="130875" y="585100"/>
                      <a:pt x="132680" y="587808"/>
                    </a:cubicBezTo>
                    <a:cubicBezTo>
                      <a:pt x="134711" y="590742"/>
                      <a:pt x="132454" y="594803"/>
                      <a:pt x="131777" y="595931"/>
                    </a:cubicBezTo>
                    <a:cubicBezTo>
                      <a:pt x="129521" y="599993"/>
                      <a:pt x="130423" y="604506"/>
                      <a:pt x="131326" y="607891"/>
                    </a:cubicBezTo>
                    <a:cubicBezTo>
                      <a:pt x="131777" y="609470"/>
                      <a:pt x="132003" y="611050"/>
                      <a:pt x="132003" y="612404"/>
                    </a:cubicBezTo>
                    <a:cubicBezTo>
                      <a:pt x="132003" y="616916"/>
                      <a:pt x="134485" y="643091"/>
                      <a:pt x="138321" y="648958"/>
                    </a:cubicBezTo>
                    <a:cubicBezTo>
                      <a:pt x="140126" y="651892"/>
                      <a:pt x="144188" y="654599"/>
                      <a:pt x="148250" y="657081"/>
                    </a:cubicBezTo>
                    <a:cubicBezTo>
                      <a:pt x="152762" y="660015"/>
                      <a:pt x="156598" y="662497"/>
                      <a:pt x="157952" y="665882"/>
                    </a:cubicBezTo>
                    <a:cubicBezTo>
                      <a:pt x="158855" y="668138"/>
                      <a:pt x="158404" y="671297"/>
                      <a:pt x="158178" y="674907"/>
                    </a:cubicBezTo>
                    <a:cubicBezTo>
                      <a:pt x="157501" y="680549"/>
                      <a:pt x="156824" y="687544"/>
                      <a:pt x="160660" y="692733"/>
                    </a:cubicBezTo>
                    <a:cubicBezTo>
                      <a:pt x="164496" y="697923"/>
                      <a:pt x="165850" y="703339"/>
                      <a:pt x="167204" y="708077"/>
                    </a:cubicBezTo>
                    <a:cubicBezTo>
                      <a:pt x="168332" y="711913"/>
                      <a:pt x="169235" y="715298"/>
                      <a:pt x="171040" y="718006"/>
                    </a:cubicBezTo>
                    <a:cubicBezTo>
                      <a:pt x="172168" y="719360"/>
                      <a:pt x="173296" y="720939"/>
                      <a:pt x="174650" y="722519"/>
                    </a:cubicBezTo>
                    <a:cubicBezTo>
                      <a:pt x="178712" y="727257"/>
                      <a:pt x="182322" y="731996"/>
                      <a:pt x="181420" y="735606"/>
                    </a:cubicBezTo>
                    <a:cubicBezTo>
                      <a:pt x="181194" y="736735"/>
                      <a:pt x="180291" y="738088"/>
                      <a:pt x="178260" y="738991"/>
                    </a:cubicBezTo>
                    <a:cubicBezTo>
                      <a:pt x="177358" y="739442"/>
                      <a:pt x="176681" y="739668"/>
                      <a:pt x="176004" y="739894"/>
                    </a:cubicBezTo>
                    <a:cubicBezTo>
                      <a:pt x="180968" y="740796"/>
                      <a:pt x="185932" y="741247"/>
                      <a:pt x="190671" y="741022"/>
                    </a:cubicBezTo>
                    <a:cubicBezTo>
                      <a:pt x="199471" y="740571"/>
                      <a:pt x="206918" y="739894"/>
                      <a:pt x="213010" y="739442"/>
                    </a:cubicBezTo>
                    <a:cubicBezTo>
                      <a:pt x="230836" y="738088"/>
                      <a:pt x="238959" y="737411"/>
                      <a:pt x="247083" y="741022"/>
                    </a:cubicBezTo>
                    <a:cubicBezTo>
                      <a:pt x="251370" y="742827"/>
                      <a:pt x="253175" y="742601"/>
                      <a:pt x="256334" y="742150"/>
                    </a:cubicBezTo>
                    <a:cubicBezTo>
                      <a:pt x="260170" y="741473"/>
                      <a:pt x="265360" y="740571"/>
                      <a:pt x="277093" y="743730"/>
                    </a:cubicBezTo>
                    <a:cubicBezTo>
                      <a:pt x="287248" y="746437"/>
                      <a:pt x="292212" y="746212"/>
                      <a:pt x="296950" y="745986"/>
                    </a:cubicBezTo>
                    <a:cubicBezTo>
                      <a:pt x="301915" y="745760"/>
                      <a:pt x="306427" y="745535"/>
                      <a:pt x="315679" y="748468"/>
                    </a:cubicBezTo>
                    <a:lnTo>
                      <a:pt x="321094" y="750048"/>
                    </a:lnTo>
                    <a:cubicBezTo>
                      <a:pt x="332377" y="753658"/>
                      <a:pt x="332602" y="753658"/>
                      <a:pt x="340500" y="761556"/>
                    </a:cubicBezTo>
                    <a:lnTo>
                      <a:pt x="342756" y="763812"/>
                    </a:lnTo>
                    <a:cubicBezTo>
                      <a:pt x="344110" y="765166"/>
                      <a:pt x="345239" y="766294"/>
                      <a:pt x="346367" y="767422"/>
                    </a:cubicBezTo>
                    <a:cubicBezTo>
                      <a:pt x="354039" y="775320"/>
                      <a:pt x="354264" y="775546"/>
                      <a:pt x="365998" y="775546"/>
                    </a:cubicBezTo>
                    <a:lnTo>
                      <a:pt x="387660" y="775546"/>
                    </a:lnTo>
                    <a:cubicBezTo>
                      <a:pt x="391947" y="775546"/>
                      <a:pt x="393527" y="774417"/>
                      <a:pt x="394881" y="773515"/>
                    </a:cubicBezTo>
                    <a:cubicBezTo>
                      <a:pt x="398040" y="771033"/>
                      <a:pt x="400296" y="771033"/>
                      <a:pt x="408420" y="775997"/>
                    </a:cubicBezTo>
                    <a:cubicBezTo>
                      <a:pt x="419702" y="782766"/>
                      <a:pt x="431887" y="792244"/>
                      <a:pt x="427148" y="805557"/>
                    </a:cubicBezTo>
                    <a:lnTo>
                      <a:pt x="426471" y="807362"/>
                    </a:lnTo>
                    <a:cubicBezTo>
                      <a:pt x="423087" y="816613"/>
                      <a:pt x="421507" y="820675"/>
                      <a:pt x="428502" y="826993"/>
                    </a:cubicBezTo>
                    <a:cubicBezTo>
                      <a:pt x="430984" y="829024"/>
                      <a:pt x="433692" y="830378"/>
                      <a:pt x="436400" y="831732"/>
                    </a:cubicBezTo>
                    <a:cubicBezTo>
                      <a:pt x="442943" y="834891"/>
                      <a:pt x="449938" y="838275"/>
                      <a:pt x="449938" y="851814"/>
                    </a:cubicBezTo>
                    <a:cubicBezTo>
                      <a:pt x="449938" y="852942"/>
                      <a:pt x="449938" y="853619"/>
                      <a:pt x="449938" y="854522"/>
                    </a:cubicBezTo>
                    <a:cubicBezTo>
                      <a:pt x="450390" y="853845"/>
                      <a:pt x="451292" y="853394"/>
                      <a:pt x="452646" y="853394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xmlns="" id="{673E7AF2-0FF7-4D69-B9A6-96AF4F1F07B6}"/>
                  </a:ext>
                </a:extLst>
              </p:cNvPr>
              <p:cNvSpPr/>
              <p:nvPr/>
            </p:nvSpPr>
            <p:spPr>
              <a:xfrm>
                <a:off x="9171713" y="2271760"/>
                <a:ext cx="67694" cy="67694"/>
              </a:xfrm>
              <a:custGeom>
                <a:avLst/>
                <a:gdLst>
                  <a:gd name="connsiteX0" fmla="*/ 45985 w 67693"/>
                  <a:gd name="connsiteY0" fmla="*/ 75817 h 67693"/>
                  <a:gd name="connsiteX1" fmla="*/ 45082 w 67693"/>
                  <a:gd name="connsiteY1" fmla="*/ 75817 h 67693"/>
                  <a:gd name="connsiteX2" fmla="*/ 36282 w 67693"/>
                  <a:gd name="connsiteY2" fmla="*/ 67919 h 67693"/>
                  <a:gd name="connsiteX3" fmla="*/ 33574 w 67693"/>
                  <a:gd name="connsiteY3" fmla="*/ 63181 h 67693"/>
                  <a:gd name="connsiteX4" fmla="*/ 18230 w 67693"/>
                  <a:gd name="connsiteY4" fmla="*/ 59796 h 67693"/>
                  <a:gd name="connsiteX5" fmla="*/ 5143 w 67693"/>
                  <a:gd name="connsiteY5" fmla="*/ 58217 h 67693"/>
                  <a:gd name="connsiteX6" fmla="*/ 179 w 67693"/>
                  <a:gd name="connsiteY6" fmla="*/ 54832 h 67693"/>
                  <a:gd name="connsiteX7" fmla="*/ 2435 w 67693"/>
                  <a:gd name="connsiteY7" fmla="*/ 48514 h 67693"/>
                  <a:gd name="connsiteX8" fmla="*/ 6046 w 67693"/>
                  <a:gd name="connsiteY8" fmla="*/ 41519 h 67693"/>
                  <a:gd name="connsiteX9" fmla="*/ 7174 w 67693"/>
                  <a:gd name="connsiteY9" fmla="*/ 35426 h 67693"/>
                  <a:gd name="connsiteX10" fmla="*/ 13717 w 67693"/>
                  <a:gd name="connsiteY10" fmla="*/ 21436 h 67693"/>
                  <a:gd name="connsiteX11" fmla="*/ 19133 w 67693"/>
                  <a:gd name="connsiteY11" fmla="*/ 18277 h 67693"/>
                  <a:gd name="connsiteX12" fmla="*/ 30867 w 67693"/>
                  <a:gd name="connsiteY12" fmla="*/ 9026 h 67693"/>
                  <a:gd name="connsiteX13" fmla="*/ 44180 w 67693"/>
                  <a:gd name="connsiteY13" fmla="*/ 1128 h 67693"/>
                  <a:gd name="connsiteX14" fmla="*/ 46436 w 67693"/>
                  <a:gd name="connsiteY14" fmla="*/ 451 h 67693"/>
                  <a:gd name="connsiteX15" fmla="*/ 47564 w 67693"/>
                  <a:gd name="connsiteY15" fmla="*/ 0 h 67693"/>
                  <a:gd name="connsiteX16" fmla="*/ 48467 w 67693"/>
                  <a:gd name="connsiteY16" fmla="*/ 903 h 67693"/>
                  <a:gd name="connsiteX17" fmla="*/ 56365 w 67693"/>
                  <a:gd name="connsiteY17" fmla="*/ 6544 h 67693"/>
                  <a:gd name="connsiteX18" fmla="*/ 56365 w 67693"/>
                  <a:gd name="connsiteY18" fmla="*/ 6544 h 67693"/>
                  <a:gd name="connsiteX19" fmla="*/ 67647 w 67693"/>
                  <a:gd name="connsiteY19" fmla="*/ 29560 h 67693"/>
                  <a:gd name="connsiteX20" fmla="*/ 63811 w 67693"/>
                  <a:gd name="connsiteY20" fmla="*/ 37006 h 67693"/>
                  <a:gd name="connsiteX21" fmla="*/ 61780 w 67693"/>
                  <a:gd name="connsiteY21" fmla="*/ 48965 h 67693"/>
                  <a:gd name="connsiteX22" fmla="*/ 64262 w 67693"/>
                  <a:gd name="connsiteY22" fmla="*/ 59571 h 67693"/>
                  <a:gd name="connsiteX23" fmla="*/ 65390 w 67693"/>
                  <a:gd name="connsiteY23" fmla="*/ 63632 h 67693"/>
                  <a:gd name="connsiteX24" fmla="*/ 63134 w 67693"/>
                  <a:gd name="connsiteY24" fmla="*/ 63632 h 67693"/>
                  <a:gd name="connsiteX25" fmla="*/ 55688 w 67693"/>
                  <a:gd name="connsiteY25" fmla="*/ 65212 h 67693"/>
                  <a:gd name="connsiteX26" fmla="*/ 52303 w 67693"/>
                  <a:gd name="connsiteY26" fmla="*/ 69725 h 67693"/>
                  <a:gd name="connsiteX27" fmla="*/ 45985 w 67693"/>
                  <a:gd name="connsiteY27" fmla="*/ 75817 h 67693"/>
                  <a:gd name="connsiteX28" fmla="*/ 3789 w 67693"/>
                  <a:gd name="connsiteY28" fmla="*/ 53478 h 67693"/>
                  <a:gd name="connsiteX29" fmla="*/ 6046 w 67693"/>
                  <a:gd name="connsiteY29" fmla="*/ 54381 h 67693"/>
                  <a:gd name="connsiteX30" fmla="*/ 18230 w 67693"/>
                  <a:gd name="connsiteY30" fmla="*/ 55960 h 67693"/>
                  <a:gd name="connsiteX31" fmla="*/ 36508 w 67693"/>
                  <a:gd name="connsiteY31" fmla="*/ 60699 h 67693"/>
                  <a:gd name="connsiteX32" fmla="*/ 39441 w 67693"/>
                  <a:gd name="connsiteY32" fmla="*/ 66114 h 67693"/>
                  <a:gd name="connsiteX33" fmla="*/ 45082 w 67693"/>
                  <a:gd name="connsiteY33" fmla="*/ 71755 h 67693"/>
                  <a:gd name="connsiteX34" fmla="*/ 49144 w 67693"/>
                  <a:gd name="connsiteY34" fmla="*/ 68145 h 67693"/>
                  <a:gd name="connsiteX35" fmla="*/ 53882 w 67693"/>
                  <a:gd name="connsiteY35" fmla="*/ 62053 h 67693"/>
                  <a:gd name="connsiteX36" fmla="*/ 60652 w 67693"/>
                  <a:gd name="connsiteY36" fmla="*/ 60022 h 67693"/>
                  <a:gd name="connsiteX37" fmla="*/ 58170 w 67693"/>
                  <a:gd name="connsiteY37" fmla="*/ 49416 h 67693"/>
                  <a:gd name="connsiteX38" fmla="*/ 60652 w 67693"/>
                  <a:gd name="connsiteY38" fmla="*/ 34524 h 67693"/>
                  <a:gd name="connsiteX39" fmla="*/ 64037 w 67693"/>
                  <a:gd name="connsiteY39" fmla="*/ 27980 h 67693"/>
                  <a:gd name="connsiteX40" fmla="*/ 54785 w 67693"/>
                  <a:gd name="connsiteY40" fmla="*/ 9703 h 67693"/>
                  <a:gd name="connsiteX41" fmla="*/ 54785 w 67693"/>
                  <a:gd name="connsiteY41" fmla="*/ 9703 h 67693"/>
                  <a:gd name="connsiteX42" fmla="*/ 46662 w 67693"/>
                  <a:gd name="connsiteY42" fmla="*/ 4062 h 67693"/>
                  <a:gd name="connsiteX43" fmla="*/ 45308 w 67693"/>
                  <a:gd name="connsiteY43" fmla="*/ 4513 h 67693"/>
                  <a:gd name="connsiteX44" fmla="*/ 33574 w 67693"/>
                  <a:gd name="connsiteY44" fmla="*/ 11508 h 67693"/>
                  <a:gd name="connsiteX45" fmla="*/ 20712 w 67693"/>
                  <a:gd name="connsiteY45" fmla="*/ 21436 h 67693"/>
                  <a:gd name="connsiteX46" fmla="*/ 15748 w 67693"/>
                  <a:gd name="connsiteY46" fmla="*/ 24370 h 67693"/>
                  <a:gd name="connsiteX47" fmla="*/ 10784 w 67693"/>
                  <a:gd name="connsiteY47" fmla="*/ 35652 h 67693"/>
                  <a:gd name="connsiteX48" fmla="*/ 9656 w 67693"/>
                  <a:gd name="connsiteY48" fmla="*/ 41970 h 67693"/>
                  <a:gd name="connsiteX49" fmla="*/ 5369 w 67693"/>
                  <a:gd name="connsiteY49" fmla="*/ 50319 h 67693"/>
                  <a:gd name="connsiteX50" fmla="*/ 3789 w 67693"/>
                  <a:gd name="connsiteY50" fmla="*/ 53478 h 67693"/>
                  <a:gd name="connsiteX51" fmla="*/ 3789 w 67693"/>
                  <a:gd name="connsiteY51" fmla="*/ 53478 h 67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7693" h="67693">
                    <a:moveTo>
                      <a:pt x="45985" y="75817"/>
                    </a:moveTo>
                    <a:cubicBezTo>
                      <a:pt x="45759" y="75817"/>
                      <a:pt x="45308" y="75817"/>
                      <a:pt x="45082" y="75817"/>
                    </a:cubicBezTo>
                    <a:cubicBezTo>
                      <a:pt x="39892" y="75366"/>
                      <a:pt x="38087" y="71304"/>
                      <a:pt x="36282" y="67919"/>
                    </a:cubicBezTo>
                    <a:cubicBezTo>
                      <a:pt x="35605" y="66340"/>
                      <a:pt x="34703" y="64535"/>
                      <a:pt x="33574" y="63181"/>
                    </a:cubicBezTo>
                    <a:cubicBezTo>
                      <a:pt x="31769" y="60699"/>
                      <a:pt x="24549" y="60247"/>
                      <a:pt x="18230" y="59796"/>
                    </a:cubicBezTo>
                    <a:cubicBezTo>
                      <a:pt x="13492" y="59571"/>
                      <a:pt x="8753" y="59119"/>
                      <a:pt x="5143" y="58217"/>
                    </a:cubicBezTo>
                    <a:cubicBezTo>
                      <a:pt x="3338" y="57765"/>
                      <a:pt x="856" y="56863"/>
                      <a:pt x="179" y="54832"/>
                    </a:cubicBezTo>
                    <a:cubicBezTo>
                      <a:pt x="-498" y="52801"/>
                      <a:pt x="856" y="50770"/>
                      <a:pt x="2435" y="48514"/>
                    </a:cubicBezTo>
                    <a:cubicBezTo>
                      <a:pt x="3789" y="46483"/>
                      <a:pt x="5594" y="44227"/>
                      <a:pt x="6046" y="41519"/>
                    </a:cubicBezTo>
                    <a:cubicBezTo>
                      <a:pt x="6497" y="39488"/>
                      <a:pt x="6722" y="37457"/>
                      <a:pt x="7174" y="35426"/>
                    </a:cubicBezTo>
                    <a:cubicBezTo>
                      <a:pt x="7851" y="30237"/>
                      <a:pt x="8528" y="25272"/>
                      <a:pt x="13717" y="21436"/>
                    </a:cubicBezTo>
                    <a:cubicBezTo>
                      <a:pt x="15974" y="19857"/>
                      <a:pt x="17553" y="19180"/>
                      <a:pt x="19133" y="18277"/>
                    </a:cubicBezTo>
                    <a:cubicBezTo>
                      <a:pt x="22066" y="16923"/>
                      <a:pt x="24774" y="15570"/>
                      <a:pt x="30867" y="9026"/>
                    </a:cubicBezTo>
                    <a:cubicBezTo>
                      <a:pt x="36056" y="3385"/>
                      <a:pt x="41021" y="2031"/>
                      <a:pt x="44180" y="1128"/>
                    </a:cubicBezTo>
                    <a:cubicBezTo>
                      <a:pt x="45082" y="903"/>
                      <a:pt x="45759" y="677"/>
                      <a:pt x="46436" y="451"/>
                    </a:cubicBezTo>
                    <a:lnTo>
                      <a:pt x="47564" y="0"/>
                    </a:lnTo>
                    <a:lnTo>
                      <a:pt x="48467" y="903"/>
                    </a:lnTo>
                    <a:cubicBezTo>
                      <a:pt x="50949" y="3385"/>
                      <a:pt x="53657" y="5415"/>
                      <a:pt x="56365" y="6544"/>
                    </a:cubicBezTo>
                    <a:lnTo>
                      <a:pt x="56365" y="6544"/>
                    </a:lnTo>
                    <a:cubicBezTo>
                      <a:pt x="68324" y="11959"/>
                      <a:pt x="71483" y="18277"/>
                      <a:pt x="67647" y="29560"/>
                    </a:cubicBezTo>
                    <a:cubicBezTo>
                      <a:pt x="66519" y="33170"/>
                      <a:pt x="64939" y="35426"/>
                      <a:pt x="63811" y="37006"/>
                    </a:cubicBezTo>
                    <a:cubicBezTo>
                      <a:pt x="61780" y="39939"/>
                      <a:pt x="60652" y="41519"/>
                      <a:pt x="61780" y="48965"/>
                    </a:cubicBezTo>
                    <a:cubicBezTo>
                      <a:pt x="62457" y="53478"/>
                      <a:pt x="63585" y="56863"/>
                      <a:pt x="64262" y="59571"/>
                    </a:cubicBezTo>
                    <a:lnTo>
                      <a:pt x="65390" y="63632"/>
                    </a:lnTo>
                    <a:lnTo>
                      <a:pt x="63134" y="63632"/>
                    </a:lnTo>
                    <a:cubicBezTo>
                      <a:pt x="59975" y="63858"/>
                      <a:pt x="57042" y="64309"/>
                      <a:pt x="55688" y="65212"/>
                    </a:cubicBezTo>
                    <a:cubicBezTo>
                      <a:pt x="54108" y="66340"/>
                      <a:pt x="53205" y="67919"/>
                      <a:pt x="52303" y="69725"/>
                    </a:cubicBezTo>
                    <a:cubicBezTo>
                      <a:pt x="51626" y="72432"/>
                      <a:pt x="50046" y="75817"/>
                      <a:pt x="45985" y="75817"/>
                    </a:cubicBezTo>
                    <a:close/>
                    <a:moveTo>
                      <a:pt x="3789" y="53478"/>
                    </a:moveTo>
                    <a:cubicBezTo>
                      <a:pt x="3789" y="53478"/>
                      <a:pt x="4240" y="53929"/>
                      <a:pt x="6046" y="54381"/>
                    </a:cubicBezTo>
                    <a:cubicBezTo>
                      <a:pt x="9205" y="55283"/>
                      <a:pt x="13943" y="55509"/>
                      <a:pt x="18230" y="55960"/>
                    </a:cubicBezTo>
                    <a:cubicBezTo>
                      <a:pt x="26128" y="56412"/>
                      <a:pt x="33574" y="57088"/>
                      <a:pt x="36508" y="60699"/>
                    </a:cubicBezTo>
                    <a:cubicBezTo>
                      <a:pt x="37862" y="62504"/>
                      <a:pt x="38764" y="64535"/>
                      <a:pt x="39441" y="66114"/>
                    </a:cubicBezTo>
                    <a:cubicBezTo>
                      <a:pt x="41021" y="69725"/>
                      <a:pt x="42149" y="71530"/>
                      <a:pt x="45082" y="71755"/>
                    </a:cubicBezTo>
                    <a:cubicBezTo>
                      <a:pt x="47113" y="71981"/>
                      <a:pt x="47790" y="71078"/>
                      <a:pt x="49144" y="68145"/>
                    </a:cubicBezTo>
                    <a:cubicBezTo>
                      <a:pt x="50046" y="66114"/>
                      <a:pt x="51400" y="63632"/>
                      <a:pt x="53882" y="62053"/>
                    </a:cubicBezTo>
                    <a:cubicBezTo>
                      <a:pt x="55462" y="61150"/>
                      <a:pt x="57718" y="60473"/>
                      <a:pt x="60652" y="60022"/>
                    </a:cubicBezTo>
                    <a:cubicBezTo>
                      <a:pt x="59975" y="57314"/>
                      <a:pt x="58847" y="53929"/>
                      <a:pt x="58170" y="49416"/>
                    </a:cubicBezTo>
                    <a:cubicBezTo>
                      <a:pt x="56590" y="40391"/>
                      <a:pt x="58621" y="37683"/>
                      <a:pt x="60652" y="34524"/>
                    </a:cubicBezTo>
                    <a:cubicBezTo>
                      <a:pt x="61780" y="32944"/>
                      <a:pt x="63134" y="31139"/>
                      <a:pt x="64037" y="27980"/>
                    </a:cubicBezTo>
                    <a:cubicBezTo>
                      <a:pt x="66744" y="19857"/>
                      <a:pt x="66067" y="14667"/>
                      <a:pt x="54785" y="9703"/>
                    </a:cubicBezTo>
                    <a:lnTo>
                      <a:pt x="54785" y="9703"/>
                    </a:lnTo>
                    <a:cubicBezTo>
                      <a:pt x="51852" y="8349"/>
                      <a:pt x="49144" y="6544"/>
                      <a:pt x="46662" y="4062"/>
                    </a:cubicBezTo>
                    <a:cubicBezTo>
                      <a:pt x="46211" y="4287"/>
                      <a:pt x="45759" y="4287"/>
                      <a:pt x="45308" y="4513"/>
                    </a:cubicBezTo>
                    <a:cubicBezTo>
                      <a:pt x="42149" y="5415"/>
                      <a:pt x="38313" y="6544"/>
                      <a:pt x="33574" y="11508"/>
                    </a:cubicBezTo>
                    <a:cubicBezTo>
                      <a:pt x="27031" y="18503"/>
                      <a:pt x="24097" y="19857"/>
                      <a:pt x="20712" y="21436"/>
                    </a:cubicBezTo>
                    <a:cubicBezTo>
                      <a:pt x="19133" y="22113"/>
                      <a:pt x="17779" y="22790"/>
                      <a:pt x="15748" y="24370"/>
                    </a:cubicBezTo>
                    <a:cubicBezTo>
                      <a:pt x="11912" y="27078"/>
                      <a:pt x="11461" y="30688"/>
                      <a:pt x="10784" y="35652"/>
                    </a:cubicBezTo>
                    <a:cubicBezTo>
                      <a:pt x="10558" y="37457"/>
                      <a:pt x="10333" y="39714"/>
                      <a:pt x="9656" y="41970"/>
                    </a:cubicBezTo>
                    <a:cubicBezTo>
                      <a:pt x="8753" y="45581"/>
                      <a:pt x="6948" y="48063"/>
                      <a:pt x="5369" y="50319"/>
                    </a:cubicBezTo>
                    <a:cubicBezTo>
                      <a:pt x="4917" y="51447"/>
                      <a:pt x="3789" y="53027"/>
                      <a:pt x="3789" y="53478"/>
                    </a:cubicBezTo>
                    <a:cubicBezTo>
                      <a:pt x="3789" y="53478"/>
                      <a:pt x="3789" y="53478"/>
                      <a:pt x="3789" y="53478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xmlns="" id="{1D28823E-FE4E-40D5-AB32-06B532A14666}"/>
                  </a:ext>
                </a:extLst>
              </p:cNvPr>
              <p:cNvSpPr/>
              <p:nvPr/>
            </p:nvSpPr>
            <p:spPr>
              <a:xfrm>
                <a:off x="8763697" y="3703448"/>
                <a:ext cx="586680" cy="925149"/>
              </a:xfrm>
              <a:custGeom>
                <a:avLst/>
                <a:gdLst>
                  <a:gd name="connsiteX0" fmla="*/ 334859 w 586679"/>
                  <a:gd name="connsiteY0" fmla="*/ 937371 h 925149"/>
                  <a:gd name="connsiteX1" fmla="*/ 321320 w 586679"/>
                  <a:gd name="connsiteY1" fmla="*/ 932632 h 925149"/>
                  <a:gd name="connsiteX2" fmla="*/ 320869 w 586679"/>
                  <a:gd name="connsiteY2" fmla="*/ 931278 h 925149"/>
                  <a:gd name="connsiteX3" fmla="*/ 308458 w 586679"/>
                  <a:gd name="connsiteY3" fmla="*/ 928796 h 925149"/>
                  <a:gd name="connsiteX4" fmla="*/ 300786 w 586679"/>
                  <a:gd name="connsiteY4" fmla="*/ 924283 h 925149"/>
                  <a:gd name="connsiteX5" fmla="*/ 293566 w 586679"/>
                  <a:gd name="connsiteY5" fmla="*/ 918191 h 925149"/>
                  <a:gd name="connsiteX6" fmla="*/ 291535 w 586679"/>
                  <a:gd name="connsiteY6" fmla="*/ 917288 h 925149"/>
                  <a:gd name="connsiteX7" fmla="*/ 276642 w 586679"/>
                  <a:gd name="connsiteY7" fmla="*/ 903524 h 925149"/>
                  <a:gd name="connsiteX8" fmla="*/ 251595 w 586679"/>
                  <a:gd name="connsiteY8" fmla="*/ 891339 h 925149"/>
                  <a:gd name="connsiteX9" fmla="*/ 245729 w 586679"/>
                  <a:gd name="connsiteY9" fmla="*/ 890436 h 925149"/>
                  <a:gd name="connsiteX10" fmla="*/ 212784 w 586679"/>
                  <a:gd name="connsiteY10" fmla="*/ 873513 h 925149"/>
                  <a:gd name="connsiteX11" fmla="*/ 209851 w 586679"/>
                  <a:gd name="connsiteY11" fmla="*/ 869903 h 925149"/>
                  <a:gd name="connsiteX12" fmla="*/ 196763 w 586679"/>
                  <a:gd name="connsiteY12" fmla="*/ 859974 h 925149"/>
                  <a:gd name="connsiteX13" fmla="*/ 173296 w 586679"/>
                  <a:gd name="connsiteY13" fmla="*/ 839215 h 925149"/>
                  <a:gd name="connsiteX14" fmla="*/ 172394 w 586679"/>
                  <a:gd name="connsiteY14" fmla="*/ 838312 h 925149"/>
                  <a:gd name="connsiteX15" fmla="*/ 165173 w 586679"/>
                  <a:gd name="connsiteY15" fmla="*/ 818230 h 925149"/>
                  <a:gd name="connsiteX16" fmla="*/ 159983 w 586679"/>
                  <a:gd name="connsiteY16" fmla="*/ 809881 h 925149"/>
                  <a:gd name="connsiteX17" fmla="*/ 155245 w 586679"/>
                  <a:gd name="connsiteY17" fmla="*/ 801757 h 925149"/>
                  <a:gd name="connsiteX18" fmla="*/ 151409 w 586679"/>
                  <a:gd name="connsiteY18" fmla="*/ 797696 h 925149"/>
                  <a:gd name="connsiteX19" fmla="*/ 141931 w 586679"/>
                  <a:gd name="connsiteY19" fmla="*/ 791152 h 925149"/>
                  <a:gd name="connsiteX20" fmla="*/ 116659 w 586679"/>
                  <a:gd name="connsiteY20" fmla="*/ 780998 h 925149"/>
                  <a:gd name="connsiteX21" fmla="*/ 99961 w 586679"/>
                  <a:gd name="connsiteY21" fmla="*/ 775357 h 925149"/>
                  <a:gd name="connsiteX22" fmla="*/ 99059 w 586679"/>
                  <a:gd name="connsiteY22" fmla="*/ 774905 h 925149"/>
                  <a:gd name="connsiteX23" fmla="*/ 98833 w 586679"/>
                  <a:gd name="connsiteY23" fmla="*/ 774003 h 925149"/>
                  <a:gd name="connsiteX24" fmla="*/ 95223 w 586679"/>
                  <a:gd name="connsiteY24" fmla="*/ 762044 h 925149"/>
                  <a:gd name="connsiteX25" fmla="*/ 91161 w 586679"/>
                  <a:gd name="connsiteY25" fmla="*/ 748956 h 925149"/>
                  <a:gd name="connsiteX26" fmla="*/ 83489 w 586679"/>
                  <a:gd name="connsiteY26" fmla="*/ 719848 h 925149"/>
                  <a:gd name="connsiteX27" fmla="*/ 79879 w 586679"/>
                  <a:gd name="connsiteY27" fmla="*/ 704053 h 925149"/>
                  <a:gd name="connsiteX28" fmla="*/ 76043 w 586679"/>
                  <a:gd name="connsiteY28" fmla="*/ 686452 h 925149"/>
                  <a:gd name="connsiteX29" fmla="*/ 76720 w 586679"/>
                  <a:gd name="connsiteY29" fmla="*/ 676750 h 925149"/>
                  <a:gd name="connsiteX30" fmla="*/ 76945 w 586679"/>
                  <a:gd name="connsiteY30" fmla="*/ 662759 h 925149"/>
                  <a:gd name="connsiteX31" fmla="*/ 76494 w 586679"/>
                  <a:gd name="connsiteY31" fmla="*/ 655539 h 925149"/>
                  <a:gd name="connsiteX32" fmla="*/ 72884 w 586679"/>
                  <a:gd name="connsiteY32" fmla="*/ 639744 h 925149"/>
                  <a:gd name="connsiteX33" fmla="*/ 67017 w 586679"/>
                  <a:gd name="connsiteY33" fmla="*/ 615825 h 925149"/>
                  <a:gd name="connsiteX34" fmla="*/ 63407 w 586679"/>
                  <a:gd name="connsiteY34" fmla="*/ 608379 h 925149"/>
                  <a:gd name="connsiteX35" fmla="*/ 57314 w 586679"/>
                  <a:gd name="connsiteY35" fmla="*/ 597097 h 925149"/>
                  <a:gd name="connsiteX36" fmla="*/ 52801 w 586679"/>
                  <a:gd name="connsiteY36" fmla="*/ 586040 h 925149"/>
                  <a:gd name="connsiteX37" fmla="*/ 47837 w 586679"/>
                  <a:gd name="connsiteY37" fmla="*/ 573404 h 925149"/>
                  <a:gd name="connsiteX38" fmla="*/ 47386 w 586679"/>
                  <a:gd name="connsiteY38" fmla="*/ 571824 h 925149"/>
                  <a:gd name="connsiteX39" fmla="*/ 46032 w 586679"/>
                  <a:gd name="connsiteY39" fmla="*/ 560091 h 925149"/>
                  <a:gd name="connsiteX40" fmla="*/ 42873 w 586679"/>
                  <a:gd name="connsiteY40" fmla="*/ 545423 h 925149"/>
                  <a:gd name="connsiteX41" fmla="*/ 44227 w 586679"/>
                  <a:gd name="connsiteY41" fmla="*/ 532110 h 925149"/>
                  <a:gd name="connsiteX42" fmla="*/ 44678 w 586679"/>
                  <a:gd name="connsiteY42" fmla="*/ 530757 h 925149"/>
                  <a:gd name="connsiteX43" fmla="*/ 41068 w 586679"/>
                  <a:gd name="connsiteY43" fmla="*/ 523762 h 925149"/>
                  <a:gd name="connsiteX44" fmla="*/ 37232 w 586679"/>
                  <a:gd name="connsiteY44" fmla="*/ 521279 h 925149"/>
                  <a:gd name="connsiteX45" fmla="*/ 30688 w 586679"/>
                  <a:gd name="connsiteY45" fmla="*/ 515412 h 925149"/>
                  <a:gd name="connsiteX46" fmla="*/ 28883 w 586679"/>
                  <a:gd name="connsiteY46" fmla="*/ 505935 h 925149"/>
                  <a:gd name="connsiteX47" fmla="*/ 27980 w 586679"/>
                  <a:gd name="connsiteY47" fmla="*/ 500294 h 925149"/>
                  <a:gd name="connsiteX48" fmla="*/ 17375 w 586679"/>
                  <a:gd name="connsiteY48" fmla="*/ 489915 h 925149"/>
                  <a:gd name="connsiteX49" fmla="*/ 14667 w 586679"/>
                  <a:gd name="connsiteY49" fmla="*/ 487658 h 925149"/>
                  <a:gd name="connsiteX50" fmla="*/ 12862 w 586679"/>
                  <a:gd name="connsiteY50" fmla="*/ 484499 h 925149"/>
                  <a:gd name="connsiteX51" fmla="*/ 15570 w 586679"/>
                  <a:gd name="connsiteY51" fmla="*/ 480663 h 925149"/>
                  <a:gd name="connsiteX52" fmla="*/ 17375 w 586679"/>
                  <a:gd name="connsiteY52" fmla="*/ 478858 h 925149"/>
                  <a:gd name="connsiteX53" fmla="*/ 14893 w 586679"/>
                  <a:gd name="connsiteY53" fmla="*/ 473668 h 925149"/>
                  <a:gd name="connsiteX54" fmla="*/ 14441 w 586679"/>
                  <a:gd name="connsiteY54" fmla="*/ 473217 h 925149"/>
                  <a:gd name="connsiteX55" fmla="*/ 14441 w 586679"/>
                  <a:gd name="connsiteY55" fmla="*/ 472540 h 925149"/>
                  <a:gd name="connsiteX56" fmla="*/ 14441 w 586679"/>
                  <a:gd name="connsiteY56" fmla="*/ 470735 h 925149"/>
                  <a:gd name="connsiteX57" fmla="*/ 15344 w 586679"/>
                  <a:gd name="connsiteY57" fmla="*/ 467350 h 925149"/>
                  <a:gd name="connsiteX58" fmla="*/ 18729 w 586679"/>
                  <a:gd name="connsiteY58" fmla="*/ 465545 h 925149"/>
                  <a:gd name="connsiteX59" fmla="*/ 26175 w 586679"/>
                  <a:gd name="connsiteY59" fmla="*/ 459678 h 925149"/>
                  <a:gd name="connsiteX60" fmla="*/ 25949 w 586679"/>
                  <a:gd name="connsiteY60" fmla="*/ 454939 h 925149"/>
                  <a:gd name="connsiteX61" fmla="*/ 26852 w 586679"/>
                  <a:gd name="connsiteY61" fmla="*/ 442754 h 925149"/>
                  <a:gd name="connsiteX62" fmla="*/ 27078 w 586679"/>
                  <a:gd name="connsiteY62" fmla="*/ 433052 h 925149"/>
                  <a:gd name="connsiteX63" fmla="*/ 29108 w 586679"/>
                  <a:gd name="connsiteY63" fmla="*/ 417482 h 925149"/>
                  <a:gd name="connsiteX64" fmla="*/ 31365 w 586679"/>
                  <a:gd name="connsiteY64" fmla="*/ 415000 h 925149"/>
                  <a:gd name="connsiteX65" fmla="*/ 35201 w 586679"/>
                  <a:gd name="connsiteY65" fmla="*/ 410036 h 925149"/>
                  <a:gd name="connsiteX66" fmla="*/ 33847 w 586679"/>
                  <a:gd name="connsiteY66" fmla="*/ 402589 h 925149"/>
                  <a:gd name="connsiteX67" fmla="*/ 27303 w 586679"/>
                  <a:gd name="connsiteY67" fmla="*/ 390630 h 925149"/>
                  <a:gd name="connsiteX68" fmla="*/ 27529 w 586679"/>
                  <a:gd name="connsiteY68" fmla="*/ 378897 h 925149"/>
                  <a:gd name="connsiteX69" fmla="*/ 27754 w 586679"/>
                  <a:gd name="connsiteY69" fmla="*/ 371225 h 925149"/>
                  <a:gd name="connsiteX70" fmla="*/ 25724 w 586679"/>
                  <a:gd name="connsiteY70" fmla="*/ 367163 h 925149"/>
                  <a:gd name="connsiteX71" fmla="*/ 19406 w 586679"/>
                  <a:gd name="connsiteY71" fmla="*/ 367614 h 925149"/>
                  <a:gd name="connsiteX72" fmla="*/ 10380 w 586679"/>
                  <a:gd name="connsiteY72" fmla="*/ 368968 h 925149"/>
                  <a:gd name="connsiteX73" fmla="*/ 2933 w 586679"/>
                  <a:gd name="connsiteY73" fmla="*/ 368291 h 925149"/>
                  <a:gd name="connsiteX74" fmla="*/ 0 w 586679"/>
                  <a:gd name="connsiteY74" fmla="*/ 367614 h 925149"/>
                  <a:gd name="connsiteX75" fmla="*/ 2031 w 586679"/>
                  <a:gd name="connsiteY75" fmla="*/ 365358 h 925149"/>
                  <a:gd name="connsiteX76" fmla="*/ 8575 w 586679"/>
                  <a:gd name="connsiteY76" fmla="*/ 360168 h 925149"/>
                  <a:gd name="connsiteX77" fmla="*/ 15570 w 586679"/>
                  <a:gd name="connsiteY77" fmla="*/ 354301 h 925149"/>
                  <a:gd name="connsiteX78" fmla="*/ 27980 w 586679"/>
                  <a:gd name="connsiteY78" fmla="*/ 351142 h 925149"/>
                  <a:gd name="connsiteX79" fmla="*/ 38811 w 586679"/>
                  <a:gd name="connsiteY79" fmla="*/ 350240 h 925149"/>
                  <a:gd name="connsiteX80" fmla="*/ 47160 w 586679"/>
                  <a:gd name="connsiteY80" fmla="*/ 335121 h 925149"/>
                  <a:gd name="connsiteX81" fmla="*/ 47837 w 586679"/>
                  <a:gd name="connsiteY81" fmla="*/ 331511 h 925149"/>
                  <a:gd name="connsiteX82" fmla="*/ 52801 w 586679"/>
                  <a:gd name="connsiteY82" fmla="*/ 316393 h 925149"/>
                  <a:gd name="connsiteX83" fmla="*/ 58217 w 586679"/>
                  <a:gd name="connsiteY83" fmla="*/ 292474 h 925149"/>
                  <a:gd name="connsiteX84" fmla="*/ 49416 w 586679"/>
                  <a:gd name="connsiteY84" fmla="*/ 285028 h 925149"/>
                  <a:gd name="connsiteX85" fmla="*/ 42873 w 586679"/>
                  <a:gd name="connsiteY85" fmla="*/ 282771 h 925149"/>
                  <a:gd name="connsiteX86" fmla="*/ 41293 w 586679"/>
                  <a:gd name="connsiteY86" fmla="*/ 273971 h 925149"/>
                  <a:gd name="connsiteX87" fmla="*/ 43775 w 586679"/>
                  <a:gd name="connsiteY87" fmla="*/ 263591 h 925149"/>
                  <a:gd name="connsiteX88" fmla="*/ 48740 w 586679"/>
                  <a:gd name="connsiteY88" fmla="*/ 245314 h 925149"/>
                  <a:gd name="connsiteX89" fmla="*/ 50996 w 586679"/>
                  <a:gd name="connsiteY89" fmla="*/ 243960 h 925149"/>
                  <a:gd name="connsiteX90" fmla="*/ 51899 w 586679"/>
                  <a:gd name="connsiteY90" fmla="*/ 242606 h 925149"/>
                  <a:gd name="connsiteX91" fmla="*/ 66340 w 586679"/>
                  <a:gd name="connsiteY91" fmla="*/ 230873 h 925149"/>
                  <a:gd name="connsiteX92" fmla="*/ 83489 w 586679"/>
                  <a:gd name="connsiteY92" fmla="*/ 238319 h 925149"/>
                  <a:gd name="connsiteX93" fmla="*/ 94094 w 586679"/>
                  <a:gd name="connsiteY93" fmla="*/ 226585 h 925149"/>
                  <a:gd name="connsiteX94" fmla="*/ 95674 w 586679"/>
                  <a:gd name="connsiteY94" fmla="*/ 224780 h 925149"/>
                  <a:gd name="connsiteX95" fmla="*/ 108536 w 586679"/>
                  <a:gd name="connsiteY95" fmla="*/ 215980 h 925149"/>
                  <a:gd name="connsiteX96" fmla="*/ 126588 w 586679"/>
                  <a:gd name="connsiteY96" fmla="*/ 204472 h 925149"/>
                  <a:gd name="connsiteX97" fmla="*/ 141706 w 586679"/>
                  <a:gd name="connsiteY97" fmla="*/ 191610 h 925149"/>
                  <a:gd name="connsiteX98" fmla="*/ 149829 w 586679"/>
                  <a:gd name="connsiteY98" fmla="*/ 196349 h 925149"/>
                  <a:gd name="connsiteX99" fmla="*/ 161337 w 586679"/>
                  <a:gd name="connsiteY99" fmla="*/ 204247 h 925149"/>
                  <a:gd name="connsiteX100" fmla="*/ 182096 w 586679"/>
                  <a:gd name="connsiteY100" fmla="*/ 194769 h 925149"/>
                  <a:gd name="connsiteX101" fmla="*/ 192251 w 586679"/>
                  <a:gd name="connsiteY101" fmla="*/ 193867 h 925149"/>
                  <a:gd name="connsiteX102" fmla="*/ 201502 w 586679"/>
                  <a:gd name="connsiteY102" fmla="*/ 195446 h 925149"/>
                  <a:gd name="connsiteX103" fmla="*/ 208046 w 586679"/>
                  <a:gd name="connsiteY103" fmla="*/ 194318 h 925149"/>
                  <a:gd name="connsiteX104" fmla="*/ 218877 w 586679"/>
                  <a:gd name="connsiteY104" fmla="*/ 189580 h 925149"/>
                  <a:gd name="connsiteX105" fmla="*/ 220456 w 586679"/>
                  <a:gd name="connsiteY105" fmla="*/ 182359 h 925149"/>
                  <a:gd name="connsiteX106" fmla="*/ 222713 w 586679"/>
                  <a:gd name="connsiteY106" fmla="*/ 168369 h 925149"/>
                  <a:gd name="connsiteX107" fmla="*/ 218425 w 586679"/>
                  <a:gd name="connsiteY107" fmla="*/ 155958 h 925149"/>
                  <a:gd name="connsiteX108" fmla="*/ 216846 w 586679"/>
                  <a:gd name="connsiteY108" fmla="*/ 136327 h 925149"/>
                  <a:gd name="connsiteX109" fmla="*/ 247308 w 586679"/>
                  <a:gd name="connsiteY109" fmla="*/ 136553 h 925149"/>
                  <a:gd name="connsiteX110" fmla="*/ 267391 w 586679"/>
                  <a:gd name="connsiteY110" fmla="*/ 138358 h 925149"/>
                  <a:gd name="connsiteX111" fmla="*/ 274611 w 586679"/>
                  <a:gd name="connsiteY111" fmla="*/ 138132 h 925149"/>
                  <a:gd name="connsiteX112" fmla="*/ 309135 w 586679"/>
                  <a:gd name="connsiteY112" fmla="*/ 132942 h 925149"/>
                  <a:gd name="connsiteX113" fmla="*/ 312520 w 586679"/>
                  <a:gd name="connsiteY113" fmla="*/ 126173 h 925149"/>
                  <a:gd name="connsiteX114" fmla="*/ 321094 w 586679"/>
                  <a:gd name="connsiteY114" fmla="*/ 115793 h 925149"/>
                  <a:gd name="connsiteX115" fmla="*/ 330572 w 586679"/>
                  <a:gd name="connsiteY115" fmla="*/ 114439 h 925149"/>
                  <a:gd name="connsiteX116" fmla="*/ 340500 w 586679"/>
                  <a:gd name="connsiteY116" fmla="*/ 102480 h 925149"/>
                  <a:gd name="connsiteX117" fmla="*/ 351105 w 586679"/>
                  <a:gd name="connsiteY117" fmla="*/ 87362 h 925149"/>
                  <a:gd name="connsiteX118" fmla="*/ 365095 w 586679"/>
                  <a:gd name="connsiteY118" fmla="*/ 75403 h 925149"/>
                  <a:gd name="connsiteX119" fmla="*/ 384050 w 586679"/>
                  <a:gd name="connsiteY119" fmla="*/ 59607 h 925149"/>
                  <a:gd name="connsiteX120" fmla="*/ 395783 w 586679"/>
                  <a:gd name="connsiteY120" fmla="*/ 54192 h 925149"/>
                  <a:gd name="connsiteX121" fmla="*/ 418348 w 586679"/>
                  <a:gd name="connsiteY121" fmla="*/ 28243 h 925149"/>
                  <a:gd name="connsiteX122" fmla="*/ 418799 w 586679"/>
                  <a:gd name="connsiteY122" fmla="*/ 26663 h 925149"/>
                  <a:gd name="connsiteX123" fmla="*/ 440236 w 586679"/>
                  <a:gd name="connsiteY123" fmla="*/ 1842 h 925149"/>
                  <a:gd name="connsiteX124" fmla="*/ 456482 w 586679"/>
                  <a:gd name="connsiteY124" fmla="*/ 6806 h 925149"/>
                  <a:gd name="connsiteX125" fmla="*/ 460995 w 586679"/>
                  <a:gd name="connsiteY125" fmla="*/ 12447 h 925149"/>
                  <a:gd name="connsiteX126" fmla="*/ 466185 w 586679"/>
                  <a:gd name="connsiteY126" fmla="*/ 13350 h 925149"/>
                  <a:gd name="connsiteX127" fmla="*/ 467539 w 586679"/>
                  <a:gd name="connsiteY127" fmla="*/ 12673 h 925149"/>
                  <a:gd name="connsiteX128" fmla="*/ 468667 w 586679"/>
                  <a:gd name="connsiteY128" fmla="*/ 13801 h 925149"/>
                  <a:gd name="connsiteX129" fmla="*/ 476113 w 586679"/>
                  <a:gd name="connsiteY129" fmla="*/ 18540 h 925149"/>
                  <a:gd name="connsiteX130" fmla="*/ 481078 w 586679"/>
                  <a:gd name="connsiteY130" fmla="*/ 22376 h 925149"/>
                  <a:gd name="connsiteX131" fmla="*/ 480626 w 586679"/>
                  <a:gd name="connsiteY131" fmla="*/ 26212 h 925149"/>
                  <a:gd name="connsiteX132" fmla="*/ 481529 w 586679"/>
                  <a:gd name="connsiteY132" fmla="*/ 34335 h 925149"/>
                  <a:gd name="connsiteX133" fmla="*/ 481755 w 586679"/>
                  <a:gd name="connsiteY133" fmla="*/ 45166 h 925149"/>
                  <a:gd name="connsiteX134" fmla="*/ 478821 w 586679"/>
                  <a:gd name="connsiteY134" fmla="*/ 48776 h 925149"/>
                  <a:gd name="connsiteX135" fmla="*/ 475888 w 586679"/>
                  <a:gd name="connsiteY135" fmla="*/ 54643 h 925149"/>
                  <a:gd name="connsiteX136" fmla="*/ 480175 w 586679"/>
                  <a:gd name="connsiteY136" fmla="*/ 56448 h 925149"/>
                  <a:gd name="connsiteX137" fmla="*/ 486493 w 586679"/>
                  <a:gd name="connsiteY137" fmla="*/ 59607 h 925149"/>
                  <a:gd name="connsiteX138" fmla="*/ 481529 w 586679"/>
                  <a:gd name="connsiteY138" fmla="*/ 72695 h 925149"/>
                  <a:gd name="connsiteX139" fmla="*/ 472954 w 586679"/>
                  <a:gd name="connsiteY139" fmla="*/ 86685 h 925149"/>
                  <a:gd name="connsiteX140" fmla="*/ 472954 w 586679"/>
                  <a:gd name="connsiteY140" fmla="*/ 95485 h 925149"/>
                  <a:gd name="connsiteX141" fmla="*/ 466862 w 586679"/>
                  <a:gd name="connsiteY141" fmla="*/ 98870 h 925149"/>
                  <a:gd name="connsiteX142" fmla="*/ 463252 w 586679"/>
                  <a:gd name="connsiteY142" fmla="*/ 106993 h 925149"/>
                  <a:gd name="connsiteX143" fmla="*/ 463252 w 586679"/>
                  <a:gd name="connsiteY143" fmla="*/ 110152 h 925149"/>
                  <a:gd name="connsiteX144" fmla="*/ 465959 w 586679"/>
                  <a:gd name="connsiteY144" fmla="*/ 116019 h 925149"/>
                  <a:gd name="connsiteX145" fmla="*/ 476339 w 586679"/>
                  <a:gd name="connsiteY145" fmla="*/ 118727 h 925149"/>
                  <a:gd name="connsiteX146" fmla="*/ 484462 w 586679"/>
                  <a:gd name="connsiteY146" fmla="*/ 122111 h 925149"/>
                  <a:gd name="connsiteX147" fmla="*/ 485591 w 586679"/>
                  <a:gd name="connsiteY147" fmla="*/ 129558 h 925149"/>
                  <a:gd name="connsiteX148" fmla="*/ 483560 w 586679"/>
                  <a:gd name="connsiteY148" fmla="*/ 130912 h 925149"/>
                  <a:gd name="connsiteX149" fmla="*/ 479724 w 586679"/>
                  <a:gd name="connsiteY149" fmla="*/ 134522 h 925149"/>
                  <a:gd name="connsiteX150" fmla="*/ 468667 w 586679"/>
                  <a:gd name="connsiteY150" fmla="*/ 143773 h 925149"/>
                  <a:gd name="connsiteX151" fmla="*/ 463252 w 586679"/>
                  <a:gd name="connsiteY151" fmla="*/ 151671 h 925149"/>
                  <a:gd name="connsiteX152" fmla="*/ 455580 w 586679"/>
                  <a:gd name="connsiteY152" fmla="*/ 160471 h 925149"/>
                  <a:gd name="connsiteX153" fmla="*/ 453774 w 586679"/>
                  <a:gd name="connsiteY153" fmla="*/ 162276 h 925149"/>
                  <a:gd name="connsiteX154" fmla="*/ 456257 w 586679"/>
                  <a:gd name="connsiteY154" fmla="*/ 172205 h 925149"/>
                  <a:gd name="connsiteX155" fmla="*/ 460318 w 586679"/>
                  <a:gd name="connsiteY155" fmla="*/ 180779 h 925149"/>
                  <a:gd name="connsiteX156" fmla="*/ 461446 w 586679"/>
                  <a:gd name="connsiteY156" fmla="*/ 185744 h 925149"/>
                  <a:gd name="connsiteX157" fmla="*/ 460318 w 586679"/>
                  <a:gd name="connsiteY157" fmla="*/ 207631 h 925149"/>
                  <a:gd name="connsiteX158" fmla="*/ 460092 w 586679"/>
                  <a:gd name="connsiteY158" fmla="*/ 208759 h 925149"/>
                  <a:gd name="connsiteX159" fmla="*/ 461672 w 586679"/>
                  <a:gd name="connsiteY159" fmla="*/ 232678 h 925149"/>
                  <a:gd name="connsiteX160" fmla="*/ 463929 w 586679"/>
                  <a:gd name="connsiteY160" fmla="*/ 248022 h 925149"/>
                  <a:gd name="connsiteX161" fmla="*/ 466411 w 586679"/>
                  <a:gd name="connsiteY161" fmla="*/ 259079 h 925149"/>
                  <a:gd name="connsiteX162" fmla="*/ 462123 w 586679"/>
                  <a:gd name="connsiteY162" fmla="*/ 269909 h 925149"/>
                  <a:gd name="connsiteX163" fmla="*/ 455580 w 586679"/>
                  <a:gd name="connsiteY163" fmla="*/ 278033 h 925149"/>
                  <a:gd name="connsiteX164" fmla="*/ 456933 w 586679"/>
                  <a:gd name="connsiteY164" fmla="*/ 280289 h 925149"/>
                  <a:gd name="connsiteX165" fmla="*/ 463252 w 586679"/>
                  <a:gd name="connsiteY165" fmla="*/ 282094 h 925149"/>
                  <a:gd name="connsiteX166" fmla="*/ 477467 w 586679"/>
                  <a:gd name="connsiteY166" fmla="*/ 286833 h 925149"/>
                  <a:gd name="connsiteX167" fmla="*/ 481303 w 586679"/>
                  <a:gd name="connsiteY167" fmla="*/ 291797 h 925149"/>
                  <a:gd name="connsiteX168" fmla="*/ 472729 w 586679"/>
                  <a:gd name="connsiteY168" fmla="*/ 303756 h 925149"/>
                  <a:gd name="connsiteX169" fmla="*/ 466636 w 586679"/>
                  <a:gd name="connsiteY169" fmla="*/ 309623 h 925149"/>
                  <a:gd name="connsiteX170" fmla="*/ 465508 w 586679"/>
                  <a:gd name="connsiteY170" fmla="*/ 331285 h 925149"/>
                  <a:gd name="connsiteX171" fmla="*/ 465959 w 586679"/>
                  <a:gd name="connsiteY171" fmla="*/ 338280 h 925149"/>
                  <a:gd name="connsiteX172" fmla="*/ 439559 w 586679"/>
                  <a:gd name="connsiteY172" fmla="*/ 338280 h 925149"/>
                  <a:gd name="connsiteX173" fmla="*/ 436174 w 586679"/>
                  <a:gd name="connsiteY173" fmla="*/ 338055 h 925149"/>
                  <a:gd name="connsiteX174" fmla="*/ 415415 w 586679"/>
                  <a:gd name="connsiteY174" fmla="*/ 338506 h 925149"/>
                  <a:gd name="connsiteX175" fmla="*/ 406389 w 586679"/>
                  <a:gd name="connsiteY175" fmla="*/ 363101 h 925149"/>
                  <a:gd name="connsiteX176" fmla="*/ 408420 w 586679"/>
                  <a:gd name="connsiteY176" fmla="*/ 374609 h 925149"/>
                  <a:gd name="connsiteX177" fmla="*/ 409096 w 586679"/>
                  <a:gd name="connsiteY177" fmla="*/ 383635 h 925149"/>
                  <a:gd name="connsiteX178" fmla="*/ 406840 w 586679"/>
                  <a:gd name="connsiteY178" fmla="*/ 384989 h 925149"/>
                  <a:gd name="connsiteX179" fmla="*/ 397588 w 586679"/>
                  <a:gd name="connsiteY179" fmla="*/ 398979 h 925149"/>
                  <a:gd name="connsiteX180" fmla="*/ 408645 w 586679"/>
                  <a:gd name="connsiteY180" fmla="*/ 422898 h 925149"/>
                  <a:gd name="connsiteX181" fmla="*/ 416543 w 586679"/>
                  <a:gd name="connsiteY181" fmla="*/ 453811 h 925149"/>
                  <a:gd name="connsiteX182" fmla="*/ 402101 w 586679"/>
                  <a:gd name="connsiteY182" fmla="*/ 467124 h 925149"/>
                  <a:gd name="connsiteX183" fmla="*/ 395106 w 586679"/>
                  <a:gd name="connsiteY183" fmla="*/ 465996 h 925149"/>
                  <a:gd name="connsiteX184" fmla="*/ 391722 w 586679"/>
                  <a:gd name="connsiteY184" fmla="*/ 465770 h 925149"/>
                  <a:gd name="connsiteX185" fmla="*/ 384275 w 586679"/>
                  <a:gd name="connsiteY185" fmla="*/ 465770 h 925149"/>
                  <a:gd name="connsiteX186" fmla="*/ 369157 w 586679"/>
                  <a:gd name="connsiteY186" fmla="*/ 463965 h 925149"/>
                  <a:gd name="connsiteX187" fmla="*/ 368255 w 586679"/>
                  <a:gd name="connsiteY187" fmla="*/ 464642 h 925149"/>
                  <a:gd name="connsiteX188" fmla="*/ 370962 w 586679"/>
                  <a:gd name="connsiteY188" fmla="*/ 471186 h 925149"/>
                  <a:gd name="connsiteX189" fmla="*/ 373896 w 586679"/>
                  <a:gd name="connsiteY189" fmla="*/ 477053 h 925149"/>
                  <a:gd name="connsiteX190" fmla="*/ 374573 w 586679"/>
                  <a:gd name="connsiteY190" fmla="*/ 479535 h 925149"/>
                  <a:gd name="connsiteX191" fmla="*/ 370060 w 586679"/>
                  <a:gd name="connsiteY191" fmla="*/ 497812 h 925149"/>
                  <a:gd name="connsiteX192" fmla="*/ 363967 w 586679"/>
                  <a:gd name="connsiteY192" fmla="*/ 516767 h 925149"/>
                  <a:gd name="connsiteX193" fmla="*/ 363967 w 586679"/>
                  <a:gd name="connsiteY193" fmla="*/ 519249 h 925149"/>
                  <a:gd name="connsiteX194" fmla="*/ 374573 w 586679"/>
                  <a:gd name="connsiteY194" fmla="*/ 536849 h 925149"/>
                  <a:gd name="connsiteX195" fmla="*/ 384275 w 586679"/>
                  <a:gd name="connsiteY195" fmla="*/ 544295 h 925149"/>
                  <a:gd name="connsiteX196" fmla="*/ 385404 w 586679"/>
                  <a:gd name="connsiteY196" fmla="*/ 545649 h 925149"/>
                  <a:gd name="connsiteX197" fmla="*/ 384050 w 586679"/>
                  <a:gd name="connsiteY197" fmla="*/ 546777 h 925149"/>
                  <a:gd name="connsiteX198" fmla="*/ 380214 w 586679"/>
                  <a:gd name="connsiteY198" fmla="*/ 554224 h 925149"/>
                  <a:gd name="connsiteX199" fmla="*/ 395332 w 586679"/>
                  <a:gd name="connsiteY199" fmla="*/ 566860 h 925149"/>
                  <a:gd name="connsiteX200" fmla="*/ 409773 w 586679"/>
                  <a:gd name="connsiteY200" fmla="*/ 561219 h 925149"/>
                  <a:gd name="connsiteX201" fmla="*/ 430984 w 586679"/>
                  <a:gd name="connsiteY201" fmla="*/ 566634 h 925149"/>
                  <a:gd name="connsiteX202" fmla="*/ 444072 w 586679"/>
                  <a:gd name="connsiteY202" fmla="*/ 568214 h 925149"/>
                  <a:gd name="connsiteX203" fmla="*/ 448810 w 586679"/>
                  <a:gd name="connsiteY203" fmla="*/ 568214 h 925149"/>
                  <a:gd name="connsiteX204" fmla="*/ 455580 w 586679"/>
                  <a:gd name="connsiteY204" fmla="*/ 573404 h 925149"/>
                  <a:gd name="connsiteX205" fmla="*/ 444974 w 586679"/>
                  <a:gd name="connsiteY205" fmla="*/ 588747 h 925149"/>
                  <a:gd name="connsiteX206" fmla="*/ 442943 w 586679"/>
                  <a:gd name="connsiteY206" fmla="*/ 596645 h 925149"/>
                  <a:gd name="connsiteX207" fmla="*/ 441815 w 586679"/>
                  <a:gd name="connsiteY207" fmla="*/ 604091 h 925149"/>
                  <a:gd name="connsiteX208" fmla="*/ 437754 w 586679"/>
                  <a:gd name="connsiteY208" fmla="*/ 604994 h 925149"/>
                  <a:gd name="connsiteX209" fmla="*/ 428276 w 586679"/>
                  <a:gd name="connsiteY209" fmla="*/ 604317 h 925149"/>
                  <a:gd name="connsiteX210" fmla="*/ 416317 w 586679"/>
                  <a:gd name="connsiteY210" fmla="*/ 604091 h 925149"/>
                  <a:gd name="connsiteX211" fmla="*/ 402101 w 586679"/>
                  <a:gd name="connsiteY211" fmla="*/ 598450 h 925149"/>
                  <a:gd name="connsiteX212" fmla="*/ 400296 w 586679"/>
                  <a:gd name="connsiteY212" fmla="*/ 596645 h 925149"/>
                  <a:gd name="connsiteX213" fmla="*/ 395783 w 586679"/>
                  <a:gd name="connsiteY213" fmla="*/ 591455 h 925149"/>
                  <a:gd name="connsiteX214" fmla="*/ 386532 w 586679"/>
                  <a:gd name="connsiteY214" fmla="*/ 582881 h 925149"/>
                  <a:gd name="connsiteX215" fmla="*/ 385855 w 586679"/>
                  <a:gd name="connsiteY215" fmla="*/ 583783 h 925149"/>
                  <a:gd name="connsiteX216" fmla="*/ 387886 w 586679"/>
                  <a:gd name="connsiteY216" fmla="*/ 600932 h 925149"/>
                  <a:gd name="connsiteX217" fmla="*/ 392173 w 586679"/>
                  <a:gd name="connsiteY217" fmla="*/ 622143 h 925149"/>
                  <a:gd name="connsiteX218" fmla="*/ 389240 w 586679"/>
                  <a:gd name="connsiteY218" fmla="*/ 636585 h 925149"/>
                  <a:gd name="connsiteX219" fmla="*/ 391496 w 586679"/>
                  <a:gd name="connsiteY219" fmla="*/ 637938 h 925149"/>
                  <a:gd name="connsiteX220" fmla="*/ 412256 w 586679"/>
                  <a:gd name="connsiteY220" fmla="*/ 637261 h 925149"/>
                  <a:gd name="connsiteX221" fmla="*/ 412932 w 586679"/>
                  <a:gd name="connsiteY221" fmla="*/ 634328 h 925149"/>
                  <a:gd name="connsiteX222" fmla="*/ 415189 w 586679"/>
                  <a:gd name="connsiteY222" fmla="*/ 626205 h 925149"/>
                  <a:gd name="connsiteX223" fmla="*/ 435723 w 586679"/>
                  <a:gd name="connsiteY223" fmla="*/ 624174 h 925149"/>
                  <a:gd name="connsiteX224" fmla="*/ 438882 w 586679"/>
                  <a:gd name="connsiteY224" fmla="*/ 624400 h 925149"/>
                  <a:gd name="connsiteX225" fmla="*/ 449261 w 586679"/>
                  <a:gd name="connsiteY225" fmla="*/ 633200 h 925149"/>
                  <a:gd name="connsiteX226" fmla="*/ 455805 w 586679"/>
                  <a:gd name="connsiteY226" fmla="*/ 640195 h 925149"/>
                  <a:gd name="connsiteX227" fmla="*/ 469570 w 586679"/>
                  <a:gd name="connsiteY227" fmla="*/ 643580 h 925149"/>
                  <a:gd name="connsiteX228" fmla="*/ 487621 w 586679"/>
                  <a:gd name="connsiteY228" fmla="*/ 631620 h 925149"/>
                  <a:gd name="connsiteX229" fmla="*/ 496647 w 586679"/>
                  <a:gd name="connsiteY229" fmla="*/ 624400 h 925149"/>
                  <a:gd name="connsiteX230" fmla="*/ 504319 w 586679"/>
                  <a:gd name="connsiteY230" fmla="*/ 619661 h 925149"/>
                  <a:gd name="connsiteX231" fmla="*/ 514473 w 586679"/>
                  <a:gd name="connsiteY231" fmla="*/ 620112 h 925149"/>
                  <a:gd name="connsiteX232" fmla="*/ 520791 w 586679"/>
                  <a:gd name="connsiteY232" fmla="*/ 624625 h 925149"/>
                  <a:gd name="connsiteX233" fmla="*/ 531397 w 586679"/>
                  <a:gd name="connsiteY233" fmla="*/ 627333 h 925149"/>
                  <a:gd name="connsiteX234" fmla="*/ 543807 w 586679"/>
                  <a:gd name="connsiteY234" fmla="*/ 632749 h 925149"/>
                  <a:gd name="connsiteX235" fmla="*/ 542679 w 586679"/>
                  <a:gd name="connsiteY235" fmla="*/ 643580 h 925149"/>
                  <a:gd name="connsiteX236" fmla="*/ 541099 w 586679"/>
                  <a:gd name="connsiteY236" fmla="*/ 652380 h 925149"/>
                  <a:gd name="connsiteX237" fmla="*/ 555992 w 586679"/>
                  <a:gd name="connsiteY237" fmla="*/ 663211 h 925149"/>
                  <a:gd name="connsiteX238" fmla="*/ 562310 w 586679"/>
                  <a:gd name="connsiteY238" fmla="*/ 665016 h 925149"/>
                  <a:gd name="connsiteX239" fmla="*/ 572916 w 586679"/>
                  <a:gd name="connsiteY239" fmla="*/ 669078 h 925149"/>
                  <a:gd name="connsiteX240" fmla="*/ 579008 w 586679"/>
                  <a:gd name="connsiteY240" fmla="*/ 688709 h 925149"/>
                  <a:gd name="connsiteX241" fmla="*/ 579008 w 586679"/>
                  <a:gd name="connsiteY241" fmla="*/ 689386 h 925149"/>
                  <a:gd name="connsiteX242" fmla="*/ 591193 w 586679"/>
                  <a:gd name="connsiteY242" fmla="*/ 706761 h 925149"/>
                  <a:gd name="connsiteX243" fmla="*/ 600444 w 586679"/>
                  <a:gd name="connsiteY243" fmla="*/ 712627 h 925149"/>
                  <a:gd name="connsiteX244" fmla="*/ 602024 w 586679"/>
                  <a:gd name="connsiteY244" fmla="*/ 722781 h 925149"/>
                  <a:gd name="connsiteX245" fmla="*/ 590742 w 586679"/>
                  <a:gd name="connsiteY245" fmla="*/ 744895 h 925149"/>
                  <a:gd name="connsiteX246" fmla="*/ 570208 w 586679"/>
                  <a:gd name="connsiteY246" fmla="*/ 760239 h 925149"/>
                  <a:gd name="connsiteX247" fmla="*/ 558023 w 586679"/>
                  <a:gd name="connsiteY247" fmla="*/ 779644 h 925149"/>
                  <a:gd name="connsiteX248" fmla="*/ 555315 w 586679"/>
                  <a:gd name="connsiteY248" fmla="*/ 783480 h 925149"/>
                  <a:gd name="connsiteX249" fmla="*/ 548771 w 586679"/>
                  <a:gd name="connsiteY249" fmla="*/ 777388 h 925149"/>
                  <a:gd name="connsiteX250" fmla="*/ 544710 w 586679"/>
                  <a:gd name="connsiteY250" fmla="*/ 772423 h 925149"/>
                  <a:gd name="connsiteX251" fmla="*/ 533427 w 586679"/>
                  <a:gd name="connsiteY251" fmla="*/ 766331 h 925149"/>
                  <a:gd name="connsiteX252" fmla="*/ 532074 w 586679"/>
                  <a:gd name="connsiteY252" fmla="*/ 767008 h 925149"/>
                  <a:gd name="connsiteX253" fmla="*/ 528238 w 586679"/>
                  <a:gd name="connsiteY253" fmla="*/ 770167 h 925149"/>
                  <a:gd name="connsiteX254" fmla="*/ 516730 w 586679"/>
                  <a:gd name="connsiteY254" fmla="*/ 767459 h 925149"/>
                  <a:gd name="connsiteX255" fmla="*/ 502063 w 586679"/>
                  <a:gd name="connsiteY255" fmla="*/ 765428 h 925149"/>
                  <a:gd name="connsiteX256" fmla="*/ 497324 w 586679"/>
                  <a:gd name="connsiteY256" fmla="*/ 772649 h 925149"/>
                  <a:gd name="connsiteX257" fmla="*/ 495293 w 586679"/>
                  <a:gd name="connsiteY257" fmla="*/ 778967 h 925149"/>
                  <a:gd name="connsiteX258" fmla="*/ 477693 w 586679"/>
                  <a:gd name="connsiteY258" fmla="*/ 791378 h 925149"/>
                  <a:gd name="connsiteX259" fmla="*/ 467990 w 586679"/>
                  <a:gd name="connsiteY259" fmla="*/ 796116 h 925149"/>
                  <a:gd name="connsiteX260" fmla="*/ 470247 w 586679"/>
                  <a:gd name="connsiteY260" fmla="*/ 811460 h 925149"/>
                  <a:gd name="connsiteX261" fmla="*/ 471826 w 586679"/>
                  <a:gd name="connsiteY261" fmla="*/ 826127 h 925149"/>
                  <a:gd name="connsiteX262" fmla="*/ 471600 w 586679"/>
                  <a:gd name="connsiteY262" fmla="*/ 828384 h 925149"/>
                  <a:gd name="connsiteX263" fmla="*/ 464605 w 586679"/>
                  <a:gd name="connsiteY263" fmla="*/ 837409 h 925149"/>
                  <a:gd name="connsiteX264" fmla="*/ 456031 w 586679"/>
                  <a:gd name="connsiteY264" fmla="*/ 848240 h 925149"/>
                  <a:gd name="connsiteX265" fmla="*/ 468216 w 586679"/>
                  <a:gd name="connsiteY265" fmla="*/ 855461 h 925149"/>
                  <a:gd name="connsiteX266" fmla="*/ 485365 w 586679"/>
                  <a:gd name="connsiteY266" fmla="*/ 862908 h 925149"/>
                  <a:gd name="connsiteX267" fmla="*/ 478821 w 586679"/>
                  <a:gd name="connsiteY267" fmla="*/ 884118 h 925149"/>
                  <a:gd name="connsiteX268" fmla="*/ 473857 w 586679"/>
                  <a:gd name="connsiteY268" fmla="*/ 889083 h 925149"/>
                  <a:gd name="connsiteX269" fmla="*/ 464605 w 586679"/>
                  <a:gd name="connsiteY269" fmla="*/ 894498 h 925149"/>
                  <a:gd name="connsiteX270" fmla="*/ 452646 w 586679"/>
                  <a:gd name="connsiteY270" fmla="*/ 906909 h 925149"/>
                  <a:gd name="connsiteX271" fmla="*/ 432789 w 586679"/>
                  <a:gd name="connsiteY271" fmla="*/ 919093 h 925149"/>
                  <a:gd name="connsiteX272" fmla="*/ 424215 w 586679"/>
                  <a:gd name="connsiteY272" fmla="*/ 916160 h 925149"/>
                  <a:gd name="connsiteX273" fmla="*/ 416994 w 586679"/>
                  <a:gd name="connsiteY273" fmla="*/ 913452 h 925149"/>
                  <a:gd name="connsiteX274" fmla="*/ 408871 w 586679"/>
                  <a:gd name="connsiteY274" fmla="*/ 915934 h 925149"/>
                  <a:gd name="connsiteX275" fmla="*/ 402553 w 586679"/>
                  <a:gd name="connsiteY275" fmla="*/ 919319 h 925149"/>
                  <a:gd name="connsiteX276" fmla="*/ 398942 w 586679"/>
                  <a:gd name="connsiteY276" fmla="*/ 920898 h 925149"/>
                  <a:gd name="connsiteX277" fmla="*/ 387209 w 586679"/>
                  <a:gd name="connsiteY277" fmla="*/ 916160 h 925149"/>
                  <a:gd name="connsiteX278" fmla="*/ 381116 w 586679"/>
                  <a:gd name="connsiteY278" fmla="*/ 912550 h 925149"/>
                  <a:gd name="connsiteX279" fmla="*/ 377957 w 586679"/>
                  <a:gd name="connsiteY279" fmla="*/ 913227 h 925149"/>
                  <a:gd name="connsiteX280" fmla="*/ 369157 w 586679"/>
                  <a:gd name="connsiteY280" fmla="*/ 925412 h 925149"/>
                  <a:gd name="connsiteX281" fmla="*/ 368706 w 586679"/>
                  <a:gd name="connsiteY281" fmla="*/ 926765 h 925149"/>
                  <a:gd name="connsiteX282" fmla="*/ 360131 w 586679"/>
                  <a:gd name="connsiteY282" fmla="*/ 933084 h 925149"/>
                  <a:gd name="connsiteX283" fmla="*/ 353588 w 586679"/>
                  <a:gd name="connsiteY283" fmla="*/ 934437 h 925149"/>
                  <a:gd name="connsiteX284" fmla="*/ 334859 w 586679"/>
                  <a:gd name="connsiteY284" fmla="*/ 937371 h 925149"/>
                  <a:gd name="connsiteX285" fmla="*/ 311392 w 586679"/>
                  <a:gd name="connsiteY285" fmla="*/ 924960 h 925149"/>
                  <a:gd name="connsiteX286" fmla="*/ 324479 w 586679"/>
                  <a:gd name="connsiteY286" fmla="*/ 929925 h 925149"/>
                  <a:gd name="connsiteX287" fmla="*/ 325156 w 586679"/>
                  <a:gd name="connsiteY287" fmla="*/ 931730 h 925149"/>
                  <a:gd name="connsiteX288" fmla="*/ 335085 w 586679"/>
                  <a:gd name="connsiteY288" fmla="*/ 933760 h 925149"/>
                  <a:gd name="connsiteX289" fmla="*/ 348849 w 586679"/>
                  <a:gd name="connsiteY289" fmla="*/ 931278 h 925149"/>
                  <a:gd name="connsiteX290" fmla="*/ 356972 w 586679"/>
                  <a:gd name="connsiteY290" fmla="*/ 929699 h 925149"/>
                  <a:gd name="connsiteX291" fmla="*/ 361485 w 586679"/>
                  <a:gd name="connsiteY291" fmla="*/ 926314 h 925149"/>
                  <a:gd name="connsiteX292" fmla="*/ 361936 w 586679"/>
                  <a:gd name="connsiteY292" fmla="*/ 924734 h 925149"/>
                  <a:gd name="connsiteX293" fmla="*/ 374347 w 586679"/>
                  <a:gd name="connsiteY293" fmla="*/ 909842 h 925149"/>
                  <a:gd name="connsiteX294" fmla="*/ 376378 w 586679"/>
                  <a:gd name="connsiteY294" fmla="*/ 909391 h 925149"/>
                  <a:gd name="connsiteX295" fmla="*/ 386983 w 586679"/>
                  <a:gd name="connsiteY295" fmla="*/ 914580 h 925149"/>
                  <a:gd name="connsiteX296" fmla="*/ 393753 w 586679"/>
                  <a:gd name="connsiteY296" fmla="*/ 917739 h 925149"/>
                  <a:gd name="connsiteX297" fmla="*/ 397588 w 586679"/>
                  <a:gd name="connsiteY297" fmla="*/ 915934 h 925149"/>
                  <a:gd name="connsiteX298" fmla="*/ 403455 w 586679"/>
                  <a:gd name="connsiteY298" fmla="*/ 912775 h 925149"/>
                  <a:gd name="connsiteX299" fmla="*/ 413835 w 586679"/>
                  <a:gd name="connsiteY299" fmla="*/ 909842 h 925149"/>
                  <a:gd name="connsiteX300" fmla="*/ 422861 w 586679"/>
                  <a:gd name="connsiteY300" fmla="*/ 913001 h 925149"/>
                  <a:gd name="connsiteX301" fmla="*/ 429405 w 586679"/>
                  <a:gd name="connsiteY301" fmla="*/ 915483 h 925149"/>
                  <a:gd name="connsiteX302" fmla="*/ 445877 w 586679"/>
                  <a:gd name="connsiteY302" fmla="*/ 905555 h 925149"/>
                  <a:gd name="connsiteX303" fmla="*/ 460995 w 586679"/>
                  <a:gd name="connsiteY303" fmla="*/ 890887 h 925149"/>
                  <a:gd name="connsiteX304" fmla="*/ 467539 w 586679"/>
                  <a:gd name="connsiteY304" fmla="*/ 886601 h 925149"/>
                  <a:gd name="connsiteX305" fmla="*/ 472954 w 586679"/>
                  <a:gd name="connsiteY305" fmla="*/ 881185 h 925149"/>
                  <a:gd name="connsiteX306" fmla="*/ 478370 w 586679"/>
                  <a:gd name="connsiteY306" fmla="*/ 864036 h 925149"/>
                  <a:gd name="connsiteX307" fmla="*/ 464831 w 586679"/>
                  <a:gd name="connsiteY307" fmla="*/ 859072 h 925149"/>
                  <a:gd name="connsiteX308" fmla="*/ 448810 w 586679"/>
                  <a:gd name="connsiteY308" fmla="*/ 848240 h 925149"/>
                  <a:gd name="connsiteX309" fmla="*/ 458513 w 586679"/>
                  <a:gd name="connsiteY309" fmla="*/ 834476 h 925149"/>
                  <a:gd name="connsiteX310" fmla="*/ 464380 w 586679"/>
                  <a:gd name="connsiteY310" fmla="*/ 827932 h 925149"/>
                  <a:gd name="connsiteX311" fmla="*/ 464605 w 586679"/>
                  <a:gd name="connsiteY311" fmla="*/ 825450 h 925149"/>
                  <a:gd name="connsiteX312" fmla="*/ 463703 w 586679"/>
                  <a:gd name="connsiteY312" fmla="*/ 813491 h 925149"/>
                  <a:gd name="connsiteX313" fmla="*/ 461446 w 586679"/>
                  <a:gd name="connsiteY313" fmla="*/ 793634 h 925149"/>
                  <a:gd name="connsiteX314" fmla="*/ 474985 w 586679"/>
                  <a:gd name="connsiteY314" fmla="*/ 787542 h 925149"/>
                  <a:gd name="connsiteX315" fmla="*/ 488073 w 586679"/>
                  <a:gd name="connsiteY315" fmla="*/ 777388 h 925149"/>
                  <a:gd name="connsiteX316" fmla="*/ 489878 w 586679"/>
                  <a:gd name="connsiteY316" fmla="*/ 771521 h 925149"/>
                  <a:gd name="connsiteX317" fmla="*/ 496196 w 586679"/>
                  <a:gd name="connsiteY317" fmla="*/ 762044 h 925149"/>
                  <a:gd name="connsiteX318" fmla="*/ 514699 w 586679"/>
                  <a:gd name="connsiteY318" fmla="*/ 763849 h 925149"/>
                  <a:gd name="connsiteX319" fmla="*/ 523273 w 586679"/>
                  <a:gd name="connsiteY319" fmla="*/ 766331 h 925149"/>
                  <a:gd name="connsiteX320" fmla="*/ 524853 w 586679"/>
                  <a:gd name="connsiteY320" fmla="*/ 764977 h 925149"/>
                  <a:gd name="connsiteX321" fmla="*/ 529366 w 586679"/>
                  <a:gd name="connsiteY321" fmla="*/ 762269 h 925149"/>
                  <a:gd name="connsiteX322" fmla="*/ 544033 w 586679"/>
                  <a:gd name="connsiteY322" fmla="*/ 769716 h 925149"/>
                  <a:gd name="connsiteX323" fmla="*/ 548095 w 586679"/>
                  <a:gd name="connsiteY323" fmla="*/ 774680 h 925149"/>
                  <a:gd name="connsiteX324" fmla="*/ 550802 w 586679"/>
                  <a:gd name="connsiteY324" fmla="*/ 778064 h 925149"/>
                  <a:gd name="connsiteX325" fmla="*/ 565018 w 586679"/>
                  <a:gd name="connsiteY325" fmla="*/ 756403 h 925149"/>
                  <a:gd name="connsiteX326" fmla="*/ 583972 w 586679"/>
                  <a:gd name="connsiteY326" fmla="*/ 742413 h 925149"/>
                  <a:gd name="connsiteX327" fmla="*/ 594803 w 586679"/>
                  <a:gd name="connsiteY327" fmla="*/ 721427 h 925149"/>
                  <a:gd name="connsiteX328" fmla="*/ 593675 w 586679"/>
                  <a:gd name="connsiteY328" fmla="*/ 714207 h 925149"/>
                  <a:gd name="connsiteX329" fmla="*/ 586906 w 586679"/>
                  <a:gd name="connsiteY329" fmla="*/ 710145 h 925149"/>
                  <a:gd name="connsiteX330" fmla="*/ 571787 w 586679"/>
                  <a:gd name="connsiteY330" fmla="*/ 688934 h 925149"/>
                  <a:gd name="connsiteX331" fmla="*/ 571787 w 586679"/>
                  <a:gd name="connsiteY331" fmla="*/ 688257 h 925149"/>
                  <a:gd name="connsiteX332" fmla="*/ 567500 w 586679"/>
                  <a:gd name="connsiteY332" fmla="*/ 671785 h 925149"/>
                  <a:gd name="connsiteX333" fmla="*/ 558249 w 586679"/>
                  <a:gd name="connsiteY333" fmla="*/ 668400 h 925149"/>
                  <a:gd name="connsiteX334" fmla="*/ 551479 w 586679"/>
                  <a:gd name="connsiteY334" fmla="*/ 666370 h 925149"/>
                  <a:gd name="connsiteX335" fmla="*/ 534330 w 586679"/>
                  <a:gd name="connsiteY335" fmla="*/ 652831 h 925149"/>
                  <a:gd name="connsiteX336" fmla="*/ 535910 w 586679"/>
                  <a:gd name="connsiteY336" fmla="*/ 642226 h 925149"/>
                  <a:gd name="connsiteX337" fmla="*/ 537264 w 586679"/>
                  <a:gd name="connsiteY337" fmla="*/ 633877 h 925149"/>
                  <a:gd name="connsiteX338" fmla="*/ 527561 w 586679"/>
                  <a:gd name="connsiteY338" fmla="*/ 630718 h 925149"/>
                  <a:gd name="connsiteX339" fmla="*/ 516504 w 586679"/>
                  <a:gd name="connsiteY339" fmla="*/ 627784 h 925149"/>
                  <a:gd name="connsiteX340" fmla="*/ 508832 w 586679"/>
                  <a:gd name="connsiteY340" fmla="*/ 622143 h 925149"/>
                  <a:gd name="connsiteX341" fmla="*/ 504093 w 586679"/>
                  <a:gd name="connsiteY341" fmla="*/ 622143 h 925149"/>
                  <a:gd name="connsiteX342" fmla="*/ 495519 w 586679"/>
                  <a:gd name="connsiteY342" fmla="*/ 627333 h 925149"/>
                  <a:gd name="connsiteX343" fmla="*/ 488073 w 586679"/>
                  <a:gd name="connsiteY343" fmla="*/ 633200 h 925149"/>
                  <a:gd name="connsiteX344" fmla="*/ 467990 w 586679"/>
                  <a:gd name="connsiteY344" fmla="*/ 646964 h 925149"/>
                  <a:gd name="connsiteX345" fmla="*/ 450841 w 586679"/>
                  <a:gd name="connsiteY345" fmla="*/ 642903 h 925149"/>
                  <a:gd name="connsiteX346" fmla="*/ 443846 w 586679"/>
                  <a:gd name="connsiteY346" fmla="*/ 635456 h 925149"/>
                  <a:gd name="connsiteX347" fmla="*/ 436174 w 586679"/>
                  <a:gd name="connsiteY347" fmla="*/ 628010 h 925149"/>
                  <a:gd name="connsiteX348" fmla="*/ 436174 w 586679"/>
                  <a:gd name="connsiteY348" fmla="*/ 628010 h 925149"/>
                  <a:gd name="connsiteX349" fmla="*/ 432789 w 586679"/>
                  <a:gd name="connsiteY349" fmla="*/ 627784 h 925149"/>
                  <a:gd name="connsiteX350" fmla="*/ 415189 w 586679"/>
                  <a:gd name="connsiteY350" fmla="*/ 628912 h 925149"/>
                  <a:gd name="connsiteX351" fmla="*/ 414061 w 586679"/>
                  <a:gd name="connsiteY351" fmla="*/ 633877 h 925149"/>
                  <a:gd name="connsiteX352" fmla="*/ 411127 w 586679"/>
                  <a:gd name="connsiteY352" fmla="*/ 640872 h 925149"/>
                  <a:gd name="connsiteX353" fmla="*/ 388337 w 586679"/>
                  <a:gd name="connsiteY353" fmla="*/ 641774 h 925149"/>
                  <a:gd name="connsiteX354" fmla="*/ 383147 w 586679"/>
                  <a:gd name="connsiteY354" fmla="*/ 638615 h 925149"/>
                  <a:gd name="connsiteX355" fmla="*/ 385855 w 586679"/>
                  <a:gd name="connsiteY355" fmla="*/ 620789 h 925149"/>
                  <a:gd name="connsiteX356" fmla="*/ 381568 w 586679"/>
                  <a:gd name="connsiteY356" fmla="*/ 602512 h 925149"/>
                  <a:gd name="connsiteX357" fmla="*/ 379537 w 586679"/>
                  <a:gd name="connsiteY357" fmla="*/ 581978 h 925149"/>
                  <a:gd name="connsiteX358" fmla="*/ 382922 w 586679"/>
                  <a:gd name="connsiteY358" fmla="*/ 579045 h 925149"/>
                  <a:gd name="connsiteX359" fmla="*/ 396009 w 586679"/>
                  <a:gd name="connsiteY359" fmla="*/ 588973 h 925149"/>
                  <a:gd name="connsiteX360" fmla="*/ 400296 w 586679"/>
                  <a:gd name="connsiteY360" fmla="*/ 593712 h 925149"/>
                  <a:gd name="connsiteX361" fmla="*/ 402553 w 586679"/>
                  <a:gd name="connsiteY361" fmla="*/ 595968 h 925149"/>
                  <a:gd name="connsiteX362" fmla="*/ 414286 w 586679"/>
                  <a:gd name="connsiteY362" fmla="*/ 600256 h 925149"/>
                  <a:gd name="connsiteX363" fmla="*/ 425794 w 586679"/>
                  <a:gd name="connsiteY363" fmla="*/ 600481 h 925149"/>
                  <a:gd name="connsiteX364" fmla="*/ 435948 w 586679"/>
                  <a:gd name="connsiteY364" fmla="*/ 601158 h 925149"/>
                  <a:gd name="connsiteX365" fmla="*/ 436851 w 586679"/>
                  <a:gd name="connsiteY365" fmla="*/ 601158 h 925149"/>
                  <a:gd name="connsiteX366" fmla="*/ 436851 w 586679"/>
                  <a:gd name="connsiteY366" fmla="*/ 596871 h 925149"/>
                  <a:gd name="connsiteX367" fmla="*/ 441590 w 586679"/>
                  <a:gd name="connsiteY367" fmla="*/ 584911 h 925149"/>
                  <a:gd name="connsiteX368" fmla="*/ 449487 w 586679"/>
                  <a:gd name="connsiteY368" fmla="*/ 573629 h 925149"/>
                  <a:gd name="connsiteX369" fmla="*/ 446554 w 586679"/>
                  <a:gd name="connsiteY369" fmla="*/ 571598 h 925149"/>
                  <a:gd name="connsiteX370" fmla="*/ 441815 w 586679"/>
                  <a:gd name="connsiteY370" fmla="*/ 571598 h 925149"/>
                  <a:gd name="connsiteX371" fmla="*/ 426697 w 586679"/>
                  <a:gd name="connsiteY371" fmla="*/ 569342 h 925149"/>
                  <a:gd name="connsiteX372" fmla="*/ 410225 w 586679"/>
                  <a:gd name="connsiteY372" fmla="*/ 563475 h 925149"/>
                  <a:gd name="connsiteX373" fmla="*/ 393301 w 586679"/>
                  <a:gd name="connsiteY373" fmla="*/ 570245 h 925149"/>
                  <a:gd name="connsiteX374" fmla="*/ 374573 w 586679"/>
                  <a:gd name="connsiteY374" fmla="*/ 553998 h 925149"/>
                  <a:gd name="connsiteX375" fmla="*/ 378409 w 586679"/>
                  <a:gd name="connsiteY375" fmla="*/ 545198 h 925149"/>
                  <a:gd name="connsiteX376" fmla="*/ 371414 w 586679"/>
                  <a:gd name="connsiteY376" fmla="*/ 540234 h 925149"/>
                  <a:gd name="connsiteX377" fmla="*/ 358326 w 586679"/>
                  <a:gd name="connsiteY377" fmla="*/ 519023 h 925149"/>
                  <a:gd name="connsiteX378" fmla="*/ 358326 w 586679"/>
                  <a:gd name="connsiteY378" fmla="*/ 516767 h 925149"/>
                  <a:gd name="connsiteX379" fmla="*/ 367352 w 586679"/>
                  <a:gd name="connsiteY379" fmla="*/ 493976 h 925149"/>
                  <a:gd name="connsiteX380" fmla="*/ 369383 w 586679"/>
                  <a:gd name="connsiteY380" fmla="*/ 480212 h 925149"/>
                  <a:gd name="connsiteX381" fmla="*/ 368706 w 586679"/>
                  <a:gd name="connsiteY381" fmla="*/ 477278 h 925149"/>
                  <a:gd name="connsiteX382" fmla="*/ 366449 w 586679"/>
                  <a:gd name="connsiteY382" fmla="*/ 472991 h 925149"/>
                  <a:gd name="connsiteX383" fmla="*/ 363290 w 586679"/>
                  <a:gd name="connsiteY383" fmla="*/ 463288 h 925149"/>
                  <a:gd name="connsiteX384" fmla="*/ 366449 w 586679"/>
                  <a:gd name="connsiteY384" fmla="*/ 460129 h 925149"/>
                  <a:gd name="connsiteX385" fmla="*/ 384952 w 586679"/>
                  <a:gd name="connsiteY385" fmla="*/ 462160 h 925149"/>
                  <a:gd name="connsiteX386" fmla="*/ 389240 w 586679"/>
                  <a:gd name="connsiteY386" fmla="*/ 461934 h 925149"/>
                  <a:gd name="connsiteX387" fmla="*/ 396686 w 586679"/>
                  <a:gd name="connsiteY387" fmla="*/ 463288 h 925149"/>
                  <a:gd name="connsiteX388" fmla="*/ 399845 w 586679"/>
                  <a:gd name="connsiteY388" fmla="*/ 463288 h 925149"/>
                  <a:gd name="connsiteX389" fmla="*/ 411579 w 586679"/>
                  <a:gd name="connsiteY389" fmla="*/ 452909 h 925149"/>
                  <a:gd name="connsiteX390" fmla="*/ 404358 w 586679"/>
                  <a:gd name="connsiteY390" fmla="*/ 424928 h 925149"/>
                  <a:gd name="connsiteX391" fmla="*/ 392850 w 586679"/>
                  <a:gd name="connsiteY391" fmla="*/ 397400 h 925149"/>
                  <a:gd name="connsiteX392" fmla="*/ 404584 w 586679"/>
                  <a:gd name="connsiteY392" fmla="*/ 381379 h 925149"/>
                  <a:gd name="connsiteX393" fmla="*/ 403455 w 586679"/>
                  <a:gd name="connsiteY393" fmla="*/ 375512 h 925149"/>
                  <a:gd name="connsiteX394" fmla="*/ 401425 w 586679"/>
                  <a:gd name="connsiteY394" fmla="*/ 363101 h 925149"/>
                  <a:gd name="connsiteX395" fmla="*/ 412481 w 586679"/>
                  <a:gd name="connsiteY395" fmla="*/ 335121 h 925149"/>
                  <a:gd name="connsiteX396" fmla="*/ 435271 w 586679"/>
                  <a:gd name="connsiteY396" fmla="*/ 334219 h 925149"/>
                  <a:gd name="connsiteX397" fmla="*/ 438656 w 586679"/>
                  <a:gd name="connsiteY397" fmla="*/ 334444 h 925149"/>
                  <a:gd name="connsiteX398" fmla="*/ 461672 w 586679"/>
                  <a:gd name="connsiteY398" fmla="*/ 335572 h 925149"/>
                  <a:gd name="connsiteX399" fmla="*/ 460769 w 586679"/>
                  <a:gd name="connsiteY399" fmla="*/ 332413 h 925149"/>
                  <a:gd name="connsiteX400" fmla="*/ 462800 w 586679"/>
                  <a:gd name="connsiteY400" fmla="*/ 306916 h 925149"/>
                  <a:gd name="connsiteX401" fmla="*/ 468893 w 586679"/>
                  <a:gd name="connsiteY401" fmla="*/ 301049 h 925149"/>
                  <a:gd name="connsiteX402" fmla="*/ 476339 w 586679"/>
                  <a:gd name="connsiteY402" fmla="*/ 292249 h 925149"/>
                  <a:gd name="connsiteX403" fmla="*/ 474308 w 586679"/>
                  <a:gd name="connsiteY403" fmla="*/ 289992 h 925149"/>
                  <a:gd name="connsiteX404" fmla="*/ 461221 w 586679"/>
                  <a:gd name="connsiteY404" fmla="*/ 285705 h 925149"/>
                  <a:gd name="connsiteX405" fmla="*/ 453549 w 586679"/>
                  <a:gd name="connsiteY405" fmla="*/ 283448 h 925149"/>
                  <a:gd name="connsiteX406" fmla="*/ 450390 w 586679"/>
                  <a:gd name="connsiteY406" fmla="*/ 278033 h 925149"/>
                  <a:gd name="connsiteX407" fmla="*/ 458739 w 586679"/>
                  <a:gd name="connsiteY407" fmla="*/ 266750 h 925149"/>
                  <a:gd name="connsiteX408" fmla="*/ 461446 w 586679"/>
                  <a:gd name="connsiteY408" fmla="*/ 260207 h 925149"/>
                  <a:gd name="connsiteX409" fmla="*/ 458739 w 586679"/>
                  <a:gd name="connsiteY409" fmla="*/ 248247 h 925149"/>
                  <a:gd name="connsiteX410" fmla="*/ 456482 w 586679"/>
                  <a:gd name="connsiteY410" fmla="*/ 233129 h 925149"/>
                  <a:gd name="connsiteX411" fmla="*/ 454903 w 586679"/>
                  <a:gd name="connsiteY411" fmla="*/ 207631 h 925149"/>
                  <a:gd name="connsiteX412" fmla="*/ 455128 w 586679"/>
                  <a:gd name="connsiteY412" fmla="*/ 206503 h 925149"/>
                  <a:gd name="connsiteX413" fmla="*/ 456257 w 586679"/>
                  <a:gd name="connsiteY413" fmla="*/ 186420 h 925149"/>
                  <a:gd name="connsiteX414" fmla="*/ 455128 w 586679"/>
                  <a:gd name="connsiteY414" fmla="*/ 181231 h 925149"/>
                  <a:gd name="connsiteX415" fmla="*/ 451969 w 586679"/>
                  <a:gd name="connsiteY415" fmla="*/ 174687 h 925149"/>
                  <a:gd name="connsiteX416" fmla="*/ 448585 w 586679"/>
                  <a:gd name="connsiteY416" fmla="*/ 160923 h 925149"/>
                  <a:gd name="connsiteX417" fmla="*/ 453549 w 586679"/>
                  <a:gd name="connsiteY417" fmla="*/ 156410 h 925149"/>
                  <a:gd name="connsiteX418" fmla="*/ 458513 w 586679"/>
                  <a:gd name="connsiteY418" fmla="*/ 149640 h 925149"/>
                  <a:gd name="connsiteX419" fmla="*/ 465959 w 586679"/>
                  <a:gd name="connsiteY419" fmla="*/ 139937 h 925149"/>
                  <a:gd name="connsiteX420" fmla="*/ 475888 w 586679"/>
                  <a:gd name="connsiteY420" fmla="*/ 131363 h 925149"/>
                  <a:gd name="connsiteX421" fmla="*/ 481303 w 586679"/>
                  <a:gd name="connsiteY421" fmla="*/ 126624 h 925149"/>
                  <a:gd name="connsiteX422" fmla="*/ 480401 w 586679"/>
                  <a:gd name="connsiteY422" fmla="*/ 123240 h 925149"/>
                  <a:gd name="connsiteX423" fmla="*/ 475888 w 586679"/>
                  <a:gd name="connsiteY423" fmla="*/ 121660 h 925149"/>
                  <a:gd name="connsiteX424" fmla="*/ 462575 w 586679"/>
                  <a:gd name="connsiteY424" fmla="*/ 118050 h 925149"/>
                  <a:gd name="connsiteX425" fmla="*/ 458739 w 586679"/>
                  <a:gd name="connsiteY425" fmla="*/ 109475 h 925149"/>
                  <a:gd name="connsiteX426" fmla="*/ 458739 w 586679"/>
                  <a:gd name="connsiteY426" fmla="*/ 106316 h 925149"/>
                  <a:gd name="connsiteX427" fmla="*/ 465508 w 586679"/>
                  <a:gd name="connsiteY427" fmla="*/ 94357 h 925149"/>
                  <a:gd name="connsiteX428" fmla="*/ 469118 w 586679"/>
                  <a:gd name="connsiteY428" fmla="*/ 92552 h 925149"/>
                  <a:gd name="connsiteX429" fmla="*/ 468893 w 586679"/>
                  <a:gd name="connsiteY429" fmla="*/ 86911 h 925149"/>
                  <a:gd name="connsiteX430" fmla="*/ 478370 w 586679"/>
                  <a:gd name="connsiteY430" fmla="*/ 69085 h 925149"/>
                  <a:gd name="connsiteX431" fmla="*/ 482883 w 586679"/>
                  <a:gd name="connsiteY431" fmla="*/ 60736 h 925149"/>
                  <a:gd name="connsiteX432" fmla="*/ 478821 w 586679"/>
                  <a:gd name="connsiteY432" fmla="*/ 59156 h 925149"/>
                  <a:gd name="connsiteX433" fmla="*/ 471826 w 586679"/>
                  <a:gd name="connsiteY433" fmla="*/ 55320 h 925149"/>
                  <a:gd name="connsiteX434" fmla="*/ 475436 w 586679"/>
                  <a:gd name="connsiteY434" fmla="*/ 45617 h 925149"/>
                  <a:gd name="connsiteX435" fmla="*/ 478144 w 586679"/>
                  <a:gd name="connsiteY435" fmla="*/ 42233 h 925149"/>
                  <a:gd name="connsiteX436" fmla="*/ 477467 w 586679"/>
                  <a:gd name="connsiteY436" fmla="*/ 35012 h 925149"/>
                  <a:gd name="connsiteX437" fmla="*/ 476790 w 586679"/>
                  <a:gd name="connsiteY437" fmla="*/ 23730 h 925149"/>
                  <a:gd name="connsiteX438" fmla="*/ 477016 w 586679"/>
                  <a:gd name="connsiteY438" fmla="*/ 22827 h 925149"/>
                  <a:gd name="connsiteX439" fmla="*/ 474083 w 586679"/>
                  <a:gd name="connsiteY439" fmla="*/ 21248 h 925149"/>
                  <a:gd name="connsiteX440" fmla="*/ 466185 w 586679"/>
                  <a:gd name="connsiteY440" fmla="*/ 16509 h 925149"/>
                  <a:gd name="connsiteX441" fmla="*/ 458964 w 586679"/>
                  <a:gd name="connsiteY441" fmla="*/ 15381 h 925149"/>
                  <a:gd name="connsiteX442" fmla="*/ 452421 w 586679"/>
                  <a:gd name="connsiteY442" fmla="*/ 7709 h 925149"/>
                  <a:gd name="connsiteX443" fmla="*/ 440913 w 586679"/>
                  <a:gd name="connsiteY443" fmla="*/ 4775 h 925149"/>
                  <a:gd name="connsiteX444" fmla="*/ 421733 w 586679"/>
                  <a:gd name="connsiteY444" fmla="*/ 26889 h 925149"/>
                  <a:gd name="connsiteX445" fmla="*/ 421281 w 586679"/>
                  <a:gd name="connsiteY445" fmla="*/ 28468 h 925149"/>
                  <a:gd name="connsiteX446" fmla="*/ 397363 w 586679"/>
                  <a:gd name="connsiteY446" fmla="*/ 56448 h 925149"/>
                  <a:gd name="connsiteX447" fmla="*/ 384501 w 586679"/>
                  <a:gd name="connsiteY447" fmla="*/ 62315 h 925149"/>
                  <a:gd name="connsiteX448" fmla="*/ 367803 w 586679"/>
                  <a:gd name="connsiteY448" fmla="*/ 76531 h 925149"/>
                  <a:gd name="connsiteX449" fmla="*/ 352008 w 586679"/>
                  <a:gd name="connsiteY449" fmla="*/ 90070 h 925149"/>
                  <a:gd name="connsiteX450" fmla="*/ 343659 w 586679"/>
                  <a:gd name="connsiteY450" fmla="*/ 102029 h 925149"/>
                  <a:gd name="connsiteX451" fmla="*/ 330120 w 586679"/>
                  <a:gd name="connsiteY451" fmla="*/ 117373 h 925149"/>
                  <a:gd name="connsiteX452" fmla="*/ 321771 w 586679"/>
                  <a:gd name="connsiteY452" fmla="*/ 118727 h 925149"/>
                  <a:gd name="connsiteX453" fmla="*/ 315905 w 586679"/>
                  <a:gd name="connsiteY453" fmla="*/ 125947 h 925149"/>
                  <a:gd name="connsiteX454" fmla="*/ 311166 w 586679"/>
                  <a:gd name="connsiteY454" fmla="*/ 135199 h 925149"/>
                  <a:gd name="connsiteX455" fmla="*/ 274386 w 586679"/>
                  <a:gd name="connsiteY455" fmla="*/ 141291 h 925149"/>
                  <a:gd name="connsiteX456" fmla="*/ 267165 w 586679"/>
                  <a:gd name="connsiteY456" fmla="*/ 141517 h 925149"/>
                  <a:gd name="connsiteX457" fmla="*/ 245277 w 586679"/>
                  <a:gd name="connsiteY457" fmla="*/ 139261 h 925149"/>
                  <a:gd name="connsiteX458" fmla="*/ 219328 w 586679"/>
                  <a:gd name="connsiteY458" fmla="*/ 138132 h 925149"/>
                  <a:gd name="connsiteX459" fmla="*/ 221359 w 586679"/>
                  <a:gd name="connsiteY459" fmla="*/ 153476 h 925149"/>
                  <a:gd name="connsiteX460" fmla="*/ 226097 w 586679"/>
                  <a:gd name="connsiteY460" fmla="*/ 167466 h 925149"/>
                  <a:gd name="connsiteX461" fmla="*/ 223841 w 586679"/>
                  <a:gd name="connsiteY461" fmla="*/ 182585 h 925149"/>
                  <a:gd name="connsiteX462" fmla="*/ 222487 w 586679"/>
                  <a:gd name="connsiteY462" fmla="*/ 189128 h 925149"/>
                  <a:gd name="connsiteX463" fmla="*/ 208497 w 586679"/>
                  <a:gd name="connsiteY463" fmla="*/ 197252 h 925149"/>
                  <a:gd name="connsiteX464" fmla="*/ 202179 w 586679"/>
                  <a:gd name="connsiteY464" fmla="*/ 198380 h 925149"/>
                  <a:gd name="connsiteX465" fmla="*/ 190897 w 586679"/>
                  <a:gd name="connsiteY465" fmla="*/ 196574 h 925149"/>
                  <a:gd name="connsiteX466" fmla="*/ 185030 w 586679"/>
                  <a:gd name="connsiteY466" fmla="*/ 196349 h 925149"/>
                  <a:gd name="connsiteX467" fmla="*/ 160660 w 586679"/>
                  <a:gd name="connsiteY467" fmla="*/ 206954 h 925149"/>
                  <a:gd name="connsiteX468" fmla="*/ 147347 w 586679"/>
                  <a:gd name="connsiteY468" fmla="*/ 198154 h 925149"/>
                  <a:gd name="connsiteX469" fmla="*/ 142608 w 586679"/>
                  <a:gd name="connsiteY469" fmla="*/ 194544 h 925149"/>
                  <a:gd name="connsiteX470" fmla="*/ 130198 w 586679"/>
                  <a:gd name="connsiteY470" fmla="*/ 205375 h 925149"/>
                  <a:gd name="connsiteX471" fmla="*/ 109438 w 586679"/>
                  <a:gd name="connsiteY471" fmla="*/ 218914 h 925149"/>
                  <a:gd name="connsiteX472" fmla="*/ 99059 w 586679"/>
                  <a:gd name="connsiteY472" fmla="*/ 226360 h 925149"/>
                  <a:gd name="connsiteX473" fmla="*/ 97479 w 586679"/>
                  <a:gd name="connsiteY473" fmla="*/ 228391 h 925149"/>
                  <a:gd name="connsiteX474" fmla="*/ 84843 w 586679"/>
                  <a:gd name="connsiteY474" fmla="*/ 242155 h 925149"/>
                  <a:gd name="connsiteX475" fmla="*/ 82812 w 586679"/>
                  <a:gd name="connsiteY475" fmla="*/ 244412 h 925149"/>
                  <a:gd name="connsiteX476" fmla="*/ 81684 w 586679"/>
                  <a:gd name="connsiteY476" fmla="*/ 241704 h 925149"/>
                  <a:gd name="connsiteX477" fmla="*/ 67468 w 586679"/>
                  <a:gd name="connsiteY477" fmla="*/ 234032 h 925149"/>
                  <a:gd name="connsiteX478" fmla="*/ 55509 w 586679"/>
                  <a:gd name="connsiteY478" fmla="*/ 243960 h 925149"/>
                  <a:gd name="connsiteX479" fmla="*/ 52124 w 586679"/>
                  <a:gd name="connsiteY479" fmla="*/ 247345 h 925149"/>
                  <a:gd name="connsiteX480" fmla="*/ 48063 w 586679"/>
                  <a:gd name="connsiteY480" fmla="*/ 263366 h 925149"/>
                  <a:gd name="connsiteX481" fmla="*/ 45129 w 586679"/>
                  <a:gd name="connsiteY481" fmla="*/ 275551 h 925149"/>
                  <a:gd name="connsiteX482" fmla="*/ 45355 w 586679"/>
                  <a:gd name="connsiteY482" fmla="*/ 279387 h 925149"/>
                  <a:gd name="connsiteX483" fmla="*/ 50770 w 586679"/>
                  <a:gd name="connsiteY483" fmla="*/ 280966 h 925149"/>
                  <a:gd name="connsiteX484" fmla="*/ 62504 w 586679"/>
                  <a:gd name="connsiteY484" fmla="*/ 291120 h 925149"/>
                  <a:gd name="connsiteX485" fmla="*/ 57088 w 586679"/>
                  <a:gd name="connsiteY485" fmla="*/ 317295 h 925149"/>
                  <a:gd name="connsiteX486" fmla="*/ 52350 w 586679"/>
                  <a:gd name="connsiteY486" fmla="*/ 331736 h 925149"/>
                  <a:gd name="connsiteX487" fmla="*/ 51673 w 586679"/>
                  <a:gd name="connsiteY487" fmla="*/ 335347 h 925149"/>
                  <a:gd name="connsiteX488" fmla="*/ 40616 w 586679"/>
                  <a:gd name="connsiteY488" fmla="*/ 353399 h 925149"/>
                  <a:gd name="connsiteX489" fmla="*/ 28883 w 586679"/>
                  <a:gd name="connsiteY489" fmla="*/ 354527 h 925149"/>
                  <a:gd name="connsiteX490" fmla="*/ 19631 w 586679"/>
                  <a:gd name="connsiteY490" fmla="*/ 356106 h 925149"/>
                  <a:gd name="connsiteX491" fmla="*/ 11959 w 586679"/>
                  <a:gd name="connsiteY491" fmla="*/ 362650 h 925149"/>
                  <a:gd name="connsiteX492" fmla="*/ 9026 w 586679"/>
                  <a:gd name="connsiteY492" fmla="*/ 364681 h 925149"/>
                  <a:gd name="connsiteX493" fmla="*/ 11508 w 586679"/>
                  <a:gd name="connsiteY493" fmla="*/ 364681 h 925149"/>
                  <a:gd name="connsiteX494" fmla="*/ 19857 w 586679"/>
                  <a:gd name="connsiteY494" fmla="*/ 363553 h 925149"/>
                  <a:gd name="connsiteX495" fmla="*/ 29108 w 586679"/>
                  <a:gd name="connsiteY495" fmla="*/ 363553 h 925149"/>
                  <a:gd name="connsiteX496" fmla="*/ 32719 w 586679"/>
                  <a:gd name="connsiteY496" fmla="*/ 369871 h 925149"/>
                  <a:gd name="connsiteX497" fmla="*/ 32267 w 586679"/>
                  <a:gd name="connsiteY497" fmla="*/ 379574 h 925149"/>
                  <a:gd name="connsiteX498" fmla="*/ 32267 w 586679"/>
                  <a:gd name="connsiteY498" fmla="*/ 389051 h 925149"/>
                  <a:gd name="connsiteX499" fmla="*/ 38134 w 586679"/>
                  <a:gd name="connsiteY499" fmla="*/ 399430 h 925149"/>
                  <a:gd name="connsiteX500" fmla="*/ 39488 w 586679"/>
                  <a:gd name="connsiteY500" fmla="*/ 411841 h 925149"/>
                  <a:gd name="connsiteX501" fmla="*/ 35878 w 586679"/>
                  <a:gd name="connsiteY501" fmla="*/ 416580 h 925149"/>
                  <a:gd name="connsiteX502" fmla="*/ 33396 w 586679"/>
                  <a:gd name="connsiteY502" fmla="*/ 419513 h 925149"/>
                  <a:gd name="connsiteX503" fmla="*/ 32267 w 586679"/>
                  <a:gd name="connsiteY503" fmla="*/ 432149 h 925149"/>
                  <a:gd name="connsiteX504" fmla="*/ 32042 w 586679"/>
                  <a:gd name="connsiteY504" fmla="*/ 443206 h 925149"/>
                  <a:gd name="connsiteX505" fmla="*/ 31365 w 586679"/>
                  <a:gd name="connsiteY505" fmla="*/ 454037 h 925149"/>
                  <a:gd name="connsiteX506" fmla="*/ 31590 w 586679"/>
                  <a:gd name="connsiteY506" fmla="*/ 459227 h 925149"/>
                  <a:gd name="connsiteX507" fmla="*/ 21888 w 586679"/>
                  <a:gd name="connsiteY507" fmla="*/ 468478 h 925149"/>
                  <a:gd name="connsiteX508" fmla="*/ 20083 w 586679"/>
                  <a:gd name="connsiteY508" fmla="*/ 469381 h 925149"/>
                  <a:gd name="connsiteX509" fmla="*/ 20083 w 586679"/>
                  <a:gd name="connsiteY509" fmla="*/ 470058 h 925149"/>
                  <a:gd name="connsiteX510" fmla="*/ 20083 w 586679"/>
                  <a:gd name="connsiteY510" fmla="*/ 471637 h 925149"/>
                  <a:gd name="connsiteX511" fmla="*/ 22565 w 586679"/>
                  <a:gd name="connsiteY511" fmla="*/ 480212 h 925149"/>
                  <a:gd name="connsiteX512" fmla="*/ 19631 w 586679"/>
                  <a:gd name="connsiteY512" fmla="*/ 483371 h 925149"/>
                  <a:gd name="connsiteX513" fmla="*/ 18503 w 586679"/>
                  <a:gd name="connsiteY513" fmla="*/ 484273 h 925149"/>
                  <a:gd name="connsiteX514" fmla="*/ 18729 w 586679"/>
                  <a:gd name="connsiteY514" fmla="*/ 484499 h 925149"/>
                  <a:gd name="connsiteX515" fmla="*/ 21436 w 586679"/>
                  <a:gd name="connsiteY515" fmla="*/ 486756 h 925149"/>
                  <a:gd name="connsiteX516" fmla="*/ 33396 w 586679"/>
                  <a:gd name="connsiteY516" fmla="*/ 499166 h 925149"/>
                  <a:gd name="connsiteX517" fmla="*/ 34524 w 586679"/>
                  <a:gd name="connsiteY517" fmla="*/ 505258 h 925149"/>
                  <a:gd name="connsiteX518" fmla="*/ 36329 w 586679"/>
                  <a:gd name="connsiteY518" fmla="*/ 514059 h 925149"/>
                  <a:gd name="connsiteX519" fmla="*/ 41068 w 586679"/>
                  <a:gd name="connsiteY519" fmla="*/ 517894 h 925149"/>
                  <a:gd name="connsiteX520" fmla="*/ 45581 w 586679"/>
                  <a:gd name="connsiteY520" fmla="*/ 520828 h 925149"/>
                  <a:gd name="connsiteX521" fmla="*/ 50319 w 586679"/>
                  <a:gd name="connsiteY521" fmla="*/ 531659 h 925149"/>
                  <a:gd name="connsiteX522" fmla="*/ 49868 w 586679"/>
                  <a:gd name="connsiteY522" fmla="*/ 533464 h 925149"/>
                  <a:gd name="connsiteX523" fmla="*/ 48514 w 586679"/>
                  <a:gd name="connsiteY523" fmla="*/ 544295 h 925149"/>
                  <a:gd name="connsiteX524" fmla="*/ 51899 w 586679"/>
                  <a:gd name="connsiteY524" fmla="*/ 560767 h 925149"/>
                  <a:gd name="connsiteX525" fmla="*/ 53253 w 586679"/>
                  <a:gd name="connsiteY525" fmla="*/ 571147 h 925149"/>
                  <a:gd name="connsiteX526" fmla="*/ 53704 w 586679"/>
                  <a:gd name="connsiteY526" fmla="*/ 572727 h 925149"/>
                  <a:gd name="connsiteX527" fmla="*/ 58442 w 586679"/>
                  <a:gd name="connsiteY527" fmla="*/ 584911 h 925149"/>
                  <a:gd name="connsiteX528" fmla="*/ 62955 w 586679"/>
                  <a:gd name="connsiteY528" fmla="*/ 596194 h 925149"/>
                  <a:gd name="connsiteX529" fmla="*/ 68596 w 586679"/>
                  <a:gd name="connsiteY529" fmla="*/ 606574 h 925149"/>
                  <a:gd name="connsiteX530" fmla="*/ 72884 w 586679"/>
                  <a:gd name="connsiteY530" fmla="*/ 616051 h 925149"/>
                  <a:gd name="connsiteX531" fmla="*/ 78299 w 586679"/>
                  <a:gd name="connsiteY531" fmla="*/ 638164 h 925149"/>
                  <a:gd name="connsiteX532" fmla="*/ 82361 w 586679"/>
                  <a:gd name="connsiteY532" fmla="*/ 655539 h 925149"/>
                  <a:gd name="connsiteX533" fmla="*/ 82586 w 586679"/>
                  <a:gd name="connsiteY533" fmla="*/ 662308 h 925149"/>
                  <a:gd name="connsiteX534" fmla="*/ 82361 w 586679"/>
                  <a:gd name="connsiteY534" fmla="*/ 676975 h 925149"/>
                  <a:gd name="connsiteX535" fmla="*/ 81684 w 586679"/>
                  <a:gd name="connsiteY535" fmla="*/ 686452 h 925149"/>
                  <a:gd name="connsiteX536" fmla="*/ 85294 w 586679"/>
                  <a:gd name="connsiteY536" fmla="*/ 702925 h 925149"/>
                  <a:gd name="connsiteX537" fmla="*/ 89130 w 586679"/>
                  <a:gd name="connsiteY537" fmla="*/ 719622 h 925149"/>
                  <a:gd name="connsiteX538" fmla="*/ 96577 w 586679"/>
                  <a:gd name="connsiteY538" fmla="*/ 747828 h 925149"/>
                  <a:gd name="connsiteX539" fmla="*/ 100864 w 586679"/>
                  <a:gd name="connsiteY539" fmla="*/ 761141 h 925149"/>
                  <a:gd name="connsiteX540" fmla="*/ 104248 w 586679"/>
                  <a:gd name="connsiteY540" fmla="*/ 772198 h 925149"/>
                  <a:gd name="connsiteX541" fmla="*/ 119141 w 586679"/>
                  <a:gd name="connsiteY541" fmla="*/ 777162 h 925149"/>
                  <a:gd name="connsiteX542" fmla="*/ 146670 w 586679"/>
                  <a:gd name="connsiteY542" fmla="*/ 788444 h 925149"/>
                  <a:gd name="connsiteX543" fmla="*/ 155019 w 586679"/>
                  <a:gd name="connsiteY543" fmla="*/ 794085 h 925149"/>
                  <a:gd name="connsiteX544" fmla="*/ 161111 w 586679"/>
                  <a:gd name="connsiteY544" fmla="*/ 801757 h 925149"/>
                  <a:gd name="connsiteX545" fmla="*/ 164496 w 586679"/>
                  <a:gd name="connsiteY545" fmla="*/ 806496 h 925149"/>
                  <a:gd name="connsiteX546" fmla="*/ 171040 w 586679"/>
                  <a:gd name="connsiteY546" fmla="*/ 817778 h 925149"/>
                  <a:gd name="connsiteX547" fmla="*/ 177583 w 586679"/>
                  <a:gd name="connsiteY547" fmla="*/ 835379 h 925149"/>
                  <a:gd name="connsiteX548" fmla="*/ 178486 w 586679"/>
                  <a:gd name="connsiteY548" fmla="*/ 836507 h 925149"/>
                  <a:gd name="connsiteX549" fmla="*/ 201051 w 586679"/>
                  <a:gd name="connsiteY549" fmla="*/ 856364 h 925149"/>
                  <a:gd name="connsiteX550" fmla="*/ 215041 w 586679"/>
                  <a:gd name="connsiteY550" fmla="*/ 867195 h 925149"/>
                  <a:gd name="connsiteX551" fmla="*/ 217749 w 586679"/>
                  <a:gd name="connsiteY551" fmla="*/ 870579 h 925149"/>
                  <a:gd name="connsiteX552" fmla="*/ 248662 w 586679"/>
                  <a:gd name="connsiteY552" fmla="*/ 886149 h 925149"/>
                  <a:gd name="connsiteX553" fmla="*/ 254078 w 586679"/>
                  <a:gd name="connsiteY553" fmla="*/ 887052 h 925149"/>
                  <a:gd name="connsiteX554" fmla="*/ 281606 w 586679"/>
                  <a:gd name="connsiteY554" fmla="*/ 900590 h 925149"/>
                  <a:gd name="connsiteX555" fmla="*/ 294920 w 586679"/>
                  <a:gd name="connsiteY555" fmla="*/ 913227 h 925149"/>
                  <a:gd name="connsiteX556" fmla="*/ 297176 w 586679"/>
                  <a:gd name="connsiteY556" fmla="*/ 914129 h 925149"/>
                  <a:gd name="connsiteX557" fmla="*/ 305751 w 586679"/>
                  <a:gd name="connsiteY557" fmla="*/ 921124 h 925149"/>
                  <a:gd name="connsiteX558" fmla="*/ 309587 w 586679"/>
                  <a:gd name="connsiteY558" fmla="*/ 924734 h 925149"/>
                  <a:gd name="connsiteX559" fmla="*/ 311392 w 586679"/>
                  <a:gd name="connsiteY559" fmla="*/ 924960 h 925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</a:cxnLst>
                <a:rect l="l" t="t" r="r" b="b"/>
                <a:pathLst>
                  <a:path w="586679" h="925149">
                    <a:moveTo>
                      <a:pt x="334859" y="937371"/>
                    </a:moveTo>
                    <a:cubicBezTo>
                      <a:pt x="324253" y="937371"/>
                      <a:pt x="322448" y="936468"/>
                      <a:pt x="321320" y="932632"/>
                    </a:cubicBezTo>
                    <a:cubicBezTo>
                      <a:pt x="321094" y="932181"/>
                      <a:pt x="321094" y="931730"/>
                      <a:pt x="320869" y="931278"/>
                    </a:cubicBezTo>
                    <a:cubicBezTo>
                      <a:pt x="319966" y="929248"/>
                      <a:pt x="310940" y="927893"/>
                      <a:pt x="308458" y="928796"/>
                    </a:cubicBezTo>
                    <a:cubicBezTo>
                      <a:pt x="305976" y="929699"/>
                      <a:pt x="303720" y="927217"/>
                      <a:pt x="300786" y="924283"/>
                    </a:cubicBezTo>
                    <a:cubicBezTo>
                      <a:pt x="298530" y="922027"/>
                      <a:pt x="296048" y="919319"/>
                      <a:pt x="293566" y="918191"/>
                    </a:cubicBezTo>
                    <a:cubicBezTo>
                      <a:pt x="292663" y="917965"/>
                      <a:pt x="291986" y="917514"/>
                      <a:pt x="291535" y="917288"/>
                    </a:cubicBezTo>
                    <a:cubicBezTo>
                      <a:pt x="287022" y="915483"/>
                      <a:pt x="285668" y="914806"/>
                      <a:pt x="276642" y="903524"/>
                    </a:cubicBezTo>
                    <a:cubicBezTo>
                      <a:pt x="268519" y="893595"/>
                      <a:pt x="259493" y="892467"/>
                      <a:pt x="251595" y="891339"/>
                    </a:cubicBezTo>
                    <a:cubicBezTo>
                      <a:pt x="249565" y="891113"/>
                      <a:pt x="247534" y="890887"/>
                      <a:pt x="245729" y="890436"/>
                    </a:cubicBezTo>
                    <a:cubicBezTo>
                      <a:pt x="236252" y="888405"/>
                      <a:pt x="219102" y="881185"/>
                      <a:pt x="212784" y="873513"/>
                    </a:cubicBezTo>
                    <a:cubicBezTo>
                      <a:pt x="211430" y="871933"/>
                      <a:pt x="210754" y="870805"/>
                      <a:pt x="209851" y="869903"/>
                    </a:cubicBezTo>
                    <a:cubicBezTo>
                      <a:pt x="207143" y="866518"/>
                      <a:pt x="207143" y="866518"/>
                      <a:pt x="196763" y="859974"/>
                    </a:cubicBezTo>
                    <a:cubicBezTo>
                      <a:pt x="183902" y="852077"/>
                      <a:pt x="179163" y="846436"/>
                      <a:pt x="173296" y="839215"/>
                    </a:cubicBezTo>
                    <a:lnTo>
                      <a:pt x="172394" y="838312"/>
                    </a:lnTo>
                    <a:cubicBezTo>
                      <a:pt x="165850" y="830415"/>
                      <a:pt x="165173" y="828158"/>
                      <a:pt x="165173" y="818230"/>
                    </a:cubicBezTo>
                    <a:cubicBezTo>
                      <a:pt x="165173" y="813942"/>
                      <a:pt x="162691" y="811911"/>
                      <a:pt x="159983" y="809881"/>
                    </a:cubicBezTo>
                    <a:cubicBezTo>
                      <a:pt x="157501" y="807850"/>
                      <a:pt x="154793" y="805593"/>
                      <a:pt x="155245" y="801757"/>
                    </a:cubicBezTo>
                    <a:cubicBezTo>
                      <a:pt x="155470" y="799727"/>
                      <a:pt x="154793" y="799275"/>
                      <a:pt x="151409" y="797696"/>
                    </a:cubicBezTo>
                    <a:cubicBezTo>
                      <a:pt x="148927" y="796568"/>
                      <a:pt x="145316" y="794988"/>
                      <a:pt x="141931" y="791152"/>
                    </a:cubicBezTo>
                    <a:cubicBezTo>
                      <a:pt x="135613" y="784157"/>
                      <a:pt x="130423" y="783029"/>
                      <a:pt x="116659" y="780998"/>
                    </a:cubicBezTo>
                    <a:cubicBezTo>
                      <a:pt x="113049" y="780547"/>
                      <a:pt x="107408" y="778742"/>
                      <a:pt x="99961" y="775357"/>
                    </a:cubicBezTo>
                    <a:lnTo>
                      <a:pt x="99059" y="774905"/>
                    </a:lnTo>
                    <a:lnTo>
                      <a:pt x="98833" y="774003"/>
                    </a:lnTo>
                    <a:cubicBezTo>
                      <a:pt x="97479" y="769716"/>
                      <a:pt x="96351" y="765654"/>
                      <a:pt x="95223" y="762044"/>
                    </a:cubicBezTo>
                    <a:cubicBezTo>
                      <a:pt x="94094" y="758433"/>
                      <a:pt x="92741" y="753695"/>
                      <a:pt x="91161" y="748956"/>
                    </a:cubicBezTo>
                    <a:cubicBezTo>
                      <a:pt x="87776" y="738351"/>
                      <a:pt x="83715" y="726617"/>
                      <a:pt x="83489" y="719848"/>
                    </a:cubicBezTo>
                    <a:cubicBezTo>
                      <a:pt x="83263" y="715561"/>
                      <a:pt x="81458" y="709694"/>
                      <a:pt x="79879" y="704053"/>
                    </a:cubicBezTo>
                    <a:cubicBezTo>
                      <a:pt x="78074" y="697734"/>
                      <a:pt x="76043" y="691191"/>
                      <a:pt x="76043" y="686452"/>
                    </a:cubicBezTo>
                    <a:cubicBezTo>
                      <a:pt x="76043" y="682616"/>
                      <a:pt x="76268" y="679683"/>
                      <a:pt x="76720" y="676750"/>
                    </a:cubicBezTo>
                    <a:cubicBezTo>
                      <a:pt x="77171" y="672462"/>
                      <a:pt x="77622" y="668400"/>
                      <a:pt x="76945" y="662759"/>
                    </a:cubicBezTo>
                    <a:cubicBezTo>
                      <a:pt x="76720" y="659826"/>
                      <a:pt x="76720" y="657570"/>
                      <a:pt x="76494" y="655539"/>
                    </a:cubicBezTo>
                    <a:cubicBezTo>
                      <a:pt x="76494" y="650575"/>
                      <a:pt x="76268" y="647190"/>
                      <a:pt x="72884" y="639744"/>
                    </a:cubicBezTo>
                    <a:cubicBezTo>
                      <a:pt x="67694" y="628912"/>
                      <a:pt x="67017" y="621240"/>
                      <a:pt x="67017" y="615825"/>
                    </a:cubicBezTo>
                    <a:cubicBezTo>
                      <a:pt x="67017" y="614020"/>
                      <a:pt x="65212" y="611312"/>
                      <a:pt x="63407" y="608379"/>
                    </a:cubicBezTo>
                    <a:cubicBezTo>
                      <a:pt x="61376" y="605445"/>
                      <a:pt x="58894" y="601609"/>
                      <a:pt x="57314" y="597097"/>
                    </a:cubicBezTo>
                    <a:cubicBezTo>
                      <a:pt x="55960" y="593261"/>
                      <a:pt x="54381" y="589650"/>
                      <a:pt x="52801" y="586040"/>
                    </a:cubicBezTo>
                    <a:cubicBezTo>
                      <a:pt x="50770" y="581527"/>
                      <a:pt x="48965" y="577240"/>
                      <a:pt x="47837" y="573404"/>
                    </a:cubicBezTo>
                    <a:lnTo>
                      <a:pt x="47386" y="571824"/>
                    </a:lnTo>
                    <a:cubicBezTo>
                      <a:pt x="45806" y="566634"/>
                      <a:pt x="45355" y="565055"/>
                      <a:pt x="46032" y="560091"/>
                    </a:cubicBezTo>
                    <a:cubicBezTo>
                      <a:pt x="46483" y="555126"/>
                      <a:pt x="44678" y="549711"/>
                      <a:pt x="42873" y="545423"/>
                    </a:cubicBezTo>
                    <a:cubicBezTo>
                      <a:pt x="41068" y="540911"/>
                      <a:pt x="43098" y="535044"/>
                      <a:pt x="44227" y="532110"/>
                    </a:cubicBezTo>
                    <a:cubicBezTo>
                      <a:pt x="44452" y="531433"/>
                      <a:pt x="44678" y="530982"/>
                      <a:pt x="44678" y="530757"/>
                    </a:cubicBezTo>
                    <a:cubicBezTo>
                      <a:pt x="44904" y="529854"/>
                      <a:pt x="44001" y="526244"/>
                      <a:pt x="41068" y="523762"/>
                    </a:cubicBezTo>
                    <a:cubicBezTo>
                      <a:pt x="39939" y="522859"/>
                      <a:pt x="38585" y="522182"/>
                      <a:pt x="37232" y="521279"/>
                    </a:cubicBezTo>
                    <a:cubicBezTo>
                      <a:pt x="34524" y="519926"/>
                      <a:pt x="31816" y="518346"/>
                      <a:pt x="30688" y="515412"/>
                    </a:cubicBezTo>
                    <a:cubicBezTo>
                      <a:pt x="29785" y="512930"/>
                      <a:pt x="29334" y="509320"/>
                      <a:pt x="28883" y="505935"/>
                    </a:cubicBezTo>
                    <a:cubicBezTo>
                      <a:pt x="28657" y="503679"/>
                      <a:pt x="28206" y="501648"/>
                      <a:pt x="27980" y="500294"/>
                    </a:cubicBezTo>
                    <a:cubicBezTo>
                      <a:pt x="27303" y="498038"/>
                      <a:pt x="20534" y="492622"/>
                      <a:pt x="17375" y="489915"/>
                    </a:cubicBezTo>
                    <a:cubicBezTo>
                      <a:pt x="16247" y="489012"/>
                      <a:pt x="15344" y="488335"/>
                      <a:pt x="14667" y="487658"/>
                    </a:cubicBezTo>
                    <a:cubicBezTo>
                      <a:pt x="13539" y="486530"/>
                      <a:pt x="12862" y="485627"/>
                      <a:pt x="12862" y="484499"/>
                    </a:cubicBezTo>
                    <a:cubicBezTo>
                      <a:pt x="12862" y="482694"/>
                      <a:pt x="14216" y="481565"/>
                      <a:pt x="15570" y="480663"/>
                    </a:cubicBezTo>
                    <a:cubicBezTo>
                      <a:pt x="16247" y="479986"/>
                      <a:pt x="17149" y="479535"/>
                      <a:pt x="17375" y="478858"/>
                    </a:cubicBezTo>
                    <a:cubicBezTo>
                      <a:pt x="17375" y="478632"/>
                      <a:pt x="17149" y="477053"/>
                      <a:pt x="14893" y="473668"/>
                    </a:cubicBezTo>
                    <a:lnTo>
                      <a:pt x="14441" y="473217"/>
                    </a:lnTo>
                    <a:lnTo>
                      <a:pt x="14441" y="472540"/>
                    </a:lnTo>
                    <a:cubicBezTo>
                      <a:pt x="14441" y="471863"/>
                      <a:pt x="14441" y="471186"/>
                      <a:pt x="14441" y="470735"/>
                    </a:cubicBezTo>
                    <a:cubicBezTo>
                      <a:pt x="14441" y="469381"/>
                      <a:pt x="14441" y="468252"/>
                      <a:pt x="15344" y="467350"/>
                    </a:cubicBezTo>
                    <a:cubicBezTo>
                      <a:pt x="16021" y="466673"/>
                      <a:pt x="17149" y="466222"/>
                      <a:pt x="18729" y="465545"/>
                    </a:cubicBezTo>
                    <a:cubicBezTo>
                      <a:pt x="21662" y="464416"/>
                      <a:pt x="26175" y="462611"/>
                      <a:pt x="26175" y="459678"/>
                    </a:cubicBezTo>
                    <a:cubicBezTo>
                      <a:pt x="26175" y="458098"/>
                      <a:pt x="25949" y="456519"/>
                      <a:pt x="25949" y="454939"/>
                    </a:cubicBezTo>
                    <a:cubicBezTo>
                      <a:pt x="25724" y="451103"/>
                      <a:pt x="25272" y="447268"/>
                      <a:pt x="26852" y="442754"/>
                    </a:cubicBezTo>
                    <a:cubicBezTo>
                      <a:pt x="27529" y="440498"/>
                      <a:pt x="27303" y="436662"/>
                      <a:pt x="27078" y="433052"/>
                    </a:cubicBezTo>
                    <a:cubicBezTo>
                      <a:pt x="26626" y="427185"/>
                      <a:pt x="26175" y="420867"/>
                      <a:pt x="29108" y="417482"/>
                    </a:cubicBezTo>
                    <a:cubicBezTo>
                      <a:pt x="31139" y="415226"/>
                      <a:pt x="31139" y="415226"/>
                      <a:pt x="31365" y="415000"/>
                    </a:cubicBezTo>
                    <a:cubicBezTo>
                      <a:pt x="31590" y="414549"/>
                      <a:pt x="32042" y="413872"/>
                      <a:pt x="35201" y="410036"/>
                    </a:cubicBezTo>
                    <a:cubicBezTo>
                      <a:pt x="37457" y="407103"/>
                      <a:pt x="36780" y="405974"/>
                      <a:pt x="33847" y="402589"/>
                    </a:cubicBezTo>
                    <a:cubicBezTo>
                      <a:pt x="31590" y="399882"/>
                      <a:pt x="28657" y="396271"/>
                      <a:pt x="27303" y="390630"/>
                    </a:cubicBezTo>
                    <a:cubicBezTo>
                      <a:pt x="25724" y="383635"/>
                      <a:pt x="26626" y="381153"/>
                      <a:pt x="27529" y="378897"/>
                    </a:cubicBezTo>
                    <a:cubicBezTo>
                      <a:pt x="28206" y="377092"/>
                      <a:pt x="28657" y="375738"/>
                      <a:pt x="27754" y="371225"/>
                    </a:cubicBezTo>
                    <a:cubicBezTo>
                      <a:pt x="27303" y="369194"/>
                      <a:pt x="26626" y="367840"/>
                      <a:pt x="25724" y="367163"/>
                    </a:cubicBezTo>
                    <a:cubicBezTo>
                      <a:pt x="24595" y="366486"/>
                      <a:pt x="22339" y="366938"/>
                      <a:pt x="19406" y="367614"/>
                    </a:cubicBezTo>
                    <a:cubicBezTo>
                      <a:pt x="16923" y="368291"/>
                      <a:pt x="13764" y="368968"/>
                      <a:pt x="10380" y="368968"/>
                    </a:cubicBezTo>
                    <a:cubicBezTo>
                      <a:pt x="5867" y="368968"/>
                      <a:pt x="4062" y="368742"/>
                      <a:pt x="2933" y="368291"/>
                    </a:cubicBezTo>
                    <a:lnTo>
                      <a:pt x="0" y="367614"/>
                    </a:lnTo>
                    <a:lnTo>
                      <a:pt x="2031" y="365358"/>
                    </a:lnTo>
                    <a:cubicBezTo>
                      <a:pt x="3610" y="363553"/>
                      <a:pt x="6092" y="361747"/>
                      <a:pt x="8575" y="360168"/>
                    </a:cubicBezTo>
                    <a:cubicBezTo>
                      <a:pt x="11282" y="358363"/>
                      <a:pt x="13990" y="356332"/>
                      <a:pt x="15570" y="354301"/>
                    </a:cubicBezTo>
                    <a:cubicBezTo>
                      <a:pt x="18052" y="351142"/>
                      <a:pt x="22565" y="351142"/>
                      <a:pt x="27980" y="351142"/>
                    </a:cubicBezTo>
                    <a:cubicBezTo>
                      <a:pt x="31590" y="351142"/>
                      <a:pt x="35426" y="351142"/>
                      <a:pt x="38811" y="350240"/>
                    </a:cubicBezTo>
                    <a:cubicBezTo>
                      <a:pt x="44904" y="348434"/>
                      <a:pt x="45806" y="344598"/>
                      <a:pt x="47160" y="335121"/>
                    </a:cubicBezTo>
                    <a:cubicBezTo>
                      <a:pt x="47386" y="333993"/>
                      <a:pt x="47611" y="332865"/>
                      <a:pt x="47837" y="331511"/>
                    </a:cubicBezTo>
                    <a:cubicBezTo>
                      <a:pt x="48514" y="326998"/>
                      <a:pt x="50545" y="321808"/>
                      <a:pt x="52801" y="316393"/>
                    </a:cubicBezTo>
                    <a:cubicBezTo>
                      <a:pt x="55960" y="308044"/>
                      <a:pt x="59796" y="298567"/>
                      <a:pt x="58217" y="292474"/>
                    </a:cubicBezTo>
                    <a:cubicBezTo>
                      <a:pt x="56637" y="286382"/>
                      <a:pt x="53478" y="285931"/>
                      <a:pt x="49416" y="285028"/>
                    </a:cubicBezTo>
                    <a:cubicBezTo>
                      <a:pt x="47160" y="284577"/>
                      <a:pt x="44904" y="284125"/>
                      <a:pt x="42873" y="282771"/>
                    </a:cubicBezTo>
                    <a:cubicBezTo>
                      <a:pt x="38360" y="280064"/>
                      <a:pt x="39939" y="276905"/>
                      <a:pt x="41293" y="273971"/>
                    </a:cubicBezTo>
                    <a:cubicBezTo>
                      <a:pt x="42422" y="271489"/>
                      <a:pt x="44001" y="268330"/>
                      <a:pt x="43775" y="263591"/>
                    </a:cubicBezTo>
                    <a:cubicBezTo>
                      <a:pt x="43550" y="254791"/>
                      <a:pt x="46032" y="248022"/>
                      <a:pt x="48740" y="245314"/>
                    </a:cubicBezTo>
                    <a:cubicBezTo>
                      <a:pt x="49416" y="244637"/>
                      <a:pt x="50093" y="244186"/>
                      <a:pt x="50996" y="243960"/>
                    </a:cubicBezTo>
                    <a:cubicBezTo>
                      <a:pt x="51222" y="243735"/>
                      <a:pt x="51447" y="243058"/>
                      <a:pt x="51899" y="242606"/>
                    </a:cubicBezTo>
                    <a:cubicBezTo>
                      <a:pt x="53704" y="239222"/>
                      <a:pt x="57088" y="232678"/>
                      <a:pt x="66340" y="230873"/>
                    </a:cubicBezTo>
                    <a:cubicBezTo>
                      <a:pt x="75140" y="229068"/>
                      <a:pt x="80781" y="234032"/>
                      <a:pt x="83489" y="238319"/>
                    </a:cubicBezTo>
                    <a:cubicBezTo>
                      <a:pt x="86423" y="235160"/>
                      <a:pt x="91838" y="229293"/>
                      <a:pt x="94094" y="226585"/>
                    </a:cubicBezTo>
                    <a:cubicBezTo>
                      <a:pt x="94546" y="225909"/>
                      <a:pt x="94997" y="225232"/>
                      <a:pt x="95674" y="224780"/>
                    </a:cubicBezTo>
                    <a:cubicBezTo>
                      <a:pt x="98156" y="221396"/>
                      <a:pt x="101541" y="217108"/>
                      <a:pt x="108536" y="215980"/>
                    </a:cubicBezTo>
                    <a:cubicBezTo>
                      <a:pt x="116208" y="214626"/>
                      <a:pt x="123880" y="209662"/>
                      <a:pt x="126588" y="204472"/>
                    </a:cubicBezTo>
                    <a:cubicBezTo>
                      <a:pt x="129747" y="197928"/>
                      <a:pt x="136516" y="192287"/>
                      <a:pt x="141706" y="191610"/>
                    </a:cubicBezTo>
                    <a:cubicBezTo>
                      <a:pt x="144639" y="191159"/>
                      <a:pt x="146896" y="193641"/>
                      <a:pt x="149829" y="196349"/>
                    </a:cubicBezTo>
                    <a:cubicBezTo>
                      <a:pt x="152762" y="199282"/>
                      <a:pt x="156373" y="202893"/>
                      <a:pt x="161337" y="204247"/>
                    </a:cubicBezTo>
                    <a:cubicBezTo>
                      <a:pt x="168106" y="206052"/>
                      <a:pt x="175101" y="202667"/>
                      <a:pt x="182096" y="194769"/>
                    </a:cubicBezTo>
                    <a:cubicBezTo>
                      <a:pt x="185255" y="191159"/>
                      <a:pt x="188866" y="192513"/>
                      <a:pt x="192251" y="193867"/>
                    </a:cubicBezTo>
                    <a:cubicBezTo>
                      <a:pt x="194958" y="194995"/>
                      <a:pt x="197892" y="196123"/>
                      <a:pt x="201502" y="195446"/>
                    </a:cubicBezTo>
                    <a:cubicBezTo>
                      <a:pt x="203758" y="194995"/>
                      <a:pt x="205789" y="194769"/>
                      <a:pt x="208046" y="194318"/>
                    </a:cubicBezTo>
                    <a:cubicBezTo>
                      <a:pt x="214590" y="193415"/>
                      <a:pt x="218651" y="192739"/>
                      <a:pt x="218877" y="189580"/>
                    </a:cubicBezTo>
                    <a:cubicBezTo>
                      <a:pt x="219102" y="187097"/>
                      <a:pt x="219779" y="184841"/>
                      <a:pt x="220456" y="182359"/>
                    </a:cubicBezTo>
                    <a:cubicBezTo>
                      <a:pt x="221585" y="178749"/>
                      <a:pt x="222713" y="174687"/>
                      <a:pt x="222713" y="168369"/>
                    </a:cubicBezTo>
                    <a:cubicBezTo>
                      <a:pt x="222713" y="164533"/>
                      <a:pt x="220456" y="160246"/>
                      <a:pt x="218425" y="155958"/>
                    </a:cubicBezTo>
                    <a:cubicBezTo>
                      <a:pt x="215041" y="149189"/>
                      <a:pt x="211430" y="142194"/>
                      <a:pt x="216846" y="136327"/>
                    </a:cubicBezTo>
                    <a:cubicBezTo>
                      <a:pt x="222938" y="129558"/>
                      <a:pt x="233544" y="129783"/>
                      <a:pt x="247308" y="136553"/>
                    </a:cubicBezTo>
                    <a:cubicBezTo>
                      <a:pt x="252498" y="139261"/>
                      <a:pt x="260170" y="138809"/>
                      <a:pt x="267391" y="138358"/>
                    </a:cubicBezTo>
                    <a:cubicBezTo>
                      <a:pt x="269873" y="138132"/>
                      <a:pt x="272355" y="138132"/>
                      <a:pt x="274611" y="138132"/>
                    </a:cubicBezTo>
                    <a:cubicBezTo>
                      <a:pt x="283637" y="138132"/>
                      <a:pt x="302140" y="138132"/>
                      <a:pt x="309135" y="132942"/>
                    </a:cubicBezTo>
                    <a:cubicBezTo>
                      <a:pt x="311843" y="130912"/>
                      <a:pt x="312069" y="128655"/>
                      <a:pt x="312520" y="126173"/>
                    </a:cubicBezTo>
                    <a:cubicBezTo>
                      <a:pt x="312971" y="122563"/>
                      <a:pt x="313648" y="118275"/>
                      <a:pt x="321094" y="115793"/>
                    </a:cubicBezTo>
                    <a:cubicBezTo>
                      <a:pt x="324705" y="114665"/>
                      <a:pt x="327864" y="114439"/>
                      <a:pt x="330572" y="114439"/>
                    </a:cubicBezTo>
                    <a:cubicBezTo>
                      <a:pt x="336664" y="114214"/>
                      <a:pt x="339372" y="113988"/>
                      <a:pt x="340500" y="102480"/>
                    </a:cubicBezTo>
                    <a:cubicBezTo>
                      <a:pt x="341628" y="91423"/>
                      <a:pt x="346141" y="89618"/>
                      <a:pt x="351105" y="87362"/>
                    </a:cubicBezTo>
                    <a:cubicBezTo>
                      <a:pt x="355393" y="85557"/>
                      <a:pt x="360131" y="83526"/>
                      <a:pt x="365095" y="75403"/>
                    </a:cubicBezTo>
                    <a:cubicBezTo>
                      <a:pt x="372542" y="62992"/>
                      <a:pt x="377732" y="61413"/>
                      <a:pt x="384050" y="59607"/>
                    </a:cubicBezTo>
                    <a:cubicBezTo>
                      <a:pt x="387434" y="58479"/>
                      <a:pt x="391045" y="57577"/>
                      <a:pt x="395783" y="54192"/>
                    </a:cubicBezTo>
                    <a:cubicBezTo>
                      <a:pt x="409096" y="44715"/>
                      <a:pt x="416543" y="34335"/>
                      <a:pt x="418348" y="28243"/>
                    </a:cubicBezTo>
                    <a:lnTo>
                      <a:pt x="418799" y="26663"/>
                    </a:lnTo>
                    <a:cubicBezTo>
                      <a:pt x="420604" y="19668"/>
                      <a:pt x="423538" y="7935"/>
                      <a:pt x="440236" y="1842"/>
                    </a:cubicBezTo>
                    <a:cubicBezTo>
                      <a:pt x="451518" y="-2445"/>
                      <a:pt x="454226" y="1391"/>
                      <a:pt x="456482" y="6806"/>
                    </a:cubicBezTo>
                    <a:cubicBezTo>
                      <a:pt x="457385" y="9288"/>
                      <a:pt x="458513" y="11319"/>
                      <a:pt x="460995" y="12447"/>
                    </a:cubicBezTo>
                    <a:cubicBezTo>
                      <a:pt x="464605" y="14027"/>
                      <a:pt x="465508" y="13801"/>
                      <a:pt x="466185" y="13350"/>
                    </a:cubicBezTo>
                    <a:lnTo>
                      <a:pt x="467539" y="12673"/>
                    </a:lnTo>
                    <a:lnTo>
                      <a:pt x="468667" y="13801"/>
                    </a:lnTo>
                    <a:cubicBezTo>
                      <a:pt x="470923" y="16283"/>
                      <a:pt x="473857" y="17637"/>
                      <a:pt x="476113" y="18540"/>
                    </a:cubicBezTo>
                    <a:cubicBezTo>
                      <a:pt x="478370" y="19442"/>
                      <a:pt x="480401" y="20345"/>
                      <a:pt x="481078" y="22376"/>
                    </a:cubicBezTo>
                    <a:cubicBezTo>
                      <a:pt x="481529" y="23504"/>
                      <a:pt x="481303" y="24858"/>
                      <a:pt x="480626" y="26212"/>
                    </a:cubicBezTo>
                    <a:cubicBezTo>
                      <a:pt x="479498" y="28468"/>
                      <a:pt x="480401" y="31402"/>
                      <a:pt x="481529" y="34335"/>
                    </a:cubicBezTo>
                    <a:cubicBezTo>
                      <a:pt x="482883" y="37720"/>
                      <a:pt x="484237" y="41781"/>
                      <a:pt x="481755" y="45166"/>
                    </a:cubicBezTo>
                    <a:cubicBezTo>
                      <a:pt x="480852" y="46520"/>
                      <a:pt x="479724" y="47648"/>
                      <a:pt x="478821" y="48776"/>
                    </a:cubicBezTo>
                    <a:cubicBezTo>
                      <a:pt x="476565" y="51710"/>
                      <a:pt x="475211" y="53289"/>
                      <a:pt x="475888" y="54643"/>
                    </a:cubicBezTo>
                    <a:cubicBezTo>
                      <a:pt x="476339" y="55546"/>
                      <a:pt x="478370" y="55997"/>
                      <a:pt x="480175" y="56448"/>
                    </a:cubicBezTo>
                    <a:cubicBezTo>
                      <a:pt x="482657" y="57125"/>
                      <a:pt x="485139" y="57577"/>
                      <a:pt x="486493" y="59607"/>
                    </a:cubicBezTo>
                    <a:cubicBezTo>
                      <a:pt x="489652" y="64346"/>
                      <a:pt x="482883" y="71341"/>
                      <a:pt x="481529" y="72695"/>
                    </a:cubicBezTo>
                    <a:cubicBezTo>
                      <a:pt x="477467" y="76756"/>
                      <a:pt x="472277" y="84203"/>
                      <a:pt x="472954" y="86685"/>
                    </a:cubicBezTo>
                    <a:cubicBezTo>
                      <a:pt x="473857" y="89167"/>
                      <a:pt x="474760" y="92777"/>
                      <a:pt x="472954" y="95485"/>
                    </a:cubicBezTo>
                    <a:cubicBezTo>
                      <a:pt x="471826" y="97290"/>
                      <a:pt x="469795" y="98418"/>
                      <a:pt x="466862" y="98870"/>
                    </a:cubicBezTo>
                    <a:cubicBezTo>
                      <a:pt x="463252" y="99321"/>
                      <a:pt x="463026" y="100675"/>
                      <a:pt x="463252" y="106993"/>
                    </a:cubicBezTo>
                    <a:cubicBezTo>
                      <a:pt x="463252" y="108121"/>
                      <a:pt x="463252" y="109024"/>
                      <a:pt x="463252" y="110152"/>
                    </a:cubicBezTo>
                    <a:cubicBezTo>
                      <a:pt x="463252" y="112409"/>
                      <a:pt x="464154" y="114439"/>
                      <a:pt x="465959" y="116019"/>
                    </a:cubicBezTo>
                    <a:cubicBezTo>
                      <a:pt x="468441" y="118275"/>
                      <a:pt x="472277" y="119178"/>
                      <a:pt x="476339" y="118727"/>
                    </a:cubicBezTo>
                    <a:cubicBezTo>
                      <a:pt x="479724" y="118275"/>
                      <a:pt x="482657" y="119404"/>
                      <a:pt x="484462" y="122111"/>
                    </a:cubicBezTo>
                    <a:cubicBezTo>
                      <a:pt x="486267" y="124593"/>
                      <a:pt x="486267" y="127978"/>
                      <a:pt x="485591" y="129558"/>
                    </a:cubicBezTo>
                    <a:cubicBezTo>
                      <a:pt x="485139" y="130460"/>
                      <a:pt x="484462" y="130912"/>
                      <a:pt x="483560" y="130912"/>
                    </a:cubicBezTo>
                    <a:cubicBezTo>
                      <a:pt x="482883" y="131363"/>
                      <a:pt x="481078" y="133168"/>
                      <a:pt x="479724" y="134522"/>
                    </a:cubicBezTo>
                    <a:cubicBezTo>
                      <a:pt x="476565" y="137907"/>
                      <a:pt x="472503" y="141968"/>
                      <a:pt x="468667" y="143773"/>
                    </a:cubicBezTo>
                    <a:cubicBezTo>
                      <a:pt x="466411" y="144902"/>
                      <a:pt x="464605" y="148286"/>
                      <a:pt x="463252" y="151671"/>
                    </a:cubicBezTo>
                    <a:cubicBezTo>
                      <a:pt x="461446" y="155733"/>
                      <a:pt x="459416" y="159794"/>
                      <a:pt x="455580" y="160471"/>
                    </a:cubicBezTo>
                    <a:cubicBezTo>
                      <a:pt x="454903" y="160471"/>
                      <a:pt x="454226" y="160923"/>
                      <a:pt x="453774" y="162276"/>
                    </a:cubicBezTo>
                    <a:cubicBezTo>
                      <a:pt x="452872" y="165210"/>
                      <a:pt x="454000" y="170174"/>
                      <a:pt x="456257" y="172205"/>
                    </a:cubicBezTo>
                    <a:cubicBezTo>
                      <a:pt x="459416" y="175364"/>
                      <a:pt x="459641" y="177169"/>
                      <a:pt x="460318" y="180779"/>
                    </a:cubicBezTo>
                    <a:cubicBezTo>
                      <a:pt x="460544" y="182133"/>
                      <a:pt x="460769" y="183713"/>
                      <a:pt x="461446" y="185744"/>
                    </a:cubicBezTo>
                    <a:cubicBezTo>
                      <a:pt x="463477" y="193415"/>
                      <a:pt x="462575" y="197703"/>
                      <a:pt x="460318" y="207631"/>
                    </a:cubicBezTo>
                    <a:lnTo>
                      <a:pt x="460092" y="208759"/>
                    </a:lnTo>
                    <a:cubicBezTo>
                      <a:pt x="458739" y="215529"/>
                      <a:pt x="460092" y="223878"/>
                      <a:pt x="461672" y="232678"/>
                    </a:cubicBezTo>
                    <a:cubicBezTo>
                      <a:pt x="462575" y="237642"/>
                      <a:pt x="463477" y="242832"/>
                      <a:pt x="463929" y="248022"/>
                    </a:cubicBezTo>
                    <a:cubicBezTo>
                      <a:pt x="464380" y="253437"/>
                      <a:pt x="465508" y="256822"/>
                      <a:pt x="466411" y="259079"/>
                    </a:cubicBezTo>
                    <a:cubicBezTo>
                      <a:pt x="467990" y="263817"/>
                      <a:pt x="468216" y="266074"/>
                      <a:pt x="462123" y="269909"/>
                    </a:cubicBezTo>
                    <a:cubicBezTo>
                      <a:pt x="458062" y="272617"/>
                      <a:pt x="455580" y="275776"/>
                      <a:pt x="455580" y="278033"/>
                    </a:cubicBezTo>
                    <a:cubicBezTo>
                      <a:pt x="455580" y="278935"/>
                      <a:pt x="456031" y="279838"/>
                      <a:pt x="456933" y="280289"/>
                    </a:cubicBezTo>
                    <a:cubicBezTo>
                      <a:pt x="458287" y="280966"/>
                      <a:pt x="460544" y="281643"/>
                      <a:pt x="463252" y="282094"/>
                    </a:cubicBezTo>
                    <a:cubicBezTo>
                      <a:pt x="467539" y="282997"/>
                      <a:pt x="472729" y="283900"/>
                      <a:pt x="477467" y="286833"/>
                    </a:cubicBezTo>
                    <a:cubicBezTo>
                      <a:pt x="479724" y="288187"/>
                      <a:pt x="481078" y="289992"/>
                      <a:pt x="481303" y="291797"/>
                    </a:cubicBezTo>
                    <a:cubicBezTo>
                      <a:pt x="481755" y="295408"/>
                      <a:pt x="478144" y="298792"/>
                      <a:pt x="472729" y="303756"/>
                    </a:cubicBezTo>
                    <a:cubicBezTo>
                      <a:pt x="470923" y="305562"/>
                      <a:pt x="468893" y="307367"/>
                      <a:pt x="466636" y="309623"/>
                    </a:cubicBezTo>
                    <a:cubicBezTo>
                      <a:pt x="460318" y="315941"/>
                      <a:pt x="463477" y="325193"/>
                      <a:pt x="465508" y="331285"/>
                    </a:cubicBezTo>
                    <a:cubicBezTo>
                      <a:pt x="466636" y="334670"/>
                      <a:pt x="467539" y="336927"/>
                      <a:pt x="465959" y="338280"/>
                    </a:cubicBezTo>
                    <a:cubicBezTo>
                      <a:pt x="464154" y="340086"/>
                      <a:pt x="458062" y="340086"/>
                      <a:pt x="439559" y="338280"/>
                    </a:cubicBezTo>
                    <a:lnTo>
                      <a:pt x="436174" y="338055"/>
                    </a:lnTo>
                    <a:cubicBezTo>
                      <a:pt x="429856" y="337378"/>
                      <a:pt x="419476" y="336475"/>
                      <a:pt x="415415" y="338506"/>
                    </a:cubicBezTo>
                    <a:cubicBezTo>
                      <a:pt x="411353" y="340537"/>
                      <a:pt x="406389" y="354076"/>
                      <a:pt x="406389" y="363101"/>
                    </a:cubicBezTo>
                    <a:cubicBezTo>
                      <a:pt x="406389" y="366938"/>
                      <a:pt x="407517" y="371225"/>
                      <a:pt x="408420" y="374609"/>
                    </a:cubicBezTo>
                    <a:cubicBezTo>
                      <a:pt x="409548" y="378897"/>
                      <a:pt x="410225" y="381830"/>
                      <a:pt x="409096" y="383635"/>
                    </a:cubicBezTo>
                    <a:cubicBezTo>
                      <a:pt x="408645" y="384312"/>
                      <a:pt x="407743" y="384989"/>
                      <a:pt x="406840" y="384989"/>
                    </a:cubicBezTo>
                    <a:cubicBezTo>
                      <a:pt x="406389" y="384989"/>
                      <a:pt x="403230" y="386117"/>
                      <a:pt x="397588" y="398979"/>
                    </a:cubicBezTo>
                    <a:cubicBezTo>
                      <a:pt x="395558" y="403492"/>
                      <a:pt x="400071" y="411164"/>
                      <a:pt x="408645" y="422898"/>
                    </a:cubicBezTo>
                    <a:cubicBezTo>
                      <a:pt x="418122" y="435759"/>
                      <a:pt x="417671" y="446816"/>
                      <a:pt x="416543" y="453811"/>
                    </a:cubicBezTo>
                    <a:cubicBezTo>
                      <a:pt x="415640" y="459678"/>
                      <a:pt x="408194" y="465545"/>
                      <a:pt x="402101" y="467124"/>
                    </a:cubicBezTo>
                    <a:cubicBezTo>
                      <a:pt x="397814" y="468252"/>
                      <a:pt x="395783" y="466899"/>
                      <a:pt x="395106" y="465996"/>
                    </a:cubicBezTo>
                    <a:cubicBezTo>
                      <a:pt x="394429" y="465093"/>
                      <a:pt x="393978" y="465093"/>
                      <a:pt x="391722" y="465770"/>
                    </a:cubicBezTo>
                    <a:cubicBezTo>
                      <a:pt x="389691" y="466447"/>
                      <a:pt x="387209" y="467350"/>
                      <a:pt x="384275" y="465770"/>
                    </a:cubicBezTo>
                    <a:cubicBezTo>
                      <a:pt x="381342" y="463965"/>
                      <a:pt x="372767" y="462611"/>
                      <a:pt x="369157" y="463965"/>
                    </a:cubicBezTo>
                    <a:cubicBezTo>
                      <a:pt x="368932" y="464191"/>
                      <a:pt x="368255" y="464416"/>
                      <a:pt x="368255" y="464642"/>
                    </a:cubicBezTo>
                    <a:cubicBezTo>
                      <a:pt x="367803" y="466447"/>
                      <a:pt x="369383" y="468929"/>
                      <a:pt x="370962" y="471186"/>
                    </a:cubicBezTo>
                    <a:cubicBezTo>
                      <a:pt x="372316" y="473217"/>
                      <a:pt x="373670" y="475022"/>
                      <a:pt x="373896" y="477053"/>
                    </a:cubicBezTo>
                    <a:cubicBezTo>
                      <a:pt x="373896" y="477730"/>
                      <a:pt x="374347" y="478632"/>
                      <a:pt x="374573" y="479535"/>
                    </a:cubicBezTo>
                    <a:cubicBezTo>
                      <a:pt x="375926" y="484724"/>
                      <a:pt x="379086" y="495330"/>
                      <a:pt x="370060" y="497812"/>
                    </a:cubicBezTo>
                    <a:cubicBezTo>
                      <a:pt x="363516" y="499617"/>
                      <a:pt x="363742" y="509997"/>
                      <a:pt x="363967" y="516767"/>
                    </a:cubicBezTo>
                    <a:cubicBezTo>
                      <a:pt x="363967" y="517669"/>
                      <a:pt x="363967" y="518346"/>
                      <a:pt x="363967" y="519249"/>
                    </a:cubicBezTo>
                    <a:cubicBezTo>
                      <a:pt x="363967" y="525341"/>
                      <a:pt x="370511" y="535269"/>
                      <a:pt x="374573" y="536849"/>
                    </a:cubicBezTo>
                    <a:cubicBezTo>
                      <a:pt x="379988" y="538880"/>
                      <a:pt x="384050" y="544070"/>
                      <a:pt x="384275" y="544295"/>
                    </a:cubicBezTo>
                    <a:lnTo>
                      <a:pt x="385404" y="545649"/>
                    </a:lnTo>
                    <a:lnTo>
                      <a:pt x="384050" y="546777"/>
                    </a:lnTo>
                    <a:cubicBezTo>
                      <a:pt x="384050" y="546777"/>
                      <a:pt x="380214" y="550162"/>
                      <a:pt x="380214" y="554224"/>
                    </a:cubicBezTo>
                    <a:cubicBezTo>
                      <a:pt x="380214" y="558059"/>
                      <a:pt x="387434" y="566860"/>
                      <a:pt x="395332" y="566860"/>
                    </a:cubicBezTo>
                    <a:cubicBezTo>
                      <a:pt x="403455" y="566860"/>
                      <a:pt x="406163" y="564603"/>
                      <a:pt x="409773" y="561219"/>
                    </a:cubicBezTo>
                    <a:cubicBezTo>
                      <a:pt x="414286" y="556706"/>
                      <a:pt x="424892" y="562573"/>
                      <a:pt x="430984" y="566634"/>
                    </a:cubicBezTo>
                    <a:cubicBezTo>
                      <a:pt x="433692" y="568439"/>
                      <a:pt x="437754" y="568214"/>
                      <a:pt x="444072" y="568214"/>
                    </a:cubicBezTo>
                    <a:cubicBezTo>
                      <a:pt x="445426" y="568214"/>
                      <a:pt x="447005" y="568214"/>
                      <a:pt x="448810" y="568214"/>
                    </a:cubicBezTo>
                    <a:cubicBezTo>
                      <a:pt x="452421" y="568214"/>
                      <a:pt x="454903" y="570245"/>
                      <a:pt x="455580" y="573404"/>
                    </a:cubicBezTo>
                    <a:cubicBezTo>
                      <a:pt x="456257" y="578593"/>
                      <a:pt x="451744" y="586717"/>
                      <a:pt x="444974" y="588747"/>
                    </a:cubicBezTo>
                    <a:cubicBezTo>
                      <a:pt x="442718" y="589424"/>
                      <a:pt x="442492" y="591681"/>
                      <a:pt x="442943" y="596645"/>
                    </a:cubicBezTo>
                    <a:cubicBezTo>
                      <a:pt x="443169" y="599579"/>
                      <a:pt x="443395" y="602512"/>
                      <a:pt x="441815" y="604091"/>
                    </a:cubicBezTo>
                    <a:cubicBezTo>
                      <a:pt x="440913" y="604994"/>
                      <a:pt x="439559" y="605220"/>
                      <a:pt x="437754" y="604994"/>
                    </a:cubicBezTo>
                    <a:cubicBezTo>
                      <a:pt x="433918" y="604317"/>
                      <a:pt x="431661" y="604317"/>
                      <a:pt x="428276" y="604317"/>
                    </a:cubicBezTo>
                    <a:cubicBezTo>
                      <a:pt x="425343" y="604317"/>
                      <a:pt x="421958" y="604543"/>
                      <a:pt x="416317" y="604091"/>
                    </a:cubicBezTo>
                    <a:cubicBezTo>
                      <a:pt x="407066" y="603415"/>
                      <a:pt x="404809" y="601384"/>
                      <a:pt x="402101" y="598450"/>
                    </a:cubicBezTo>
                    <a:cubicBezTo>
                      <a:pt x="401650" y="597773"/>
                      <a:pt x="400973" y="597322"/>
                      <a:pt x="400296" y="596645"/>
                    </a:cubicBezTo>
                    <a:cubicBezTo>
                      <a:pt x="398942" y="595517"/>
                      <a:pt x="397588" y="593712"/>
                      <a:pt x="395783" y="591455"/>
                    </a:cubicBezTo>
                    <a:cubicBezTo>
                      <a:pt x="393301" y="588522"/>
                      <a:pt x="388337" y="582429"/>
                      <a:pt x="386532" y="582881"/>
                    </a:cubicBezTo>
                    <a:cubicBezTo>
                      <a:pt x="386306" y="582881"/>
                      <a:pt x="385855" y="583332"/>
                      <a:pt x="385855" y="583783"/>
                    </a:cubicBezTo>
                    <a:cubicBezTo>
                      <a:pt x="384501" y="586717"/>
                      <a:pt x="384952" y="594840"/>
                      <a:pt x="387886" y="600932"/>
                    </a:cubicBezTo>
                    <a:cubicBezTo>
                      <a:pt x="391722" y="608830"/>
                      <a:pt x="394881" y="615825"/>
                      <a:pt x="392173" y="622143"/>
                    </a:cubicBezTo>
                    <a:cubicBezTo>
                      <a:pt x="390819" y="625302"/>
                      <a:pt x="387434" y="633426"/>
                      <a:pt x="389240" y="636585"/>
                    </a:cubicBezTo>
                    <a:cubicBezTo>
                      <a:pt x="389465" y="637036"/>
                      <a:pt x="389917" y="637713"/>
                      <a:pt x="391496" y="637938"/>
                    </a:cubicBezTo>
                    <a:cubicBezTo>
                      <a:pt x="400748" y="639067"/>
                      <a:pt x="408645" y="638841"/>
                      <a:pt x="412256" y="637261"/>
                    </a:cubicBezTo>
                    <a:cubicBezTo>
                      <a:pt x="413158" y="637036"/>
                      <a:pt x="413158" y="636810"/>
                      <a:pt x="412932" y="634328"/>
                    </a:cubicBezTo>
                    <a:cubicBezTo>
                      <a:pt x="412707" y="632072"/>
                      <a:pt x="412256" y="628687"/>
                      <a:pt x="415189" y="626205"/>
                    </a:cubicBezTo>
                    <a:cubicBezTo>
                      <a:pt x="419025" y="622820"/>
                      <a:pt x="427374" y="623271"/>
                      <a:pt x="435723" y="624174"/>
                    </a:cubicBezTo>
                    <a:cubicBezTo>
                      <a:pt x="437077" y="624400"/>
                      <a:pt x="438205" y="624400"/>
                      <a:pt x="438882" y="624400"/>
                    </a:cubicBezTo>
                    <a:cubicBezTo>
                      <a:pt x="441590" y="624400"/>
                      <a:pt x="444297" y="627559"/>
                      <a:pt x="449261" y="633200"/>
                    </a:cubicBezTo>
                    <a:cubicBezTo>
                      <a:pt x="451518" y="635908"/>
                      <a:pt x="454000" y="638615"/>
                      <a:pt x="455805" y="640195"/>
                    </a:cubicBezTo>
                    <a:cubicBezTo>
                      <a:pt x="458964" y="642677"/>
                      <a:pt x="463703" y="645385"/>
                      <a:pt x="469570" y="643580"/>
                    </a:cubicBezTo>
                    <a:cubicBezTo>
                      <a:pt x="474760" y="642000"/>
                      <a:pt x="483785" y="637487"/>
                      <a:pt x="487621" y="631620"/>
                    </a:cubicBezTo>
                    <a:cubicBezTo>
                      <a:pt x="490329" y="627333"/>
                      <a:pt x="493262" y="625979"/>
                      <a:pt x="496647" y="624400"/>
                    </a:cubicBezTo>
                    <a:cubicBezTo>
                      <a:pt x="499129" y="623271"/>
                      <a:pt x="501611" y="622143"/>
                      <a:pt x="504319" y="619661"/>
                    </a:cubicBezTo>
                    <a:cubicBezTo>
                      <a:pt x="509283" y="615374"/>
                      <a:pt x="511765" y="617179"/>
                      <a:pt x="514473" y="620112"/>
                    </a:cubicBezTo>
                    <a:cubicBezTo>
                      <a:pt x="515827" y="621692"/>
                      <a:pt x="517632" y="623497"/>
                      <a:pt x="520791" y="624625"/>
                    </a:cubicBezTo>
                    <a:cubicBezTo>
                      <a:pt x="524176" y="625753"/>
                      <a:pt x="528012" y="626656"/>
                      <a:pt x="531397" y="627333"/>
                    </a:cubicBezTo>
                    <a:cubicBezTo>
                      <a:pt x="537940" y="628687"/>
                      <a:pt x="542453" y="629815"/>
                      <a:pt x="543807" y="632749"/>
                    </a:cubicBezTo>
                    <a:cubicBezTo>
                      <a:pt x="544710" y="635005"/>
                      <a:pt x="543807" y="639067"/>
                      <a:pt x="542679" y="643580"/>
                    </a:cubicBezTo>
                    <a:cubicBezTo>
                      <a:pt x="541776" y="646739"/>
                      <a:pt x="540874" y="650800"/>
                      <a:pt x="541099" y="652380"/>
                    </a:cubicBezTo>
                    <a:cubicBezTo>
                      <a:pt x="541776" y="655313"/>
                      <a:pt x="549674" y="660729"/>
                      <a:pt x="555992" y="663211"/>
                    </a:cubicBezTo>
                    <a:cubicBezTo>
                      <a:pt x="558023" y="664113"/>
                      <a:pt x="560054" y="664564"/>
                      <a:pt x="562310" y="665016"/>
                    </a:cubicBezTo>
                    <a:cubicBezTo>
                      <a:pt x="565695" y="665693"/>
                      <a:pt x="569080" y="666596"/>
                      <a:pt x="572916" y="669078"/>
                    </a:cubicBezTo>
                    <a:cubicBezTo>
                      <a:pt x="579008" y="673139"/>
                      <a:pt x="579008" y="684196"/>
                      <a:pt x="579008" y="688709"/>
                    </a:cubicBezTo>
                    <a:lnTo>
                      <a:pt x="579008" y="689386"/>
                    </a:lnTo>
                    <a:cubicBezTo>
                      <a:pt x="579008" y="692319"/>
                      <a:pt x="584424" y="705632"/>
                      <a:pt x="591193" y="706761"/>
                    </a:cubicBezTo>
                    <a:cubicBezTo>
                      <a:pt x="596383" y="707663"/>
                      <a:pt x="599091" y="710371"/>
                      <a:pt x="600444" y="712627"/>
                    </a:cubicBezTo>
                    <a:cubicBezTo>
                      <a:pt x="602250" y="715561"/>
                      <a:pt x="602927" y="719171"/>
                      <a:pt x="602024" y="722781"/>
                    </a:cubicBezTo>
                    <a:cubicBezTo>
                      <a:pt x="600444" y="729325"/>
                      <a:pt x="594352" y="739479"/>
                      <a:pt x="590742" y="744895"/>
                    </a:cubicBezTo>
                    <a:cubicBezTo>
                      <a:pt x="586229" y="752115"/>
                      <a:pt x="582393" y="754597"/>
                      <a:pt x="570208" y="760239"/>
                    </a:cubicBezTo>
                    <a:cubicBezTo>
                      <a:pt x="561859" y="764300"/>
                      <a:pt x="559151" y="775131"/>
                      <a:pt x="558023" y="779644"/>
                    </a:cubicBezTo>
                    <a:cubicBezTo>
                      <a:pt x="557346" y="782126"/>
                      <a:pt x="557120" y="783480"/>
                      <a:pt x="555315" y="783480"/>
                    </a:cubicBezTo>
                    <a:cubicBezTo>
                      <a:pt x="553736" y="783480"/>
                      <a:pt x="552833" y="782352"/>
                      <a:pt x="548771" y="777388"/>
                    </a:cubicBezTo>
                    <a:cubicBezTo>
                      <a:pt x="547643" y="776034"/>
                      <a:pt x="546289" y="774454"/>
                      <a:pt x="544710" y="772423"/>
                    </a:cubicBezTo>
                    <a:cubicBezTo>
                      <a:pt x="541099" y="768136"/>
                      <a:pt x="536135" y="766105"/>
                      <a:pt x="533427" y="766331"/>
                    </a:cubicBezTo>
                    <a:cubicBezTo>
                      <a:pt x="532525" y="766331"/>
                      <a:pt x="532074" y="766782"/>
                      <a:pt x="532074" y="767008"/>
                    </a:cubicBezTo>
                    <a:cubicBezTo>
                      <a:pt x="531171" y="768587"/>
                      <a:pt x="529817" y="769716"/>
                      <a:pt x="528238" y="770167"/>
                    </a:cubicBezTo>
                    <a:cubicBezTo>
                      <a:pt x="525304" y="771069"/>
                      <a:pt x="521243" y="770167"/>
                      <a:pt x="516730" y="767459"/>
                    </a:cubicBezTo>
                    <a:cubicBezTo>
                      <a:pt x="509735" y="763398"/>
                      <a:pt x="507253" y="762269"/>
                      <a:pt x="502063" y="765428"/>
                    </a:cubicBezTo>
                    <a:cubicBezTo>
                      <a:pt x="498452" y="767685"/>
                      <a:pt x="498001" y="769490"/>
                      <a:pt x="497324" y="772649"/>
                    </a:cubicBezTo>
                    <a:cubicBezTo>
                      <a:pt x="496873" y="774454"/>
                      <a:pt x="496422" y="776485"/>
                      <a:pt x="495293" y="778967"/>
                    </a:cubicBezTo>
                    <a:cubicBezTo>
                      <a:pt x="491909" y="786865"/>
                      <a:pt x="481303" y="792280"/>
                      <a:pt x="477693" y="791378"/>
                    </a:cubicBezTo>
                    <a:cubicBezTo>
                      <a:pt x="476113" y="790926"/>
                      <a:pt x="469570" y="793860"/>
                      <a:pt x="467990" y="796116"/>
                    </a:cubicBezTo>
                    <a:cubicBezTo>
                      <a:pt x="466862" y="797696"/>
                      <a:pt x="467313" y="807399"/>
                      <a:pt x="470247" y="811460"/>
                    </a:cubicBezTo>
                    <a:cubicBezTo>
                      <a:pt x="473180" y="815522"/>
                      <a:pt x="472503" y="821614"/>
                      <a:pt x="471826" y="826127"/>
                    </a:cubicBezTo>
                    <a:cubicBezTo>
                      <a:pt x="471600" y="827030"/>
                      <a:pt x="471600" y="827707"/>
                      <a:pt x="471600" y="828384"/>
                    </a:cubicBezTo>
                    <a:cubicBezTo>
                      <a:pt x="471375" y="830640"/>
                      <a:pt x="468893" y="833122"/>
                      <a:pt x="464605" y="837409"/>
                    </a:cubicBezTo>
                    <a:cubicBezTo>
                      <a:pt x="461221" y="840794"/>
                      <a:pt x="455805" y="845984"/>
                      <a:pt x="456031" y="848240"/>
                    </a:cubicBezTo>
                    <a:cubicBezTo>
                      <a:pt x="456257" y="852754"/>
                      <a:pt x="460995" y="855461"/>
                      <a:pt x="468216" y="855461"/>
                    </a:cubicBezTo>
                    <a:cubicBezTo>
                      <a:pt x="474534" y="855461"/>
                      <a:pt x="483108" y="856138"/>
                      <a:pt x="485365" y="862908"/>
                    </a:cubicBezTo>
                    <a:cubicBezTo>
                      <a:pt x="487170" y="868097"/>
                      <a:pt x="485816" y="878477"/>
                      <a:pt x="478821" y="884118"/>
                    </a:cubicBezTo>
                    <a:cubicBezTo>
                      <a:pt x="476565" y="885924"/>
                      <a:pt x="475211" y="887503"/>
                      <a:pt x="473857" y="889083"/>
                    </a:cubicBezTo>
                    <a:cubicBezTo>
                      <a:pt x="471375" y="892016"/>
                      <a:pt x="469118" y="894272"/>
                      <a:pt x="464605" y="894498"/>
                    </a:cubicBezTo>
                    <a:cubicBezTo>
                      <a:pt x="459867" y="894724"/>
                      <a:pt x="456708" y="897883"/>
                      <a:pt x="452646" y="906909"/>
                    </a:cubicBezTo>
                    <a:cubicBezTo>
                      <a:pt x="449036" y="915032"/>
                      <a:pt x="442267" y="919093"/>
                      <a:pt x="432789" y="919093"/>
                    </a:cubicBezTo>
                    <a:cubicBezTo>
                      <a:pt x="428953" y="919093"/>
                      <a:pt x="426471" y="917514"/>
                      <a:pt x="424215" y="916160"/>
                    </a:cubicBezTo>
                    <a:cubicBezTo>
                      <a:pt x="422184" y="914806"/>
                      <a:pt x="420153" y="913678"/>
                      <a:pt x="416994" y="913452"/>
                    </a:cubicBezTo>
                    <a:cubicBezTo>
                      <a:pt x="412932" y="913227"/>
                      <a:pt x="411353" y="914355"/>
                      <a:pt x="408871" y="915934"/>
                    </a:cubicBezTo>
                    <a:cubicBezTo>
                      <a:pt x="407291" y="916837"/>
                      <a:pt x="405260" y="918191"/>
                      <a:pt x="402553" y="919319"/>
                    </a:cubicBezTo>
                    <a:cubicBezTo>
                      <a:pt x="401199" y="919996"/>
                      <a:pt x="400071" y="920447"/>
                      <a:pt x="398942" y="920898"/>
                    </a:cubicBezTo>
                    <a:cubicBezTo>
                      <a:pt x="393527" y="923606"/>
                      <a:pt x="391496" y="923381"/>
                      <a:pt x="387209" y="916160"/>
                    </a:cubicBezTo>
                    <a:cubicBezTo>
                      <a:pt x="384501" y="911421"/>
                      <a:pt x="383147" y="911873"/>
                      <a:pt x="381116" y="912550"/>
                    </a:cubicBezTo>
                    <a:cubicBezTo>
                      <a:pt x="380214" y="912775"/>
                      <a:pt x="379086" y="913227"/>
                      <a:pt x="377957" y="913227"/>
                    </a:cubicBezTo>
                    <a:cubicBezTo>
                      <a:pt x="375926" y="913452"/>
                      <a:pt x="370285" y="921801"/>
                      <a:pt x="369157" y="925412"/>
                    </a:cubicBezTo>
                    <a:cubicBezTo>
                      <a:pt x="368932" y="925863"/>
                      <a:pt x="368932" y="926314"/>
                      <a:pt x="368706" y="926765"/>
                    </a:cubicBezTo>
                    <a:cubicBezTo>
                      <a:pt x="368029" y="929473"/>
                      <a:pt x="367126" y="933760"/>
                      <a:pt x="360131" y="933084"/>
                    </a:cubicBezTo>
                    <a:cubicBezTo>
                      <a:pt x="357875" y="932858"/>
                      <a:pt x="356070" y="933535"/>
                      <a:pt x="353588" y="934437"/>
                    </a:cubicBezTo>
                    <a:cubicBezTo>
                      <a:pt x="346592" y="935791"/>
                      <a:pt x="342531" y="937371"/>
                      <a:pt x="334859" y="937371"/>
                    </a:cubicBezTo>
                    <a:close/>
                    <a:moveTo>
                      <a:pt x="311392" y="924960"/>
                    </a:moveTo>
                    <a:cubicBezTo>
                      <a:pt x="316130" y="924960"/>
                      <a:pt x="322900" y="926314"/>
                      <a:pt x="324479" y="929925"/>
                    </a:cubicBezTo>
                    <a:cubicBezTo>
                      <a:pt x="324705" y="930601"/>
                      <a:pt x="324930" y="931278"/>
                      <a:pt x="325156" y="931730"/>
                    </a:cubicBezTo>
                    <a:cubicBezTo>
                      <a:pt x="325607" y="933084"/>
                      <a:pt x="325833" y="933760"/>
                      <a:pt x="335085" y="933760"/>
                    </a:cubicBezTo>
                    <a:cubicBezTo>
                      <a:pt x="341854" y="933760"/>
                      <a:pt x="345690" y="932407"/>
                      <a:pt x="348849" y="931278"/>
                    </a:cubicBezTo>
                    <a:cubicBezTo>
                      <a:pt x="351557" y="930376"/>
                      <a:pt x="353813" y="929473"/>
                      <a:pt x="356972" y="929699"/>
                    </a:cubicBezTo>
                    <a:cubicBezTo>
                      <a:pt x="360583" y="930150"/>
                      <a:pt x="360808" y="929022"/>
                      <a:pt x="361485" y="926314"/>
                    </a:cubicBezTo>
                    <a:cubicBezTo>
                      <a:pt x="361711" y="925863"/>
                      <a:pt x="361711" y="925186"/>
                      <a:pt x="361936" y="924734"/>
                    </a:cubicBezTo>
                    <a:cubicBezTo>
                      <a:pt x="362613" y="922252"/>
                      <a:pt x="369157" y="909842"/>
                      <a:pt x="374347" y="909842"/>
                    </a:cubicBezTo>
                    <a:cubicBezTo>
                      <a:pt x="375024" y="909842"/>
                      <a:pt x="375701" y="909616"/>
                      <a:pt x="376378" y="909391"/>
                    </a:cubicBezTo>
                    <a:cubicBezTo>
                      <a:pt x="379763" y="908262"/>
                      <a:pt x="383147" y="907811"/>
                      <a:pt x="386983" y="914580"/>
                    </a:cubicBezTo>
                    <a:cubicBezTo>
                      <a:pt x="389917" y="919545"/>
                      <a:pt x="389917" y="919545"/>
                      <a:pt x="393753" y="917739"/>
                    </a:cubicBezTo>
                    <a:cubicBezTo>
                      <a:pt x="394881" y="917288"/>
                      <a:pt x="396009" y="916611"/>
                      <a:pt x="397588" y="915934"/>
                    </a:cubicBezTo>
                    <a:cubicBezTo>
                      <a:pt x="400071" y="914806"/>
                      <a:pt x="401876" y="913678"/>
                      <a:pt x="403455" y="912775"/>
                    </a:cubicBezTo>
                    <a:cubicBezTo>
                      <a:pt x="406389" y="910970"/>
                      <a:pt x="408645" y="909616"/>
                      <a:pt x="413835" y="909842"/>
                    </a:cubicBezTo>
                    <a:cubicBezTo>
                      <a:pt x="417897" y="910068"/>
                      <a:pt x="420604" y="911647"/>
                      <a:pt x="422861" y="913001"/>
                    </a:cubicBezTo>
                    <a:cubicBezTo>
                      <a:pt x="424892" y="914355"/>
                      <a:pt x="426697" y="915483"/>
                      <a:pt x="429405" y="915483"/>
                    </a:cubicBezTo>
                    <a:cubicBezTo>
                      <a:pt x="437528" y="915483"/>
                      <a:pt x="442943" y="912324"/>
                      <a:pt x="445877" y="905555"/>
                    </a:cubicBezTo>
                    <a:cubicBezTo>
                      <a:pt x="449713" y="896755"/>
                      <a:pt x="453774" y="891339"/>
                      <a:pt x="460995" y="890887"/>
                    </a:cubicBezTo>
                    <a:cubicBezTo>
                      <a:pt x="463929" y="890662"/>
                      <a:pt x="465282" y="889308"/>
                      <a:pt x="467539" y="886601"/>
                    </a:cubicBezTo>
                    <a:cubicBezTo>
                      <a:pt x="468893" y="885021"/>
                      <a:pt x="470472" y="883216"/>
                      <a:pt x="472954" y="881185"/>
                    </a:cubicBezTo>
                    <a:cubicBezTo>
                      <a:pt x="478370" y="876898"/>
                      <a:pt x="479724" y="868323"/>
                      <a:pt x="478370" y="864036"/>
                    </a:cubicBezTo>
                    <a:cubicBezTo>
                      <a:pt x="477693" y="862005"/>
                      <a:pt x="475436" y="859072"/>
                      <a:pt x="464831" y="859072"/>
                    </a:cubicBezTo>
                    <a:cubicBezTo>
                      <a:pt x="455580" y="859072"/>
                      <a:pt x="449261" y="854784"/>
                      <a:pt x="448810" y="848240"/>
                    </a:cubicBezTo>
                    <a:cubicBezTo>
                      <a:pt x="448585" y="844179"/>
                      <a:pt x="453549" y="839215"/>
                      <a:pt x="458513" y="834476"/>
                    </a:cubicBezTo>
                    <a:cubicBezTo>
                      <a:pt x="460769" y="832220"/>
                      <a:pt x="464154" y="828835"/>
                      <a:pt x="464380" y="827932"/>
                    </a:cubicBezTo>
                    <a:cubicBezTo>
                      <a:pt x="464380" y="827255"/>
                      <a:pt x="464605" y="826353"/>
                      <a:pt x="464605" y="825450"/>
                    </a:cubicBezTo>
                    <a:cubicBezTo>
                      <a:pt x="465057" y="821614"/>
                      <a:pt x="465734" y="816650"/>
                      <a:pt x="463703" y="813491"/>
                    </a:cubicBezTo>
                    <a:cubicBezTo>
                      <a:pt x="460318" y="808752"/>
                      <a:pt x="458964" y="797019"/>
                      <a:pt x="461446" y="793634"/>
                    </a:cubicBezTo>
                    <a:cubicBezTo>
                      <a:pt x="463703" y="790701"/>
                      <a:pt x="471600" y="786865"/>
                      <a:pt x="474985" y="787542"/>
                    </a:cubicBezTo>
                    <a:cubicBezTo>
                      <a:pt x="476565" y="787767"/>
                      <a:pt x="485365" y="783706"/>
                      <a:pt x="488073" y="777388"/>
                    </a:cubicBezTo>
                    <a:cubicBezTo>
                      <a:pt x="488975" y="775131"/>
                      <a:pt x="489426" y="773326"/>
                      <a:pt x="489878" y="771521"/>
                    </a:cubicBezTo>
                    <a:cubicBezTo>
                      <a:pt x="490780" y="768136"/>
                      <a:pt x="491457" y="765203"/>
                      <a:pt x="496196" y="762044"/>
                    </a:cubicBezTo>
                    <a:cubicBezTo>
                      <a:pt x="503642" y="757305"/>
                      <a:pt x="507930" y="759787"/>
                      <a:pt x="514699" y="763849"/>
                    </a:cubicBezTo>
                    <a:cubicBezTo>
                      <a:pt x="519663" y="766782"/>
                      <a:pt x="522145" y="766557"/>
                      <a:pt x="523273" y="766331"/>
                    </a:cubicBezTo>
                    <a:cubicBezTo>
                      <a:pt x="523950" y="766105"/>
                      <a:pt x="524627" y="765654"/>
                      <a:pt x="524853" y="764977"/>
                    </a:cubicBezTo>
                    <a:cubicBezTo>
                      <a:pt x="525530" y="763398"/>
                      <a:pt x="527109" y="762495"/>
                      <a:pt x="529366" y="762269"/>
                    </a:cubicBezTo>
                    <a:cubicBezTo>
                      <a:pt x="533427" y="761818"/>
                      <a:pt x="539294" y="763849"/>
                      <a:pt x="544033" y="769716"/>
                    </a:cubicBezTo>
                    <a:cubicBezTo>
                      <a:pt x="545612" y="771746"/>
                      <a:pt x="546966" y="773326"/>
                      <a:pt x="548095" y="774680"/>
                    </a:cubicBezTo>
                    <a:cubicBezTo>
                      <a:pt x="549223" y="776034"/>
                      <a:pt x="550125" y="777162"/>
                      <a:pt x="550802" y="778064"/>
                    </a:cubicBezTo>
                    <a:cubicBezTo>
                      <a:pt x="552156" y="772649"/>
                      <a:pt x="555315" y="761141"/>
                      <a:pt x="565018" y="756403"/>
                    </a:cubicBezTo>
                    <a:cubicBezTo>
                      <a:pt x="576752" y="750987"/>
                      <a:pt x="579685" y="748956"/>
                      <a:pt x="583972" y="742413"/>
                    </a:cubicBezTo>
                    <a:cubicBezTo>
                      <a:pt x="589613" y="733387"/>
                      <a:pt x="593675" y="725715"/>
                      <a:pt x="594803" y="721427"/>
                    </a:cubicBezTo>
                    <a:cubicBezTo>
                      <a:pt x="595480" y="718945"/>
                      <a:pt x="595029" y="716238"/>
                      <a:pt x="593675" y="714207"/>
                    </a:cubicBezTo>
                    <a:cubicBezTo>
                      <a:pt x="592321" y="711950"/>
                      <a:pt x="589839" y="710596"/>
                      <a:pt x="586906" y="710145"/>
                    </a:cubicBezTo>
                    <a:cubicBezTo>
                      <a:pt x="577654" y="708566"/>
                      <a:pt x="571787" y="692770"/>
                      <a:pt x="571787" y="688934"/>
                    </a:cubicBezTo>
                    <a:lnTo>
                      <a:pt x="571787" y="688257"/>
                    </a:lnTo>
                    <a:cubicBezTo>
                      <a:pt x="571787" y="684873"/>
                      <a:pt x="571787" y="674719"/>
                      <a:pt x="567500" y="671785"/>
                    </a:cubicBezTo>
                    <a:cubicBezTo>
                      <a:pt x="564341" y="669755"/>
                      <a:pt x="561408" y="669078"/>
                      <a:pt x="558249" y="668400"/>
                    </a:cubicBezTo>
                    <a:cubicBezTo>
                      <a:pt x="555992" y="667949"/>
                      <a:pt x="553736" y="667498"/>
                      <a:pt x="551479" y="666370"/>
                    </a:cubicBezTo>
                    <a:cubicBezTo>
                      <a:pt x="547418" y="664790"/>
                      <a:pt x="535684" y="658698"/>
                      <a:pt x="534330" y="652831"/>
                    </a:cubicBezTo>
                    <a:cubicBezTo>
                      <a:pt x="533879" y="650349"/>
                      <a:pt x="534781" y="646513"/>
                      <a:pt x="535910" y="642226"/>
                    </a:cubicBezTo>
                    <a:cubicBezTo>
                      <a:pt x="536587" y="639292"/>
                      <a:pt x="537715" y="635005"/>
                      <a:pt x="537264" y="633877"/>
                    </a:cubicBezTo>
                    <a:cubicBezTo>
                      <a:pt x="536812" y="632749"/>
                      <a:pt x="531171" y="631620"/>
                      <a:pt x="527561" y="630718"/>
                    </a:cubicBezTo>
                    <a:cubicBezTo>
                      <a:pt x="523950" y="630041"/>
                      <a:pt x="520114" y="629138"/>
                      <a:pt x="516504" y="627784"/>
                    </a:cubicBezTo>
                    <a:cubicBezTo>
                      <a:pt x="512442" y="626431"/>
                      <a:pt x="510186" y="623948"/>
                      <a:pt x="508832" y="622143"/>
                    </a:cubicBezTo>
                    <a:cubicBezTo>
                      <a:pt x="506801" y="619887"/>
                      <a:pt x="506801" y="619661"/>
                      <a:pt x="504093" y="622143"/>
                    </a:cubicBezTo>
                    <a:cubicBezTo>
                      <a:pt x="500934" y="624851"/>
                      <a:pt x="498001" y="626205"/>
                      <a:pt x="495519" y="627333"/>
                    </a:cubicBezTo>
                    <a:cubicBezTo>
                      <a:pt x="492360" y="628912"/>
                      <a:pt x="490103" y="630041"/>
                      <a:pt x="488073" y="633200"/>
                    </a:cubicBezTo>
                    <a:cubicBezTo>
                      <a:pt x="483334" y="640646"/>
                      <a:pt x="472954" y="645385"/>
                      <a:pt x="467990" y="646964"/>
                    </a:cubicBezTo>
                    <a:cubicBezTo>
                      <a:pt x="462349" y="648544"/>
                      <a:pt x="456482" y="647190"/>
                      <a:pt x="450841" y="642903"/>
                    </a:cubicBezTo>
                    <a:cubicBezTo>
                      <a:pt x="448810" y="641323"/>
                      <a:pt x="446328" y="638390"/>
                      <a:pt x="443846" y="635456"/>
                    </a:cubicBezTo>
                    <a:cubicBezTo>
                      <a:pt x="441590" y="632749"/>
                      <a:pt x="437528" y="628235"/>
                      <a:pt x="436174" y="628010"/>
                    </a:cubicBezTo>
                    <a:lnTo>
                      <a:pt x="436174" y="628010"/>
                    </a:lnTo>
                    <a:cubicBezTo>
                      <a:pt x="435497" y="628010"/>
                      <a:pt x="434369" y="627784"/>
                      <a:pt x="432789" y="627784"/>
                    </a:cubicBezTo>
                    <a:cubicBezTo>
                      <a:pt x="428051" y="627333"/>
                      <a:pt x="417897" y="626205"/>
                      <a:pt x="415189" y="628912"/>
                    </a:cubicBezTo>
                    <a:cubicBezTo>
                      <a:pt x="413835" y="630267"/>
                      <a:pt x="413835" y="631620"/>
                      <a:pt x="414061" y="633877"/>
                    </a:cubicBezTo>
                    <a:cubicBezTo>
                      <a:pt x="414286" y="636133"/>
                      <a:pt x="414738" y="639292"/>
                      <a:pt x="411127" y="640872"/>
                    </a:cubicBezTo>
                    <a:cubicBezTo>
                      <a:pt x="404809" y="643354"/>
                      <a:pt x="393076" y="642226"/>
                      <a:pt x="388337" y="641774"/>
                    </a:cubicBezTo>
                    <a:cubicBezTo>
                      <a:pt x="385404" y="641323"/>
                      <a:pt x="384050" y="639969"/>
                      <a:pt x="383147" y="638615"/>
                    </a:cubicBezTo>
                    <a:cubicBezTo>
                      <a:pt x="380665" y="634328"/>
                      <a:pt x="383147" y="627333"/>
                      <a:pt x="385855" y="620789"/>
                    </a:cubicBezTo>
                    <a:cubicBezTo>
                      <a:pt x="387886" y="615825"/>
                      <a:pt x="385178" y="609958"/>
                      <a:pt x="381568" y="602512"/>
                    </a:cubicBezTo>
                    <a:cubicBezTo>
                      <a:pt x="378409" y="595517"/>
                      <a:pt x="377506" y="586491"/>
                      <a:pt x="379537" y="581978"/>
                    </a:cubicBezTo>
                    <a:cubicBezTo>
                      <a:pt x="380439" y="579947"/>
                      <a:pt x="381793" y="579270"/>
                      <a:pt x="382922" y="579045"/>
                    </a:cubicBezTo>
                    <a:cubicBezTo>
                      <a:pt x="386983" y="578142"/>
                      <a:pt x="391496" y="583558"/>
                      <a:pt x="396009" y="588973"/>
                    </a:cubicBezTo>
                    <a:cubicBezTo>
                      <a:pt x="397588" y="591004"/>
                      <a:pt x="399168" y="592809"/>
                      <a:pt x="400296" y="593712"/>
                    </a:cubicBezTo>
                    <a:cubicBezTo>
                      <a:pt x="401199" y="594389"/>
                      <a:pt x="401876" y="595291"/>
                      <a:pt x="402553" y="595968"/>
                    </a:cubicBezTo>
                    <a:cubicBezTo>
                      <a:pt x="404584" y="598225"/>
                      <a:pt x="405937" y="599579"/>
                      <a:pt x="414286" y="600256"/>
                    </a:cubicBezTo>
                    <a:cubicBezTo>
                      <a:pt x="419702" y="600707"/>
                      <a:pt x="422861" y="600707"/>
                      <a:pt x="425794" y="600481"/>
                    </a:cubicBezTo>
                    <a:cubicBezTo>
                      <a:pt x="429179" y="600481"/>
                      <a:pt x="431887" y="600256"/>
                      <a:pt x="435948" y="601158"/>
                    </a:cubicBezTo>
                    <a:cubicBezTo>
                      <a:pt x="436625" y="601384"/>
                      <a:pt x="436851" y="601158"/>
                      <a:pt x="436851" y="601158"/>
                    </a:cubicBezTo>
                    <a:cubicBezTo>
                      <a:pt x="437077" y="600707"/>
                      <a:pt x="436851" y="598225"/>
                      <a:pt x="436851" y="596871"/>
                    </a:cubicBezTo>
                    <a:cubicBezTo>
                      <a:pt x="436400" y="592809"/>
                      <a:pt x="435948" y="586717"/>
                      <a:pt x="441590" y="584911"/>
                    </a:cubicBezTo>
                    <a:cubicBezTo>
                      <a:pt x="446328" y="583558"/>
                      <a:pt x="449938" y="577240"/>
                      <a:pt x="449487" y="573629"/>
                    </a:cubicBezTo>
                    <a:cubicBezTo>
                      <a:pt x="449261" y="572727"/>
                      <a:pt x="448810" y="571598"/>
                      <a:pt x="446554" y="571598"/>
                    </a:cubicBezTo>
                    <a:cubicBezTo>
                      <a:pt x="444974" y="571598"/>
                      <a:pt x="443395" y="571598"/>
                      <a:pt x="441815" y="571598"/>
                    </a:cubicBezTo>
                    <a:cubicBezTo>
                      <a:pt x="434820" y="571598"/>
                      <a:pt x="430307" y="571824"/>
                      <a:pt x="426697" y="569342"/>
                    </a:cubicBezTo>
                    <a:cubicBezTo>
                      <a:pt x="419025" y="564152"/>
                      <a:pt x="412030" y="561670"/>
                      <a:pt x="410225" y="563475"/>
                    </a:cubicBezTo>
                    <a:cubicBezTo>
                      <a:pt x="406163" y="567537"/>
                      <a:pt x="402778" y="570245"/>
                      <a:pt x="393301" y="570245"/>
                    </a:cubicBezTo>
                    <a:cubicBezTo>
                      <a:pt x="383598" y="570245"/>
                      <a:pt x="374573" y="560091"/>
                      <a:pt x="374573" y="553998"/>
                    </a:cubicBezTo>
                    <a:cubicBezTo>
                      <a:pt x="374573" y="550162"/>
                      <a:pt x="376829" y="546777"/>
                      <a:pt x="378409" y="545198"/>
                    </a:cubicBezTo>
                    <a:cubicBezTo>
                      <a:pt x="377055" y="543618"/>
                      <a:pt x="374573" y="541362"/>
                      <a:pt x="371414" y="540234"/>
                    </a:cubicBezTo>
                    <a:cubicBezTo>
                      <a:pt x="365321" y="537977"/>
                      <a:pt x="358326" y="526469"/>
                      <a:pt x="358326" y="519023"/>
                    </a:cubicBezTo>
                    <a:cubicBezTo>
                      <a:pt x="358326" y="518346"/>
                      <a:pt x="358326" y="517443"/>
                      <a:pt x="358326" y="516767"/>
                    </a:cubicBezTo>
                    <a:cubicBezTo>
                      <a:pt x="358100" y="509320"/>
                      <a:pt x="357875" y="496684"/>
                      <a:pt x="367352" y="493976"/>
                    </a:cubicBezTo>
                    <a:cubicBezTo>
                      <a:pt x="371865" y="492622"/>
                      <a:pt x="371414" y="487658"/>
                      <a:pt x="369383" y="480212"/>
                    </a:cubicBezTo>
                    <a:cubicBezTo>
                      <a:pt x="368932" y="479083"/>
                      <a:pt x="368706" y="477955"/>
                      <a:pt x="368706" y="477278"/>
                    </a:cubicBezTo>
                    <a:cubicBezTo>
                      <a:pt x="368480" y="476150"/>
                      <a:pt x="367352" y="474570"/>
                      <a:pt x="366449" y="472991"/>
                    </a:cubicBezTo>
                    <a:cubicBezTo>
                      <a:pt x="364419" y="470058"/>
                      <a:pt x="362162" y="466673"/>
                      <a:pt x="363290" y="463288"/>
                    </a:cubicBezTo>
                    <a:cubicBezTo>
                      <a:pt x="363516" y="462386"/>
                      <a:pt x="364419" y="461032"/>
                      <a:pt x="366449" y="460129"/>
                    </a:cubicBezTo>
                    <a:cubicBezTo>
                      <a:pt x="371188" y="458098"/>
                      <a:pt x="381116" y="459904"/>
                      <a:pt x="384952" y="462160"/>
                    </a:cubicBezTo>
                    <a:cubicBezTo>
                      <a:pt x="386306" y="462837"/>
                      <a:pt x="387434" y="462611"/>
                      <a:pt x="389240" y="461934"/>
                    </a:cubicBezTo>
                    <a:cubicBezTo>
                      <a:pt x="391270" y="461257"/>
                      <a:pt x="394204" y="460355"/>
                      <a:pt x="396686" y="463288"/>
                    </a:cubicBezTo>
                    <a:cubicBezTo>
                      <a:pt x="396912" y="463740"/>
                      <a:pt x="398040" y="463740"/>
                      <a:pt x="399845" y="463288"/>
                    </a:cubicBezTo>
                    <a:cubicBezTo>
                      <a:pt x="404584" y="461934"/>
                      <a:pt x="410902" y="457196"/>
                      <a:pt x="411579" y="452909"/>
                    </a:cubicBezTo>
                    <a:cubicBezTo>
                      <a:pt x="412707" y="445914"/>
                      <a:pt x="412932" y="436436"/>
                      <a:pt x="404358" y="424928"/>
                    </a:cubicBezTo>
                    <a:cubicBezTo>
                      <a:pt x="394429" y="411615"/>
                      <a:pt x="390142" y="403718"/>
                      <a:pt x="392850" y="397400"/>
                    </a:cubicBezTo>
                    <a:cubicBezTo>
                      <a:pt x="398717" y="384312"/>
                      <a:pt x="402327" y="381830"/>
                      <a:pt x="404584" y="381379"/>
                    </a:cubicBezTo>
                    <a:cubicBezTo>
                      <a:pt x="404809" y="380251"/>
                      <a:pt x="403907" y="377543"/>
                      <a:pt x="403455" y="375512"/>
                    </a:cubicBezTo>
                    <a:cubicBezTo>
                      <a:pt x="402553" y="371901"/>
                      <a:pt x="401425" y="367614"/>
                      <a:pt x="401425" y="363101"/>
                    </a:cubicBezTo>
                    <a:cubicBezTo>
                      <a:pt x="401425" y="353173"/>
                      <a:pt x="406614" y="338055"/>
                      <a:pt x="412481" y="335121"/>
                    </a:cubicBezTo>
                    <a:cubicBezTo>
                      <a:pt x="417671" y="332639"/>
                      <a:pt x="427825" y="333542"/>
                      <a:pt x="435271" y="334219"/>
                    </a:cubicBezTo>
                    <a:lnTo>
                      <a:pt x="438656" y="334444"/>
                    </a:lnTo>
                    <a:cubicBezTo>
                      <a:pt x="443620" y="334895"/>
                      <a:pt x="458062" y="336250"/>
                      <a:pt x="461672" y="335572"/>
                    </a:cubicBezTo>
                    <a:cubicBezTo>
                      <a:pt x="461446" y="334895"/>
                      <a:pt x="460995" y="333542"/>
                      <a:pt x="460769" y="332413"/>
                    </a:cubicBezTo>
                    <a:cubicBezTo>
                      <a:pt x="458739" y="326321"/>
                      <a:pt x="454677" y="315039"/>
                      <a:pt x="462800" y="306916"/>
                    </a:cubicBezTo>
                    <a:cubicBezTo>
                      <a:pt x="465057" y="304659"/>
                      <a:pt x="467088" y="302854"/>
                      <a:pt x="468893" y="301049"/>
                    </a:cubicBezTo>
                    <a:cubicBezTo>
                      <a:pt x="472729" y="297438"/>
                      <a:pt x="476565" y="294054"/>
                      <a:pt x="476339" y="292249"/>
                    </a:cubicBezTo>
                    <a:cubicBezTo>
                      <a:pt x="476339" y="291346"/>
                      <a:pt x="475211" y="290669"/>
                      <a:pt x="474308" y="289992"/>
                    </a:cubicBezTo>
                    <a:cubicBezTo>
                      <a:pt x="470247" y="287510"/>
                      <a:pt x="465508" y="286607"/>
                      <a:pt x="461221" y="285705"/>
                    </a:cubicBezTo>
                    <a:cubicBezTo>
                      <a:pt x="458062" y="285028"/>
                      <a:pt x="455354" y="284577"/>
                      <a:pt x="453549" y="283448"/>
                    </a:cubicBezTo>
                    <a:cubicBezTo>
                      <a:pt x="451518" y="282094"/>
                      <a:pt x="450390" y="280289"/>
                      <a:pt x="450390" y="278033"/>
                    </a:cubicBezTo>
                    <a:cubicBezTo>
                      <a:pt x="450390" y="274197"/>
                      <a:pt x="453323" y="270135"/>
                      <a:pt x="458739" y="266750"/>
                    </a:cubicBezTo>
                    <a:cubicBezTo>
                      <a:pt x="462800" y="264043"/>
                      <a:pt x="462800" y="264043"/>
                      <a:pt x="461446" y="260207"/>
                    </a:cubicBezTo>
                    <a:cubicBezTo>
                      <a:pt x="460544" y="257725"/>
                      <a:pt x="459416" y="254114"/>
                      <a:pt x="458739" y="248247"/>
                    </a:cubicBezTo>
                    <a:cubicBezTo>
                      <a:pt x="458287" y="243058"/>
                      <a:pt x="457385" y="238093"/>
                      <a:pt x="456482" y="233129"/>
                    </a:cubicBezTo>
                    <a:cubicBezTo>
                      <a:pt x="454903" y="223878"/>
                      <a:pt x="453323" y="215077"/>
                      <a:pt x="454903" y="207631"/>
                    </a:cubicBezTo>
                    <a:lnTo>
                      <a:pt x="455128" y="206503"/>
                    </a:lnTo>
                    <a:cubicBezTo>
                      <a:pt x="457385" y="196574"/>
                      <a:pt x="458062" y="193190"/>
                      <a:pt x="456257" y="186420"/>
                    </a:cubicBezTo>
                    <a:cubicBezTo>
                      <a:pt x="455805" y="184164"/>
                      <a:pt x="455354" y="182585"/>
                      <a:pt x="455128" y="181231"/>
                    </a:cubicBezTo>
                    <a:cubicBezTo>
                      <a:pt x="454451" y="177846"/>
                      <a:pt x="454226" y="176943"/>
                      <a:pt x="451969" y="174687"/>
                    </a:cubicBezTo>
                    <a:cubicBezTo>
                      <a:pt x="448810" y="171528"/>
                      <a:pt x="447231" y="165210"/>
                      <a:pt x="448585" y="160923"/>
                    </a:cubicBezTo>
                    <a:cubicBezTo>
                      <a:pt x="449487" y="158440"/>
                      <a:pt x="451067" y="156861"/>
                      <a:pt x="453549" y="156410"/>
                    </a:cubicBezTo>
                    <a:cubicBezTo>
                      <a:pt x="455354" y="156184"/>
                      <a:pt x="456933" y="152799"/>
                      <a:pt x="458513" y="149640"/>
                    </a:cubicBezTo>
                    <a:cubicBezTo>
                      <a:pt x="460318" y="145804"/>
                      <a:pt x="462123" y="141742"/>
                      <a:pt x="465959" y="139937"/>
                    </a:cubicBezTo>
                    <a:cubicBezTo>
                      <a:pt x="469118" y="138358"/>
                      <a:pt x="473180" y="134522"/>
                      <a:pt x="475888" y="131363"/>
                    </a:cubicBezTo>
                    <a:cubicBezTo>
                      <a:pt x="478595" y="128655"/>
                      <a:pt x="479949" y="127301"/>
                      <a:pt x="481303" y="126624"/>
                    </a:cubicBezTo>
                    <a:cubicBezTo>
                      <a:pt x="481303" y="125947"/>
                      <a:pt x="481303" y="124593"/>
                      <a:pt x="480401" y="123240"/>
                    </a:cubicBezTo>
                    <a:cubicBezTo>
                      <a:pt x="479498" y="121886"/>
                      <a:pt x="477919" y="121434"/>
                      <a:pt x="475888" y="121660"/>
                    </a:cubicBezTo>
                    <a:cubicBezTo>
                      <a:pt x="470698" y="122337"/>
                      <a:pt x="465959" y="120983"/>
                      <a:pt x="462575" y="118050"/>
                    </a:cubicBezTo>
                    <a:cubicBezTo>
                      <a:pt x="460092" y="115793"/>
                      <a:pt x="458739" y="112860"/>
                      <a:pt x="458739" y="109475"/>
                    </a:cubicBezTo>
                    <a:cubicBezTo>
                      <a:pt x="458739" y="108347"/>
                      <a:pt x="458739" y="107444"/>
                      <a:pt x="458739" y="106316"/>
                    </a:cubicBezTo>
                    <a:cubicBezTo>
                      <a:pt x="458513" y="100901"/>
                      <a:pt x="458287" y="95485"/>
                      <a:pt x="465508" y="94357"/>
                    </a:cubicBezTo>
                    <a:cubicBezTo>
                      <a:pt x="467313" y="94131"/>
                      <a:pt x="468441" y="93454"/>
                      <a:pt x="469118" y="92552"/>
                    </a:cubicBezTo>
                    <a:cubicBezTo>
                      <a:pt x="469795" y="91423"/>
                      <a:pt x="469795" y="89618"/>
                      <a:pt x="468893" y="86911"/>
                    </a:cubicBezTo>
                    <a:cubicBezTo>
                      <a:pt x="466862" y="80592"/>
                      <a:pt x="478144" y="69085"/>
                      <a:pt x="478370" y="69085"/>
                    </a:cubicBezTo>
                    <a:cubicBezTo>
                      <a:pt x="481755" y="65700"/>
                      <a:pt x="483785" y="61864"/>
                      <a:pt x="482883" y="60736"/>
                    </a:cubicBezTo>
                    <a:cubicBezTo>
                      <a:pt x="482431" y="60059"/>
                      <a:pt x="480401" y="59607"/>
                      <a:pt x="478821" y="59156"/>
                    </a:cubicBezTo>
                    <a:cubicBezTo>
                      <a:pt x="476113" y="58479"/>
                      <a:pt x="472954" y="57802"/>
                      <a:pt x="471826" y="55320"/>
                    </a:cubicBezTo>
                    <a:cubicBezTo>
                      <a:pt x="470247" y="51935"/>
                      <a:pt x="472729" y="49002"/>
                      <a:pt x="475436" y="45617"/>
                    </a:cubicBezTo>
                    <a:cubicBezTo>
                      <a:pt x="476339" y="44489"/>
                      <a:pt x="477242" y="43361"/>
                      <a:pt x="478144" y="42233"/>
                    </a:cubicBezTo>
                    <a:cubicBezTo>
                      <a:pt x="479272" y="40653"/>
                      <a:pt x="478595" y="38397"/>
                      <a:pt x="477467" y="35012"/>
                    </a:cubicBezTo>
                    <a:cubicBezTo>
                      <a:pt x="476113" y="31402"/>
                      <a:pt x="474760" y="27566"/>
                      <a:pt x="476790" y="23730"/>
                    </a:cubicBezTo>
                    <a:cubicBezTo>
                      <a:pt x="477016" y="23053"/>
                      <a:pt x="477016" y="22827"/>
                      <a:pt x="477016" y="22827"/>
                    </a:cubicBezTo>
                    <a:cubicBezTo>
                      <a:pt x="476790" y="22376"/>
                      <a:pt x="475211" y="21699"/>
                      <a:pt x="474083" y="21248"/>
                    </a:cubicBezTo>
                    <a:cubicBezTo>
                      <a:pt x="471826" y="20345"/>
                      <a:pt x="468893" y="18991"/>
                      <a:pt x="466185" y="16509"/>
                    </a:cubicBezTo>
                    <a:cubicBezTo>
                      <a:pt x="464154" y="17186"/>
                      <a:pt x="461898" y="16509"/>
                      <a:pt x="458964" y="15381"/>
                    </a:cubicBezTo>
                    <a:cubicBezTo>
                      <a:pt x="454903" y="13576"/>
                      <a:pt x="453549" y="10416"/>
                      <a:pt x="452421" y="7709"/>
                    </a:cubicBezTo>
                    <a:cubicBezTo>
                      <a:pt x="450615" y="3647"/>
                      <a:pt x="449713" y="1616"/>
                      <a:pt x="440913" y="4775"/>
                    </a:cubicBezTo>
                    <a:cubicBezTo>
                      <a:pt x="426246" y="10191"/>
                      <a:pt x="423538" y="19894"/>
                      <a:pt x="421733" y="26889"/>
                    </a:cubicBezTo>
                    <a:lnTo>
                      <a:pt x="421281" y="28468"/>
                    </a:lnTo>
                    <a:cubicBezTo>
                      <a:pt x="419025" y="36591"/>
                      <a:pt x="409548" y="47648"/>
                      <a:pt x="397363" y="56448"/>
                    </a:cubicBezTo>
                    <a:cubicBezTo>
                      <a:pt x="392173" y="60059"/>
                      <a:pt x="388111" y="61413"/>
                      <a:pt x="384501" y="62315"/>
                    </a:cubicBezTo>
                    <a:cubicBezTo>
                      <a:pt x="378860" y="63895"/>
                      <a:pt x="374573" y="65248"/>
                      <a:pt x="367803" y="76531"/>
                    </a:cubicBezTo>
                    <a:cubicBezTo>
                      <a:pt x="362162" y="86008"/>
                      <a:pt x="356521" y="88264"/>
                      <a:pt x="352008" y="90070"/>
                    </a:cubicBezTo>
                    <a:cubicBezTo>
                      <a:pt x="347269" y="92100"/>
                      <a:pt x="344562" y="93229"/>
                      <a:pt x="343659" y="102029"/>
                    </a:cubicBezTo>
                    <a:cubicBezTo>
                      <a:pt x="342305" y="115793"/>
                      <a:pt x="337567" y="117147"/>
                      <a:pt x="330120" y="117373"/>
                    </a:cubicBezTo>
                    <a:cubicBezTo>
                      <a:pt x="327638" y="117373"/>
                      <a:pt x="324705" y="117598"/>
                      <a:pt x="321771" y="118727"/>
                    </a:cubicBezTo>
                    <a:cubicBezTo>
                      <a:pt x="316582" y="120532"/>
                      <a:pt x="316356" y="122563"/>
                      <a:pt x="315905" y="125947"/>
                    </a:cubicBezTo>
                    <a:cubicBezTo>
                      <a:pt x="315453" y="128881"/>
                      <a:pt x="315002" y="132265"/>
                      <a:pt x="311166" y="135199"/>
                    </a:cubicBezTo>
                    <a:cubicBezTo>
                      <a:pt x="303043" y="141291"/>
                      <a:pt x="284314" y="141291"/>
                      <a:pt x="274386" y="141291"/>
                    </a:cubicBezTo>
                    <a:cubicBezTo>
                      <a:pt x="272129" y="141291"/>
                      <a:pt x="269647" y="141517"/>
                      <a:pt x="267165" y="141517"/>
                    </a:cubicBezTo>
                    <a:cubicBezTo>
                      <a:pt x="259493" y="141968"/>
                      <a:pt x="251370" y="142194"/>
                      <a:pt x="245277" y="139261"/>
                    </a:cubicBezTo>
                    <a:cubicBezTo>
                      <a:pt x="236928" y="134973"/>
                      <a:pt x="225421" y="131363"/>
                      <a:pt x="219328" y="138132"/>
                    </a:cubicBezTo>
                    <a:cubicBezTo>
                      <a:pt x="215943" y="141742"/>
                      <a:pt x="217974" y="146481"/>
                      <a:pt x="221359" y="153476"/>
                    </a:cubicBezTo>
                    <a:cubicBezTo>
                      <a:pt x="223615" y="157989"/>
                      <a:pt x="226097" y="162728"/>
                      <a:pt x="226097" y="167466"/>
                    </a:cubicBezTo>
                    <a:cubicBezTo>
                      <a:pt x="226097" y="174236"/>
                      <a:pt x="224969" y="178749"/>
                      <a:pt x="223841" y="182585"/>
                    </a:cubicBezTo>
                    <a:cubicBezTo>
                      <a:pt x="223164" y="184841"/>
                      <a:pt x="222713" y="186872"/>
                      <a:pt x="222487" y="189128"/>
                    </a:cubicBezTo>
                    <a:cubicBezTo>
                      <a:pt x="221810" y="195446"/>
                      <a:pt x="215041" y="196349"/>
                      <a:pt x="208497" y="197252"/>
                    </a:cubicBezTo>
                    <a:cubicBezTo>
                      <a:pt x="206466" y="197477"/>
                      <a:pt x="204435" y="197928"/>
                      <a:pt x="202179" y="198380"/>
                    </a:cubicBezTo>
                    <a:cubicBezTo>
                      <a:pt x="197440" y="199282"/>
                      <a:pt x="193830" y="197928"/>
                      <a:pt x="190897" y="196574"/>
                    </a:cubicBezTo>
                    <a:cubicBezTo>
                      <a:pt x="187512" y="195221"/>
                      <a:pt x="186384" y="194995"/>
                      <a:pt x="185030" y="196349"/>
                    </a:cubicBezTo>
                    <a:cubicBezTo>
                      <a:pt x="177132" y="205375"/>
                      <a:pt x="168783" y="208985"/>
                      <a:pt x="160660" y="206954"/>
                    </a:cubicBezTo>
                    <a:cubicBezTo>
                      <a:pt x="154568" y="205375"/>
                      <a:pt x="150506" y="201313"/>
                      <a:pt x="147347" y="198154"/>
                    </a:cubicBezTo>
                    <a:cubicBezTo>
                      <a:pt x="145542" y="196349"/>
                      <a:pt x="143511" y="194318"/>
                      <a:pt x="142608" y="194544"/>
                    </a:cubicBezTo>
                    <a:cubicBezTo>
                      <a:pt x="138998" y="194995"/>
                      <a:pt x="133131" y="199508"/>
                      <a:pt x="130198" y="205375"/>
                    </a:cubicBezTo>
                    <a:cubicBezTo>
                      <a:pt x="126588" y="212596"/>
                      <a:pt x="117110" y="217560"/>
                      <a:pt x="109438" y="218914"/>
                    </a:cubicBezTo>
                    <a:cubicBezTo>
                      <a:pt x="103797" y="219816"/>
                      <a:pt x="101541" y="222975"/>
                      <a:pt x="99059" y="226360"/>
                    </a:cubicBezTo>
                    <a:cubicBezTo>
                      <a:pt x="98607" y="227037"/>
                      <a:pt x="97930" y="227714"/>
                      <a:pt x="97479" y="228391"/>
                    </a:cubicBezTo>
                    <a:cubicBezTo>
                      <a:pt x="94320" y="232227"/>
                      <a:pt x="85294" y="241929"/>
                      <a:pt x="84843" y="242155"/>
                    </a:cubicBezTo>
                    <a:lnTo>
                      <a:pt x="82812" y="244412"/>
                    </a:lnTo>
                    <a:lnTo>
                      <a:pt x="81684" y="241704"/>
                    </a:lnTo>
                    <a:cubicBezTo>
                      <a:pt x="81458" y="241252"/>
                      <a:pt x="77622" y="232001"/>
                      <a:pt x="67468" y="234032"/>
                    </a:cubicBezTo>
                    <a:cubicBezTo>
                      <a:pt x="60022" y="235611"/>
                      <a:pt x="57088" y="240801"/>
                      <a:pt x="55509" y="243960"/>
                    </a:cubicBezTo>
                    <a:cubicBezTo>
                      <a:pt x="54606" y="245765"/>
                      <a:pt x="53704" y="247345"/>
                      <a:pt x="52124" y="247345"/>
                    </a:cubicBezTo>
                    <a:cubicBezTo>
                      <a:pt x="51447" y="247796"/>
                      <a:pt x="47837" y="253212"/>
                      <a:pt x="48063" y="263366"/>
                    </a:cubicBezTo>
                    <a:cubicBezTo>
                      <a:pt x="48288" y="269233"/>
                      <a:pt x="46483" y="272843"/>
                      <a:pt x="45129" y="275551"/>
                    </a:cubicBezTo>
                    <a:cubicBezTo>
                      <a:pt x="43775" y="278484"/>
                      <a:pt x="43775" y="278484"/>
                      <a:pt x="45355" y="279387"/>
                    </a:cubicBezTo>
                    <a:cubicBezTo>
                      <a:pt x="46934" y="280289"/>
                      <a:pt x="48740" y="280741"/>
                      <a:pt x="50770" y="280966"/>
                    </a:cubicBezTo>
                    <a:cubicBezTo>
                      <a:pt x="55058" y="281869"/>
                      <a:pt x="60248" y="282771"/>
                      <a:pt x="62504" y="291120"/>
                    </a:cubicBezTo>
                    <a:cubicBezTo>
                      <a:pt x="64535" y="298341"/>
                      <a:pt x="60699" y="308044"/>
                      <a:pt x="57088" y="317295"/>
                    </a:cubicBezTo>
                    <a:cubicBezTo>
                      <a:pt x="55058" y="322711"/>
                      <a:pt x="53027" y="327675"/>
                      <a:pt x="52350" y="331736"/>
                    </a:cubicBezTo>
                    <a:cubicBezTo>
                      <a:pt x="52124" y="333091"/>
                      <a:pt x="51899" y="334219"/>
                      <a:pt x="51673" y="335347"/>
                    </a:cubicBezTo>
                    <a:cubicBezTo>
                      <a:pt x="50319" y="344373"/>
                      <a:pt x="49191" y="351142"/>
                      <a:pt x="40616" y="353399"/>
                    </a:cubicBezTo>
                    <a:cubicBezTo>
                      <a:pt x="36780" y="354527"/>
                      <a:pt x="32493" y="354527"/>
                      <a:pt x="28883" y="354527"/>
                    </a:cubicBezTo>
                    <a:cubicBezTo>
                      <a:pt x="24821" y="354527"/>
                      <a:pt x="20759" y="354527"/>
                      <a:pt x="19631" y="356106"/>
                    </a:cubicBezTo>
                    <a:cubicBezTo>
                      <a:pt x="17600" y="358588"/>
                      <a:pt x="14667" y="360619"/>
                      <a:pt x="11959" y="362650"/>
                    </a:cubicBezTo>
                    <a:cubicBezTo>
                      <a:pt x="11057" y="363327"/>
                      <a:pt x="9928" y="364004"/>
                      <a:pt x="9026" y="364681"/>
                    </a:cubicBezTo>
                    <a:cubicBezTo>
                      <a:pt x="9703" y="364681"/>
                      <a:pt x="10605" y="364681"/>
                      <a:pt x="11508" y="364681"/>
                    </a:cubicBezTo>
                    <a:cubicBezTo>
                      <a:pt x="14667" y="364681"/>
                      <a:pt x="17375" y="364004"/>
                      <a:pt x="19857" y="363553"/>
                    </a:cubicBezTo>
                    <a:cubicBezTo>
                      <a:pt x="23467" y="362650"/>
                      <a:pt x="26401" y="361973"/>
                      <a:pt x="29108" y="363553"/>
                    </a:cubicBezTo>
                    <a:cubicBezTo>
                      <a:pt x="30914" y="364681"/>
                      <a:pt x="32042" y="366712"/>
                      <a:pt x="32719" y="369871"/>
                    </a:cubicBezTo>
                    <a:cubicBezTo>
                      <a:pt x="34073" y="375286"/>
                      <a:pt x="33170" y="377543"/>
                      <a:pt x="32267" y="379574"/>
                    </a:cubicBezTo>
                    <a:cubicBezTo>
                      <a:pt x="31590" y="381379"/>
                      <a:pt x="30914" y="383184"/>
                      <a:pt x="32267" y="389051"/>
                    </a:cubicBezTo>
                    <a:cubicBezTo>
                      <a:pt x="33396" y="394015"/>
                      <a:pt x="35878" y="396948"/>
                      <a:pt x="38134" y="399430"/>
                    </a:cubicBezTo>
                    <a:cubicBezTo>
                      <a:pt x="41068" y="402815"/>
                      <a:pt x="44001" y="406200"/>
                      <a:pt x="39488" y="411841"/>
                    </a:cubicBezTo>
                    <a:cubicBezTo>
                      <a:pt x="36555" y="415451"/>
                      <a:pt x="36103" y="416128"/>
                      <a:pt x="35878" y="416580"/>
                    </a:cubicBezTo>
                    <a:cubicBezTo>
                      <a:pt x="35652" y="417031"/>
                      <a:pt x="35652" y="417031"/>
                      <a:pt x="33396" y="419513"/>
                    </a:cubicBezTo>
                    <a:cubicBezTo>
                      <a:pt x="31365" y="421769"/>
                      <a:pt x="31816" y="427185"/>
                      <a:pt x="32267" y="432149"/>
                    </a:cubicBezTo>
                    <a:cubicBezTo>
                      <a:pt x="32493" y="436436"/>
                      <a:pt x="32944" y="440273"/>
                      <a:pt x="32042" y="443206"/>
                    </a:cubicBezTo>
                    <a:cubicBezTo>
                      <a:pt x="30914" y="447042"/>
                      <a:pt x="31139" y="450427"/>
                      <a:pt x="31365" y="454037"/>
                    </a:cubicBezTo>
                    <a:cubicBezTo>
                      <a:pt x="31590" y="455616"/>
                      <a:pt x="31590" y="457422"/>
                      <a:pt x="31590" y="459227"/>
                    </a:cubicBezTo>
                    <a:cubicBezTo>
                      <a:pt x="31590" y="464642"/>
                      <a:pt x="25498" y="467124"/>
                      <a:pt x="21888" y="468478"/>
                    </a:cubicBezTo>
                    <a:cubicBezTo>
                      <a:pt x="21211" y="468704"/>
                      <a:pt x="20534" y="469155"/>
                      <a:pt x="20083" y="469381"/>
                    </a:cubicBezTo>
                    <a:cubicBezTo>
                      <a:pt x="20083" y="469606"/>
                      <a:pt x="20083" y="469832"/>
                      <a:pt x="20083" y="470058"/>
                    </a:cubicBezTo>
                    <a:cubicBezTo>
                      <a:pt x="20083" y="470509"/>
                      <a:pt x="20083" y="471186"/>
                      <a:pt x="20083" y="471637"/>
                    </a:cubicBezTo>
                    <a:cubicBezTo>
                      <a:pt x="22565" y="475473"/>
                      <a:pt x="23467" y="478406"/>
                      <a:pt x="22565" y="480212"/>
                    </a:cubicBezTo>
                    <a:cubicBezTo>
                      <a:pt x="21888" y="481565"/>
                      <a:pt x="20534" y="482694"/>
                      <a:pt x="19631" y="483371"/>
                    </a:cubicBezTo>
                    <a:cubicBezTo>
                      <a:pt x="19180" y="483597"/>
                      <a:pt x="18729" y="484048"/>
                      <a:pt x="18503" y="484273"/>
                    </a:cubicBezTo>
                    <a:cubicBezTo>
                      <a:pt x="18503" y="484273"/>
                      <a:pt x="18729" y="484499"/>
                      <a:pt x="18729" y="484499"/>
                    </a:cubicBezTo>
                    <a:cubicBezTo>
                      <a:pt x="19406" y="485176"/>
                      <a:pt x="20308" y="485853"/>
                      <a:pt x="21436" y="486756"/>
                    </a:cubicBezTo>
                    <a:cubicBezTo>
                      <a:pt x="27529" y="491494"/>
                      <a:pt x="32493" y="495781"/>
                      <a:pt x="33396" y="499166"/>
                    </a:cubicBezTo>
                    <a:cubicBezTo>
                      <a:pt x="33847" y="500746"/>
                      <a:pt x="34073" y="503002"/>
                      <a:pt x="34524" y="505258"/>
                    </a:cubicBezTo>
                    <a:cubicBezTo>
                      <a:pt x="34975" y="508417"/>
                      <a:pt x="35426" y="512028"/>
                      <a:pt x="36329" y="514059"/>
                    </a:cubicBezTo>
                    <a:cubicBezTo>
                      <a:pt x="37006" y="515638"/>
                      <a:pt x="38811" y="516767"/>
                      <a:pt x="41068" y="517894"/>
                    </a:cubicBezTo>
                    <a:cubicBezTo>
                      <a:pt x="42647" y="518797"/>
                      <a:pt x="44227" y="519474"/>
                      <a:pt x="45581" y="520828"/>
                    </a:cubicBezTo>
                    <a:cubicBezTo>
                      <a:pt x="49416" y="524213"/>
                      <a:pt x="50996" y="528951"/>
                      <a:pt x="50319" y="531659"/>
                    </a:cubicBezTo>
                    <a:cubicBezTo>
                      <a:pt x="50319" y="532110"/>
                      <a:pt x="50093" y="532562"/>
                      <a:pt x="49868" y="533464"/>
                    </a:cubicBezTo>
                    <a:cubicBezTo>
                      <a:pt x="48965" y="536172"/>
                      <a:pt x="47160" y="541136"/>
                      <a:pt x="48514" y="544295"/>
                    </a:cubicBezTo>
                    <a:cubicBezTo>
                      <a:pt x="50319" y="549034"/>
                      <a:pt x="52350" y="555126"/>
                      <a:pt x="51899" y="560767"/>
                    </a:cubicBezTo>
                    <a:cubicBezTo>
                      <a:pt x="51447" y="565055"/>
                      <a:pt x="51673" y="565957"/>
                      <a:pt x="53253" y="571147"/>
                    </a:cubicBezTo>
                    <a:lnTo>
                      <a:pt x="53704" y="572727"/>
                    </a:lnTo>
                    <a:cubicBezTo>
                      <a:pt x="54832" y="576337"/>
                      <a:pt x="56637" y="580399"/>
                      <a:pt x="58442" y="584911"/>
                    </a:cubicBezTo>
                    <a:cubicBezTo>
                      <a:pt x="60022" y="588522"/>
                      <a:pt x="61601" y="592132"/>
                      <a:pt x="62955" y="596194"/>
                    </a:cubicBezTo>
                    <a:cubicBezTo>
                      <a:pt x="64535" y="600256"/>
                      <a:pt x="66791" y="603640"/>
                      <a:pt x="68596" y="606574"/>
                    </a:cubicBezTo>
                    <a:cubicBezTo>
                      <a:pt x="70853" y="609958"/>
                      <a:pt x="72884" y="613117"/>
                      <a:pt x="72884" y="616051"/>
                    </a:cubicBezTo>
                    <a:cubicBezTo>
                      <a:pt x="72884" y="621015"/>
                      <a:pt x="73561" y="628235"/>
                      <a:pt x="78299" y="638164"/>
                    </a:cubicBezTo>
                    <a:cubicBezTo>
                      <a:pt x="82135" y="646287"/>
                      <a:pt x="82361" y="650349"/>
                      <a:pt x="82361" y="655539"/>
                    </a:cubicBezTo>
                    <a:cubicBezTo>
                      <a:pt x="82361" y="657570"/>
                      <a:pt x="82361" y="659600"/>
                      <a:pt x="82586" y="662308"/>
                    </a:cubicBezTo>
                    <a:cubicBezTo>
                      <a:pt x="83263" y="668400"/>
                      <a:pt x="82812" y="672688"/>
                      <a:pt x="82361" y="676975"/>
                    </a:cubicBezTo>
                    <a:cubicBezTo>
                      <a:pt x="82135" y="679909"/>
                      <a:pt x="81684" y="682842"/>
                      <a:pt x="81684" y="686452"/>
                    </a:cubicBezTo>
                    <a:cubicBezTo>
                      <a:pt x="81684" y="690740"/>
                      <a:pt x="83489" y="697058"/>
                      <a:pt x="85294" y="702925"/>
                    </a:cubicBezTo>
                    <a:cubicBezTo>
                      <a:pt x="87099" y="708791"/>
                      <a:pt x="88905" y="714884"/>
                      <a:pt x="89130" y="719622"/>
                    </a:cubicBezTo>
                    <a:cubicBezTo>
                      <a:pt x="89356" y="725715"/>
                      <a:pt x="93192" y="737448"/>
                      <a:pt x="96577" y="747828"/>
                    </a:cubicBezTo>
                    <a:cubicBezTo>
                      <a:pt x="98156" y="752792"/>
                      <a:pt x="99736" y="757305"/>
                      <a:pt x="100864" y="761141"/>
                    </a:cubicBezTo>
                    <a:cubicBezTo>
                      <a:pt x="101766" y="764526"/>
                      <a:pt x="102895" y="768362"/>
                      <a:pt x="104248" y="772198"/>
                    </a:cubicBezTo>
                    <a:cubicBezTo>
                      <a:pt x="111018" y="775131"/>
                      <a:pt x="115982" y="776711"/>
                      <a:pt x="119141" y="777162"/>
                    </a:cubicBezTo>
                    <a:cubicBezTo>
                      <a:pt x="133357" y="779193"/>
                      <a:pt x="139449" y="780547"/>
                      <a:pt x="146670" y="788444"/>
                    </a:cubicBezTo>
                    <a:cubicBezTo>
                      <a:pt x="149603" y="791603"/>
                      <a:pt x="152537" y="792957"/>
                      <a:pt x="155019" y="794085"/>
                    </a:cubicBezTo>
                    <a:cubicBezTo>
                      <a:pt x="158178" y="795665"/>
                      <a:pt x="161563" y="797019"/>
                      <a:pt x="161111" y="801757"/>
                    </a:cubicBezTo>
                    <a:cubicBezTo>
                      <a:pt x="160886" y="803563"/>
                      <a:pt x="162240" y="804691"/>
                      <a:pt x="164496" y="806496"/>
                    </a:cubicBezTo>
                    <a:cubicBezTo>
                      <a:pt x="167429" y="808752"/>
                      <a:pt x="171040" y="811911"/>
                      <a:pt x="171040" y="817778"/>
                    </a:cubicBezTo>
                    <a:cubicBezTo>
                      <a:pt x="171040" y="826804"/>
                      <a:pt x="171491" y="828384"/>
                      <a:pt x="177583" y="835379"/>
                    </a:cubicBezTo>
                    <a:lnTo>
                      <a:pt x="178486" y="836507"/>
                    </a:lnTo>
                    <a:cubicBezTo>
                      <a:pt x="184127" y="843276"/>
                      <a:pt x="188640" y="848692"/>
                      <a:pt x="201051" y="856364"/>
                    </a:cubicBezTo>
                    <a:cubicBezTo>
                      <a:pt x="211656" y="862908"/>
                      <a:pt x="211882" y="863133"/>
                      <a:pt x="215041" y="867195"/>
                    </a:cubicBezTo>
                    <a:cubicBezTo>
                      <a:pt x="215718" y="868097"/>
                      <a:pt x="216620" y="869226"/>
                      <a:pt x="217749" y="870579"/>
                    </a:cubicBezTo>
                    <a:cubicBezTo>
                      <a:pt x="223390" y="877349"/>
                      <a:pt x="239636" y="884344"/>
                      <a:pt x="248662" y="886149"/>
                    </a:cubicBezTo>
                    <a:cubicBezTo>
                      <a:pt x="250467" y="886601"/>
                      <a:pt x="252272" y="886826"/>
                      <a:pt x="254078" y="887052"/>
                    </a:cubicBezTo>
                    <a:cubicBezTo>
                      <a:pt x="262426" y="888180"/>
                      <a:pt x="272581" y="889534"/>
                      <a:pt x="281606" y="900590"/>
                    </a:cubicBezTo>
                    <a:cubicBezTo>
                      <a:pt x="290407" y="911647"/>
                      <a:pt x="291309" y="911873"/>
                      <a:pt x="294920" y="913227"/>
                    </a:cubicBezTo>
                    <a:cubicBezTo>
                      <a:pt x="295597" y="913452"/>
                      <a:pt x="296273" y="913678"/>
                      <a:pt x="297176" y="914129"/>
                    </a:cubicBezTo>
                    <a:cubicBezTo>
                      <a:pt x="300561" y="915483"/>
                      <a:pt x="303494" y="918642"/>
                      <a:pt x="305751" y="921124"/>
                    </a:cubicBezTo>
                    <a:cubicBezTo>
                      <a:pt x="306879" y="922478"/>
                      <a:pt x="308910" y="924509"/>
                      <a:pt x="309587" y="924734"/>
                    </a:cubicBezTo>
                    <a:cubicBezTo>
                      <a:pt x="308458" y="924960"/>
                      <a:pt x="309812" y="924960"/>
                      <a:pt x="311392" y="924960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xmlns="" id="{40C86ADE-20E3-43CC-96A6-01756A60513D}"/>
                  </a:ext>
                </a:extLst>
              </p:cNvPr>
              <p:cNvSpPr/>
              <p:nvPr/>
            </p:nvSpPr>
            <p:spPr>
              <a:xfrm>
                <a:off x="8861628" y="4474067"/>
                <a:ext cx="315905" cy="631809"/>
              </a:xfrm>
              <a:custGeom>
                <a:avLst/>
                <a:gdLst>
                  <a:gd name="connsiteX0" fmla="*/ 291986 w 315904"/>
                  <a:gd name="connsiteY0" fmla="*/ 633388 h 631809"/>
                  <a:gd name="connsiteX1" fmla="*/ 290858 w 315904"/>
                  <a:gd name="connsiteY1" fmla="*/ 632486 h 631809"/>
                  <a:gd name="connsiteX2" fmla="*/ 288376 w 315904"/>
                  <a:gd name="connsiteY2" fmla="*/ 630906 h 631809"/>
                  <a:gd name="connsiteX3" fmla="*/ 268519 w 315904"/>
                  <a:gd name="connsiteY3" fmla="*/ 613983 h 631809"/>
                  <a:gd name="connsiteX4" fmla="*/ 258139 w 315904"/>
                  <a:gd name="connsiteY4" fmla="*/ 603377 h 631809"/>
                  <a:gd name="connsiteX5" fmla="*/ 225646 w 315904"/>
                  <a:gd name="connsiteY5" fmla="*/ 556894 h 631809"/>
                  <a:gd name="connsiteX6" fmla="*/ 220005 w 315904"/>
                  <a:gd name="connsiteY6" fmla="*/ 548997 h 631809"/>
                  <a:gd name="connsiteX7" fmla="*/ 212559 w 315904"/>
                  <a:gd name="connsiteY7" fmla="*/ 538843 h 631809"/>
                  <a:gd name="connsiteX8" fmla="*/ 209625 w 315904"/>
                  <a:gd name="connsiteY8" fmla="*/ 529817 h 631809"/>
                  <a:gd name="connsiteX9" fmla="*/ 195861 w 315904"/>
                  <a:gd name="connsiteY9" fmla="*/ 495519 h 631809"/>
                  <a:gd name="connsiteX10" fmla="*/ 179163 w 315904"/>
                  <a:gd name="connsiteY10" fmla="*/ 441815 h 631809"/>
                  <a:gd name="connsiteX11" fmla="*/ 176907 w 315904"/>
                  <a:gd name="connsiteY11" fmla="*/ 413383 h 631809"/>
                  <a:gd name="connsiteX12" fmla="*/ 174424 w 315904"/>
                  <a:gd name="connsiteY12" fmla="*/ 385629 h 631809"/>
                  <a:gd name="connsiteX13" fmla="*/ 156147 w 315904"/>
                  <a:gd name="connsiteY13" fmla="*/ 336664 h 631809"/>
                  <a:gd name="connsiteX14" fmla="*/ 152086 w 315904"/>
                  <a:gd name="connsiteY14" fmla="*/ 327187 h 631809"/>
                  <a:gd name="connsiteX15" fmla="*/ 132229 w 315904"/>
                  <a:gd name="connsiteY15" fmla="*/ 274611 h 631809"/>
                  <a:gd name="connsiteX16" fmla="*/ 129972 w 315904"/>
                  <a:gd name="connsiteY16" fmla="*/ 262878 h 631809"/>
                  <a:gd name="connsiteX17" fmla="*/ 125685 w 315904"/>
                  <a:gd name="connsiteY17" fmla="*/ 244149 h 631809"/>
                  <a:gd name="connsiteX18" fmla="*/ 109890 w 315904"/>
                  <a:gd name="connsiteY18" fmla="*/ 200374 h 631809"/>
                  <a:gd name="connsiteX19" fmla="*/ 106956 w 315904"/>
                  <a:gd name="connsiteY19" fmla="*/ 193604 h 631809"/>
                  <a:gd name="connsiteX20" fmla="*/ 100187 w 315904"/>
                  <a:gd name="connsiteY20" fmla="*/ 182322 h 631809"/>
                  <a:gd name="connsiteX21" fmla="*/ 87099 w 315904"/>
                  <a:gd name="connsiteY21" fmla="*/ 159983 h 631809"/>
                  <a:gd name="connsiteX22" fmla="*/ 81458 w 315904"/>
                  <a:gd name="connsiteY22" fmla="*/ 149152 h 631809"/>
                  <a:gd name="connsiteX23" fmla="*/ 79879 w 315904"/>
                  <a:gd name="connsiteY23" fmla="*/ 147572 h 631809"/>
                  <a:gd name="connsiteX24" fmla="*/ 61827 w 315904"/>
                  <a:gd name="connsiteY24" fmla="*/ 124782 h 631809"/>
                  <a:gd name="connsiteX25" fmla="*/ 26401 w 315904"/>
                  <a:gd name="connsiteY25" fmla="*/ 67919 h 631809"/>
                  <a:gd name="connsiteX26" fmla="*/ 19180 w 315904"/>
                  <a:gd name="connsiteY26" fmla="*/ 54606 h 631809"/>
                  <a:gd name="connsiteX27" fmla="*/ 8800 w 315904"/>
                  <a:gd name="connsiteY27" fmla="*/ 31816 h 631809"/>
                  <a:gd name="connsiteX28" fmla="*/ 1354 w 315904"/>
                  <a:gd name="connsiteY28" fmla="*/ 4738 h 631809"/>
                  <a:gd name="connsiteX29" fmla="*/ 0 w 315904"/>
                  <a:gd name="connsiteY29" fmla="*/ 0 h 631809"/>
                  <a:gd name="connsiteX30" fmla="*/ 3836 w 315904"/>
                  <a:gd name="connsiteY30" fmla="*/ 1579 h 631809"/>
                  <a:gd name="connsiteX31" fmla="*/ 19406 w 315904"/>
                  <a:gd name="connsiteY31" fmla="*/ 6995 h 631809"/>
                  <a:gd name="connsiteX32" fmla="*/ 46934 w 315904"/>
                  <a:gd name="connsiteY32" fmla="*/ 18277 h 631809"/>
                  <a:gd name="connsiteX33" fmla="*/ 55283 w 315904"/>
                  <a:gd name="connsiteY33" fmla="*/ 23918 h 631809"/>
                  <a:gd name="connsiteX34" fmla="*/ 61376 w 315904"/>
                  <a:gd name="connsiteY34" fmla="*/ 31590 h 631809"/>
                  <a:gd name="connsiteX35" fmla="*/ 64760 w 315904"/>
                  <a:gd name="connsiteY35" fmla="*/ 36329 h 631809"/>
                  <a:gd name="connsiteX36" fmla="*/ 71304 w 315904"/>
                  <a:gd name="connsiteY36" fmla="*/ 47611 h 631809"/>
                  <a:gd name="connsiteX37" fmla="*/ 77848 w 315904"/>
                  <a:gd name="connsiteY37" fmla="*/ 65212 h 631809"/>
                  <a:gd name="connsiteX38" fmla="*/ 78751 w 315904"/>
                  <a:gd name="connsiteY38" fmla="*/ 66340 h 631809"/>
                  <a:gd name="connsiteX39" fmla="*/ 101315 w 315904"/>
                  <a:gd name="connsiteY39" fmla="*/ 86197 h 631809"/>
                  <a:gd name="connsiteX40" fmla="*/ 115305 w 315904"/>
                  <a:gd name="connsiteY40" fmla="*/ 97028 h 631809"/>
                  <a:gd name="connsiteX41" fmla="*/ 118013 w 315904"/>
                  <a:gd name="connsiteY41" fmla="*/ 100412 h 631809"/>
                  <a:gd name="connsiteX42" fmla="*/ 148926 w 315904"/>
                  <a:gd name="connsiteY42" fmla="*/ 115982 h 631809"/>
                  <a:gd name="connsiteX43" fmla="*/ 154342 w 315904"/>
                  <a:gd name="connsiteY43" fmla="*/ 116885 h 631809"/>
                  <a:gd name="connsiteX44" fmla="*/ 181871 w 315904"/>
                  <a:gd name="connsiteY44" fmla="*/ 130423 h 631809"/>
                  <a:gd name="connsiteX45" fmla="*/ 195184 w 315904"/>
                  <a:gd name="connsiteY45" fmla="*/ 143060 h 631809"/>
                  <a:gd name="connsiteX46" fmla="*/ 197440 w 315904"/>
                  <a:gd name="connsiteY46" fmla="*/ 143962 h 631809"/>
                  <a:gd name="connsiteX47" fmla="*/ 206015 w 315904"/>
                  <a:gd name="connsiteY47" fmla="*/ 150957 h 631809"/>
                  <a:gd name="connsiteX48" fmla="*/ 207820 w 315904"/>
                  <a:gd name="connsiteY48" fmla="*/ 152762 h 631809"/>
                  <a:gd name="connsiteX49" fmla="*/ 208723 w 315904"/>
                  <a:gd name="connsiteY49" fmla="*/ 153665 h 631809"/>
                  <a:gd name="connsiteX50" fmla="*/ 208271 w 315904"/>
                  <a:gd name="connsiteY50" fmla="*/ 154793 h 631809"/>
                  <a:gd name="connsiteX51" fmla="*/ 203082 w 315904"/>
                  <a:gd name="connsiteY51" fmla="*/ 162691 h 631809"/>
                  <a:gd name="connsiteX52" fmla="*/ 188866 w 315904"/>
                  <a:gd name="connsiteY52" fmla="*/ 170588 h 631809"/>
                  <a:gd name="connsiteX53" fmla="*/ 181420 w 315904"/>
                  <a:gd name="connsiteY53" fmla="*/ 175553 h 631809"/>
                  <a:gd name="connsiteX54" fmla="*/ 189091 w 315904"/>
                  <a:gd name="connsiteY54" fmla="*/ 182548 h 631809"/>
                  <a:gd name="connsiteX55" fmla="*/ 194958 w 315904"/>
                  <a:gd name="connsiteY55" fmla="*/ 185932 h 631809"/>
                  <a:gd name="connsiteX56" fmla="*/ 202179 w 315904"/>
                  <a:gd name="connsiteY56" fmla="*/ 189994 h 631809"/>
                  <a:gd name="connsiteX57" fmla="*/ 220908 w 315904"/>
                  <a:gd name="connsiteY57" fmla="*/ 204886 h 631809"/>
                  <a:gd name="connsiteX58" fmla="*/ 217072 w 315904"/>
                  <a:gd name="connsiteY58" fmla="*/ 211205 h 631809"/>
                  <a:gd name="connsiteX59" fmla="*/ 214815 w 315904"/>
                  <a:gd name="connsiteY59" fmla="*/ 213687 h 631809"/>
                  <a:gd name="connsiteX60" fmla="*/ 216846 w 315904"/>
                  <a:gd name="connsiteY60" fmla="*/ 216169 h 631809"/>
                  <a:gd name="connsiteX61" fmla="*/ 227451 w 315904"/>
                  <a:gd name="connsiteY61" fmla="*/ 218200 h 631809"/>
                  <a:gd name="connsiteX62" fmla="*/ 240087 w 315904"/>
                  <a:gd name="connsiteY62" fmla="*/ 220456 h 631809"/>
                  <a:gd name="connsiteX63" fmla="*/ 242344 w 315904"/>
                  <a:gd name="connsiteY63" fmla="*/ 222036 h 631809"/>
                  <a:gd name="connsiteX64" fmla="*/ 252724 w 315904"/>
                  <a:gd name="connsiteY64" fmla="*/ 234220 h 631809"/>
                  <a:gd name="connsiteX65" fmla="*/ 243924 w 315904"/>
                  <a:gd name="connsiteY65" fmla="*/ 246631 h 631809"/>
                  <a:gd name="connsiteX66" fmla="*/ 237154 w 315904"/>
                  <a:gd name="connsiteY66" fmla="*/ 254529 h 631809"/>
                  <a:gd name="connsiteX67" fmla="*/ 246857 w 315904"/>
                  <a:gd name="connsiteY67" fmla="*/ 262201 h 631809"/>
                  <a:gd name="connsiteX68" fmla="*/ 254529 w 315904"/>
                  <a:gd name="connsiteY68" fmla="*/ 266714 h 631809"/>
                  <a:gd name="connsiteX69" fmla="*/ 262201 w 315904"/>
                  <a:gd name="connsiteY69" fmla="*/ 296048 h 631809"/>
                  <a:gd name="connsiteX70" fmla="*/ 258139 w 315904"/>
                  <a:gd name="connsiteY70" fmla="*/ 301012 h 631809"/>
                  <a:gd name="connsiteX71" fmla="*/ 254755 w 315904"/>
                  <a:gd name="connsiteY71" fmla="*/ 311391 h 631809"/>
                  <a:gd name="connsiteX72" fmla="*/ 263555 w 315904"/>
                  <a:gd name="connsiteY72" fmla="*/ 348172 h 631809"/>
                  <a:gd name="connsiteX73" fmla="*/ 270775 w 315904"/>
                  <a:gd name="connsiteY73" fmla="*/ 353362 h 631809"/>
                  <a:gd name="connsiteX74" fmla="*/ 281832 w 315904"/>
                  <a:gd name="connsiteY74" fmla="*/ 352459 h 631809"/>
                  <a:gd name="connsiteX75" fmla="*/ 285894 w 315904"/>
                  <a:gd name="connsiteY75" fmla="*/ 349526 h 631809"/>
                  <a:gd name="connsiteX76" fmla="*/ 300335 w 315904"/>
                  <a:gd name="connsiteY76" fmla="*/ 342756 h 631809"/>
                  <a:gd name="connsiteX77" fmla="*/ 318161 w 315904"/>
                  <a:gd name="connsiteY77" fmla="*/ 357649 h 631809"/>
                  <a:gd name="connsiteX78" fmla="*/ 313874 w 315904"/>
                  <a:gd name="connsiteY78" fmla="*/ 372090 h 631809"/>
                  <a:gd name="connsiteX79" fmla="*/ 311392 w 315904"/>
                  <a:gd name="connsiteY79" fmla="*/ 375475 h 631809"/>
                  <a:gd name="connsiteX80" fmla="*/ 312294 w 315904"/>
                  <a:gd name="connsiteY80" fmla="*/ 380439 h 631809"/>
                  <a:gd name="connsiteX81" fmla="*/ 315228 w 315904"/>
                  <a:gd name="connsiteY81" fmla="*/ 385178 h 631809"/>
                  <a:gd name="connsiteX82" fmla="*/ 313648 w 315904"/>
                  <a:gd name="connsiteY82" fmla="*/ 396235 h 631809"/>
                  <a:gd name="connsiteX83" fmla="*/ 311166 w 315904"/>
                  <a:gd name="connsiteY83" fmla="*/ 406163 h 631809"/>
                  <a:gd name="connsiteX84" fmla="*/ 308458 w 315904"/>
                  <a:gd name="connsiteY84" fmla="*/ 428502 h 631809"/>
                  <a:gd name="connsiteX85" fmla="*/ 309135 w 315904"/>
                  <a:gd name="connsiteY85" fmla="*/ 438882 h 631809"/>
                  <a:gd name="connsiteX86" fmla="*/ 314099 w 315904"/>
                  <a:gd name="connsiteY86" fmla="*/ 445425 h 631809"/>
                  <a:gd name="connsiteX87" fmla="*/ 317484 w 315904"/>
                  <a:gd name="connsiteY87" fmla="*/ 445425 h 631809"/>
                  <a:gd name="connsiteX88" fmla="*/ 327864 w 315904"/>
                  <a:gd name="connsiteY88" fmla="*/ 450164 h 631809"/>
                  <a:gd name="connsiteX89" fmla="*/ 327864 w 315904"/>
                  <a:gd name="connsiteY89" fmla="*/ 450164 h 631809"/>
                  <a:gd name="connsiteX90" fmla="*/ 329443 w 315904"/>
                  <a:gd name="connsiteY90" fmla="*/ 476113 h 631809"/>
                  <a:gd name="connsiteX91" fmla="*/ 326510 w 315904"/>
                  <a:gd name="connsiteY91" fmla="*/ 479949 h 631809"/>
                  <a:gd name="connsiteX92" fmla="*/ 316356 w 315904"/>
                  <a:gd name="connsiteY92" fmla="*/ 501837 h 631809"/>
                  <a:gd name="connsiteX93" fmla="*/ 309361 w 315904"/>
                  <a:gd name="connsiteY93" fmla="*/ 517181 h 631809"/>
                  <a:gd name="connsiteX94" fmla="*/ 305299 w 315904"/>
                  <a:gd name="connsiteY94" fmla="*/ 521468 h 631809"/>
                  <a:gd name="connsiteX95" fmla="*/ 307781 w 315904"/>
                  <a:gd name="connsiteY95" fmla="*/ 537037 h 631809"/>
                  <a:gd name="connsiteX96" fmla="*/ 307556 w 315904"/>
                  <a:gd name="connsiteY96" fmla="*/ 567951 h 631809"/>
                  <a:gd name="connsiteX97" fmla="*/ 308233 w 315904"/>
                  <a:gd name="connsiteY97" fmla="*/ 583521 h 631809"/>
                  <a:gd name="connsiteX98" fmla="*/ 310489 w 315904"/>
                  <a:gd name="connsiteY98" fmla="*/ 587131 h 631809"/>
                  <a:gd name="connsiteX99" fmla="*/ 308684 w 315904"/>
                  <a:gd name="connsiteY99" fmla="*/ 601121 h 631809"/>
                  <a:gd name="connsiteX100" fmla="*/ 305074 w 315904"/>
                  <a:gd name="connsiteY100" fmla="*/ 610147 h 631809"/>
                  <a:gd name="connsiteX101" fmla="*/ 293340 w 315904"/>
                  <a:gd name="connsiteY101" fmla="*/ 632260 h 631809"/>
                  <a:gd name="connsiteX102" fmla="*/ 291986 w 315904"/>
                  <a:gd name="connsiteY102" fmla="*/ 633388 h 631809"/>
                  <a:gd name="connsiteX103" fmla="*/ 6092 w 315904"/>
                  <a:gd name="connsiteY103" fmla="*/ 6769 h 631809"/>
                  <a:gd name="connsiteX104" fmla="*/ 12636 w 315904"/>
                  <a:gd name="connsiteY104" fmla="*/ 31139 h 631809"/>
                  <a:gd name="connsiteX105" fmla="*/ 22565 w 315904"/>
                  <a:gd name="connsiteY105" fmla="*/ 52801 h 631809"/>
                  <a:gd name="connsiteX106" fmla="*/ 30011 w 315904"/>
                  <a:gd name="connsiteY106" fmla="*/ 66566 h 631809"/>
                  <a:gd name="connsiteX107" fmla="*/ 64986 w 315904"/>
                  <a:gd name="connsiteY107" fmla="*/ 122526 h 631809"/>
                  <a:gd name="connsiteX108" fmla="*/ 82586 w 315904"/>
                  <a:gd name="connsiteY108" fmla="*/ 144865 h 631809"/>
                  <a:gd name="connsiteX109" fmla="*/ 83715 w 315904"/>
                  <a:gd name="connsiteY109" fmla="*/ 145993 h 631809"/>
                  <a:gd name="connsiteX110" fmla="*/ 90484 w 315904"/>
                  <a:gd name="connsiteY110" fmla="*/ 158855 h 631809"/>
                  <a:gd name="connsiteX111" fmla="*/ 101766 w 315904"/>
                  <a:gd name="connsiteY111" fmla="*/ 178712 h 631809"/>
                  <a:gd name="connsiteX112" fmla="*/ 109890 w 315904"/>
                  <a:gd name="connsiteY112" fmla="*/ 191799 h 631809"/>
                  <a:gd name="connsiteX113" fmla="*/ 112597 w 315904"/>
                  <a:gd name="connsiteY113" fmla="*/ 198117 h 631809"/>
                  <a:gd name="connsiteX114" fmla="*/ 128844 w 315904"/>
                  <a:gd name="connsiteY114" fmla="*/ 242795 h 631809"/>
                  <a:gd name="connsiteX115" fmla="*/ 133131 w 315904"/>
                  <a:gd name="connsiteY115" fmla="*/ 261975 h 631809"/>
                  <a:gd name="connsiteX116" fmla="*/ 135388 w 315904"/>
                  <a:gd name="connsiteY116" fmla="*/ 273257 h 631809"/>
                  <a:gd name="connsiteX117" fmla="*/ 155019 w 315904"/>
                  <a:gd name="connsiteY117" fmla="*/ 325156 h 631809"/>
                  <a:gd name="connsiteX118" fmla="*/ 159081 w 315904"/>
                  <a:gd name="connsiteY118" fmla="*/ 334633 h 631809"/>
                  <a:gd name="connsiteX119" fmla="*/ 177583 w 315904"/>
                  <a:gd name="connsiteY119" fmla="*/ 384275 h 631809"/>
                  <a:gd name="connsiteX120" fmla="*/ 180291 w 315904"/>
                  <a:gd name="connsiteY120" fmla="*/ 412932 h 631809"/>
                  <a:gd name="connsiteX121" fmla="*/ 182322 w 315904"/>
                  <a:gd name="connsiteY121" fmla="*/ 440912 h 631809"/>
                  <a:gd name="connsiteX122" fmla="*/ 198569 w 315904"/>
                  <a:gd name="connsiteY122" fmla="*/ 493262 h 631809"/>
                  <a:gd name="connsiteX123" fmla="*/ 212784 w 315904"/>
                  <a:gd name="connsiteY123" fmla="*/ 528463 h 631809"/>
                  <a:gd name="connsiteX124" fmla="*/ 215718 w 315904"/>
                  <a:gd name="connsiteY124" fmla="*/ 537263 h 631809"/>
                  <a:gd name="connsiteX125" fmla="*/ 222487 w 315904"/>
                  <a:gd name="connsiteY125" fmla="*/ 546289 h 631809"/>
                  <a:gd name="connsiteX126" fmla="*/ 229031 w 315904"/>
                  <a:gd name="connsiteY126" fmla="*/ 555766 h 631809"/>
                  <a:gd name="connsiteX127" fmla="*/ 260396 w 315904"/>
                  <a:gd name="connsiteY127" fmla="*/ 600444 h 631809"/>
                  <a:gd name="connsiteX128" fmla="*/ 271227 w 315904"/>
                  <a:gd name="connsiteY128" fmla="*/ 611501 h 631809"/>
                  <a:gd name="connsiteX129" fmla="*/ 290407 w 315904"/>
                  <a:gd name="connsiteY129" fmla="*/ 627522 h 631809"/>
                  <a:gd name="connsiteX130" fmla="*/ 291535 w 315904"/>
                  <a:gd name="connsiteY130" fmla="*/ 628424 h 631809"/>
                  <a:gd name="connsiteX131" fmla="*/ 301012 w 315904"/>
                  <a:gd name="connsiteY131" fmla="*/ 609019 h 631809"/>
                  <a:gd name="connsiteX132" fmla="*/ 305299 w 315904"/>
                  <a:gd name="connsiteY132" fmla="*/ 598639 h 631809"/>
                  <a:gd name="connsiteX133" fmla="*/ 306879 w 315904"/>
                  <a:gd name="connsiteY133" fmla="*/ 589162 h 631809"/>
                  <a:gd name="connsiteX134" fmla="*/ 304622 w 315904"/>
                  <a:gd name="connsiteY134" fmla="*/ 585552 h 631809"/>
                  <a:gd name="connsiteX135" fmla="*/ 303945 w 315904"/>
                  <a:gd name="connsiteY135" fmla="*/ 566146 h 631809"/>
                  <a:gd name="connsiteX136" fmla="*/ 304397 w 315904"/>
                  <a:gd name="connsiteY136" fmla="*/ 539294 h 631809"/>
                  <a:gd name="connsiteX137" fmla="*/ 301915 w 315904"/>
                  <a:gd name="connsiteY137" fmla="*/ 519212 h 631809"/>
                  <a:gd name="connsiteX138" fmla="*/ 306428 w 315904"/>
                  <a:gd name="connsiteY138" fmla="*/ 514473 h 631809"/>
                  <a:gd name="connsiteX139" fmla="*/ 312069 w 315904"/>
                  <a:gd name="connsiteY139" fmla="*/ 501837 h 631809"/>
                  <a:gd name="connsiteX140" fmla="*/ 323125 w 315904"/>
                  <a:gd name="connsiteY140" fmla="*/ 477918 h 631809"/>
                  <a:gd name="connsiteX141" fmla="*/ 326059 w 315904"/>
                  <a:gd name="connsiteY141" fmla="*/ 474308 h 631809"/>
                  <a:gd name="connsiteX142" fmla="*/ 324705 w 315904"/>
                  <a:gd name="connsiteY142" fmla="*/ 453097 h 631809"/>
                  <a:gd name="connsiteX143" fmla="*/ 324705 w 315904"/>
                  <a:gd name="connsiteY143" fmla="*/ 453097 h 631809"/>
                  <a:gd name="connsiteX144" fmla="*/ 318161 w 315904"/>
                  <a:gd name="connsiteY144" fmla="*/ 449487 h 631809"/>
                  <a:gd name="connsiteX145" fmla="*/ 312520 w 315904"/>
                  <a:gd name="connsiteY145" fmla="*/ 449487 h 631809"/>
                  <a:gd name="connsiteX146" fmla="*/ 305299 w 315904"/>
                  <a:gd name="connsiteY146" fmla="*/ 440687 h 631809"/>
                  <a:gd name="connsiteX147" fmla="*/ 304622 w 315904"/>
                  <a:gd name="connsiteY147" fmla="*/ 427148 h 631809"/>
                  <a:gd name="connsiteX148" fmla="*/ 306879 w 315904"/>
                  <a:gd name="connsiteY148" fmla="*/ 406840 h 631809"/>
                  <a:gd name="connsiteX149" fmla="*/ 309812 w 315904"/>
                  <a:gd name="connsiteY149" fmla="*/ 395332 h 631809"/>
                  <a:gd name="connsiteX150" fmla="*/ 311392 w 315904"/>
                  <a:gd name="connsiteY150" fmla="*/ 387208 h 631809"/>
                  <a:gd name="connsiteX151" fmla="*/ 308910 w 315904"/>
                  <a:gd name="connsiteY151" fmla="*/ 383373 h 631809"/>
                  <a:gd name="connsiteX152" fmla="*/ 307556 w 315904"/>
                  <a:gd name="connsiteY152" fmla="*/ 374347 h 631809"/>
                  <a:gd name="connsiteX153" fmla="*/ 310263 w 315904"/>
                  <a:gd name="connsiteY153" fmla="*/ 370285 h 631809"/>
                  <a:gd name="connsiteX154" fmla="*/ 313874 w 315904"/>
                  <a:gd name="connsiteY154" fmla="*/ 358552 h 631809"/>
                  <a:gd name="connsiteX155" fmla="*/ 299658 w 315904"/>
                  <a:gd name="connsiteY155" fmla="*/ 347043 h 631809"/>
                  <a:gd name="connsiteX156" fmla="*/ 287473 w 315904"/>
                  <a:gd name="connsiteY156" fmla="*/ 353136 h 631809"/>
                  <a:gd name="connsiteX157" fmla="*/ 283186 w 315904"/>
                  <a:gd name="connsiteY157" fmla="*/ 356070 h 631809"/>
                  <a:gd name="connsiteX158" fmla="*/ 269196 w 315904"/>
                  <a:gd name="connsiteY158" fmla="*/ 357423 h 631809"/>
                  <a:gd name="connsiteX159" fmla="*/ 259719 w 315904"/>
                  <a:gd name="connsiteY159" fmla="*/ 350428 h 631809"/>
                  <a:gd name="connsiteX160" fmla="*/ 250467 w 315904"/>
                  <a:gd name="connsiteY160" fmla="*/ 312068 h 631809"/>
                  <a:gd name="connsiteX161" fmla="*/ 254980 w 315904"/>
                  <a:gd name="connsiteY161" fmla="*/ 298755 h 631809"/>
                  <a:gd name="connsiteX162" fmla="*/ 258139 w 315904"/>
                  <a:gd name="connsiteY162" fmla="*/ 294919 h 631809"/>
                  <a:gd name="connsiteX163" fmla="*/ 251821 w 315904"/>
                  <a:gd name="connsiteY163" fmla="*/ 270324 h 631809"/>
                  <a:gd name="connsiteX164" fmla="*/ 244375 w 315904"/>
                  <a:gd name="connsiteY164" fmla="*/ 266037 h 631809"/>
                  <a:gd name="connsiteX165" fmla="*/ 232641 w 315904"/>
                  <a:gd name="connsiteY165" fmla="*/ 255206 h 631809"/>
                  <a:gd name="connsiteX166" fmla="*/ 240990 w 315904"/>
                  <a:gd name="connsiteY166" fmla="*/ 244149 h 631809"/>
                  <a:gd name="connsiteX167" fmla="*/ 248436 w 315904"/>
                  <a:gd name="connsiteY167" fmla="*/ 234672 h 631809"/>
                  <a:gd name="connsiteX168" fmla="*/ 239636 w 315904"/>
                  <a:gd name="connsiteY168" fmla="*/ 225420 h 631809"/>
                  <a:gd name="connsiteX169" fmla="*/ 237380 w 315904"/>
                  <a:gd name="connsiteY169" fmla="*/ 223841 h 631809"/>
                  <a:gd name="connsiteX170" fmla="*/ 227226 w 315904"/>
                  <a:gd name="connsiteY170" fmla="*/ 222261 h 631809"/>
                  <a:gd name="connsiteX171" fmla="*/ 214138 w 315904"/>
                  <a:gd name="connsiteY171" fmla="*/ 219554 h 631809"/>
                  <a:gd name="connsiteX172" fmla="*/ 210528 w 315904"/>
                  <a:gd name="connsiteY172" fmla="*/ 214138 h 631809"/>
                  <a:gd name="connsiteX173" fmla="*/ 214138 w 315904"/>
                  <a:gd name="connsiteY173" fmla="*/ 208723 h 631809"/>
                  <a:gd name="connsiteX174" fmla="*/ 216620 w 315904"/>
                  <a:gd name="connsiteY174" fmla="*/ 205789 h 631809"/>
                  <a:gd name="connsiteX175" fmla="*/ 199697 w 315904"/>
                  <a:gd name="connsiteY175" fmla="*/ 193830 h 631809"/>
                  <a:gd name="connsiteX176" fmla="*/ 192251 w 315904"/>
                  <a:gd name="connsiteY176" fmla="*/ 189768 h 631809"/>
                  <a:gd name="connsiteX177" fmla="*/ 186384 w 315904"/>
                  <a:gd name="connsiteY177" fmla="*/ 186384 h 631809"/>
                  <a:gd name="connsiteX178" fmla="*/ 176907 w 315904"/>
                  <a:gd name="connsiteY178" fmla="*/ 176230 h 631809"/>
                  <a:gd name="connsiteX179" fmla="*/ 186609 w 315904"/>
                  <a:gd name="connsiteY179" fmla="*/ 167880 h 631809"/>
                  <a:gd name="connsiteX180" fmla="*/ 200148 w 315904"/>
                  <a:gd name="connsiteY180" fmla="*/ 160209 h 631809"/>
                  <a:gd name="connsiteX181" fmla="*/ 203758 w 315904"/>
                  <a:gd name="connsiteY181" fmla="*/ 155244 h 631809"/>
                  <a:gd name="connsiteX182" fmla="*/ 202856 w 315904"/>
                  <a:gd name="connsiteY182" fmla="*/ 154116 h 631809"/>
                  <a:gd name="connsiteX183" fmla="*/ 195635 w 315904"/>
                  <a:gd name="connsiteY183" fmla="*/ 148024 h 631809"/>
                  <a:gd name="connsiteX184" fmla="*/ 193604 w 315904"/>
                  <a:gd name="connsiteY184" fmla="*/ 147121 h 631809"/>
                  <a:gd name="connsiteX185" fmla="*/ 178712 w 315904"/>
                  <a:gd name="connsiteY185" fmla="*/ 133357 h 631809"/>
                  <a:gd name="connsiteX186" fmla="*/ 153665 w 315904"/>
                  <a:gd name="connsiteY186" fmla="*/ 121172 h 631809"/>
                  <a:gd name="connsiteX187" fmla="*/ 147798 w 315904"/>
                  <a:gd name="connsiteY187" fmla="*/ 120269 h 631809"/>
                  <a:gd name="connsiteX188" fmla="*/ 114854 w 315904"/>
                  <a:gd name="connsiteY188" fmla="*/ 103346 h 631809"/>
                  <a:gd name="connsiteX189" fmla="*/ 111920 w 315904"/>
                  <a:gd name="connsiteY189" fmla="*/ 99736 h 631809"/>
                  <a:gd name="connsiteX190" fmla="*/ 98833 w 315904"/>
                  <a:gd name="connsiteY190" fmla="*/ 89807 h 631809"/>
                  <a:gd name="connsiteX191" fmla="*/ 75366 w 315904"/>
                  <a:gd name="connsiteY191" fmla="*/ 69048 h 631809"/>
                  <a:gd name="connsiteX192" fmla="*/ 74463 w 315904"/>
                  <a:gd name="connsiteY192" fmla="*/ 68145 h 631809"/>
                  <a:gd name="connsiteX193" fmla="*/ 67243 w 315904"/>
                  <a:gd name="connsiteY193" fmla="*/ 48062 h 631809"/>
                  <a:gd name="connsiteX194" fmla="*/ 62053 w 315904"/>
                  <a:gd name="connsiteY194" fmla="*/ 39714 h 631809"/>
                  <a:gd name="connsiteX195" fmla="*/ 57314 w 315904"/>
                  <a:gd name="connsiteY195" fmla="*/ 31590 h 631809"/>
                  <a:gd name="connsiteX196" fmla="*/ 53478 w 315904"/>
                  <a:gd name="connsiteY196" fmla="*/ 27529 h 631809"/>
                  <a:gd name="connsiteX197" fmla="*/ 44001 w 315904"/>
                  <a:gd name="connsiteY197" fmla="*/ 20985 h 631809"/>
                  <a:gd name="connsiteX198" fmla="*/ 18729 w 315904"/>
                  <a:gd name="connsiteY198" fmla="*/ 10831 h 631809"/>
                  <a:gd name="connsiteX199" fmla="*/ 6092 w 315904"/>
                  <a:gd name="connsiteY199" fmla="*/ 6769 h 63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</a:cxnLst>
                <a:rect l="l" t="t" r="r" b="b"/>
                <a:pathLst>
                  <a:path w="315904" h="631809">
                    <a:moveTo>
                      <a:pt x="291986" y="633388"/>
                    </a:moveTo>
                    <a:lnTo>
                      <a:pt x="290858" y="632486"/>
                    </a:lnTo>
                    <a:cubicBezTo>
                      <a:pt x="289955" y="631809"/>
                      <a:pt x="289278" y="631358"/>
                      <a:pt x="288376" y="630906"/>
                    </a:cubicBezTo>
                    <a:cubicBezTo>
                      <a:pt x="275965" y="623009"/>
                      <a:pt x="272581" y="618947"/>
                      <a:pt x="268519" y="613983"/>
                    </a:cubicBezTo>
                    <a:cubicBezTo>
                      <a:pt x="266037" y="611049"/>
                      <a:pt x="263329" y="607890"/>
                      <a:pt x="258139" y="603377"/>
                    </a:cubicBezTo>
                    <a:cubicBezTo>
                      <a:pt x="244375" y="591644"/>
                      <a:pt x="227226" y="563213"/>
                      <a:pt x="225646" y="556894"/>
                    </a:cubicBezTo>
                    <a:cubicBezTo>
                      <a:pt x="224969" y="554412"/>
                      <a:pt x="222487" y="551930"/>
                      <a:pt x="220005" y="548997"/>
                    </a:cubicBezTo>
                    <a:cubicBezTo>
                      <a:pt x="217072" y="545838"/>
                      <a:pt x="214138" y="542679"/>
                      <a:pt x="212559" y="538843"/>
                    </a:cubicBezTo>
                    <a:cubicBezTo>
                      <a:pt x="211656" y="536812"/>
                      <a:pt x="210754" y="533653"/>
                      <a:pt x="209625" y="529817"/>
                    </a:cubicBezTo>
                    <a:cubicBezTo>
                      <a:pt x="206466" y="519888"/>
                      <a:pt x="201953" y="505222"/>
                      <a:pt x="195861" y="495519"/>
                    </a:cubicBezTo>
                    <a:cubicBezTo>
                      <a:pt x="188414" y="483559"/>
                      <a:pt x="183225" y="466636"/>
                      <a:pt x="179163" y="441815"/>
                    </a:cubicBezTo>
                    <a:cubicBezTo>
                      <a:pt x="177583" y="432112"/>
                      <a:pt x="177358" y="422635"/>
                      <a:pt x="176907" y="413383"/>
                    </a:cubicBezTo>
                    <a:cubicBezTo>
                      <a:pt x="176681" y="403455"/>
                      <a:pt x="176230" y="393978"/>
                      <a:pt x="174424" y="385629"/>
                    </a:cubicBezTo>
                    <a:cubicBezTo>
                      <a:pt x="171040" y="370962"/>
                      <a:pt x="166978" y="361711"/>
                      <a:pt x="156147" y="336664"/>
                    </a:cubicBezTo>
                    <a:lnTo>
                      <a:pt x="152086" y="327187"/>
                    </a:lnTo>
                    <a:cubicBezTo>
                      <a:pt x="137870" y="294242"/>
                      <a:pt x="135613" y="288376"/>
                      <a:pt x="132229" y="274611"/>
                    </a:cubicBezTo>
                    <a:cubicBezTo>
                      <a:pt x="130875" y="268744"/>
                      <a:pt x="130423" y="265811"/>
                      <a:pt x="129972" y="262878"/>
                    </a:cubicBezTo>
                    <a:cubicBezTo>
                      <a:pt x="129295" y="258816"/>
                      <a:pt x="128618" y="255206"/>
                      <a:pt x="125685" y="244149"/>
                    </a:cubicBezTo>
                    <a:cubicBezTo>
                      <a:pt x="120721" y="225420"/>
                      <a:pt x="113274" y="206692"/>
                      <a:pt x="109890" y="200374"/>
                    </a:cubicBezTo>
                    <a:cubicBezTo>
                      <a:pt x="108761" y="198343"/>
                      <a:pt x="107859" y="195861"/>
                      <a:pt x="106956" y="193604"/>
                    </a:cubicBezTo>
                    <a:cubicBezTo>
                      <a:pt x="105151" y="189091"/>
                      <a:pt x="103346" y="184127"/>
                      <a:pt x="100187" y="182322"/>
                    </a:cubicBezTo>
                    <a:cubicBezTo>
                      <a:pt x="94546" y="178712"/>
                      <a:pt x="88679" y="168557"/>
                      <a:pt x="87099" y="159983"/>
                    </a:cubicBezTo>
                    <a:cubicBezTo>
                      <a:pt x="85971" y="153439"/>
                      <a:pt x="84392" y="151860"/>
                      <a:pt x="81458" y="149152"/>
                    </a:cubicBezTo>
                    <a:lnTo>
                      <a:pt x="79879" y="147572"/>
                    </a:lnTo>
                    <a:cubicBezTo>
                      <a:pt x="75817" y="143511"/>
                      <a:pt x="66566" y="131326"/>
                      <a:pt x="61827" y="124782"/>
                    </a:cubicBezTo>
                    <a:cubicBezTo>
                      <a:pt x="57088" y="118464"/>
                      <a:pt x="31139" y="79653"/>
                      <a:pt x="26401" y="67919"/>
                    </a:cubicBezTo>
                    <a:cubicBezTo>
                      <a:pt x="24595" y="63632"/>
                      <a:pt x="22113" y="59345"/>
                      <a:pt x="19180" y="54606"/>
                    </a:cubicBezTo>
                    <a:cubicBezTo>
                      <a:pt x="14893" y="47160"/>
                      <a:pt x="10380" y="39488"/>
                      <a:pt x="8800" y="31816"/>
                    </a:cubicBezTo>
                    <a:cubicBezTo>
                      <a:pt x="7221" y="23693"/>
                      <a:pt x="4287" y="13990"/>
                      <a:pt x="1354" y="4738"/>
                    </a:cubicBezTo>
                    <a:lnTo>
                      <a:pt x="0" y="0"/>
                    </a:lnTo>
                    <a:lnTo>
                      <a:pt x="3836" y="1579"/>
                    </a:lnTo>
                    <a:cubicBezTo>
                      <a:pt x="10831" y="4738"/>
                      <a:pt x="16247" y="6544"/>
                      <a:pt x="19406" y="6995"/>
                    </a:cubicBezTo>
                    <a:cubicBezTo>
                      <a:pt x="33621" y="9026"/>
                      <a:pt x="39714" y="10380"/>
                      <a:pt x="46934" y="18277"/>
                    </a:cubicBezTo>
                    <a:cubicBezTo>
                      <a:pt x="49868" y="21436"/>
                      <a:pt x="52801" y="22790"/>
                      <a:pt x="55283" y="23918"/>
                    </a:cubicBezTo>
                    <a:cubicBezTo>
                      <a:pt x="58442" y="25498"/>
                      <a:pt x="61827" y="26852"/>
                      <a:pt x="61376" y="31590"/>
                    </a:cubicBezTo>
                    <a:cubicBezTo>
                      <a:pt x="61150" y="33396"/>
                      <a:pt x="62504" y="34524"/>
                      <a:pt x="64760" y="36329"/>
                    </a:cubicBezTo>
                    <a:cubicBezTo>
                      <a:pt x="67694" y="38585"/>
                      <a:pt x="71304" y="41744"/>
                      <a:pt x="71304" y="47611"/>
                    </a:cubicBezTo>
                    <a:cubicBezTo>
                      <a:pt x="71304" y="56637"/>
                      <a:pt x="71755" y="58216"/>
                      <a:pt x="77848" y="65212"/>
                    </a:cubicBezTo>
                    <a:lnTo>
                      <a:pt x="78751" y="66340"/>
                    </a:lnTo>
                    <a:cubicBezTo>
                      <a:pt x="84392" y="73109"/>
                      <a:pt x="88905" y="78525"/>
                      <a:pt x="101315" y="86197"/>
                    </a:cubicBezTo>
                    <a:cubicBezTo>
                      <a:pt x="111920" y="92741"/>
                      <a:pt x="112146" y="92966"/>
                      <a:pt x="115305" y="97028"/>
                    </a:cubicBezTo>
                    <a:cubicBezTo>
                      <a:pt x="115982" y="97930"/>
                      <a:pt x="116885" y="99059"/>
                      <a:pt x="118013" y="100412"/>
                    </a:cubicBezTo>
                    <a:cubicBezTo>
                      <a:pt x="123654" y="107182"/>
                      <a:pt x="139901" y="114177"/>
                      <a:pt x="148926" y="115982"/>
                    </a:cubicBezTo>
                    <a:cubicBezTo>
                      <a:pt x="150732" y="116433"/>
                      <a:pt x="152537" y="116659"/>
                      <a:pt x="154342" y="116885"/>
                    </a:cubicBezTo>
                    <a:cubicBezTo>
                      <a:pt x="162691" y="118013"/>
                      <a:pt x="172845" y="119367"/>
                      <a:pt x="181871" y="130423"/>
                    </a:cubicBezTo>
                    <a:cubicBezTo>
                      <a:pt x="190671" y="141480"/>
                      <a:pt x="191574" y="141706"/>
                      <a:pt x="195184" y="143060"/>
                    </a:cubicBezTo>
                    <a:cubicBezTo>
                      <a:pt x="195861" y="143285"/>
                      <a:pt x="196538" y="143511"/>
                      <a:pt x="197440" y="143962"/>
                    </a:cubicBezTo>
                    <a:cubicBezTo>
                      <a:pt x="200825" y="145316"/>
                      <a:pt x="203758" y="148475"/>
                      <a:pt x="206015" y="150957"/>
                    </a:cubicBezTo>
                    <a:cubicBezTo>
                      <a:pt x="206692" y="151634"/>
                      <a:pt x="207143" y="152311"/>
                      <a:pt x="207820" y="152762"/>
                    </a:cubicBezTo>
                    <a:lnTo>
                      <a:pt x="208723" y="153665"/>
                    </a:lnTo>
                    <a:lnTo>
                      <a:pt x="208271" y="154793"/>
                    </a:lnTo>
                    <a:cubicBezTo>
                      <a:pt x="207143" y="158178"/>
                      <a:pt x="205338" y="160660"/>
                      <a:pt x="203082" y="162691"/>
                    </a:cubicBezTo>
                    <a:cubicBezTo>
                      <a:pt x="198117" y="166527"/>
                      <a:pt x="192927" y="168783"/>
                      <a:pt x="188866" y="170588"/>
                    </a:cubicBezTo>
                    <a:cubicBezTo>
                      <a:pt x="185030" y="172394"/>
                      <a:pt x="181420" y="173973"/>
                      <a:pt x="181420" y="175553"/>
                    </a:cubicBezTo>
                    <a:cubicBezTo>
                      <a:pt x="181420" y="178260"/>
                      <a:pt x="183450" y="179389"/>
                      <a:pt x="189091" y="182548"/>
                    </a:cubicBezTo>
                    <a:cubicBezTo>
                      <a:pt x="190897" y="183450"/>
                      <a:pt x="192702" y="184578"/>
                      <a:pt x="194958" y="185932"/>
                    </a:cubicBezTo>
                    <a:cubicBezTo>
                      <a:pt x="197215" y="187286"/>
                      <a:pt x="199697" y="188640"/>
                      <a:pt x="202179" y="189994"/>
                    </a:cubicBezTo>
                    <a:cubicBezTo>
                      <a:pt x="213461" y="196312"/>
                      <a:pt x="220456" y="200374"/>
                      <a:pt x="220908" y="204886"/>
                    </a:cubicBezTo>
                    <a:cubicBezTo>
                      <a:pt x="221359" y="207820"/>
                      <a:pt x="218877" y="209851"/>
                      <a:pt x="217072" y="211205"/>
                    </a:cubicBezTo>
                    <a:cubicBezTo>
                      <a:pt x="216169" y="211882"/>
                      <a:pt x="214815" y="213010"/>
                      <a:pt x="214815" y="213687"/>
                    </a:cubicBezTo>
                    <a:cubicBezTo>
                      <a:pt x="214815" y="213912"/>
                      <a:pt x="215041" y="214589"/>
                      <a:pt x="216846" y="216169"/>
                    </a:cubicBezTo>
                    <a:cubicBezTo>
                      <a:pt x="220456" y="218877"/>
                      <a:pt x="223615" y="218651"/>
                      <a:pt x="227451" y="218200"/>
                    </a:cubicBezTo>
                    <a:cubicBezTo>
                      <a:pt x="231287" y="217748"/>
                      <a:pt x="235575" y="217297"/>
                      <a:pt x="240087" y="220456"/>
                    </a:cubicBezTo>
                    <a:cubicBezTo>
                      <a:pt x="240764" y="220907"/>
                      <a:pt x="241667" y="221359"/>
                      <a:pt x="242344" y="222036"/>
                    </a:cubicBezTo>
                    <a:cubicBezTo>
                      <a:pt x="247083" y="225195"/>
                      <a:pt x="252724" y="228805"/>
                      <a:pt x="252724" y="234220"/>
                    </a:cubicBezTo>
                    <a:cubicBezTo>
                      <a:pt x="252724" y="238282"/>
                      <a:pt x="249790" y="242344"/>
                      <a:pt x="243924" y="246631"/>
                    </a:cubicBezTo>
                    <a:cubicBezTo>
                      <a:pt x="238282" y="250918"/>
                      <a:pt x="237154" y="253175"/>
                      <a:pt x="237154" y="254529"/>
                    </a:cubicBezTo>
                    <a:cubicBezTo>
                      <a:pt x="237380" y="257011"/>
                      <a:pt x="241667" y="259493"/>
                      <a:pt x="246857" y="262201"/>
                    </a:cubicBezTo>
                    <a:cubicBezTo>
                      <a:pt x="249113" y="263554"/>
                      <a:pt x="251821" y="264908"/>
                      <a:pt x="254529" y="266714"/>
                    </a:cubicBezTo>
                    <a:cubicBezTo>
                      <a:pt x="265360" y="273709"/>
                      <a:pt x="268068" y="284088"/>
                      <a:pt x="262201" y="296048"/>
                    </a:cubicBezTo>
                    <a:cubicBezTo>
                      <a:pt x="261073" y="298530"/>
                      <a:pt x="259493" y="299884"/>
                      <a:pt x="258139" y="301012"/>
                    </a:cubicBezTo>
                    <a:cubicBezTo>
                      <a:pt x="255883" y="303043"/>
                      <a:pt x="254529" y="304396"/>
                      <a:pt x="254755" y="311391"/>
                    </a:cubicBezTo>
                    <a:cubicBezTo>
                      <a:pt x="255431" y="323802"/>
                      <a:pt x="259493" y="340951"/>
                      <a:pt x="263555" y="348172"/>
                    </a:cubicBezTo>
                    <a:cubicBezTo>
                      <a:pt x="265360" y="351331"/>
                      <a:pt x="268519" y="352685"/>
                      <a:pt x="270775" y="353362"/>
                    </a:cubicBezTo>
                    <a:cubicBezTo>
                      <a:pt x="275063" y="354490"/>
                      <a:pt x="279801" y="353813"/>
                      <a:pt x="281832" y="352459"/>
                    </a:cubicBezTo>
                    <a:cubicBezTo>
                      <a:pt x="282960" y="351782"/>
                      <a:pt x="284540" y="350654"/>
                      <a:pt x="285894" y="349526"/>
                    </a:cubicBezTo>
                    <a:cubicBezTo>
                      <a:pt x="290181" y="346367"/>
                      <a:pt x="295145" y="342756"/>
                      <a:pt x="300335" y="342756"/>
                    </a:cubicBezTo>
                    <a:cubicBezTo>
                      <a:pt x="308458" y="342756"/>
                      <a:pt x="317259" y="347269"/>
                      <a:pt x="318161" y="357649"/>
                    </a:cubicBezTo>
                    <a:cubicBezTo>
                      <a:pt x="318838" y="365547"/>
                      <a:pt x="316130" y="368931"/>
                      <a:pt x="313874" y="372090"/>
                    </a:cubicBezTo>
                    <a:cubicBezTo>
                      <a:pt x="312971" y="373219"/>
                      <a:pt x="312069" y="374347"/>
                      <a:pt x="311392" y="375475"/>
                    </a:cubicBezTo>
                    <a:cubicBezTo>
                      <a:pt x="310263" y="377731"/>
                      <a:pt x="310715" y="378408"/>
                      <a:pt x="312294" y="380439"/>
                    </a:cubicBezTo>
                    <a:cubicBezTo>
                      <a:pt x="313197" y="381567"/>
                      <a:pt x="314325" y="383147"/>
                      <a:pt x="315228" y="385178"/>
                    </a:cubicBezTo>
                    <a:cubicBezTo>
                      <a:pt x="316582" y="388788"/>
                      <a:pt x="315228" y="392399"/>
                      <a:pt x="313648" y="396235"/>
                    </a:cubicBezTo>
                    <a:cubicBezTo>
                      <a:pt x="312294" y="399394"/>
                      <a:pt x="310940" y="402778"/>
                      <a:pt x="311166" y="406163"/>
                    </a:cubicBezTo>
                    <a:cubicBezTo>
                      <a:pt x="311392" y="414286"/>
                      <a:pt x="311617" y="422635"/>
                      <a:pt x="308458" y="428502"/>
                    </a:cubicBezTo>
                    <a:cubicBezTo>
                      <a:pt x="307330" y="430532"/>
                      <a:pt x="307781" y="434820"/>
                      <a:pt x="309135" y="438882"/>
                    </a:cubicBezTo>
                    <a:cubicBezTo>
                      <a:pt x="310489" y="442266"/>
                      <a:pt x="312520" y="444974"/>
                      <a:pt x="314099" y="445425"/>
                    </a:cubicBezTo>
                    <a:cubicBezTo>
                      <a:pt x="315453" y="445877"/>
                      <a:pt x="316356" y="445651"/>
                      <a:pt x="317484" y="445425"/>
                    </a:cubicBezTo>
                    <a:cubicBezTo>
                      <a:pt x="320418" y="444523"/>
                      <a:pt x="322900" y="444523"/>
                      <a:pt x="327864" y="450164"/>
                    </a:cubicBezTo>
                    <a:lnTo>
                      <a:pt x="327864" y="450164"/>
                    </a:lnTo>
                    <a:cubicBezTo>
                      <a:pt x="335084" y="458513"/>
                      <a:pt x="335761" y="467538"/>
                      <a:pt x="329443" y="476113"/>
                    </a:cubicBezTo>
                    <a:cubicBezTo>
                      <a:pt x="328541" y="477467"/>
                      <a:pt x="327638" y="478595"/>
                      <a:pt x="326510" y="479949"/>
                    </a:cubicBezTo>
                    <a:cubicBezTo>
                      <a:pt x="321546" y="486042"/>
                      <a:pt x="316582" y="492585"/>
                      <a:pt x="316356" y="501837"/>
                    </a:cubicBezTo>
                    <a:cubicBezTo>
                      <a:pt x="316130" y="511088"/>
                      <a:pt x="312971" y="514022"/>
                      <a:pt x="309361" y="517181"/>
                    </a:cubicBezTo>
                    <a:cubicBezTo>
                      <a:pt x="308007" y="518309"/>
                      <a:pt x="306653" y="519663"/>
                      <a:pt x="305299" y="521468"/>
                    </a:cubicBezTo>
                    <a:cubicBezTo>
                      <a:pt x="301463" y="526658"/>
                      <a:pt x="303043" y="530494"/>
                      <a:pt x="307781" y="537037"/>
                    </a:cubicBezTo>
                    <a:cubicBezTo>
                      <a:pt x="312520" y="543581"/>
                      <a:pt x="312520" y="559602"/>
                      <a:pt x="307556" y="567951"/>
                    </a:cubicBezTo>
                    <a:cubicBezTo>
                      <a:pt x="303720" y="574720"/>
                      <a:pt x="303945" y="576526"/>
                      <a:pt x="308233" y="583521"/>
                    </a:cubicBezTo>
                    <a:cubicBezTo>
                      <a:pt x="309135" y="584875"/>
                      <a:pt x="309812" y="586003"/>
                      <a:pt x="310489" y="587131"/>
                    </a:cubicBezTo>
                    <a:cubicBezTo>
                      <a:pt x="313874" y="592095"/>
                      <a:pt x="314325" y="594352"/>
                      <a:pt x="308684" y="601121"/>
                    </a:cubicBezTo>
                    <a:cubicBezTo>
                      <a:pt x="307330" y="602926"/>
                      <a:pt x="306202" y="606311"/>
                      <a:pt x="305074" y="610147"/>
                    </a:cubicBezTo>
                    <a:cubicBezTo>
                      <a:pt x="303043" y="617368"/>
                      <a:pt x="300561" y="626168"/>
                      <a:pt x="293340" y="632260"/>
                    </a:cubicBezTo>
                    <a:lnTo>
                      <a:pt x="291986" y="633388"/>
                    </a:lnTo>
                    <a:close/>
                    <a:moveTo>
                      <a:pt x="6092" y="6769"/>
                    </a:moveTo>
                    <a:cubicBezTo>
                      <a:pt x="8575" y="15118"/>
                      <a:pt x="11282" y="23693"/>
                      <a:pt x="12636" y="31139"/>
                    </a:cubicBezTo>
                    <a:cubicBezTo>
                      <a:pt x="13990" y="38360"/>
                      <a:pt x="18277" y="45580"/>
                      <a:pt x="22565" y="52801"/>
                    </a:cubicBezTo>
                    <a:cubicBezTo>
                      <a:pt x="25272" y="57539"/>
                      <a:pt x="27980" y="62053"/>
                      <a:pt x="30011" y="66566"/>
                    </a:cubicBezTo>
                    <a:cubicBezTo>
                      <a:pt x="34524" y="77622"/>
                      <a:pt x="59345" y="114854"/>
                      <a:pt x="64986" y="122526"/>
                    </a:cubicBezTo>
                    <a:cubicBezTo>
                      <a:pt x="71079" y="130874"/>
                      <a:pt x="79427" y="141480"/>
                      <a:pt x="82586" y="144865"/>
                    </a:cubicBezTo>
                    <a:lnTo>
                      <a:pt x="83715" y="145993"/>
                    </a:lnTo>
                    <a:cubicBezTo>
                      <a:pt x="86874" y="149152"/>
                      <a:pt x="89130" y="151183"/>
                      <a:pt x="90484" y="158855"/>
                    </a:cubicBezTo>
                    <a:cubicBezTo>
                      <a:pt x="91838" y="166301"/>
                      <a:pt x="97254" y="175778"/>
                      <a:pt x="101766" y="178712"/>
                    </a:cubicBezTo>
                    <a:cubicBezTo>
                      <a:pt x="105828" y="181194"/>
                      <a:pt x="107859" y="186609"/>
                      <a:pt x="109890" y="191799"/>
                    </a:cubicBezTo>
                    <a:cubicBezTo>
                      <a:pt x="110792" y="194055"/>
                      <a:pt x="111695" y="196312"/>
                      <a:pt x="112597" y="198117"/>
                    </a:cubicBezTo>
                    <a:cubicBezTo>
                      <a:pt x="115982" y="204661"/>
                      <a:pt x="123654" y="223615"/>
                      <a:pt x="128844" y="242795"/>
                    </a:cubicBezTo>
                    <a:cubicBezTo>
                      <a:pt x="131777" y="254077"/>
                      <a:pt x="132454" y="258139"/>
                      <a:pt x="133131" y="261975"/>
                    </a:cubicBezTo>
                    <a:cubicBezTo>
                      <a:pt x="133583" y="264683"/>
                      <a:pt x="134034" y="267616"/>
                      <a:pt x="135388" y="273257"/>
                    </a:cubicBezTo>
                    <a:cubicBezTo>
                      <a:pt x="138547" y="286570"/>
                      <a:pt x="140803" y="292437"/>
                      <a:pt x="155019" y="325156"/>
                    </a:cubicBezTo>
                    <a:lnTo>
                      <a:pt x="159081" y="334633"/>
                    </a:lnTo>
                    <a:cubicBezTo>
                      <a:pt x="170137" y="359905"/>
                      <a:pt x="174199" y="369383"/>
                      <a:pt x="177583" y="384275"/>
                    </a:cubicBezTo>
                    <a:cubicBezTo>
                      <a:pt x="179614" y="393075"/>
                      <a:pt x="179840" y="402778"/>
                      <a:pt x="180291" y="412932"/>
                    </a:cubicBezTo>
                    <a:cubicBezTo>
                      <a:pt x="180517" y="421958"/>
                      <a:pt x="180743" y="431435"/>
                      <a:pt x="182322" y="440912"/>
                    </a:cubicBezTo>
                    <a:cubicBezTo>
                      <a:pt x="186384" y="465282"/>
                      <a:pt x="191348" y="481980"/>
                      <a:pt x="198569" y="493262"/>
                    </a:cubicBezTo>
                    <a:cubicBezTo>
                      <a:pt x="204887" y="503416"/>
                      <a:pt x="209625" y="518535"/>
                      <a:pt x="212784" y="528463"/>
                    </a:cubicBezTo>
                    <a:cubicBezTo>
                      <a:pt x="213913" y="532073"/>
                      <a:pt x="215041" y="535458"/>
                      <a:pt x="215718" y="537263"/>
                    </a:cubicBezTo>
                    <a:cubicBezTo>
                      <a:pt x="217072" y="540422"/>
                      <a:pt x="219779" y="543356"/>
                      <a:pt x="222487" y="546289"/>
                    </a:cubicBezTo>
                    <a:cubicBezTo>
                      <a:pt x="225421" y="549448"/>
                      <a:pt x="228128" y="552607"/>
                      <a:pt x="229031" y="555766"/>
                    </a:cubicBezTo>
                    <a:cubicBezTo>
                      <a:pt x="230385" y="560956"/>
                      <a:pt x="246857" y="588711"/>
                      <a:pt x="260396" y="600444"/>
                    </a:cubicBezTo>
                    <a:cubicBezTo>
                      <a:pt x="265811" y="605183"/>
                      <a:pt x="268745" y="608567"/>
                      <a:pt x="271227" y="611501"/>
                    </a:cubicBezTo>
                    <a:cubicBezTo>
                      <a:pt x="275063" y="616014"/>
                      <a:pt x="278447" y="620075"/>
                      <a:pt x="290407" y="627522"/>
                    </a:cubicBezTo>
                    <a:cubicBezTo>
                      <a:pt x="290858" y="627747"/>
                      <a:pt x="291309" y="627973"/>
                      <a:pt x="291535" y="628424"/>
                    </a:cubicBezTo>
                    <a:cubicBezTo>
                      <a:pt x="296950" y="623009"/>
                      <a:pt x="299207" y="615337"/>
                      <a:pt x="301012" y="609019"/>
                    </a:cubicBezTo>
                    <a:cubicBezTo>
                      <a:pt x="302140" y="604731"/>
                      <a:pt x="303268" y="600895"/>
                      <a:pt x="305299" y="598639"/>
                    </a:cubicBezTo>
                    <a:cubicBezTo>
                      <a:pt x="309812" y="593449"/>
                      <a:pt x="309587" y="592998"/>
                      <a:pt x="306879" y="589162"/>
                    </a:cubicBezTo>
                    <a:cubicBezTo>
                      <a:pt x="306202" y="588034"/>
                      <a:pt x="305299" y="586905"/>
                      <a:pt x="304622" y="585552"/>
                    </a:cubicBezTo>
                    <a:cubicBezTo>
                      <a:pt x="299884" y="577428"/>
                      <a:pt x="299207" y="574269"/>
                      <a:pt x="303945" y="566146"/>
                    </a:cubicBezTo>
                    <a:cubicBezTo>
                      <a:pt x="308007" y="559151"/>
                      <a:pt x="308233" y="544710"/>
                      <a:pt x="304397" y="539294"/>
                    </a:cubicBezTo>
                    <a:cubicBezTo>
                      <a:pt x="299884" y="532976"/>
                      <a:pt x="296048" y="526883"/>
                      <a:pt x="301915" y="519212"/>
                    </a:cubicBezTo>
                    <a:cubicBezTo>
                      <a:pt x="303494" y="517181"/>
                      <a:pt x="305074" y="515601"/>
                      <a:pt x="306428" y="514473"/>
                    </a:cubicBezTo>
                    <a:cubicBezTo>
                      <a:pt x="309587" y="511540"/>
                      <a:pt x="311843" y="509509"/>
                      <a:pt x="312069" y="501837"/>
                    </a:cubicBezTo>
                    <a:cubicBezTo>
                      <a:pt x="312294" y="491231"/>
                      <a:pt x="317935" y="484236"/>
                      <a:pt x="323125" y="477918"/>
                    </a:cubicBezTo>
                    <a:cubicBezTo>
                      <a:pt x="324028" y="476564"/>
                      <a:pt x="325156" y="475436"/>
                      <a:pt x="326059" y="474308"/>
                    </a:cubicBezTo>
                    <a:cubicBezTo>
                      <a:pt x="331249" y="467313"/>
                      <a:pt x="330797" y="460092"/>
                      <a:pt x="324705" y="453097"/>
                    </a:cubicBezTo>
                    <a:lnTo>
                      <a:pt x="324705" y="453097"/>
                    </a:lnTo>
                    <a:cubicBezTo>
                      <a:pt x="320869" y="448810"/>
                      <a:pt x="319741" y="449036"/>
                      <a:pt x="318161" y="449487"/>
                    </a:cubicBezTo>
                    <a:cubicBezTo>
                      <a:pt x="316807" y="449938"/>
                      <a:pt x="315228" y="450389"/>
                      <a:pt x="312520" y="449487"/>
                    </a:cubicBezTo>
                    <a:cubicBezTo>
                      <a:pt x="308458" y="448133"/>
                      <a:pt x="305976" y="442943"/>
                      <a:pt x="305299" y="440687"/>
                    </a:cubicBezTo>
                    <a:cubicBezTo>
                      <a:pt x="303720" y="436625"/>
                      <a:pt x="302591" y="430984"/>
                      <a:pt x="304622" y="427148"/>
                    </a:cubicBezTo>
                    <a:cubicBezTo>
                      <a:pt x="307330" y="422184"/>
                      <a:pt x="307104" y="414286"/>
                      <a:pt x="306879" y="406840"/>
                    </a:cubicBezTo>
                    <a:cubicBezTo>
                      <a:pt x="306653" y="402553"/>
                      <a:pt x="308233" y="398717"/>
                      <a:pt x="309812" y="395332"/>
                    </a:cubicBezTo>
                    <a:cubicBezTo>
                      <a:pt x="311166" y="392173"/>
                      <a:pt x="312294" y="389240"/>
                      <a:pt x="311392" y="387208"/>
                    </a:cubicBezTo>
                    <a:cubicBezTo>
                      <a:pt x="310715" y="385629"/>
                      <a:pt x="309812" y="384501"/>
                      <a:pt x="308910" y="383373"/>
                    </a:cubicBezTo>
                    <a:cubicBezTo>
                      <a:pt x="307104" y="381116"/>
                      <a:pt x="305525" y="378860"/>
                      <a:pt x="307556" y="374347"/>
                    </a:cubicBezTo>
                    <a:cubicBezTo>
                      <a:pt x="308458" y="372767"/>
                      <a:pt x="309361" y="371413"/>
                      <a:pt x="310263" y="370285"/>
                    </a:cubicBezTo>
                    <a:cubicBezTo>
                      <a:pt x="312520" y="367352"/>
                      <a:pt x="314551" y="364870"/>
                      <a:pt x="313874" y="358552"/>
                    </a:cubicBezTo>
                    <a:cubicBezTo>
                      <a:pt x="312971" y="350203"/>
                      <a:pt x="305751" y="347043"/>
                      <a:pt x="299658" y="347043"/>
                    </a:cubicBezTo>
                    <a:cubicBezTo>
                      <a:pt x="295822" y="347043"/>
                      <a:pt x="291309" y="350203"/>
                      <a:pt x="287473" y="353136"/>
                    </a:cubicBezTo>
                    <a:cubicBezTo>
                      <a:pt x="285894" y="354264"/>
                      <a:pt x="284540" y="355393"/>
                      <a:pt x="283186" y="356070"/>
                    </a:cubicBezTo>
                    <a:cubicBezTo>
                      <a:pt x="279801" y="358100"/>
                      <a:pt x="273934" y="358552"/>
                      <a:pt x="269196" y="357423"/>
                    </a:cubicBezTo>
                    <a:cubicBezTo>
                      <a:pt x="264909" y="356295"/>
                      <a:pt x="261524" y="353813"/>
                      <a:pt x="259719" y="350428"/>
                    </a:cubicBezTo>
                    <a:cubicBezTo>
                      <a:pt x="254980" y="341854"/>
                      <a:pt x="250918" y="323351"/>
                      <a:pt x="250467" y="312068"/>
                    </a:cubicBezTo>
                    <a:cubicBezTo>
                      <a:pt x="250016" y="303268"/>
                      <a:pt x="252498" y="301012"/>
                      <a:pt x="254980" y="298755"/>
                    </a:cubicBezTo>
                    <a:cubicBezTo>
                      <a:pt x="256108" y="297627"/>
                      <a:pt x="257237" y="296725"/>
                      <a:pt x="258139" y="294919"/>
                    </a:cubicBezTo>
                    <a:cubicBezTo>
                      <a:pt x="263329" y="284540"/>
                      <a:pt x="261298" y="276416"/>
                      <a:pt x="251821" y="270324"/>
                    </a:cubicBezTo>
                    <a:cubicBezTo>
                      <a:pt x="249339" y="268744"/>
                      <a:pt x="246857" y="267390"/>
                      <a:pt x="244375" y="266037"/>
                    </a:cubicBezTo>
                    <a:cubicBezTo>
                      <a:pt x="238057" y="262426"/>
                      <a:pt x="232867" y="259719"/>
                      <a:pt x="232641" y="255206"/>
                    </a:cubicBezTo>
                    <a:cubicBezTo>
                      <a:pt x="232416" y="251821"/>
                      <a:pt x="234898" y="248436"/>
                      <a:pt x="240990" y="244149"/>
                    </a:cubicBezTo>
                    <a:cubicBezTo>
                      <a:pt x="245954" y="240538"/>
                      <a:pt x="248436" y="237379"/>
                      <a:pt x="248436" y="234672"/>
                    </a:cubicBezTo>
                    <a:cubicBezTo>
                      <a:pt x="248436" y="231287"/>
                      <a:pt x="243924" y="228354"/>
                      <a:pt x="239636" y="225420"/>
                    </a:cubicBezTo>
                    <a:cubicBezTo>
                      <a:pt x="238959" y="224969"/>
                      <a:pt x="238057" y="224292"/>
                      <a:pt x="237380" y="223841"/>
                    </a:cubicBezTo>
                    <a:cubicBezTo>
                      <a:pt x="233995" y="221584"/>
                      <a:pt x="230836" y="221810"/>
                      <a:pt x="227226" y="222261"/>
                    </a:cubicBezTo>
                    <a:cubicBezTo>
                      <a:pt x="223164" y="222713"/>
                      <a:pt x="218877" y="223164"/>
                      <a:pt x="214138" y="219554"/>
                    </a:cubicBezTo>
                    <a:cubicBezTo>
                      <a:pt x="211656" y="217748"/>
                      <a:pt x="210528" y="215943"/>
                      <a:pt x="210528" y="214138"/>
                    </a:cubicBezTo>
                    <a:cubicBezTo>
                      <a:pt x="210528" y="211656"/>
                      <a:pt x="212333" y="210076"/>
                      <a:pt x="214138" y="208723"/>
                    </a:cubicBezTo>
                    <a:cubicBezTo>
                      <a:pt x="215718" y="207368"/>
                      <a:pt x="216620" y="206466"/>
                      <a:pt x="216620" y="205789"/>
                    </a:cubicBezTo>
                    <a:cubicBezTo>
                      <a:pt x="216169" y="202856"/>
                      <a:pt x="206241" y="197440"/>
                      <a:pt x="199697" y="193830"/>
                    </a:cubicBezTo>
                    <a:cubicBezTo>
                      <a:pt x="197215" y="192476"/>
                      <a:pt x="194507" y="190896"/>
                      <a:pt x="192251" y="189768"/>
                    </a:cubicBezTo>
                    <a:cubicBezTo>
                      <a:pt x="189994" y="188414"/>
                      <a:pt x="188189" y="187512"/>
                      <a:pt x="186384" y="186384"/>
                    </a:cubicBezTo>
                    <a:cubicBezTo>
                      <a:pt x="180517" y="183225"/>
                      <a:pt x="176907" y="181194"/>
                      <a:pt x="176907" y="176230"/>
                    </a:cubicBezTo>
                    <a:cubicBezTo>
                      <a:pt x="176907" y="172168"/>
                      <a:pt x="181194" y="170363"/>
                      <a:pt x="186609" y="167880"/>
                    </a:cubicBezTo>
                    <a:cubicBezTo>
                      <a:pt x="190671" y="166076"/>
                      <a:pt x="195635" y="163819"/>
                      <a:pt x="200148" y="160209"/>
                    </a:cubicBezTo>
                    <a:cubicBezTo>
                      <a:pt x="201728" y="159080"/>
                      <a:pt x="202856" y="157275"/>
                      <a:pt x="203758" y="155244"/>
                    </a:cubicBezTo>
                    <a:cubicBezTo>
                      <a:pt x="203533" y="155019"/>
                      <a:pt x="203082" y="154567"/>
                      <a:pt x="202856" y="154116"/>
                    </a:cubicBezTo>
                    <a:cubicBezTo>
                      <a:pt x="200599" y="151860"/>
                      <a:pt x="198117" y="149152"/>
                      <a:pt x="195635" y="148024"/>
                    </a:cubicBezTo>
                    <a:cubicBezTo>
                      <a:pt x="194733" y="147798"/>
                      <a:pt x="194056" y="147347"/>
                      <a:pt x="193604" y="147121"/>
                    </a:cubicBezTo>
                    <a:cubicBezTo>
                      <a:pt x="189091" y="145316"/>
                      <a:pt x="187738" y="144639"/>
                      <a:pt x="178712" y="133357"/>
                    </a:cubicBezTo>
                    <a:cubicBezTo>
                      <a:pt x="170589" y="123428"/>
                      <a:pt x="161563" y="122300"/>
                      <a:pt x="153665" y="121172"/>
                    </a:cubicBezTo>
                    <a:cubicBezTo>
                      <a:pt x="151634" y="120946"/>
                      <a:pt x="149603" y="120720"/>
                      <a:pt x="147798" y="120269"/>
                    </a:cubicBezTo>
                    <a:cubicBezTo>
                      <a:pt x="138321" y="118238"/>
                      <a:pt x="121172" y="111018"/>
                      <a:pt x="114854" y="103346"/>
                    </a:cubicBezTo>
                    <a:cubicBezTo>
                      <a:pt x="113500" y="101766"/>
                      <a:pt x="112823" y="100638"/>
                      <a:pt x="111920" y="99736"/>
                    </a:cubicBezTo>
                    <a:cubicBezTo>
                      <a:pt x="109213" y="96351"/>
                      <a:pt x="109213" y="96351"/>
                      <a:pt x="98833" y="89807"/>
                    </a:cubicBezTo>
                    <a:cubicBezTo>
                      <a:pt x="85971" y="81909"/>
                      <a:pt x="81233" y="76268"/>
                      <a:pt x="75366" y="69048"/>
                    </a:cubicBezTo>
                    <a:lnTo>
                      <a:pt x="74463" y="68145"/>
                    </a:lnTo>
                    <a:cubicBezTo>
                      <a:pt x="67920" y="60247"/>
                      <a:pt x="67243" y="57991"/>
                      <a:pt x="67243" y="48062"/>
                    </a:cubicBezTo>
                    <a:cubicBezTo>
                      <a:pt x="67243" y="43775"/>
                      <a:pt x="64760" y="41744"/>
                      <a:pt x="62053" y="39714"/>
                    </a:cubicBezTo>
                    <a:cubicBezTo>
                      <a:pt x="59571" y="37683"/>
                      <a:pt x="56863" y="35426"/>
                      <a:pt x="57314" y="31590"/>
                    </a:cubicBezTo>
                    <a:cubicBezTo>
                      <a:pt x="57540" y="29560"/>
                      <a:pt x="56863" y="29108"/>
                      <a:pt x="53478" y="27529"/>
                    </a:cubicBezTo>
                    <a:cubicBezTo>
                      <a:pt x="50996" y="26401"/>
                      <a:pt x="47386" y="24821"/>
                      <a:pt x="44001" y="20985"/>
                    </a:cubicBezTo>
                    <a:cubicBezTo>
                      <a:pt x="37683" y="13990"/>
                      <a:pt x="32493" y="12862"/>
                      <a:pt x="18729" y="10831"/>
                    </a:cubicBezTo>
                    <a:cubicBezTo>
                      <a:pt x="15795" y="10380"/>
                      <a:pt x="11734" y="9026"/>
                      <a:pt x="6092" y="6769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xmlns="" id="{D7BD3E1A-B240-44F9-BDB9-E5AF6D543370}"/>
                  </a:ext>
                </a:extLst>
              </p:cNvPr>
              <p:cNvSpPr/>
              <p:nvPr/>
            </p:nvSpPr>
            <p:spPr>
              <a:xfrm>
                <a:off x="9038534" y="4378830"/>
                <a:ext cx="564115" cy="744632"/>
              </a:xfrm>
              <a:custGeom>
                <a:avLst/>
                <a:gdLst>
                  <a:gd name="connsiteX0" fmla="*/ 178486 w 564115"/>
                  <a:gd name="connsiteY0" fmla="*/ 761795 h 744632"/>
                  <a:gd name="connsiteX1" fmla="*/ 165399 w 564115"/>
                  <a:gd name="connsiteY1" fmla="*/ 759088 h 744632"/>
                  <a:gd name="connsiteX2" fmla="*/ 156147 w 564115"/>
                  <a:gd name="connsiteY2" fmla="*/ 757057 h 744632"/>
                  <a:gd name="connsiteX3" fmla="*/ 145542 w 564115"/>
                  <a:gd name="connsiteY3" fmla="*/ 753898 h 744632"/>
                  <a:gd name="connsiteX4" fmla="*/ 142383 w 564115"/>
                  <a:gd name="connsiteY4" fmla="*/ 752318 h 744632"/>
                  <a:gd name="connsiteX5" fmla="*/ 133808 w 564115"/>
                  <a:gd name="connsiteY5" fmla="*/ 745098 h 744632"/>
                  <a:gd name="connsiteX6" fmla="*/ 115080 w 564115"/>
                  <a:gd name="connsiteY6" fmla="*/ 728851 h 744632"/>
                  <a:gd name="connsiteX7" fmla="*/ 115080 w 564115"/>
                  <a:gd name="connsiteY7" fmla="*/ 728851 h 744632"/>
                  <a:gd name="connsiteX8" fmla="*/ 113951 w 564115"/>
                  <a:gd name="connsiteY8" fmla="*/ 727949 h 744632"/>
                  <a:gd name="connsiteX9" fmla="*/ 111695 w 564115"/>
                  <a:gd name="connsiteY9" fmla="*/ 726595 h 744632"/>
                  <a:gd name="connsiteX10" fmla="*/ 111469 w 564115"/>
                  <a:gd name="connsiteY10" fmla="*/ 726369 h 744632"/>
                  <a:gd name="connsiteX11" fmla="*/ 111469 w 564115"/>
                  <a:gd name="connsiteY11" fmla="*/ 726369 h 744632"/>
                  <a:gd name="connsiteX12" fmla="*/ 111469 w 564115"/>
                  <a:gd name="connsiteY12" fmla="*/ 726369 h 744632"/>
                  <a:gd name="connsiteX13" fmla="*/ 113500 w 564115"/>
                  <a:gd name="connsiteY13" fmla="*/ 723210 h 744632"/>
                  <a:gd name="connsiteX14" fmla="*/ 113500 w 564115"/>
                  <a:gd name="connsiteY14" fmla="*/ 723210 h 744632"/>
                  <a:gd name="connsiteX15" fmla="*/ 113500 w 564115"/>
                  <a:gd name="connsiteY15" fmla="*/ 723210 h 744632"/>
                  <a:gd name="connsiteX16" fmla="*/ 113500 w 564115"/>
                  <a:gd name="connsiteY16" fmla="*/ 723210 h 744632"/>
                  <a:gd name="connsiteX17" fmla="*/ 113726 w 564115"/>
                  <a:gd name="connsiteY17" fmla="*/ 723436 h 744632"/>
                  <a:gd name="connsiteX18" fmla="*/ 114628 w 564115"/>
                  <a:gd name="connsiteY18" fmla="*/ 724113 h 744632"/>
                  <a:gd name="connsiteX19" fmla="*/ 124105 w 564115"/>
                  <a:gd name="connsiteY19" fmla="*/ 704707 h 744632"/>
                  <a:gd name="connsiteX20" fmla="*/ 128393 w 564115"/>
                  <a:gd name="connsiteY20" fmla="*/ 694327 h 744632"/>
                  <a:gd name="connsiteX21" fmla="*/ 129972 w 564115"/>
                  <a:gd name="connsiteY21" fmla="*/ 684850 h 744632"/>
                  <a:gd name="connsiteX22" fmla="*/ 127716 w 564115"/>
                  <a:gd name="connsiteY22" fmla="*/ 681240 h 744632"/>
                  <a:gd name="connsiteX23" fmla="*/ 127039 w 564115"/>
                  <a:gd name="connsiteY23" fmla="*/ 661834 h 744632"/>
                  <a:gd name="connsiteX24" fmla="*/ 127490 w 564115"/>
                  <a:gd name="connsiteY24" fmla="*/ 634982 h 744632"/>
                  <a:gd name="connsiteX25" fmla="*/ 125008 w 564115"/>
                  <a:gd name="connsiteY25" fmla="*/ 614900 h 744632"/>
                  <a:gd name="connsiteX26" fmla="*/ 129521 w 564115"/>
                  <a:gd name="connsiteY26" fmla="*/ 610161 h 744632"/>
                  <a:gd name="connsiteX27" fmla="*/ 135162 w 564115"/>
                  <a:gd name="connsiteY27" fmla="*/ 597525 h 744632"/>
                  <a:gd name="connsiteX28" fmla="*/ 146219 w 564115"/>
                  <a:gd name="connsiteY28" fmla="*/ 573607 h 744632"/>
                  <a:gd name="connsiteX29" fmla="*/ 149152 w 564115"/>
                  <a:gd name="connsiteY29" fmla="*/ 569996 h 744632"/>
                  <a:gd name="connsiteX30" fmla="*/ 147798 w 564115"/>
                  <a:gd name="connsiteY30" fmla="*/ 548785 h 744632"/>
                  <a:gd name="connsiteX31" fmla="*/ 141254 w 564115"/>
                  <a:gd name="connsiteY31" fmla="*/ 545175 h 744632"/>
                  <a:gd name="connsiteX32" fmla="*/ 135613 w 564115"/>
                  <a:gd name="connsiteY32" fmla="*/ 545175 h 744632"/>
                  <a:gd name="connsiteX33" fmla="*/ 128393 w 564115"/>
                  <a:gd name="connsiteY33" fmla="*/ 536375 h 744632"/>
                  <a:gd name="connsiteX34" fmla="*/ 127716 w 564115"/>
                  <a:gd name="connsiteY34" fmla="*/ 522836 h 744632"/>
                  <a:gd name="connsiteX35" fmla="*/ 129972 w 564115"/>
                  <a:gd name="connsiteY35" fmla="*/ 502528 h 744632"/>
                  <a:gd name="connsiteX36" fmla="*/ 132906 w 564115"/>
                  <a:gd name="connsiteY36" fmla="*/ 491020 h 744632"/>
                  <a:gd name="connsiteX37" fmla="*/ 134485 w 564115"/>
                  <a:gd name="connsiteY37" fmla="*/ 482897 h 744632"/>
                  <a:gd name="connsiteX38" fmla="*/ 132003 w 564115"/>
                  <a:gd name="connsiteY38" fmla="*/ 479061 h 744632"/>
                  <a:gd name="connsiteX39" fmla="*/ 130649 w 564115"/>
                  <a:gd name="connsiteY39" fmla="*/ 470035 h 744632"/>
                  <a:gd name="connsiteX40" fmla="*/ 133357 w 564115"/>
                  <a:gd name="connsiteY40" fmla="*/ 465973 h 744632"/>
                  <a:gd name="connsiteX41" fmla="*/ 136967 w 564115"/>
                  <a:gd name="connsiteY41" fmla="*/ 454240 h 744632"/>
                  <a:gd name="connsiteX42" fmla="*/ 122751 w 564115"/>
                  <a:gd name="connsiteY42" fmla="*/ 442732 h 744632"/>
                  <a:gd name="connsiteX43" fmla="*/ 110567 w 564115"/>
                  <a:gd name="connsiteY43" fmla="*/ 448824 h 744632"/>
                  <a:gd name="connsiteX44" fmla="*/ 106279 w 564115"/>
                  <a:gd name="connsiteY44" fmla="*/ 451758 h 744632"/>
                  <a:gd name="connsiteX45" fmla="*/ 92289 w 564115"/>
                  <a:gd name="connsiteY45" fmla="*/ 453112 h 744632"/>
                  <a:gd name="connsiteX46" fmla="*/ 82812 w 564115"/>
                  <a:gd name="connsiteY46" fmla="*/ 446116 h 744632"/>
                  <a:gd name="connsiteX47" fmla="*/ 73561 w 564115"/>
                  <a:gd name="connsiteY47" fmla="*/ 407757 h 744632"/>
                  <a:gd name="connsiteX48" fmla="*/ 78074 w 564115"/>
                  <a:gd name="connsiteY48" fmla="*/ 394444 h 744632"/>
                  <a:gd name="connsiteX49" fmla="*/ 81233 w 564115"/>
                  <a:gd name="connsiteY49" fmla="*/ 390608 h 744632"/>
                  <a:gd name="connsiteX50" fmla="*/ 74915 w 564115"/>
                  <a:gd name="connsiteY50" fmla="*/ 366012 h 744632"/>
                  <a:gd name="connsiteX51" fmla="*/ 67468 w 564115"/>
                  <a:gd name="connsiteY51" fmla="*/ 361725 h 744632"/>
                  <a:gd name="connsiteX52" fmla="*/ 55735 w 564115"/>
                  <a:gd name="connsiteY52" fmla="*/ 350894 h 744632"/>
                  <a:gd name="connsiteX53" fmla="*/ 64084 w 564115"/>
                  <a:gd name="connsiteY53" fmla="*/ 339837 h 744632"/>
                  <a:gd name="connsiteX54" fmla="*/ 71530 w 564115"/>
                  <a:gd name="connsiteY54" fmla="*/ 330360 h 744632"/>
                  <a:gd name="connsiteX55" fmla="*/ 62730 w 564115"/>
                  <a:gd name="connsiteY55" fmla="*/ 321109 h 744632"/>
                  <a:gd name="connsiteX56" fmla="*/ 60473 w 564115"/>
                  <a:gd name="connsiteY56" fmla="*/ 319529 h 744632"/>
                  <a:gd name="connsiteX57" fmla="*/ 50319 w 564115"/>
                  <a:gd name="connsiteY57" fmla="*/ 317950 h 744632"/>
                  <a:gd name="connsiteX58" fmla="*/ 37232 w 564115"/>
                  <a:gd name="connsiteY58" fmla="*/ 315242 h 744632"/>
                  <a:gd name="connsiteX59" fmla="*/ 33621 w 564115"/>
                  <a:gd name="connsiteY59" fmla="*/ 309826 h 744632"/>
                  <a:gd name="connsiteX60" fmla="*/ 37232 w 564115"/>
                  <a:gd name="connsiteY60" fmla="*/ 304411 h 744632"/>
                  <a:gd name="connsiteX61" fmla="*/ 39714 w 564115"/>
                  <a:gd name="connsiteY61" fmla="*/ 301478 h 744632"/>
                  <a:gd name="connsiteX62" fmla="*/ 22790 w 564115"/>
                  <a:gd name="connsiteY62" fmla="*/ 289518 h 744632"/>
                  <a:gd name="connsiteX63" fmla="*/ 15344 w 564115"/>
                  <a:gd name="connsiteY63" fmla="*/ 285456 h 744632"/>
                  <a:gd name="connsiteX64" fmla="*/ 9477 w 564115"/>
                  <a:gd name="connsiteY64" fmla="*/ 282072 h 744632"/>
                  <a:gd name="connsiteX65" fmla="*/ 0 w 564115"/>
                  <a:gd name="connsiteY65" fmla="*/ 271918 h 744632"/>
                  <a:gd name="connsiteX66" fmla="*/ 9703 w 564115"/>
                  <a:gd name="connsiteY66" fmla="*/ 263569 h 744632"/>
                  <a:gd name="connsiteX67" fmla="*/ 23242 w 564115"/>
                  <a:gd name="connsiteY67" fmla="*/ 255897 h 744632"/>
                  <a:gd name="connsiteX68" fmla="*/ 27303 w 564115"/>
                  <a:gd name="connsiteY68" fmla="*/ 249804 h 744632"/>
                  <a:gd name="connsiteX69" fmla="*/ 28206 w 564115"/>
                  <a:gd name="connsiteY69" fmla="*/ 246871 h 744632"/>
                  <a:gd name="connsiteX70" fmla="*/ 30462 w 564115"/>
                  <a:gd name="connsiteY70" fmla="*/ 249127 h 744632"/>
                  <a:gd name="connsiteX71" fmla="*/ 32493 w 564115"/>
                  <a:gd name="connsiteY71" fmla="*/ 250933 h 744632"/>
                  <a:gd name="connsiteX72" fmla="*/ 49416 w 564115"/>
                  <a:gd name="connsiteY72" fmla="*/ 255446 h 744632"/>
                  <a:gd name="connsiteX73" fmla="*/ 50093 w 564115"/>
                  <a:gd name="connsiteY73" fmla="*/ 257251 h 744632"/>
                  <a:gd name="connsiteX74" fmla="*/ 60022 w 564115"/>
                  <a:gd name="connsiteY74" fmla="*/ 259281 h 744632"/>
                  <a:gd name="connsiteX75" fmla="*/ 73786 w 564115"/>
                  <a:gd name="connsiteY75" fmla="*/ 256799 h 744632"/>
                  <a:gd name="connsiteX76" fmla="*/ 81910 w 564115"/>
                  <a:gd name="connsiteY76" fmla="*/ 255220 h 744632"/>
                  <a:gd name="connsiteX77" fmla="*/ 86423 w 564115"/>
                  <a:gd name="connsiteY77" fmla="*/ 251835 h 744632"/>
                  <a:gd name="connsiteX78" fmla="*/ 86874 w 564115"/>
                  <a:gd name="connsiteY78" fmla="*/ 250256 h 744632"/>
                  <a:gd name="connsiteX79" fmla="*/ 99284 w 564115"/>
                  <a:gd name="connsiteY79" fmla="*/ 235363 h 744632"/>
                  <a:gd name="connsiteX80" fmla="*/ 101315 w 564115"/>
                  <a:gd name="connsiteY80" fmla="*/ 234912 h 744632"/>
                  <a:gd name="connsiteX81" fmla="*/ 111920 w 564115"/>
                  <a:gd name="connsiteY81" fmla="*/ 240102 h 744632"/>
                  <a:gd name="connsiteX82" fmla="*/ 118690 w 564115"/>
                  <a:gd name="connsiteY82" fmla="*/ 243261 h 744632"/>
                  <a:gd name="connsiteX83" fmla="*/ 122526 w 564115"/>
                  <a:gd name="connsiteY83" fmla="*/ 241456 h 744632"/>
                  <a:gd name="connsiteX84" fmla="*/ 128393 w 564115"/>
                  <a:gd name="connsiteY84" fmla="*/ 238297 h 744632"/>
                  <a:gd name="connsiteX85" fmla="*/ 138772 w 564115"/>
                  <a:gd name="connsiteY85" fmla="*/ 235363 h 744632"/>
                  <a:gd name="connsiteX86" fmla="*/ 147798 w 564115"/>
                  <a:gd name="connsiteY86" fmla="*/ 238522 h 744632"/>
                  <a:gd name="connsiteX87" fmla="*/ 154342 w 564115"/>
                  <a:gd name="connsiteY87" fmla="*/ 241004 h 744632"/>
                  <a:gd name="connsiteX88" fmla="*/ 170814 w 564115"/>
                  <a:gd name="connsiteY88" fmla="*/ 231076 h 744632"/>
                  <a:gd name="connsiteX89" fmla="*/ 185932 w 564115"/>
                  <a:gd name="connsiteY89" fmla="*/ 216409 h 744632"/>
                  <a:gd name="connsiteX90" fmla="*/ 192476 w 564115"/>
                  <a:gd name="connsiteY90" fmla="*/ 212122 h 744632"/>
                  <a:gd name="connsiteX91" fmla="*/ 197892 w 564115"/>
                  <a:gd name="connsiteY91" fmla="*/ 206706 h 744632"/>
                  <a:gd name="connsiteX92" fmla="*/ 203307 w 564115"/>
                  <a:gd name="connsiteY92" fmla="*/ 189557 h 744632"/>
                  <a:gd name="connsiteX93" fmla="*/ 189768 w 564115"/>
                  <a:gd name="connsiteY93" fmla="*/ 184593 h 744632"/>
                  <a:gd name="connsiteX94" fmla="*/ 173748 w 564115"/>
                  <a:gd name="connsiteY94" fmla="*/ 173762 h 744632"/>
                  <a:gd name="connsiteX95" fmla="*/ 183450 w 564115"/>
                  <a:gd name="connsiteY95" fmla="*/ 159997 h 744632"/>
                  <a:gd name="connsiteX96" fmla="*/ 189317 w 564115"/>
                  <a:gd name="connsiteY96" fmla="*/ 153453 h 744632"/>
                  <a:gd name="connsiteX97" fmla="*/ 189543 w 564115"/>
                  <a:gd name="connsiteY97" fmla="*/ 150971 h 744632"/>
                  <a:gd name="connsiteX98" fmla="*/ 188640 w 564115"/>
                  <a:gd name="connsiteY98" fmla="*/ 139012 h 744632"/>
                  <a:gd name="connsiteX99" fmla="*/ 186384 w 564115"/>
                  <a:gd name="connsiteY99" fmla="*/ 119155 h 744632"/>
                  <a:gd name="connsiteX100" fmla="*/ 199923 w 564115"/>
                  <a:gd name="connsiteY100" fmla="*/ 113063 h 744632"/>
                  <a:gd name="connsiteX101" fmla="*/ 213010 w 564115"/>
                  <a:gd name="connsiteY101" fmla="*/ 102909 h 744632"/>
                  <a:gd name="connsiteX102" fmla="*/ 214815 w 564115"/>
                  <a:gd name="connsiteY102" fmla="*/ 97042 h 744632"/>
                  <a:gd name="connsiteX103" fmla="*/ 221133 w 564115"/>
                  <a:gd name="connsiteY103" fmla="*/ 87565 h 744632"/>
                  <a:gd name="connsiteX104" fmla="*/ 239636 w 564115"/>
                  <a:gd name="connsiteY104" fmla="*/ 89370 h 744632"/>
                  <a:gd name="connsiteX105" fmla="*/ 248211 w 564115"/>
                  <a:gd name="connsiteY105" fmla="*/ 91852 h 744632"/>
                  <a:gd name="connsiteX106" fmla="*/ 249790 w 564115"/>
                  <a:gd name="connsiteY106" fmla="*/ 90498 h 744632"/>
                  <a:gd name="connsiteX107" fmla="*/ 254303 w 564115"/>
                  <a:gd name="connsiteY107" fmla="*/ 87791 h 744632"/>
                  <a:gd name="connsiteX108" fmla="*/ 268970 w 564115"/>
                  <a:gd name="connsiteY108" fmla="*/ 95237 h 744632"/>
                  <a:gd name="connsiteX109" fmla="*/ 273032 w 564115"/>
                  <a:gd name="connsiteY109" fmla="*/ 100201 h 744632"/>
                  <a:gd name="connsiteX110" fmla="*/ 275740 w 564115"/>
                  <a:gd name="connsiteY110" fmla="*/ 103586 h 744632"/>
                  <a:gd name="connsiteX111" fmla="*/ 277093 w 564115"/>
                  <a:gd name="connsiteY111" fmla="*/ 98170 h 744632"/>
                  <a:gd name="connsiteX112" fmla="*/ 279350 w 564115"/>
                  <a:gd name="connsiteY112" fmla="*/ 102909 h 744632"/>
                  <a:gd name="connsiteX113" fmla="*/ 288376 w 564115"/>
                  <a:gd name="connsiteY113" fmla="*/ 114868 h 744632"/>
                  <a:gd name="connsiteX114" fmla="*/ 303268 w 564115"/>
                  <a:gd name="connsiteY114" fmla="*/ 121412 h 744632"/>
                  <a:gd name="connsiteX115" fmla="*/ 309361 w 564115"/>
                  <a:gd name="connsiteY115" fmla="*/ 114868 h 744632"/>
                  <a:gd name="connsiteX116" fmla="*/ 315905 w 564115"/>
                  <a:gd name="connsiteY116" fmla="*/ 105165 h 744632"/>
                  <a:gd name="connsiteX117" fmla="*/ 321094 w 564115"/>
                  <a:gd name="connsiteY117" fmla="*/ 93657 h 744632"/>
                  <a:gd name="connsiteX118" fmla="*/ 325607 w 564115"/>
                  <a:gd name="connsiteY118" fmla="*/ 84180 h 744632"/>
                  <a:gd name="connsiteX119" fmla="*/ 328992 w 564115"/>
                  <a:gd name="connsiteY119" fmla="*/ 75831 h 744632"/>
                  <a:gd name="connsiteX120" fmla="*/ 334633 w 564115"/>
                  <a:gd name="connsiteY120" fmla="*/ 65452 h 744632"/>
                  <a:gd name="connsiteX121" fmla="*/ 339146 w 564115"/>
                  <a:gd name="connsiteY121" fmla="*/ 63421 h 744632"/>
                  <a:gd name="connsiteX122" fmla="*/ 364870 w 564115"/>
                  <a:gd name="connsiteY122" fmla="*/ 57328 h 744632"/>
                  <a:gd name="connsiteX123" fmla="*/ 376829 w 564115"/>
                  <a:gd name="connsiteY123" fmla="*/ 59810 h 744632"/>
                  <a:gd name="connsiteX124" fmla="*/ 386757 w 564115"/>
                  <a:gd name="connsiteY124" fmla="*/ 61616 h 744632"/>
                  <a:gd name="connsiteX125" fmla="*/ 397137 w 564115"/>
                  <a:gd name="connsiteY125" fmla="*/ 64323 h 744632"/>
                  <a:gd name="connsiteX126" fmla="*/ 406840 w 564115"/>
                  <a:gd name="connsiteY126" fmla="*/ 58231 h 744632"/>
                  <a:gd name="connsiteX127" fmla="*/ 418122 w 564115"/>
                  <a:gd name="connsiteY127" fmla="*/ 52138 h 744632"/>
                  <a:gd name="connsiteX128" fmla="*/ 436851 w 564115"/>
                  <a:gd name="connsiteY128" fmla="*/ 44467 h 744632"/>
                  <a:gd name="connsiteX129" fmla="*/ 437754 w 564115"/>
                  <a:gd name="connsiteY129" fmla="*/ 39051 h 744632"/>
                  <a:gd name="connsiteX130" fmla="*/ 437528 w 564115"/>
                  <a:gd name="connsiteY130" fmla="*/ 32733 h 744632"/>
                  <a:gd name="connsiteX131" fmla="*/ 447005 w 564115"/>
                  <a:gd name="connsiteY131" fmla="*/ 25061 h 744632"/>
                  <a:gd name="connsiteX132" fmla="*/ 457836 w 564115"/>
                  <a:gd name="connsiteY132" fmla="*/ 28897 h 744632"/>
                  <a:gd name="connsiteX133" fmla="*/ 467313 w 564115"/>
                  <a:gd name="connsiteY133" fmla="*/ 32282 h 744632"/>
                  <a:gd name="connsiteX134" fmla="*/ 471826 w 564115"/>
                  <a:gd name="connsiteY134" fmla="*/ 32282 h 744632"/>
                  <a:gd name="connsiteX135" fmla="*/ 484237 w 564115"/>
                  <a:gd name="connsiteY135" fmla="*/ 29799 h 744632"/>
                  <a:gd name="connsiteX136" fmla="*/ 498227 w 564115"/>
                  <a:gd name="connsiteY136" fmla="*/ 26640 h 744632"/>
                  <a:gd name="connsiteX137" fmla="*/ 514925 w 564115"/>
                  <a:gd name="connsiteY137" fmla="*/ 13553 h 744632"/>
                  <a:gd name="connsiteX138" fmla="*/ 519889 w 564115"/>
                  <a:gd name="connsiteY138" fmla="*/ 7912 h 744632"/>
                  <a:gd name="connsiteX139" fmla="*/ 521468 w 564115"/>
                  <a:gd name="connsiteY139" fmla="*/ 4527 h 744632"/>
                  <a:gd name="connsiteX140" fmla="*/ 528012 w 564115"/>
                  <a:gd name="connsiteY140" fmla="*/ 14 h 744632"/>
                  <a:gd name="connsiteX141" fmla="*/ 538166 w 564115"/>
                  <a:gd name="connsiteY141" fmla="*/ 5204 h 744632"/>
                  <a:gd name="connsiteX142" fmla="*/ 554864 w 564115"/>
                  <a:gd name="connsiteY142" fmla="*/ 13327 h 744632"/>
                  <a:gd name="connsiteX143" fmla="*/ 555992 w 564115"/>
                  <a:gd name="connsiteY143" fmla="*/ 13327 h 744632"/>
                  <a:gd name="connsiteX144" fmla="*/ 556443 w 564115"/>
                  <a:gd name="connsiteY144" fmla="*/ 14456 h 744632"/>
                  <a:gd name="connsiteX145" fmla="*/ 557572 w 564115"/>
                  <a:gd name="connsiteY145" fmla="*/ 16486 h 744632"/>
                  <a:gd name="connsiteX146" fmla="*/ 557572 w 564115"/>
                  <a:gd name="connsiteY146" fmla="*/ 16486 h 744632"/>
                  <a:gd name="connsiteX147" fmla="*/ 563438 w 564115"/>
                  <a:gd name="connsiteY147" fmla="*/ 55523 h 744632"/>
                  <a:gd name="connsiteX148" fmla="*/ 555315 w 564115"/>
                  <a:gd name="connsiteY148" fmla="*/ 70416 h 744632"/>
                  <a:gd name="connsiteX149" fmla="*/ 547643 w 564115"/>
                  <a:gd name="connsiteY149" fmla="*/ 90724 h 744632"/>
                  <a:gd name="connsiteX150" fmla="*/ 548772 w 564115"/>
                  <a:gd name="connsiteY150" fmla="*/ 103134 h 744632"/>
                  <a:gd name="connsiteX151" fmla="*/ 546289 w 564115"/>
                  <a:gd name="connsiteY151" fmla="*/ 122314 h 744632"/>
                  <a:gd name="connsiteX152" fmla="*/ 531848 w 564115"/>
                  <a:gd name="connsiteY152" fmla="*/ 158869 h 744632"/>
                  <a:gd name="connsiteX153" fmla="*/ 501386 w 564115"/>
                  <a:gd name="connsiteY153" fmla="*/ 201291 h 744632"/>
                  <a:gd name="connsiteX154" fmla="*/ 490555 w 564115"/>
                  <a:gd name="connsiteY154" fmla="*/ 210542 h 744632"/>
                  <a:gd name="connsiteX155" fmla="*/ 480626 w 564115"/>
                  <a:gd name="connsiteY155" fmla="*/ 228819 h 744632"/>
                  <a:gd name="connsiteX156" fmla="*/ 485139 w 564115"/>
                  <a:gd name="connsiteY156" fmla="*/ 252738 h 744632"/>
                  <a:gd name="connsiteX157" fmla="*/ 488750 w 564115"/>
                  <a:gd name="connsiteY157" fmla="*/ 278462 h 744632"/>
                  <a:gd name="connsiteX158" fmla="*/ 488524 w 564115"/>
                  <a:gd name="connsiteY158" fmla="*/ 278913 h 744632"/>
                  <a:gd name="connsiteX159" fmla="*/ 489201 w 564115"/>
                  <a:gd name="connsiteY159" fmla="*/ 297641 h 744632"/>
                  <a:gd name="connsiteX160" fmla="*/ 497550 w 564115"/>
                  <a:gd name="connsiteY160" fmla="*/ 347509 h 744632"/>
                  <a:gd name="connsiteX161" fmla="*/ 496647 w 564115"/>
                  <a:gd name="connsiteY161" fmla="*/ 375715 h 744632"/>
                  <a:gd name="connsiteX162" fmla="*/ 496422 w 564115"/>
                  <a:gd name="connsiteY162" fmla="*/ 400085 h 744632"/>
                  <a:gd name="connsiteX163" fmla="*/ 496422 w 564115"/>
                  <a:gd name="connsiteY163" fmla="*/ 400536 h 744632"/>
                  <a:gd name="connsiteX164" fmla="*/ 496873 w 564115"/>
                  <a:gd name="connsiteY164" fmla="*/ 444763 h 744632"/>
                  <a:gd name="connsiteX165" fmla="*/ 496647 w 564115"/>
                  <a:gd name="connsiteY165" fmla="*/ 445214 h 744632"/>
                  <a:gd name="connsiteX166" fmla="*/ 490555 w 564115"/>
                  <a:gd name="connsiteY166" fmla="*/ 456722 h 744632"/>
                  <a:gd name="connsiteX167" fmla="*/ 485591 w 564115"/>
                  <a:gd name="connsiteY167" fmla="*/ 456722 h 744632"/>
                  <a:gd name="connsiteX168" fmla="*/ 482206 w 564115"/>
                  <a:gd name="connsiteY168" fmla="*/ 455142 h 744632"/>
                  <a:gd name="connsiteX169" fmla="*/ 458964 w 564115"/>
                  <a:gd name="connsiteY169" fmla="*/ 449727 h 744632"/>
                  <a:gd name="connsiteX170" fmla="*/ 451292 w 564115"/>
                  <a:gd name="connsiteY170" fmla="*/ 449727 h 744632"/>
                  <a:gd name="connsiteX171" fmla="*/ 423087 w 564115"/>
                  <a:gd name="connsiteY171" fmla="*/ 454917 h 744632"/>
                  <a:gd name="connsiteX172" fmla="*/ 412707 w 564115"/>
                  <a:gd name="connsiteY172" fmla="*/ 476579 h 744632"/>
                  <a:gd name="connsiteX173" fmla="*/ 412256 w 564115"/>
                  <a:gd name="connsiteY173" fmla="*/ 478835 h 744632"/>
                  <a:gd name="connsiteX174" fmla="*/ 398265 w 564115"/>
                  <a:gd name="connsiteY174" fmla="*/ 507944 h 744632"/>
                  <a:gd name="connsiteX175" fmla="*/ 369157 w 564115"/>
                  <a:gd name="connsiteY175" fmla="*/ 554201 h 744632"/>
                  <a:gd name="connsiteX176" fmla="*/ 379763 w 564115"/>
                  <a:gd name="connsiteY176" fmla="*/ 583535 h 744632"/>
                  <a:gd name="connsiteX177" fmla="*/ 382696 w 564115"/>
                  <a:gd name="connsiteY177" fmla="*/ 585340 h 744632"/>
                  <a:gd name="connsiteX178" fmla="*/ 394204 w 564115"/>
                  <a:gd name="connsiteY178" fmla="*/ 589853 h 744632"/>
                  <a:gd name="connsiteX179" fmla="*/ 398717 w 564115"/>
                  <a:gd name="connsiteY179" fmla="*/ 592561 h 744632"/>
                  <a:gd name="connsiteX180" fmla="*/ 398040 w 564115"/>
                  <a:gd name="connsiteY180" fmla="*/ 595945 h 744632"/>
                  <a:gd name="connsiteX181" fmla="*/ 377957 w 564115"/>
                  <a:gd name="connsiteY181" fmla="*/ 599104 h 744632"/>
                  <a:gd name="connsiteX182" fmla="*/ 370511 w 564115"/>
                  <a:gd name="connsiteY182" fmla="*/ 597751 h 744632"/>
                  <a:gd name="connsiteX183" fmla="*/ 352234 w 564115"/>
                  <a:gd name="connsiteY183" fmla="*/ 597976 h 744632"/>
                  <a:gd name="connsiteX184" fmla="*/ 342080 w 564115"/>
                  <a:gd name="connsiteY184" fmla="*/ 601812 h 744632"/>
                  <a:gd name="connsiteX185" fmla="*/ 323125 w 564115"/>
                  <a:gd name="connsiteY185" fmla="*/ 609710 h 744632"/>
                  <a:gd name="connsiteX186" fmla="*/ 306202 w 564115"/>
                  <a:gd name="connsiteY186" fmla="*/ 615577 h 744632"/>
                  <a:gd name="connsiteX187" fmla="*/ 300335 w 564115"/>
                  <a:gd name="connsiteY187" fmla="*/ 616479 h 744632"/>
                  <a:gd name="connsiteX188" fmla="*/ 266488 w 564115"/>
                  <a:gd name="connsiteY188" fmla="*/ 634306 h 744632"/>
                  <a:gd name="connsiteX189" fmla="*/ 261524 w 564115"/>
                  <a:gd name="connsiteY189" fmla="*/ 647167 h 744632"/>
                  <a:gd name="connsiteX190" fmla="*/ 257237 w 564115"/>
                  <a:gd name="connsiteY190" fmla="*/ 660706 h 744632"/>
                  <a:gd name="connsiteX191" fmla="*/ 256785 w 564115"/>
                  <a:gd name="connsiteY191" fmla="*/ 673342 h 744632"/>
                  <a:gd name="connsiteX192" fmla="*/ 256560 w 564115"/>
                  <a:gd name="connsiteY192" fmla="*/ 687332 h 744632"/>
                  <a:gd name="connsiteX193" fmla="*/ 249113 w 564115"/>
                  <a:gd name="connsiteY193" fmla="*/ 709445 h 744632"/>
                  <a:gd name="connsiteX194" fmla="*/ 236477 w 564115"/>
                  <a:gd name="connsiteY194" fmla="*/ 722307 h 744632"/>
                  <a:gd name="connsiteX195" fmla="*/ 190445 w 564115"/>
                  <a:gd name="connsiteY195" fmla="*/ 749159 h 744632"/>
                  <a:gd name="connsiteX196" fmla="*/ 182548 w 564115"/>
                  <a:gd name="connsiteY196" fmla="*/ 760216 h 744632"/>
                  <a:gd name="connsiteX197" fmla="*/ 181420 w 564115"/>
                  <a:gd name="connsiteY197" fmla="*/ 762021 h 744632"/>
                  <a:gd name="connsiteX198" fmla="*/ 178486 w 564115"/>
                  <a:gd name="connsiteY198" fmla="*/ 761795 h 744632"/>
                  <a:gd name="connsiteX199" fmla="*/ 118013 w 564115"/>
                  <a:gd name="connsiteY199" fmla="*/ 725918 h 744632"/>
                  <a:gd name="connsiteX200" fmla="*/ 136516 w 564115"/>
                  <a:gd name="connsiteY200" fmla="*/ 742164 h 744632"/>
                  <a:gd name="connsiteX201" fmla="*/ 143962 w 564115"/>
                  <a:gd name="connsiteY201" fmla="*/ 748708 h 744632"/>
                  <a:gd name="connsiteX202" fmla="*/ 147347 w 564115"/>
                  <a:gd name="connsiteY202" fmla="*/ 750513 h 744632"/>
                  <a:gd name="connsiteX203" fmla="*/ 156598 w 564115"/>
                  <a:gd name="connsiteY203" fmla="*/ 753221 h 744632"/>
                  <a:gd name="connsiteX204" fmla="*/ 166301 w 564115"/>
                  <a:gd name="connsiteY204" fmla="*/ 755477 h 744632"/>
                  <a:gd name="connsiteX205" fmla="*/ 178937 w 564115"/>
                  <a:gd name="connsiteY205" fmla="*/ 757960 h 744632"/>
                  <a:gd name="connsiteX206" fmla="*/ 187963 w 564115"/>
                  <a:gd name="connsiteY206" fmla="*/ 745098 h 744632"/>
                  <a:gd name="connsiteX207" fmla="*/ 235123 w 564115"/>
                  <a:gd name="connsiteY207" fmla="*/ 717569 h 744632"/>
                  <a:gd name="connsiteX208" fmla="*/ 245954 w 564115"/>
                  <a:gd name="connsiteY208" fmla="*/ 706061 h 744632"/>
                  <a:gd name="connsiteX209" fmla="*/ 252724 w 564115"/>
                  <a:gd name="connsiteY209" fmla="*/ 686655 h 744632"/>
                  <a:gd name="connsiteX210" fmla="*/ 252949 w 564115"/>
                  <a:gd name="connsiteY210" fmla="*/ 671988 h 744632"/>
                  <a:gd name="connsiteX211" fmla="*/ 253175 w 564115"/>
                  <a:gd name="connsiteY211" fmla="*/ 659803 h 744632"/>
                  <a:gd name="connsiteX212" fmla="*/ 257914 w 564115"/>
                  <a:gd name="connsiteY212" fmla="*/ 644460 h 744632"/>
                  <a:gd name="connsiteX213" fmla="*/ 262652 w 564115"/>
                  <a:gd name="connsiteY213" fmla="*/ 632500 h 744632"/>
                  <a:gd name="connsiteX214" fmla="*/ 299432 w 564115"/>
                  <a:gd name="connsiteY214" fmla="*/ 611741 h 744632"/>
                  <a:gd name="connsiteX215" fmla="*/ 305299 w 564115"/>
                  <a:gd name="connsiteY215" fmla="*/ 610613 h 744632"/>
                  <a:gd name="connsiteX216" fmla="*/ 320869 w 564115"/>
                  <a:gd name="connsiteY216" fmla="*/ 605197 h 744632"/>
                  <a:gd name="connsiteX217" fmla="*/ 340274 w 564115"/>
                  <a:gd name="connsiteY217" fmla="*/ 597074 h 744632"/>
                  <a:gd name="connsiteX218" fmla="*/ 350203 w 564115"/>
                  <a:gd name="connsiteY218" fmla="*/ 593238 h 744632"/>
                  <a:gd name="connsiteX219" fmla="*/ 370737 w 564115"/>
                  <a:gd name="connsiteY219" fmla="*/ 592786 h 744632"/>
                  <a:gd name="connsiteX220" fmla="*/ 378183 w 564115"/>
                  <a:gd name="connsiteY220" fmla="*/ 594141 h 744632"/>
                  <a:gd name="connsiteX221" fmla="*/ 394429 w 564115"/>
                  <a:gd name="connsiteY221" fmla="*/ 592561 h 744632"/>
                  <a:gd name="connsiteX222" fmla="*/ 393076 w 564115"/>
                  <a:gd name="connsiteY222" fmla="*/ 592335 h 744632"/>
                  <a:gd name="connsiteX223" fmla="*/ 379988 w 564115"/>
                  <a:gd name="connsiteY223" fmla="*/ 587371 h 744632"/>
                  <a:gd name="connsiteX224" fmla="*/ 377280 w 564115"/>
                  <a:gd name="connsiteY224" fmla="*/ 585566 h 744632"/>
                  <a:gd name="connsiteX225" fmla="*/ 365321 w 564115"/>
                  <a:gd name="connsiteY225" fmla="*/ 551945 h 744632"/>
                  <a:gd name="connsiteX226" fmla="*/ 395332 w 564115"/>
                  <a:gd name="connsiteY226" fmla="*/ 504108 h 744632"/>
                  <a:gd name="connsiteX227" fmla="*/ 408419 w 564115"/>
                  <a:gd name="connsiteY227" fmla="*/ 476804 h 744632"/>
                  <a:gd name="connsiteX228" fmla="*/ 408871 w 564115"/>
                  <a:gd name="connsiteY228" fmla="*/ 474548 h 744632"/>
                  <a:gd name="connsiteX229" fmla="*/ 420153 w 564115"/>
                  <a:gd name="connsiteY229" fmla="*/ 451081 h 744632"/>
                  <a:gd name="connsiteX230" fmla="*/ 451067 w 564115"/>
                  <a:gd name="connsiteY230" fmla="*/ 444763 h 744632"/>
                  <a:gd name="connsiteX231" fmla="*/ 458513 w 564115"/>
                  <a:gd name="connsiteY231" fmla="*/ 444763 h 744632"/>
                  <a:gd name="connsiteX232" fmla="*/ 483334 w 564115"/>
                  <a:gd name="connsiteY232" fmla="*/ 450630 h 744632"/>
                  <a:gd name="connsiteX233" fmla="*/ 486493 w 564115"/>
                  <a:gd name="connsiteY233" fmla="*/ 451983 h 744632"/>
                  <a:gd name="connsiteX234" fmla="*/ 488524 w 564115"/>
                  <a:gd name="connsiteY234" fmla="*/ 452209 h 744632"/>
                  <a:gd name="connsiteX235" fmla="*/ 492585 w 564115"/>
                  <a:gd name="connsiteY235" fmla="*/ 442957 h 744632"/>
                  <a:gd name="connsiteX236" fmla="*/ 492811 w 564115"/>
                  <a:gd name="connsiteY236" fmla="*/ 442506 h 744632"/>
                  <a:gd name="connsiteX237" fmla="*/ 492134 w 564115"/>
                  <a:gd name="connsiteY237" fmla="*/ 399633 h 744632"/>
                  <a:gd name="connsiteX238" fmla="*/ 492134 w 564115"/>
                  <a:gd name="connsiteY238" fmla="*/ 399182 h 744632"/>
                  <a:gd name="connsiteX239" fmla="*/ 492360 w 564115"/>
                  <a:gd name="connsiteY239" fmla="*/ 374361 h 744632"/>
                  <a:gd name="connsiteX240" fmla="*/ 493262 w 564115"/>
                  <a:gd name="connsiteY240" fmla="*/ 346381 h 744632"/>
                  <a:gd name="connsiteX241" fmla="*/ 485365 w 564115"/>
                  <a:gd name="connsiteY241" fmla="*/ 298544 h 744632"/>
                  <a:gd name="connsiteX242" fmla="*/ 484462 w 564115"/>
                  <a:gd name="connsiteY242" fmla="*/ 276882 h 744632"/>
                  <a:gd name="connsiteX243" fmla="*/ 484688 w 564115"/>
                  <a:gd name="connsiteY243" fmla="*/ 276431 h 744632"/>
                  <a:gd name="connsiteX244" fmla="*/ 481078 w 564115"/>
                  <a:gd name="connsiteY244" fmla="*/ 252512 h 744632"/>
                  <a:gd name="connsiteX245" fmla="*/ 476565 w 564115"/>
                  <a:gd name="connsiteY245" fmla="*/ 228143 h 744632"/>
                  <a:gd name="connsiteX246" fmla="*/ 488073 w 564115"/>
                  <a:gd name="connsiteY246" fmla="*/ 206480 h 744632"/>
                  <a:gd name="connsiteX247" fmla="*/ 498227 w 564115"/>
                  <a:gd name="connsiteY247" fmla="*/ 197906 h 744632"/>
                  <a:gd name="connsiteX248" fmla="*/ 528012 w 564115"/>
                  <a:gd name="connsiteY248" fmla="*/ 156387 h 744632"/>
                  <a:gd name="connsiteX249" fmla="*/ 542228 w 564115"/>
                  <a:gd name="connsiteY249" fmla="*/ 120284 h 744632"/>
                  <a:gd name="connsiteX250" fmla="*/ 544484 w 564115"/>
                  <a:gd name="connsiteY250" fmla="*/ 102909 h 744632"/>
                  <a:gd name="connsiteX251" fmla="*/ 543356 w 564115"/>
                  <a:gd name="connsiteY251" fmla="*/ 89821 h 744632"/>
                  <a:gd name="connsiteX252" fmla="*/ 551931 w 564115"/>
                  <a:gd name="connsiteY252" fmla="*/ 67257 h 744632"/>
                  <a:gd name="connsiteX253" fmla="*/ 559602 w 564115"/>
                  <a:gd name="connsiteY253" fmla="*/ 53492 h 744632"/>
                  <a:gd name="connsiteX254" fmla="*/ 554187 w 564115"/>
                  <a:gd name="connsiteY254" fmla="*/ 17389 h 744632"/>
                  <a:gd name="connsiteX255" fmla="*/ 554187 w 564115"/>
                  <a:gd name="connsiteY255" fmla="*/ 17389 h 744632"/>
                  <a:gd name="connsiteX256" fmla="*/ 553510 w 564115"/>
                  <a:gd name="connsiteY256" fmla="*/ 16035 h 744632"/>
                  <a:gd name="connsiteX257" fmla="*/ 535684 w 564115"/>
                  <a:gd name="connsiteY257" fmla="*/ 7235 h 744632"/>
                  <a:gd name="connsiteX258" fmla="*/ 528238 w 564115"/>
                  <a:gd name="connsiteY258" fmla="*/ 2947 h 744632"/>
                  <a:gd name="connsiteX259" fmla="*/ 525079 w 564115"/>
                  <a:gd name="connsiteY259" fmla="*/ 3399 h 744632"/>
                  <a:gd name="connsiteX260" fmla="*/ 525079 w 564115"/>
                  <a:gd name="connsiteY260" fmla="*/ 3850 h 744632"/>
                  <a:gd name="connsiteX261" fmla="*/ 522145 w 564115"/>
                  <a:gd name="connsiteY261" fmla="*/ 10168 h 744632"/>
                  <a:gd name="connsiteX262" fmla="*/ 517632 w 564115"/>
                  <a:gd name="connsiteY262" fmla="*/ 15358 h 744632"/>
                  <a:gd name="connsiteX263" fmla="*/ 498452 w 564115"/>
                  <a:gd name="connsiteY263" fmla="*/ 29799 h 744632"/>
                  <a:gd name="connsiteX264" fmla="*/ 484914 w 564115"/>
                  <a:gd name="connsiteY264" fmla="*/ 32958 h 744632"/>
                  <a:gd name="connsiteX265" fmla="*/ 471149 w 564115"/>
                  <a:gd name="connsiteY265" fmla="*/ 35441 h 744632"/>
                  <a:gd name="connsiteX266" fmla="*/ 467088 w 564115"/>
                  <a:gd name="connsiteY266" fmla="*/ 35441 h 744632"/>
                  <a:gd name="connsiteX267" fmla="*/ 454226 w 564115"/>
                  <a:gd name="connsiteY267" fmla="*/ 30251 h 744632"/>
                  <a:gd name="connsiteX268" fmla="*/ 447231 w 564115"/>
                  <a:gd name="connsiteY268" fmla="*/ 28220 h 744632"/>
                  <a:gd name="connsiteX269" fmla="*/ 440687 w 564115"/>
                  <a:gd name="connsiteY269" fmla="*/ 32958 h 744632"/>
                  <a:gd name="connsiteX270" fmla="*/ 440913 w 564115"/>
                  <a:gd name="connsiteY270" fmla="*/ 38148 h 744632"/>
                  <a:gd name="connsiteX271" fmla="*/ 439333 w 564115"/>
                  <a:gd name="connsiteY271" fmla="*/ 46497 h 744632"/>
                  <a:gd name="connsiteX272" fmla="*/ 417671 w 564115"/>
                  <a:gd name="connsiteY272" fmla="*/ 55749 h 744632"/>
                  <a:gd name="connsiteX273" fmla="*/ 409096 w 564115"/>
                  <a:gd name="connsiteY273" fmla="*/ 60487 h 744632"/>
                  <a:gd name="connsiteX274" fmla="*/ 397137 w 564115"/>
                  <a:gd name="connsiteY274" fmla="*/ 67934 h 744632"/>
                  <a:gd name="connsiteX275" fmla="*/ 384050 w 564115"/>
                  <a:gd name="connsiteY275" fmla="*/ 64549 h 744632"/>
                  <a:gd name="connsiteX276" fmla="*/ 377957 w 564115"/>
                  <a:gd name="connsiteY276" fmla="*/ 63195 h 744632"/>
                  <a:gd name="connsiteX277" fmla="*/ 361711 w 564115"/>
                  <a:gd name="connsiteY277" fmla="*/ 60036 h 744632"/>
                  <a:gd name="connsiteX278" fmla="*/ 340274 w 564115"/>
                  <a:gd name="connsiteY278" fmla="*/ 66580 h 744632"/>
                  <a:gd name="connsiteX279" fmla="*/ 335536 w 564115"/>
                  <a:gd name="connsiteY279" fmla="*/ 68836 h 744632"/>
                  <a:gd name="connsiteX280" fmla="*/ 332151 w 564115"/>
                  <a:gd name="connsiteY280" fmla="*/ 76508 h 744632"/>
                  <a:gd name="connsiteX281" fmla="*/ 327638 w 564115"/>
                  <a:gd name="connsiteY281" fmla="*/ 86888 h 744632"/>
                  <a:gd name="connsiteX282" fmla="*/ 324479 w 564115"/>
                  <a:gd name="connsiteY282" fmla="*/ 94109 h 744632"/>
                  <a:gd name="connsiteX283" fmla="*/ 318612 w 564115"/>
                  <a:gd name="connsiteY283" fmla="*/ 107196 h 744632"/>
                  <a:gd name="connsiteX284" fmla="*/ 312520 w 564115"/>
                  <a:gd name="connsiteY284" fmla="*/ 116222 h 744632"/>
                  <a:gd name="connsiteX285" fmla="*/ 303043 w 564115"/>
                  <a:gd name="connsiteY285" fmla="*/ 124797 h 744632"/>
                  <a:gd name="connsiteX286" fmla="*/ 285894 w 564115"/>
                  <a:gd name="connsiteY286" fmla="*/ 117350 h 744632"/>
                  <a:gd name="connsiteX287" fmla="*/ 277770 w 564115"/>
                  <a:gd name="connsiteY287" fmla="*/ 107873 h 744632"/>
                  <a:gd name="connsiteX288" fmla="*/ 276417 w 564115"/>
                  <a:gd name="connsiteY288" fmla="*/ 108324 h 744632"/>
                  <a:gd name="connsiteX289" fmla="*/ 269873 w 564115"/>
                  <a:gd name="connsiteY289" fmla="*/ 102232 h 744632"/>
                  <a:gd name="connsiteX290" fmla="*/ 265811 w 564115"/>
                  <a:gd name="connsiteY290" fmla="*/ 97268 h 744632"/>
                  <a:gd name="connsiteX291" fmla="*/ 254529 w 564115"/>
                  <a:gd name="connsiteY291" fmla="*/ 91175 h 744632"/>
                  <a:gd name="connsiteX292" fmla="*/ 253175 w 564115"/>
                  <a:gd name="connsiteY292" fmla="*/ 91852 h 744632"/>
                  <a:gd name="connsiteX293" fmla="*/ 249339 w 564115"/>
                  <a:gd name="connsiteY293" fmla="*/ 95011 h 744632"/>
                  <a:gd name="connsiteX294" fmla="*/ 237831 w 564115"/>
                  <a:gd name="connsiteY294" fmla="*/ 92303 h 744632"/>
                  <a:gd name="connsiteX295" fmla="*/ 223164 w 564115"/>
                  <a:gd name="connsiteY295" fmla="*/ 90273 h 744632"/>
                  <a:gd name="connsiteX296" fmla="*/ 218425 w 564115"/>
                  <a:gd name="connsiteY296" fmla="*/ 97493 h 744632"/>
                  <a:gd name="connsiteX297" fmla="*/ 216395 w 564115"/>
                  <a:gd name="connsiteY297" fmla="*/ 103811 h 744632"/>
                  <a:gd name="connsiteX298" fmla="*/ 198794 w 564115"/>
                  <a:gd name="connsiteY298" fmla="*/ 116222 h 744632"/>
                  <a:gd name="connsiteX299" fmla="*/ 189091 w 564115"/>
                  <a:gd name="connsiteY299" fmla="*/ 120961 h 744632"/>
                  <a:gd name="connsiteX300" fmla="*/ 191348 w 564115"/>
                  <a:gd name="connsiteY300" fmla="*/ 136304 h 744632"/>
                  <a:gd name="connsiteX301" fmla="*/ 192927 w 564115"/>
                  <a:gd name="connsiteY301" fmla="*/ 150971 h 744632"/>
                  <a:gd name="connsiteX302" fmla="*/ 192702 w 564115"/>
                  <a:gd name="connsiteY302" fmla="*/ 153228 h 744632"/>
                  <a:gd name="connsiteX303" fmla="*/ 185707 w 564115"/>
                  <a:gd name="connsiteY303" fmla="*/ 162254 h 744632"/>
                  <a:gd name="connsiteX304" fmla="*/ 177132 w 564115"/>
                  <a:gd name="connsiteY304" fmla="*/ 173085 h 744632"/>
                  <a:gd name="connsiteX305" fmla="*/ 189317 w 564115"/>
                  <a:gd name="connsiteY305" fmla="*/ 180305 h 744632"/>
                  <a:gd name="connsiteX306" fmla="*/ 206466 w 564115"/>
                  <a:gd name="connsiteY306" fmla="*/ 187752 h 744632"/>
                  <a:gd name="connsiteX307" fmla="*/ 199923 w 564115"/>
                  <a:gd name="connsiteY307" fmla="*/ 208962 h 744632"/>
                  <a:gd name="connsiteX308" fmla="*/ 194958 w 564115"/>
                  <a:gd name="connsiteY308" fmla="*/ 213927 h 744632"/>
                  <a:gd name="connsiteX309" fmla="*/ 185707 w 564115"/>
                  <a:gd name="connsiteY309" fmla="*/ 219342 h 744632"/>
                  <a:gd name="connsiteX310" fmla="*/ 173748 w 564115"/>
                  <a:gd name="connsiteY310" fmla="*/ 231753 h 744632"/>
                  <a:gd name="connsiteX311" fmla="*/ 153891 w 564115"/>
                  <a:gd name="connsiteY311" fmla="*/ 243938 h 744632"/>
                  <a:gd name="connsiteX312" fmla="*/ 145316 w 564115"/>
                  <a:gd name="connsiteY312" fmla="*/ 241004 h 744632"/>
                  <a:gd name="connsiteX313" fmla="*/ 138095 w 564115"/>
                  <a:gd name="connsiteY313" fmla="*/ 238297 h 744632"/>
                  <a:gd name="connsiteX314" fmla="*/ 129972 w 564115"/>
                  <a:gd name="connsiteY314" fmla="*/ 240779 h 744632"/>
                  <a:gd name="connsiteX315" fmla="*/ 123654 w 564115"/>
                  <a:gd name="connsiteY315" fmla="*/ 244163 h 744632"/>
                  <a:gd name="connsiteX316" fmla="*/ 120044 w 564115"/>
                  <a:gd name="connsiteY316" fmla="*/ 245743 h 744632"/>
                  <a:gd name="connsiteX317" fmla="*/ 108310 w 564115"/>
                  <a:gd name="connsiteY317" fmla="*/ 241004 h 744632"/>
                  <a:gd name="connsiteX318" fmla="*/ 102218 w 564115"/>
                  <a:gd name="connsiteY318" fmla="*/ 237394 h 744632"/>
                  <a:gd name="connsiteX319" fmla="*/ 99059 w 564115"/>
                  <a:gd name="connsiteY319" fmla="*/ 238071 h 744632"/>
                  <a:gd name="connsiteX320" fmla="*/ 90258 w 564115"/>
                  <a:gd name="connsiteY320" fmla="*/ 250256 h 744632"/>
                  <a:gd name="connsiteX321" fmla="*/ 89807 w 564115"/>
                  <a:gd name="connsiteY321" fmla="*/ 251610 h 744632"/>
                  <a:gd name="connsiteX322" fmla="*/ 81233 w 564115"/>
                  <a:gd name="connsiteY322" fmla="*/ 257928 h 744632"/>
                  <a:gd name="connsiteX323" fmla="*/ 74689 w 564115"/>
                  <a:gd name="connsiteY323" fmla="*/ 259281 h 744632"/>
                  <a:gd name="connsiteX324" fmla="*/ 59796 w 564115"/>
                  <a:gd name="connsiteY324" fmla="*/ 261989 h 744632"/>
                  <a:gd name="connsiteX325" fmla="*/ 46257 w 564115"/>
                  <a:gd name="connsiteY325" fmla="*/ 257251 h 744632"/>
                  <a:gd name="connsiteX326" fmla="*/ 45806 w 564115"/>
                  <a:gd name="connsiteY326" fmla="*/ 255897 h 744632"/>
                  <a:gd name="connsiteX327" fmla="*/ 33396 w 564115"/>
                  <a:gd name="connsiteY327" fmla="*/ 253415 h 744632"/>
                  <a:gd name="connsiteX328" fmla="*/ 29785 w 564115"/>
                  <a:gd name="connsiteY328" fmla="*/ 252512 h 744632"/>
                  <a:gd name="connsiteX329" fmla="*/ 25498 w 564115"/>
                  <a:gd name="connsiteY329" fmla="*/ 257702 h 744632"/>
                  <a:gd name="connsiteX330" fmla="*/ 11282 w 564115"/>
                  <a:gd name="connsiteY330" fmla="*/ 265600 h 744632"/>
                  <a:gd name="connsiteX331" fmla="*/ 3836 w 564115"/>
                  <a:gd name="connsiteY331" fmla="*/ 270564 h 744632"/>
                  <a:gd name="connsiteX332" fmla="*/ 11508 w 564115"/>
                  <a:gd name="connsiteY332" fmla="*/ 277559 h 744632"/>
                  <a:gd name="connsiteX333" fmla="*/ 17375 w 564115"/>
                  <a:gd name="connsiteY333" fmla="*/ 280944 h 744632"/>
                  <a:gd name="connsiteX334" fmla="*/ 24595 w 564115"/>
                  <a:gd name="connsiteY334" fmla="*/ 285005 h 744632"/>
                  <a:gd name="connsiteX335" fmla="*/ 43324 w 564115"/>
                  <a:gd name="connsiteY335" fmla="*/ 299898 h 744632"/>
                  <a:gd name="connsiteX336" fmla="*/ 39488 w 564115"/>
                  <a:gd name="connsiteY336" fmla="*/ 306216 h 744632"/>
                  <a:gd name="connsiteX337" fmla="*/ 37232 w 564115"/>
                  <a:gd name="connsiteY337" fmla="*/ 308698 h 744632"/>
                  <a:gd name="connsiteX338" fmla="*/ 39262 w 564115"/>
                  <a:gd name="connsiteY338" fmla="*/ 311180 h 744632"/>
                  <a:gd name="connsiteX339" fmla="*/ 49868 w 564115"/>
                  <a:gd name="connsiteY339" fmla="*/ 313211 h 744632"/>
                  <a:gd name="connsiteX340" fmla="*/ 62504 w 564115"/>
                  <a:gd name="connsiteY340" fmla="*/ 315467 h 744632"/>
                  <a:gd name="connsiteX341" fmla="*/ 64760 w 564115"/>
                  <a:gd name="connsiteY341" fmla="*/ 317047 h 744632"/>
                  <a:gd name="connsiteX342" fmla="*/ 75140 w 564115"/>
                  <a:gd name="connsiteY342" fmla="*/ 329232 h 744632"/>
                  <a:gd name="connsiteX343" fmla="*/ 66340 w 564115"/>
                  <a:gd name="connsiteY343" fmla="*/ 341642 h 744632"/>
                  <a:gd name="connsiteX344" fmla="*/ 59571 w 564115"/>
                  <a:gd name="connsiteY344" fmla="*/ 349540 h 744632"/>
                  <a:gd name="connsiteX345" fmla="*/ 69273 w 564115"/>
                  <a:gd name="connsiteY345" fmla="*/ 357212 h 744632"/>
                  <a:gd name="connsiteX346" fmla="*/ 76945 w 564115"/>
                  <a:gd name="connsiteY346" fmla="*/ 361725 h 744632"/>
                  <a:gd name="connsiteX347" fmla="*/ 84617 w 564115"/>
                  <a:gd name="connsiteY347" fmla="*/ 391059 h 744632"/>
                  <a:gd name="connsiteX348" fmla="*/ 80556 w 564115"/>
                  <a:gd name="connsiteY348" fmla="*/ 396023 h 744632"/>
                  <a:gd name="connsiteX349" fmla="*/ 77171 w 564115"/>
                  <a:gd name="connsiteY349" fmla="*/ 406403 h 744632"/>
                  <a:gd name="connsiteX350" fmla="*/ 85971 w 564115"/>
                  <a:gd name="connsiteY350" fmla="*/ 443183 h 744632"/>
                  <a:gd name="connsiteX351" fmla="*/ 93192 w 564115"/>
                  <a:gd name="connsiteY351" fmla="*/ 448373 h 744632"/>
                  <a:gd name="connsiteX352" fmla="*/ 104248 w 564115"/>
                  <a:gd name="connsiteY352" fmla="*/ 447471 h 744632"/>
                  <a:gd name="connsiteX353" fmla="*/ 108310 w 564115"/>
                  <a:gd name="connsiteY353" fmla="*/ 444537 h 744632"/>
                  <a:gd name="connsiteX354" fmla="*/ 122751 w 564115"/>
                  <a:gd name="connsiteY354" fmla="*/ 437768 h 744632"/>
                  <a:gd name="connsiteX355" fmla="*/ 140578 w 564115"/>
                  <a:gd name="connsiteY355" fmla="*/ 452660 h 744632"/>
                  <a:gd name="connsiteX356" fmla="*/ 136290 w 564115"/>
                  <a:gd name="connsiteY356" fmla="*/ 467102 h 744632"/>
                  <a:gd name="connsiteX357" fmla="*/ 133808 w 564115"/>
                  <a:gd name="connsiteY357" fmla="*/ 470486 h 744632"/>
                  <a:gd name="connsiteX358" fmla="*/ 134711 w 564115"/>
                  <a:gd name="connsiteY358" fmla="*/ 475450 h 744632"/>
                  <a:gd name="connsiteX359" fmla="*/ 137644 w 564115"/>
                  <a:gd name="connsiteY359" fmla="*/ 480189 h 744632"/>
                  <a:gd name="connsiteX360" fmla="*/ 136065 w 564115"/>
                  <a:gd name="connsiteY360" fmla="*/ 491246 h 744632"/>
                  <a:gd name="connsiteX361" fmla="*/ 133583 w 564115"/>
                  <a:gd name="connsiteY361" fmla="*/ 501174 h 744632"/>
                  <a:gd name="connsiteX362" fmla="*/ 130875 w 564115"/>
                  <a:gd name="connsiteY362" fmla="*/ 523513 h 744632"/>
                  <a:gd name="connsiteX363" fmla="*/ 131552 w 564115"/>
                  <a:gd name="connsiteY363" fmla="*/ 533893 h 744632"/>
                  <a:gd name="connsiteX364" fmla="*/ 136516 w 564115"/>
                  <a:gd name="connsiteY364" fmla="*/ 540437 h 744632"/>
                  <a:gd name="connsiteX365" fmla="*/ 139901 w 564115"/>
                  <a:gd name="connsiteY365" fmla="*/ 540437 h 744632"/>
                  <a:gd name="connsiteX366" fmla="*/ 150280 w 564115"/>
                  <a:gd name="connsiteY366" fmla="*/ 545175 h 744632"/>
                  <a:gd name="connsiteX367" fmla="*/ 151860 w 564115"/>
                  <a:gd name="connsiteY367" fmla="*/ 571125 h 744632"/>
                  <a:gd name="connsiteX368" fmla="*/ 148926 w 564115"/>
                  <a:gd name="connsiteY368" fmla="*/ 574960 h 744632"/>
                  <a:gd name="connsiteX369" fmla="*/ 138772 w 564115"/>
                  <a:gd name="connsiteY369" fmla="*/ 596848 h 744632"/>
                  <a:gd name="connsiteX370" fmla="*/ 131777 w 564115"/>
                  <a:gd name="connsiteY370" fmla="*/ 612192 h 744632"/>
                  <a:gd name="connsiteX371" fmla="*/ 127716 w 564115"/>
                  <a:gd name="connsiteY371" fmla="*/ 616479 h 744632"/>
                  <a:gd name="connsiteX372" fmla="*/ 130198 w 564115"/>
                  <a:gd name="connsiteY372" fmla="*/ 632049 h 744632"/>
                  <a:gd name="connsiteX373" fmla="*/ 129972 w 564115"/>
                  <a:gd name="connsiteY373" fmla="*/ 662962 h 744632"/>
                  <a:gd name="connsiteX374" fmla="*/ 130649 w 564115"/>
                  <a:gd name="connsiteY374" fmla="*/ 678532 h 744632"/>
                  <a:gd name="connsiteX375" fmla="*/ 132906 w 564115"/>
                  <a:gd name="connsiteY375" fmla="*/ 682142 h 744632"/>
                  <a:gd name="connsiteX376" fmla="*/ 131100 w 564115"/>
                  <a:gd name="connsiteY376" fmla="*/ 696132 h 744632"/>
                  <a:gd name="connsiteX377" fmla="*/ 127490 w 564115"/>
                  <a:gd name="connsiteY377" fmla="*/ 705158 h 744632"/>
                  <a:gd name="connsiteX378" fmla="*/ 118013 w 564115"/>
                  <a:gd name="connsiteY378" fmla="*/ 725918 h 744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564115" h="744632">
                    <a:moveTo>
                      <a:pt x="178486" y="761795"/>
                    </a:moveTo>
                    <a:cubicBezTo>
                      <a:pt x="175778" y="761795"/>
                      <a:pt x="171717" y="760893"/>
                      <a:pt x="165399" y="759088"/>
                    </a:cubicBezTo>
                    <a:cubicBezTo>
                      <a:pt x="161788" y="758185"/>
                      <a:pt x="158404" y="757283"/>
                      <a:pt x="156147" y="757057"/>
                    </a:cubicBezTo>
                    <a:cubicBezTo>
                      <a:pt x="150506" y="756380"/>
                      <a:pt x="149378" y="755703"/>
                      <a:pt x="145542" y="753898"/>
                    </a:cubicBezTo>
                    <a:cubicBezTo>
                      <a:pt x="144639" y="753447"/>
                      <a:pt x="143737" y="752995"/>
                      <a:pt x="142383" y="752318"/>
                    </a:cubicBezTo>
                    <a:cubicBezTo>
                      <a:pt x="139449" y="750739"/>
                      <a:pt x="136967" y="748257"/>
                      <a:pt x="133808" y="745098"/>
                    </a:cubicBezTo>
                    <a:cubicBezTo>
                      <a:pt x="129747" y="740811"/>
                      <a:pt x="124557" y="735395"/>
                      <a:pt x="115080" y="728851"/>
                    </a:cubicBezTo>
                    <a:lnTo>
                      <a:pt x="115080" y="728851"/>
                    </a:lnTo>
                    <a:lnTo>
                      <a:pt x="113951" y="727949"/>
                    </a:lnTo>
                    <a:cubicBezTo>
                      <a:pt x="113049" y="727272"/>
                      <a:pt x="112372" y="726820"/>
                      <a:pt x="111695" y="726595"/>
                    </a:cubicBezTo>
                    <a:cubicBezTo>
                      <a:pt x="111695" y="726595"/>
                      <a:pt x="111469" y="726595"/>
                      <a:pt x="111469" y="726369"/>
                    </a:cubicBezTo>
                    <a:lnTo>
                      <a:pt x="111469" y="726369"/>
                    </a:lnTo>
                    <a:lnTo>
                      <a:pt x="111469" y="726369"/>
                    </a:lnTo>
                    <a:lnTo>
                      <a:pt x="113500" y="723210"/>
                    </a:lnTo>
                    <a:lnTo>
                      <a:pt x="113500" y="723210"/>
                    </a:lnTo>
                    <a:lnTo>
                      <a:pt x="113500" y="723210"/>
                    </a:lnTo>
                    <a:cubicBezTo>
                      <a:pt x="113500" y="723210"/>
                      <a:pt x="113500" y="723210"/>
                      <a:pt x="113500" y="723210"/>
                    </a:cubicBezTo>
                    <a:cubicBezTo>
                      <a:pt x="113500" y="723210"/>
                      <a:pt x="113726" y="723210"/>
                      <a:pt x="113726" y="723436"/>
                    </a:cubicBezTo>
                    <a:cubicBezTo>
                      <a:pt x="113951" y="723661"/>
                      <a:pt x="114403" y="723887"/>
                      <a:pt x="114628" y="724113"/>
                    </a:cubicBezTo>
                    <a:cubicBezTo>
                      <a:pt x="120044" y="718697"/>
                      <a:pt x="122300" y="711025"/>
                      <a:pt x="124105" y="704707"/>
                    </a:cubicBezTo>
                    <a:cubicBezTo>
                      <a:pt x="125234" y="700420"/>
                      <a:pt x="126362" y="696584"/>
                      <a:pt x="128393" y="694327"/>
                    </a:cubicBezTo>
                    <a:cubicBezTo>
                      <a:pt x="132906" y="689137"/>
                      <a:pt x="132680" y="688686"/>
                      <a:pt x="129972" y="684850"/>
                    </a:cubicBezTo>
                    <a:cubicBezTo>
                      <a:pt x="129295" y="683722"/>
                      <a:pt x="128393" y="682594"/>
                      <a:pt x="127716" y="681240"/>
                    </a:cubicBezTo>
                    <a:cubicBezTo>
                      <a:pt x="122977" y="673117"/>
                      <a:pt x="122300" y="669957"/>
                      <a:pt x="127039" y="661834"/>
                    </a:cubicBezTo>
                    <a:cubicBezTo>
                      <a:pt x="131100" y="654839"/>
                      <a:pt x="131326" y="640398"/>
                      <a:pt x="127490" y="634982"/>
                    </a:cubicBezTo>
                    <a:cubicBezTo>
                      <a:pt x="122977" y="628664"/>
                      <a:pt x="119141" y="622572"/>
                      <a:pt x="125008" y="614900"/>
                    </a:cubicBezTo>
                    <a:cubicBezTo>
                      <a:pt x="126588" y="612869"/>
                      <a:pt x="128167" y="611290"/>
                      <a:pt x="129521" y="610161"/>
                    </a:cubicBezTo>
                    <a:cubicBezTo>
                      <a:pt x="132680" y="607228"/>
                      <a:pt x="134936" y="605197"/>
                      <a:pt x="135162" y="597525"/>
                    </a:cubicBezTo>
                    <a:cubicBezTo>
                      <a:pt x="135388" y="586920"/>
                      <a:pt x="141029" y="579925"/>
                      <a:pt x="146219" y="573607"/>
                    </a:cubicBezTo>
                    <a:cubicBezTo>
                      <a:pt x="147121" y="572253"/>
                      <a:pt x="148250" y="571125"/>
                      <a:pt x="149152" y="569996"/>
                    </a:cubicBezTo>
                    <a:cubicBezTo>
                      <a:pt x="154342" y="563001"/>
                      <a:pt x="153891" y="555780"/>
                      <a:pt x="147798" y="548785"/>
                    </a:cubicBezTo>
                    <a:cubicBezTo>
                      <a:pt x="143962" y="544498"/>
                      <a:pt x="142834" y="544724"/>
                      <a:pt x="141254" y="545175"/>
                    </a:cubicBezTo>
                    <a:cubicBezTo>
                      <a:pt x="139901" y="545626"/>
                      <a:pt x="138321" y="546078"/>
                      <a:pt x="135613" y="545175"/>
                    </a:cubicBezTo>
                    <a:cubicBezTo>
                      <a:pt x="131552" y="543821"/>
                      <a:pt x="129070" y="538631"/>
                      <a:pt x="128393" y="536375"/>
                    </a:cubicBezTo>
                    <a:cubicBezTo>
                      <a:pt x="126813" y="532313"/>
                      <a:pt x="125685" y="526672"/>
                      <a:pt x="127716" y="522836"/>
                    </a:cubicBezTo>
                    <a:cubicBezTo>
                      <a:pt x="130423" y="517872"/>
                      <a:pt x="130198" y="509974"/>
                      <a:pt x="129972" y="502528"/>
                    </a:cubicBezTo>
                    <a:cubicBezTo>
                      <a:pt x="129747" y="498241"/>
                      <a:pt x="131326" y="494405"/>
                      <a:pt x="132906" y="491020"/>
                    </a:cubicBezTo>
                    <a:cubicBezTo>
                      <a:pt x="134259" y="487861"/>
                      <a:pt x="135388" y="484928"/>
                      <a:pt x="134485" y="482897"/>
                    </a:cubicBezTo>
                    <a:cubicBezTo>
                      <a:pt x="133808" y="481317"/>
                      <a:pt x="132906" y="480189"/>
                      <a:pt x="132003" y="479061"/>
                    </a:cubicBezTo>
                    <a:cubicBezTo>
                      <a:pt x="130198" y="476804"/>
                      <a:pt x="128618" y="474548"/>
                      <a:pt x="130649" y="470035"/>
                    </a:cubicBezTo>
                    <a:cubicBezTo>
                      <a:pt x="131552" y="468455"/>
                      <a:pt x="132454" y="467102"/>
                      <a:pt x="133357" y="465973"/>
                    </a:cubicBezTo>
                    <a:cubicBezTo>
                      <a:pt x="135613" y="463040"/>
                      <a:pt x="137644" y="460558"/>
                      <a:pt x="136967" y="454240"/>
                    </a:cubicBezTo>
                    <a:cubicBezTo>
                      <a:pt x="136065" y="445891"/>
                      <a:pt x="128844" y="442732"/>
                      <a:pt x="122751" y="442732"/>
                    </a:cubicBezTo>
                    <a:cubicBezTo>
                      <a:pt x="118916" y="442732"/>
                      <a:pt x="114403" y="445891"/>
                      <a:pt x="110567" y="448824"/>
                    </a:cubicBezTo>
                    <a:cubicBezTo>
                      <a:pt x="108987" y="449952"/>
                      <a:pt x="107633" y="451081"/>
                      <a:pt x="106279" y="451758"/>
                    </a:cubicBezTo>
                    <a:cubicBezTo>
                      <a:pt x="102895" y="453789"/>
                      <a:pt x="97028" y="454240"/>
                      <a:pt x="92289" y="453112"/>
                    </a:cubicBezTo>
                    <a:cubicBezTo>
                      <a:pt x="88002" y="451983"/>
                      <a:pt x="84617" y="449501"/>
                      <a:pt x="82812" y="446116"/>
                    </a:cubicBezTo>
                    <a:cubicBezTo>
                      <a:pt x="78074" y="437542"/>
                      <a:pt x="74012" y="419039"/>
                      <a:pt x="73561" y="407757"/>
                    </a:cubicBezTo>
                    <a:cubicBezTo>
                      <a:pt x="73109" y="398956"/>
                      <a:pt x="75591" y="396700"/>
                      <a:pt x="78074" y="394444"/>
                    </a:cubicBezTo>
                    <a:cubicBezTo>
                      <a:pt x="79202" y="393315"/>
                      <a:pt x="80330" y="392413"/>
                      <a:pt x="81233" y="390608"/>
                    </a:cubicBezTo>
                    <a:cubicBezTo>
                      <a:pt x="86423" y="380228"/>
                      <a:pt x="84392" y="372105"/>
                      <a:pt x="74915" y="366012"/>
                    </a:cubicBezTo>
                    <a:cubicBezTo>
                      <a:pt x="72432" y="364433"/>
                      <a:pt x="69950" y="363079"/>
                      <a:pt x="67468" y="361725"/>
                    </a:cubicBezTo>
                    <a:cubicBezTo>
                      <a:pt x="61150" y="358115"/>
                      <a:pt x="55960" y="355407"/>
                      <a:pt x="55735" y="350894"/>
                    </a:cubicBezTo>
                    <a:cubicBezTo>
                      <a:pt x="55509" y="347509"/>
                      <a:pt x="57991" y="344125"/>
                      <a:pt x="64084" y="339837"/>
                    </a:cubicBezTo>
                    <a:cubicBezTo>
                      <a:pt x="69048" y="336227"/>
                      <a:pt x="71530" y="333068"/>
                      <a:pt x="71530" y="330360"/>
                    </a:cubicBezTo>
                    <a:cubicBezTo>
                      <a:pt x="71530" y="326975"/>
                      <a:pt x="67017" y="324042"/>
                      <a:pt x="62730" y="321109"/>
                    </a:cubicBezTo>
                    <a:cubicBezTo>
                      <a:pt x="62053" y="320657"/>
                      <a:pt x="61150" y="319980"/>
                      <a:pt x="60473" y="319529"/>
                    </a:cubicBezTo>
                    <a:cubicBezTo>
                      <a:pt x="57088" y="317273"/>
                      <a:pt x="53929" y="317498"/>
                      <a:pt x="50319" y="317950"/>
                    </a:cubicBezTo>
                    <a:cubicBezTo>
                      <a:pt x="46257" y="318401"/>
                      <a:pt x="41970" y="318852"/>
                      <a:pt x="37232" y="315242"/>
                    </a:cubicBezTo>
                    <a:cubicBezTo>
                      <a:pt x="34750" y="313437"/>
                      <a:pt x="33621" y="311632"/>
                      <a:pt x="33621" y="309826"/>
                    </a:cubicBezTo>
                    <a:cubicBezTo>
                      <a:pt x="33621" y="307344"/>
                      <a:pt x="35426" y="305765"/>
                      <a:pt x="37232" y="304411"/>
                    </a:cubicBezTo>
                    <a:cubicBezTo>
                      <a:pt x="38811" y="303057"/>
                      <a:pt x="39714" y="302154"/>
                      <a:pt x="39714" y="301478"/>
                    </a:cubicBezTo>
                    <a:cubicBezTo>
                      <a:pt x="39262" y="298544"/>
                      <a:pt x="29334" y="293128"/>
                      <a:pt x="22790" y="289518"/>
                    </a:cubicBezTo>
                    <a:cubicBezTo>
                      <a:pt x="20308" y="288164"/>
                      <a:pt x="17600" y="286585"/>
                      <a:pt x="15344" y="285456"/>
                    </a:cubicBezTo>
                    <a:cubicBezTo>
                      <a:pt x="13088" y="284103"/>
                      <a:pt x="11282" y="283200"/>
                      <a:pt x="9477" y="282072"/>
                    </a:cubicBezTo>
                    <a:cubicBezTo>
                      <a:pt x="3610" y="278913"/>
                      <a:pt x="0" y="276882"/>
                      <a:pt x="0" y="271918"/>
                    </a:cubicBezTo>
                    <a:cubicBezTo>
                      <a:pt x="0" y="267856"/>
                      <a:pt x="4287" y="266051"/>
                      <a:pt x="9703" y="263569"/>
                    </a:cubicBezTo>
                    <a:cubicBezTo>
                      <a:pt x="13764" y="261764"/>
                      <a:pt x="18729" y="259507"/>
                      <a:pt x="23242" y="255897"/>
                    </a:cubicBezTo>
                    <a:cubicBezTo>
                      <a:pt x="25047" y="254543"/>
                      <a:pt x="26401" y="252512"/>
                      <a:pt x="27303" y="249804"/>
                    </a:cubicBezTo>
                    <a:lnTo>
                      <a:pt x="28206" y="246871"/>
                    </a:lnTo>
                    <a:lnTo>
                      <a:pt x="30462" y="249127"/>
                    </a:lnTo>
                    <a:cubicBezTo>
                      <a:pt x="32042" y="250707"/>
                      <a:pt x="32493" y="250707"/>
                      <a:pt x="32493" y="250933"/>
                    </a:cubicBezTo>
                    <a:cubicBezTo>
                      <a:pt x="35426" y="249804"/>
                      <a:pt x="47160" y="250481"/>
                      <a:pt x="49416" y="255446"/>
                    </a:cubicBezTo>
                    <a:cubicBezTo>
                      <a:pt x="49642" y="256122"/>
                      <a:pt x="49868" y="256799"/>
                      <a:pt x="50093" y="257251"/>
                    </a:cubicBezTo>
                    <a:cubicBezTo>
                      <a:pt x="50545" y="258605"/>
                      <a:pt x="50770" y="259281"/>
                      <a:pt x="60022" y="259281"/>
                    </a:cubicBezTo>
                    <a:cubicBezTo>
                      <a:pt x="66791" y="259281"/>
                      <a:pt x="70627" y="257928"/>
                      <a:pt x="73786" y="256799"/>
                    </a:cubicBezTo>
                    <a:cubicBezTo>
                      <a:pt x="76494" y="255897"/>
                      <a:pt x="78751" y="254994"/>
                      <a:pt x="81910" y="255220"/>
                    </a:cubicBezTo>
                    <a:cubicBezTo>
                      <a:pt x="85520" y="255671"/>
                      <a:pt x="85746" y="254543"/>
                      <a:pt x="86423" y="251835"/>
                    </a:cubicBezTo>
                    <a:cubicBezTo>
                      <a:pt x="86648" y="251384"/>
                      <a:pt x="86648" y="250707"/>
                      <a:pt x="86874" y="250256"/>
                    </a:cubicBezTo>
                    <a:cubicBezTo>
                      <a:pt x="87551" y="247774"/>
                      <a:pt x="94094" y="235363"/>
                      <a:pt x="99284" y="235363"/>
                    </a:cubicBezTo>
                    <a:cubicBezTo>
                      <a:pt x="99961" y="235363"/>
                      <a:pt x="100638" y="235138"/>
                      <a:pt x="101315" y="234912"/>
                    </a:cubicBezTo>
                    <a:cubicBezTo>
                      <a:pt x="104700" y="233784"/>
                      <a:pt x="108085" y="233332"/>
                      <a:pt x="111920" y="240102"/>
                    </a:cubicBezTo>
                    <a:cubicBezTo>
                      <a:pt x="114854" y="245066"/>
                      <a:pt x="114854" y="245066"/>
                      <a:pt x="118690" y="243261"/>
                    </a:cubicBezTo>
                    <a:cubicBezTo>
                      <a:pt x="119818" y="242809"/>
                      <a:pt x="120946" y="242132"/>
                      <a:pt x="122526" y="241456"/>
                    </a:cubicBezTo>
                    <a:cubicBezTo>
                      <a:pt x="125008" y="240327"/>
                      <a:pt x="126813" y="239199"/>
                      <a:pt x="128393" y="238297"/>
                    </a:cubicBezTo>
                    <a:cubicBezTo>
                      <a:pt x="131326" y="236491"/>
                      <a:pt x="133583" y="235138"/>
                      <a:pt x="138772" y="235363"/>
                    </a:cubicBezTo>
                    <a:cubicBezTo>
                      <a:pt x="142834" y="235589"/>
                      <a:pt x="145542" y="237168"/>
                      <a:pt x="147798" y="238522"/>
                    </a:cubicBezTo>
                    <a:cubicBezTo>
                      <a:pt x="149829" y="239876"/>
                      <a:pt x="151634" y="241004"/>
                      <a:pt x="154342" y="241004"/>
                    </a:cubicBezTo>
                    <a:cubicBezTo>
                      <a:pt x="162465" y="241004"/>
                      <a:pt x="167881" y="237845"/>
                      <a:pt x="170814" y="231076"/>
                    </a:cubicBezTo>
                    <a:cubicBezTo>
                      <a:pt x="174650" y="222276"/>
                      <a:pt x="178712" y="216860"/>
                      <a:pt x="185932" y="216409"/>
                    </a:cubicBezTo>
                    <a:cubicBezTo>
                      <a:pt x="188866" y="216183"/>
                      <a:pt x="190220" y="214829"/>
                      <a:pt x="192476" y="212122"/>
                    </a:cubicBezTo>
                    <a:cubicBezTo>
                      <a:pt x="193830" y="210542"/>
                      <a:pt x="195410" y="208737"/>
                      <a:pt x="197892" y="206706"/>
                    </a:cubicBezTo>
                    <a:cubicBezTo>
                      <a:pt x="203307" y="202419"/>
                      <a:pt x="204661" y="193844"/>
                      <a:pt x="203307" y="189557"/>
                    </a:cubicBezTo>
                    <a:cubicBezTo>
                      <a:pt x="202630" y="187526"/>
                      <a:pt x="200374" y="184593"/>
                      <a:pt x="189768" y="184593"/>
                    </a:cubicBezTo>
                    <a:cubicBezTo>
                      <a:pt x="180517" y="184593"/>
                      <a:pt x="174199" y="180305"/>
                      <a:pt x="173748" y="173762"/>
                    </a:cubicBezTo>
                    <a:cubicBezTo>
                      <a:pt x="173522" y="169700"/>
                      <a:pt x="178486" y="164736"/>
                      <a:pt x="183450" y="159997"/>
                    </a:cubicBezTo>
                    <a:cubicBezTo>
                      <a:pt x="185707" y="157741"/>
                      <a:pt x="189091" y="154356"/>
                      <a:pt x="189317" y="153453"/>
                    </a:cubicBezTo>
                    <a:cubicBezTo>
                      <a:pt x="189317" y="152776"/>
                      <a:pt x="189543" y="151874"/>
                      <a:pt x="189543" y="150971"/>
                    </a:cubicBezTo>
                    <a:cubicBezTo>
                      <a:pt x="189994" y="147135"/>
                      <a:pt x="190671" y="142171"/>
                      <a:pt x="188640" y="139012"/>
                    </a:cubicBezTo>
                    <a:cubicBezTo>
                      <a:pt x="185255" y="134274"/>
                      <a:pt x="183902" y="122540"/>
                      <a:pt x="186384" y="119155"/>
                    </a:cubicBezTo>
                    <a:cubicBezTo>
                      <a:pt x="188640" y="116222"/>
                      <a:pt x="196538" y="112386"/>
                      <a:pt x="199923" y="113063"/>
                    </a:cubicBezTo>
                    <a:cubicBezTo>
                      <a:pt x="201502" y="113288"/>
                      <a:pt x="210302" y="109227"/>
                      <a:pt x="213010" y="102909"/>
                    </a:cubicBezTo>
                    <a:cubicBezTo>
                      <a:pt x="213913" y="100652"/>
                      <a:pt x="214364" y="98847"/>
                      <a:pt x="214815" y="97042"/>
                    </a:cubicBezTo>
                    <a:cubicBezTo>
                      <a:pt x="215718" y="93657"/>
                      <a:pt x="216395" y="90724"/>
                      <a:pt x="221133" y="87565"/>
                    </a:cubicBezTo>
                    <a:cubicBezTo>
                      <a:pt x="228580" y="82826"/>
                      <a:pt x="232867" y="85309"/>
                      <a:pt x="239636" y="89370"/>
                    </a:cubicBezTo>
                    <a:cubicBezTo>
                      <a:pt x="244600" y="92303"/>
                      <a:pt x="247083" y="92078"/>
                      <a:pt x="248211" y="91852"/>
                    </a:cubicBezTo>
                    <a:cubicBezTo>
                      <a:pt x="248888" y="91627"/>
                      <a:pt x="249565" y="91175"/>
                      <a:pt x="249790" y="90498"/>
                    </a:cubicBezTo>
                    <a:cubicBezTo>
                      <a:pt x="250467" y="88919"/>
                      <a:pt x="252047" y="88016"/>
                      <a:pt x="254303" y="87791"/>
                    </a:cubicBezTo>
                    <a:cubicBezTo>
                      <a:pt x="258365" y="87339"/>
                      <a:pt x="264232" y="89370"/>
                      <a:pt x="268970" y="95237"/>
                    </a:cubicBezTo>
                    <a:cubicBezTo>
                      <a:pt x="270550" y="97268"/>
                      <a:pt x="271904" y="98847"/>
                      <a:pt x="273032" y="100201"/>
                    </a:cubicBezTo>
                    <a:cubicBezTo>
                      <a:pt x="274160" y="101555"/>
                      <a:pt x="275063" y="102683"/>
                      <a:pt x="275740" y="103586"/>
                    </a:cubicBezTo>
                    <a:lnTo>
                      <a:pt x="277093" y="98170"/>
                    </a:lnTo>
                    <a:lnTo>
                      <a:pt x="279350" y="102909"/>
                    </a:lnTo>
                    <a:cubicBezTo>
                      <a:pt x="282509" y="109904"/>
                      <a:pt x="287699" y="114417"/>
                      <a:pt x="288376" y="114868"/>
                    </a:cubicBezTo>
                    <a:cubicBezTo>
                      <a:pt x="290858" y="116899"/>
                      <a:pt x="298079" y="121412"/>
                      <a:pt x="303268" y="121412"/>
                    </a:cubicBezTo>
                    <a:cubicBezTo>
                      <a:pt x="305525" y="121412"/>
                      <a:pt x="306879" y="118930"/>
                      <a:pt x="309361" y="114868"/>
                    </a:cubicBezTo>
                    <a:cubicBezTo>
                      <a:pt x="310940" y="111935"/>
                      <a:pt x="312971" y="108550"/>
                      <a:pt x="315905" y="105165"/>
                    </a:cubicBezTo>
                    <a:cubicBezTo>
                      <a:pt x="319289" y="101329"/>
                      <a:pt x="320192" y="97493"/>
                      <a:pt x="321094" y="93657"/>
                    </a:cubicBezTo>
                    <a:cubicBezTo>
                      <a:pt x="321997" y="90047"/>
                      <a:pt x="322674" y="86662"/>
                      <a:pt x="325607" y="84180"/>
                    </a:cubicBezTo>
                    <a:cubicBezTo>
                      <a:pt x="327638" y="82601"/>
                      <a:pt x="328315" y="79216"/>
                      <a:pt x="328992" y="75831"/>
                    </a:cubicBezTo>
                    <a:cubicBezTo>
                      <a:pt x="329895" y="71544"/>
                      <a:pt x="330797" y="67031"/>
                      <a:pt x="334633" y="65452"/>
                    </a:cubicBezTo>
                    <a:cubicBezTo>
                      <a:pt x="335761" y="65000"/>
                      <a:pt x="337341" y="64323"/>
                      <a:pt x="339146" y="63421"/>
                    </a:cubicBezTo>
                    <a:cubicBezTo>
                      <a:pt x="350203" y="58005"/>
                      <a:pt x="360357" y="53492"/>
                      <a:pt x="364870" y="57328"/>
                    </a:cubicBezTo>
                    <a:cubicBezTo>
                      <a:pt x="369383" y="61390"/>
                      <a:pt x="370737" y="62744"/>
                      <a:pt x="376829" y="59810"/>
                    </a:cubicBezTo>
                    <a:cubicBezTo>
                      <a:pt x="381116" y="57780"/>
                      <a:pt x="384050" y="59810"/>
                      <a:pt x="386757" y="61616"/>
                    </a:cubicBezTo>
                    <a:cubicBezTo>
                      <a:pt x="389465" y="63421"/>
                      <a:pt x="391947" y="65226"/>
                      <a:pt x="397137" y="64323"/>
                    </a:cubicBezTo>
                    <a:cubicBezTo>
                      <a:pt x="402101" y="63421"/>
                      <a:pt x="404358" y="60939"/>
                      <a:pt x="406840" y="58231"/>
                    </a:cubicBezTo>
                    <a:cubicBezTo>
                      <a:pt x="409548" y="55298"/>
                      <a:pt x="412256" y="52138"/>
                      <a:pt x="418122" y="52138"/>
                    </a:cubicBezTo>
                    <a:cubicBezTo>
                      <a:pt x="427599" y="52138"/>
                      <a:pt x="433918" y="48077"/>
                      <a:pt x="436851" y="44467"/>
                    </a:cubicBezTo>
                    <a:cubicBezTo>
                      <a:pt x="438205" y="42661"/>
                      <a:pt x="437979" y="41308"/>
                      <a:pt x="437754" y="39051"/>
                    </a:cubicBezTo>
                    <a:cubicBezTo>
                      <a:pt x="437528" y="37246"/>
                      <a:pt x="437077" y="35215"/>
                      <a:pt x="437528" y="32733"/>
                    </a:cubicBezTo>
                    <a:cubicBezTo>
                      <a:pt x="438205" y="28671"/>
                      <a:pt x="442943" y="25738"/>
                      <a:pt x="447005" y="25061"/>
                    </a:cubicBezTo>
                    <a:cubicBezTo>
                      <a:pt x="451744" y="24158"/>
                      <a:pt x="455805" y="25512"/>
                      <a:pt x="457836" y="28897"/>
                    </a:cubicBezTo>
                    <a:cubicBezTo>
                      <a:pt x="459867" y="32282"/>
                      <a:pt x="462800" y="32507"/>
                      <a:pt x="467313" y="32282"/>
                    </a:cubicBezTo>
                    <a:cubicBezTo>
                      <a:pt x="468893" y="32282"/>
                      <a:pt x="470247" y="32056"/>
                      <a:pt x="471826" y="32282"/>
                    </a:cubicBezTo>
                    <a:cubicBezTo>
                      <a:pt x="474760" y="32507"/>
                      <a:pt x="479047" y="31379"/>
                      <a:pt x="484237" y="29799"/>
                    </a:cubicBezTo>
                    <a:cubicBezTo>
                      <a:pt x="488298" y="28671"/>
                      <a:pt x="493037" y="27317"/>
                      <a:pt x="498227" y="26640"/>
                    </a:cubicBezTo>
                    <a:cubicBezTo>
                      <a:pt x="505673" y="25512"/>
                      <a:pt x="510863" y="18743"/>
                      <a:pt x="514925" y="13553"/>
                    </a:cubicBezTo>
                    <a:cubicBezTo>
                      <a:pt x="516730" y="11297"/>
                      <a:pt x="518309" y="9266"/>
                      <a:pt x="519889" y="7912"/>
                    </a:cubicBezTo>
                    <a:cubicBezTo>
                      <a:pt x="521468" y="6332"/>
                      <a:pt x="521468" y="5430"/>
                      <a:pt x="521468" y="4527"/>
                    </a:cubicBezTo>
                    <a:cubicBezTo>
                      <a:pt x="521468" y="917"/>
                      <a:pt x="523725" y="240"/>
                      <a:pt x="528012" y="14"/>
                    </a:cubicBezTo>
                    <a:cubicBezTo>
                      <a:pt x="531622" y="-212"/>
                      <a:pt x="534556" y="2271"/>
                      <a:pt x="538166" y="5204"/>
                    </a:cubicBezTo>
                    <a:cubicBezTo>
                      <a:pt x="542453" y="8814"/>
                      <a:pt x="547418" y="12876"/>
                      <a:pt x="554864" y="13327"/>
                    </a:cubicBezTo>
                    <a:lnTo>
                      <a:pt x="555992" y="13327"/>
                    </a:lnTo>
                    <a:lnTo>
                      <a:pt x="556443" y="14456"/>
                    </a:lnTo>
                    <a:cubicBezTo>
                      <a:pt x="556895" y="15133"/>
                      <a:pt x="557120" y="15809"/>
                      <a:pt x="557572" y="16486"/>
                    </a:cubicBezTo>
                    <a:lnTo>
                      <a:pt x="557572" y="16486"/>
                    </a:lnTo>
                    <a:cubicBezTo>
                      <a:pt x="565018" y="29799"/>
                      <a:pt x="568177" y="39953"/>
                      <a:pt x="563438" y="55523"/>
                    </a:cubicBezTo>
                    <a:cubicBezTo>
                      <a:pt x="561408" y="62067"/>
                      <a:pt x="558249" y="66128"/>
                      <a:pt x="555315" y="70416"/>
                    </a:cubicBezTo>
                    <a:cubicBezTo>
                      <a:pt x="551253" y="76057"/>
                      <a:pt x="547643" y="80796"/>
                      <a:pt x="547643" y="90724"/>
                    </a:cubicBezTo>
                    <a:cubicBezTo>
                      <a:pt x="547643" y="97268"/>
                      <a:pt x="548320" y="100652"/>
                      <a:pt x="548772" y="103134"/>
                    </a:cubicBezTo>
                    <a:cubicBezTo>
                      <a:pt x="549674" y="108099"/>
                      <a:pt x="549900" y="110806"/>
                      <a:pt x="546289" y="122314"/>
                    </a:cubicBezTo>
                    <a:cubicBezTo>
                      <a:pt x="540648" y="140592"/>
                      <a:pt x="538617" y="145105"/>
                      <a:pt x="531848" y="158869"/>
                    </a:cubicBezTo>
                    <a:cubicBezTo>
                      <a:pt x="525756" y="170828"/>
                      <a:pt x="514473" y="186849"/>
                      <a:pt x="501386" y="201291"/>
                    </a:cubicBezTo>
                    <a:cubicBezTo>
                      <a:pt x="497775" y="205352"/>
                      <a:pt x="493939" y="208060"/>
                      <a:pt x="490555" y="210542"/>
                    </a:cubicBezTo>
                    <a:cubicBezTo>
                      <a:pt x="483785" y="215281"/>
                      <a:pt x="479498" y="218440"/>
                      <a:pt x="480626" y="228819"/>
                    </a:cubicBezTo>
                    <a:cubicBezTo>
                      <a:pt x="481529" y="236040"/>
                      <a:pt x="483334" y="244389"/>
                      <a:pt x="485139" y="252738"/>
                    </a:cubicBezTo>
                    <a:cubicBezTo>
                      <a:pt x="487621" y="264246"/>
                      <a:pt x="489878" y="273949"/>
                      <a:pt x="488750" y="278462"/>
                    </a:cubicBezTo>
                    <a:lnTo>
                      <a:pt x="488524" y="278913"/>
                    </a:lnTo>
                    <a:cubicBezTo>
                      <a:pt x="486719" y="285456"/>
                      <a:pt x="485139" y="291098"/>
                      <a:pt x="489201" y="297641"/>
                    </a:cubicBezTo>
                    <a:cubicBezTo>
                      <a:pt x="494616" y="306893"/>
                      <a:pt x="497550" y="324945"/>
                      <a:pt x="497550" y="347509"/>
                    </a:cubicBezTo>
                    <a:cubicBezTo>
                      <a:pt x="497550" y="359017"/>
                      <a:pt x="497099" y="367817"/>
                      <a:pt x="496647" y="375715"/>
                    </a:cubicBezTo>
                    <a:cubicBezTo>
                      <a:pt x="496196" y="384967"/>
                      <a:pt x="495745" y="392413"/>
                      <a:pt x="496422" y="400085"/>
                    </a:cubicBezTo>
                    <a:lnTo>
                      <a:pt x="496422" y="400536"/>
                    </a:lnTo>
                    <a:cubicBezTo>
                      <a:pt x="497775" y="415654"/>
                      <a:pt x="499581" y="436414"/>
                      <a:pt x="496873" y="444763"/>
                    </a:cubicBezTo>
                    <a:lnTo>
                      <a:pt x="496647" y="445214"/>
                    </a:lnTo>
                    <a:cubicBezTo>
                      <a:pt x="494842" y="451307"/>
                      <a:pt x="493488" y="455142"/>
                      <a:pt x="490555" y="456722"/>
                    </a:cubicBezTo>
                    <a:cubicBezTo>
                      <a:pt x="489201" y="457399"/>
                      <a:pt x="487396" y="457399"/>
                      <a:pt x="485591" y="456722"/>
                    </a:cubicBezTo>
                    <a:cubicBezTo>
                      <a:pt x="484462" y="456271"/>
                      <a:pt x="483334" y="455819"/>
                      <a:pt x="482206" y="455142"/>
                    </a:cubicBezTo>
                    <a:cubicBezTo>
                      <a:pt x="477242" y="452886"/>
                      <a:pt x="470472" y="449727"/>
                      <a:pt x="458964" y="449727"/>
                    </a:cubicBezTo>
                    <a:cubicBezTo>
                      <a:pt x="456482" y="449727"/>
                      <a:pt x="453774" y="449727"/>
                      <a:pt x="451292" y="449727"/>
                    </a:cubicBezTo>
                    <a:cubicBezTo>
                      <a:pt x="439559" y="449501"/>
                      <a:pt x="428502" y="449275"/>
                      <a:pt x="423087" y="454917"/>
                    </a:cubicBezTo>
                    <a:cubicBezTo>
                      <a:pt x="416317" y="462137"/>
                      <a:pt x="415415" y="464620"/>
                      <a:pt x="412707" y="476579"/>
                    </a:cubicBezTo>
                    <a:lnTo>
                      <a:pt x="412256" y="478835"/>
                    </a:lnTo>
                    <a:cubicBezTo>
                      <a:pt x="409773" y="489666"/>
                      <a:pt x="407743" y="498466"/>
                      <a:pt x="398265" y="507944"/>
                    </a:cubicBezTo>
                    <a:cubicBezTo>
                      <a:pt x="388337" y="517872"/>
                      <a:pt x="372316" y="543370"/>
                      <a:pt x="369157" y="554201"/>
                    </a:cubicBezTo>
                    <a:cubicBezTo>
                      <a:pt x="366224" y="564355"/>
                      <a:pt x="373670" y="579699"/>
                      <a:pt x="379763" y="583535"/>
                    </a:cubicBezTo>
                    <a:cubicBezTo>
                      <a:pt x="380891" y="584212"/>
                      <a:pt x="381793" y="584889"/>
                      <a:pt x="382696" y="585340"/>
                    </a:cubicBezTo>
                    <a:cubicBezTo>
                      <a:pt x="386757" y="588048"/>
                      <a:pt x="388337" y="588950"/>
                      <a:pt x="394204" y="589853"/>
                    </a:cubicBezTo>
                    <a:cubicBezTo>
                      <a:pt x="397137" y="590304"/>
                      <a:pt x="398491" y="591433"/>
                      <a:pt x="398717" y="592561"/>
                    </a:cubicBezTo>
                    <a:cubicBezTo>
                      <a:pt x="399168" y="593689"/>
                      <a:pt x="398942" y="595043"/>
                      <a:pt x="398040" y="595945"/>
                    </a:cubicBezTo>
                    <a:cubicBezTo>
                      <a:pt x="395783" y="598879"/>
                      <a:pt x="388563" y="600910"/>
                      <a:pt x="377957" y="599104"/>
                    </a:cubicBezTo>
                    <a:cubicBezTo>
                      <a:pt x="375024" y="598653"/>
                      <a:pt x="372767" y="598202"/>
                      <a:pt x="370511" y="597751"/>
                    </a:cubicBezTo>
                    <a:cubicBezTo>
                      <a:pt x="360131" y="595945"/>
                      <a:pt x="357649" y="595494"/>
                      <a:pt x="352234" y="597976"/>
                    </a:cubicBezTo>
                    <a:cubicBezTo>
                      <a:pt x="349300" y="599330"/>
                      <a:pt x="345916" y="600459"/>
                      <a:pt x="342080" y="601812"/>
                    </a:cubicBezTo>
                    <a:cubicBezTo>
                      <a:pt x="336213" y="603843"/>
                      <a:pt x="329443" y="606325"/>
                      <a:pt x="323125" y="609710"/>
                    </a:cubicBezTo>
                    <a:cubicBezTo>
                      <a:pt x="315002" y="614223"/>
                      <a:pt x="311617" y="614674"/>
                      <a:pt x="306202" y="615577"/>
                    </a:cubicBezTo>
                    <a:cubicBezTo>
                      <a:pt x="304622" y="615802"/>
                      <a:pt x="302591" y="616028"/>
                      <a:pt x="300335" y="616479"/>
                    </a:cubicBezTo>
                    <a:cubicBezTo>
                      <a:pt x="287248" y="619187"/>
                      <a:pt x="268068" y="626408"/>
                      <a:pt x="266488" y="634306"/>
                    </a:cubicBezTo>
                    <a:cubicBezTo>
                      <a:pt x="265586" y="639270"/>
                      <a:pt x="263555" y="643331"/>
                      <a:pt x="261524" y="647167"/>
                    </a:cubicBezTo>
                    <a:cubicBezTo>
                      <a:pt x="259267" y="651680"/>
                      <a:pt x="257011" y="655967"/>
                      <a:pt x="257237" y="660706"/>
                    </a:cubicBezTo>
                    <a:cubicBezTo>
                      <a:pt x="257462" y="665219"/>
                      <a:pt x="257237" y="669280"/>
                      <a:pt x="256785" y="673342"/>
                    </a:cubicBezTo>
                    <a:cubicBezTo>
                      <a:pt x="256560" y="678081"/>
                      <a:pt x="256108" y="682594"/>
                      <a:pt x="256560" y="687332"/>
                    </a:cubicBezTo>
                    <a:cubicBezTo>
                      <a:pt x="257462" y="696584"/>
                      <a:pt x="254755" y="702225"/>
                      <a:pt x="249113" y="709445"/>
                    </a:cubicBezTo>
                    <a:cubicBezTo>
                      <a:pt x="243472" y="716666"/>
                      <a:pt x="239862" y="721179"/>
                      <a:pt x="236477" y="722307"/>
                    </a:cubicBezTo>
                    <a:cubicBezTo>
                      <a:pt x="234221" y="723210"/>
                      <a:pt x="196312" y="744421"/>
                      <a:pt x="190445" y="749159"/>
                    </a:cubicBezTo>
                    <a:cubicBezTo>
                      <a:pt x="185932" y="752995"/>
                      <a:pt x="183225" y="756831"/>
                      <a:pt x="182548" y="760216"/>
                    </a:cubicBezTo>
                    <a:cubicBezTo>
                      <a:pt x="182548" y="760893"/>
                      <a:pt x="182096" y="761570"/>
                      <a:pt x="181420" y="762021"/>
                    </a:cubicBezTo>
                    <a:cubicBezTo>
                      <a:pt x="180743" y="761570"/>
                      <a:pt x="179840" y="761795"/>
                      <a:pt x="178486" y="761795"/>
                    </a:cubicBezTo>
                    <a:close/>
                    <a:moveTo>
                      <a:pt x="118013" y="725918"/>
                    </a:moveTo>
                    <a:cubicBezTo>
                      <a:pt x="127264" y="732461"/>
                      <a:pt x="132454" y="737877"/>
                      <a:pt x="136516" y="742164"/>
                    </a:cubicBezTo>
                    <a:cubicBezTo>
                      <a:pt x="139449" y="745323"/>
                      <a:pt x="141480" y="747580"/>
                      <a:pt x="143962" y="748708"/>
                    </a:cubicBezTo>
                    <a:cubicBezTo>
                      <a:pt x="145316" y="749385"/>
                      <a:pt x="146444" y="750062"/>
                      <a:pt x="147347" y="750513"/>
                    </a:cubicBezTo>
                    <a:cubicBezTo>
                      <a:pt x="150732" y="752318"/>
                      <a:pt x="151409" y="752544"/>
                      <a:pt x="156598" y="753221"/>
                    </a:cubicBezTo>
                    <a:cubicBezTo>
                      <a:pt x="159081" y="753447"/>
                      <a:pt x="162691" y="754349"/>
                      <a:pt x="166301" y="755477"/>
                    </a:cubicBezTo>
                    <a:cubicBezTo>
                      <a:pt x="170363" y="756606"/>
                      <a:pt x="176907" y="758185"/>
                      <a:pt x="178937" y="757960"/>
                    </a:cubicBezTo>
                    <a:cubicBezTo>
                      <a:pt x="179614" y="755026"/>
                      <a:pt x="181645" y="750513"/>
                      <a:pt x="187963" y="745098"/>
                    </a:cubicBezTo>
                    <a:cubicBezTo>
                      <a:pt x="193830" y="740133"/>
                      <a:pt x="231964" y="718471"/>
                      <a:pt x="235123" y="717569"/>
                    </a:cubicBezTo>
                    <a:cubicBezTo>
                      <a:pt x="237605" y="716666"/>
                      <a:pt x="241893" y="711251"/>
                      <a:pt x="245954" y="706061"/>
                    </a:cubicBezTo>
                    <a:cubicBezTo>
                      <a:pt x="251144" y="699517"/>
                      <a:pt x="253401" y="694779"/>
                      <a:pt x="252724" y="686655"/>
                    </a:cubicBezTo>
                    <a:cubicBezTo>
                      <a:pt x="252272" y="681691"/>
                      <a:pt x="252498" y="676727"/>
                      <a:pt x="252949" y="671988"/>
                    </a:cubicBezTo>
                    <a:cubicBezTo>
                      <a:pt x="253175" y="667927"/>
                      <a:pt x="253401" y="663865"/>
                      <a:pt x="253175" y="659803"/>
                    </a:cubicBezTo>
                    <a:cubicBezTo>
                      <a:pt x="252949" y="654162"/>
                      <a:pt x="255431" y="649198"/>
                      <a:pt x="257914" y="644460"/>
                    </a:cubicBezTo>
                    <a:cubicBezTo>
                      <a:pt x="259944" y="640849"/>
                      <a:pt x="261749" y="637013"/>
                      <a:pt x="262652" y="632500"/>
                    </a:cubicBezTo>
                    <a:cubicBezTo>
                      <a:pt x="265134" y="618736"/>
                      <a:pt x="298981" y="611741"/>
                      <a:pt x="299432" y="611741"/>
                    </a:cubicBezTo>
                    <a:cubicBezTo>
                      <a:pt x="301689" y="611290"/>
                      <a:pt x="303720" y="611064"/>
                      <a:pt x="305299" y="610613"/>
                    </a:cubicBezTo>
                    <a:cubicBezTo>
                      <a:pt x="310263" y="609936"/>
                      <a:pt x="313422" y="609259"/>
                      <a:pt x="320869" y="605197"/>
                    </a:cubicBezTo>
                    <a:cubicBezTo>
                      <a:pt x="327413" y="601587"/>
                      <a:pt x="334182" y="599330"/>
                      <a:pt x="340274" y="597074"/>
                    </a:cubicBezTo>
                    <a:cubicBezTo>
                      <a:pt x="343885" y="595720"/>
                      <a:pt x="347495" y="594592"/>
                      <a:pt x="350203" y="593238"/>
                    </a:cubicBezTo>
                    <a:cubicBezTo>
                      <a:pt x="356521" y="590304"/>
                      <a:pt x="359906" y="590756"/>
                      <a:pt x="370737" y="592786"/>
                    </a:cubicBezTo>
                    <a:cubicBezTo>
                      <a:pt x="372767" y="593238"/>
                      <a:pt x="375250" y="593689"/>
                      <a:pt x="378183" y="594141"/>
                    </a:cubicBezTo>
                    <a:cubicBezTo>
                      <a:pt x="388111" y="595720"/>
                      <a:pt x="393301" y="593689"/>
                      <a:pt x="394429" y="592561"/>
                    </a:cubicBezTo>
                    <a:cubicBezTo>
                      <a:pt x="394204" y="592561"/>
                      <a:pt x="393753" y="592335"/>
                      <a:pt x="393076" y="592335"/>
                    </a:cubicBezTo>
                    <a:cubicBezTo>
                      <a:pt x="386306" y="591433"/>
                      <a:pt x="384275" y="590079"/>
                      <a:pt x="379988" y="587371"/>
                    </a:cubicBezTo>
                    <a:cubicBezTo>
                      <a:pt x="379086" y="586920"/>
                      <a:pt x="378183" y="586243"/>
                      <a:pt x="377280" y="585566"/>
                    </a:cubicBezTo>
                    <a:cubicBezTo>
                      <a:pt x="370060" y="580827"/>
                      <a:pt x="361711" y="563904"/>
                      <a:pt x="365321" y="551945"/>
                    </a:cubicBezTo>
                    <a:cubicBezTo>
                      <a:pt x="368706" y="540662"/>
                      <a:pt x="385178" y="514262"/>
                      <a:pt x="395332" y="504108"/>
                    </a:cubicBezTo>
                    <a:cubicBezTo>
                      <a:pt x="404132" y="495307"/>
                      <a:pt x="405937" y="487410"/>
                      <a:pt x="408419" y="476804"/>
                    </a:cubicBezTo>
                    <a:lnTo>
                      <a:pt x="408871" y="474548"/>
                    </a:lnTo>
                    <a:cubicBezTo>
                      <a:pt x="411804" y="462363"/>
                      <a:pt x="412707" y="459204"/>
                      <a:pt x="420153" y="451081"/>
                    </a:cubicBezTo>
                    <a:cubicBezTo>
                      <a:pt x="426697" y="444311"/>
                      <a:pt x="438430" y="444537"/>
                      <a:pt x="451067" y="444763"/>
                    </a:cubicBezTo>
                    <a:cubicBezTo>
                      <a:pt x="453549" y="444763"/>
                      <a:pt x="456031" y="444763"/>
                      <a:pt x="458513" y="444763"/>
                    </a:cubicBezTo>
                    <a:cubicBezTo>
                      <a:pt x="470923" y="444763"/>
                      <a:pt x="478370" y="448147"/>
                      <a:pt x="483334" y="450630"/>
                    </a:cubicBezTo>
                    <a:cubicBezTo>
                      <a:pt x="484462" y="451081"/>
                      <a:pt x="485591" y="451758"/>
                      <a:pt x="486493" y="451983"/>
                    </a:cubicBezTo>
                    <a:cubicBezTo>
                      <a:pt x="487847" y="452434"/>
                      <a:pt x="488298" y="452209"/>
                      <a:pt x="488524" y="452209"/>
                    </a:cubicBezTo>
                    <a:cubicBezTo>
                      <a:pt x="490103" y="451532"/>
                      <a:pt x="491232" y="447471"/>
                      <a:pt x="492585" y="442957"/>
                    </a:cubicBezTo>
                    <a:lnTo>
                      <a:pt x="492811" y="442506"/>
                    </a:lnTo>
                    <a:cubicBezTo>
                      <a:pt x="495293" y="434834"/>
                      <a:pt x="493262" y="413624"/>
                      <a:pt x="492134" y="399633"/>
                    </a:cubicBezTo>
                    <a:lnTo>
                      <a:pt x="492134" y="399182"/>
                    </a:lnTo>
                    <a:cubicBezTo>
                      <a:pt x="491457" y="391285"/>
                      <a:pt x="491909" y="383838"/>
                      <a:pt x="492360" y="374361"/>
                    </a:cubicBezTo>
                    <a:cubicBezTo>
                      <a:pt x="492811" y="366689"/>
                      <a:pt x="493262" y="357663"/>
                      <a:pt x="493262" y="346381"/>
                    </a:cubicBezTo>
                    <a:cubicBezTo>
                      <a:pt x="493262" y="324945"/>
                      <a:pt x="490329" y="306893"/>
                      <a:pt x="485365" y="298544"/>
                    </a:cubicBezTo>
                    <a:cubicBezTo>
                      <a:pt x="480626" y="290421"/>
                      <a:pt x="482657" y="283651"/>
                      <a:pt x="484462" y="276882"/>
                    </a:cubicBezTo>
                    <a:lnTo>
                      <a:pt x="484688" y="276431"/>
                    </a:lnTo>
                    <a:cubicBezTo>
                      <a:pt x="485591" y="272820"/>
                      <a:pt x="483334" y="262666"/>
                      <a:pt x="481078" y="252512"/>
                    </a:cubicBezTo>
                    <a:cubicBezTo>
                      <a:pt x="479272" y="244163"/>
                      <a:pt x="477242" y="235589"/>
                      <a:pt x="476565" y="228143"/>
                    </a:cubicBezTo>
                    <a:cubicBezTo>
                      <a:pt x="475211" y="215732"/>
                      <a:pt x="481078" y="211445"/>
                      <a:pt x="488073" y="206480"/>
                    </a:cubicBezTo>
                    <a:cubicBezTo>
                      <a:pt x="491232" y="204224"/>
                      <a:pt x="494842" y="201516"/>
                      <a:pt x="498227" y="197906"/>
                    </a:cubicBezTo>
                    <a:cubicBezTo>
                      <a:pt x="511088" y="183690"/>
                      <a:pt x="522145" y="168121"/>
                      <a:pt x="528012" y="156387"/>
                    </a:cubicBezTo>
                    <a:cubicBezTo>
                      <a:pt x="534781" y="142622"/>
                      <a:pt x="536587" y="138335"/>
                      <a:pt x="542228" y="120284"/>
                    </a:cubicBezTo>
                    <a:cubicBezTo>
                      <a:pt x="545612" y="109227"/>
                      <a:pt x="545387" y="107422"/>
                      <a:pt x="544484" y="102909"/>
                    </a:cubicBezTo>
                    <a:cubicBezTo>
                      <a:pt x="544033" y="100201"/>
                      <a:pt x="543356" y="96591"/>
                      <a:pt x="543356" y="89821"/>
                    </a:cubicBezTo>
                    <a:cubicBezTo>
                      <a:pt x="543356" y="78765"/>
                      <a:pt x="547643" y="72898"/>
                      <a:pt x="551931" y="67257"/>
                    </a:cubicBezTo>
                    <a:cubicBezTo>
                      <a:pt x="554864" y="63421"/>
                      <a:pt x="557797" y="59359"/>
                      <a:pt x="559602" y="53492"/>
                    </a:cubicBezTo>
                    <a:cubicBezTo>
                      <a:pt x="564115" y="39051"/>
                      <a:pt x="561408" y="30025"/>
                      <a:pt x="554187" y="17389"/>
                    </a:cubicBezTo>
                    <a:lnTo>
                      <a:pt x="554187" y="17389"/>
                    </a:lnTo>
                    <a:cubicBezTo>
                      <a:pt x="553961" y="16938"/>
                      <a:pt x="553736" y="16486"/>
                      <a:pt x="553510" y="16035"/>
                    </a:cubicBezTo>
                    <a:cubicBezTo>
                      <a:pt x="545387" y="15358"/>
                      <a:pt x="539971" y="10845"/>
                      <a:pt x="535684" y="7235"/>
                    </a:cubicBezTo>
                    <a:cubicBezTo>
                      <a:pt x="532750" y="4753"/>
                      <a:pt x="530269" y="2722"/>
                      <a:pt x="528238" y="2947"/>
                    </a:cubicBezTo>
                    <a:cubicBezTo>
                      <a:pt x="526207" y="3173"/>
                      <a:pt x="525530" y="3173"/>
                      <a:pt x="525079" y="3399"/>
                    </a:cubicBezTo>
                    <a:cubicBezTo>
                      <a:pt x="525079" y="3399"/>
                      <a:pt x="525079" y="3624"/>
                      <a:pt x="525079" y="3850"/>
                    </a:cubicBezTo>
                    <a:cubicBezTo>
                      <a:pt x="525079" y="5204"/>
                      <a:pt x="525079" y="7461"/>
                      <a:pt x="522145" y="10168"/>
                    </a:cubicBezTo>
                    <a:cubicBezTo>
                      <a:pt x="520791" y="11297"/>
                      <a:pt x="519212" y="13327"/>
                      <a:pt x="517632" y="15358"/>
                    </a:cubicBezTo>
                    <a:cubicBezTo>
                      <a:pt x="513119" y="21225"/>
                      <a:pt x="507478" y="28446"/>
                      <a:pt x="498452" y="29799"/>
                    </a:cubicBezTo>
                    <a:cubicBezTo>
                      <a:pt x="493714" y="30702"/>
                      <a:pt x="488975" y="31830"/>
                      <a:pt x="484914" y="32958"/>
                    </a:cubicBezTo>
                    <a:cubicBezTo>
                      <a:pt x="479498" y="34538"/>
                      <a:pt x="474760" y="35666"/>
                      <a:pt x="471149" y="35441"/>
                    </a:cubicBezTo>
                    <a:cubicBezTo>
                      <a:pt x="469795" y="35441"/>
                      <a:pt x="468441" y="35441"/>
                      <a:pt x="467088" y="35441"/>
                    </a:cubicBezTo>
                    <a:cubicBezTo>
                      <a:pt x="462575" y="35666"/>
                      <a:pt x="457610" y="35892"/>
                      <a:pt x="454226" y="30251"/>
                    </a:cubicBezTo>
                    <a:cubicBezTo>
                      <a:pt x="452421" y="27543"/>
                      <a:pt x="448359" y="27994"/>
                      <a:pt x="447231" y="28220"/>
                    </a:cubicBezTo>
                    <a:cubicBezTo>
                      <a:pt x="443846" y="28897"/>
                      <a:pt x="441138" y="30928"/>
                      <a:pt x="440687" y="32958"/>
                    </a:cubicBezTo>
                    <a:cubicBezTo>
                      <a:pt x="440461" y="34989"/>
                      <a:pt x="440687" y="36569"/>
                      <a:pt x="440913" y="38148"/>
                    </a:cubicBezTo>
                    <a:cubicBezTo>
                      <a:pt x="441364" y="40630"/>
                      <a:pt x="441815" y="43338"/>
                      <a:pt x="439333" y="46497"/>
                    </a:cubicBezTo>
                    <a:cubicBezTo>
                      <a:pt x="435948" y="51010"/>
                      <a:pt x="428276" y="55749"/>
                      <a:pt x="417671" y="55749"/>
                    </a:cubicBezTo>
                    <a:cubicBezTo>
                      <a:pt x="413609" y="55749"/>
                      <a:pt x="411579" y="57780"/>
                      <a:pt x="409096" y="60487"/>
                    </a:cubicBezTo>
                    <a:cubicBezTo>
                      <a:pt x="406389" y="63421"/>
                      <a:pt x="403455" y="66805"/>
                      <a:pt x="397137" y="67934"/>
                    </a:cubicBezTo>
                    <a:cubicBezTo>
                      <a:pt x="390594" y="69062"/>
                      <a:pt x="386757" y="66354"/>
                      <a:pt x="384050" y="64549"/>
                    </a:cubicBezTo>
                    <a:cubicBezTo>
                      <a:pt x="381568" y="62744"/>
                      <a:pt x="380214" y="62067"/>
                      <a:pt x="377957" y="63195"/>
                    </a:cubicBezTo>
                    <a:cubicBezTo>
                      <a:pt x="370060" y="66805"/>
                      <a:pt x="366675" y="64549"/>
                      <a:pt x="361711" y="60036"/>
                    </a:cubicBezTo>
                    <a:cubicBezTo>
                      <a:pt x="358777" y="57554"/>
                      <a:pt x="345690" y="63872"/>
                      <a:pt x="340274" y="66580"/>
                    </a:cubicBezTo>
                    <a:cubicBezTo>
                      <a:pt x="338244" y="67482"/>
                      <a:pt x="336664" y="68385"/>
                      <a:pt x="335536" y="68836"/>
                    </a:cubicBezTo>
                    <a:cubicBezTo>
                      <a:pt x="333505" y="69739"/>
                      <a:pt x="332828" y="72898"/>
                      <a:pt x="332151" y="76508"/>
                    </a:cubicBezTo>
                    <a:cubicBezTo>
                      <a:pt x="331474" y="80344"/>
                      <a:pt x="330572" y="84406"/>
                      <a:pt x="327638" y="86888"/>
                    </a:cubicBezTo>
                    <a:cubicBezTo>
                      <a:pt x="325607" y="88468"/>
                      <a:pt x="325156" y="90950"/>
                      <a:pt x="324479" y="94109"/>
                    </a:cubicBezTo>
                    <a:cubicBezTo>
                      <a:pt x="323577" y="97945"/>
                      <a:pt x="322448" y="102683"/>
                      <a:pt x="318612" y="107196"/>
                    </a:cubicBezTo>
                    <a:cubicBezTo>
                      <a:pt x="315905" y="110129"/>
                      <a:pt x="314099" y="113514"/>
                      <a:pt x="312520" y="116222"/>
                    </a:cubicBezTo>
                    <a:cubicBezTo>
                      <a:pt x="309812" y="120735"/>
                      <a:pt x="307556" y="124797"/>
                      <a:pt x="303043" y="124797"/>
                    </a:cubicBezTo>
                    <a:cubicBezTo>
                      <a:pt x="296273" y="124797"/>
                      <a:pt x="288150" y="119155"/>
                      <a:pt x="285894" y="117350"/>
                    </a:cubicBezTo>
                    <a:cubicBezTo>
                      <a:pt x="285442" y="116899"/>
                      <a:pt x="281381" y="113514"/>
                      <a:pt x="277770" y="107873"/>
                    </a:cubicBezTo>
                    <a:cubicBezTo>
                      <a:pt x="277545" y="108099"/>
                      <a:pt x="277093" y="108324"/>
                      <a:pt x="276417" y="108324"/>
                    </a:cubicBezTo>
                    <a:cubicBezTo>
                      <a:pt x="274837" y="108324"/>
                      <a:pt x="273934" y="107196"/>
                      <a:pt x="269873" y="102232"/>
                    </a:cubicBezTo>
                    <a:cubicBezTo>
                      <a:pt x="268745" y="100878"/>
                      <a:pt x="267391" y="99298"/>
                      <a:pt x="265811" y="97268"/>
                    </a:cubicBezTo>
                    <a:cubicBezTo>
                      <a:pt x="262201" y="92980"/>
                      <a:pt x="257237" y="90950"/>
                      <a:pt x="254529" y="91175"/>
                    </a:cubicBezTo>
                    <a:cubicBezTo>
                      <a:pt x="253626" y="91175"/>
                      <a:pt x="253175" y="91627"/>
                      <a:pt x="253175" y="91852"/>
                    </a:cubicBezTo>
                    <a:cubicBezTo>
                      <a:pt x="252272" y="93432"/>
                      <a:pt x="250918" y="94560"/>
                      <a:pt x="249339" y="95011"/>
                    </a:cubicBezTo>
                    <a:cubicBezTo>
                      <a:pt x="246406" y="95914"/>
                      <a:pt x="242344" y="95011"/>
                      <a:pt x="237831" y="92303"/>
                    </a:cubicBezTo>
                    <a:cubicBezTo>
                      <a:pt x="230836" y="88242"/>
                      <a:pt x="228354" y="87114"/>
                      <a:pt x="223164" y="90273"/>
                    </a:cubicBezTo>
                    <a:cubicBezTo>
                      <a:pt x="219554" y="92529"/>
                      <a:pt x="219102" y="94334"/>
                      <a:pt x="218425" y="97493"/>
                    </a:cubicBezTo>
                    <a:cubicBezTo>
                      <a:pt x="217974" y="99298"/>
                      <a:pt x="217523" y="101329"/>
                      <a:pt x="216395" y="103811"/>
                    </a:cubicBezTo>
                    <a:cubicBezTo>
                      <a:pt x="213010" y="111709"/>
                      <a:pt x="202405" y="117124"/>
                      <a:pt x="198794" y="116222"/>
                    </a:cubicBezTo>
                    <a:cubicBezTo>
                      <a:pt x="197215" y="115771"/>
                      <a:pt x="190671" y="118704"/>
                      <a:pt x="189091" y="120961"/>
                    </a:cubicBezTo>
                    <a:cubicBezTo>
                      <a:pt x="187963" y="122540"/>
                      <a:pt x="188414" y="132243"/>
                      <a:pt x="191348" y="136304"/>
                    </a:cubicBezTo>
                    <a:cubicBezTo>
                      <a:pt x="194281" y="140366"/>
                      <a:pt x="193604" y="146458"/>
                      <a:pt x="192927" y="150971"/>
                    </a:cubicBezTo>
                    <a:cubicBezTo>
                      <a:pt x="192702" y="151874"/>
                      <a:pt x="192702" y="152551"/>
                      <a:pt x="192702" y="153228"/>
                    </a:cubicBezTo>
                    <a:cubicBezTo>
                      <a:pt x="192476" y="155484"/>
                      <a:pt x="189994" y="157967"/>
                      <a:pt x="185707" y="162254"/>
                    </a:cubicBezTo>
                    <a:cubicBezTo>
                      <a:pt x="182322" y="165638"/>
                      <a:pt x="176907" y="170828"/>
                      <a:pt x="177132" y="173085"/>
                    </a:cubicBezTo>
                    <a:cubicBezTo>
                      <a:pt x="177358" y="177598"/>
                      <a:pt x="182096" y="180305"/>
                      <a:pt x="189317" y="180305"/>
                    </a:cubicBezTo>
                    <a:cubicBezTo>
                      <a:pt x="195635" y="180305"/>
                      <a:pt x="204210" y="180982"/>
                      <a:pt x="206466" y="187752"/>
                    </a:cubicBezTo>
                    <a:cubicBezTo>
                      <a:pt x="208271" y="192941"/>
                      <a:pt x="206918" y="203321"/>
                      <a:pt x="199923" y="208962"/>
                    </a:cubicBezTo>
                    <a:cubicBezTo>
                      <a:pt x="197666" y="210768"/>
                      <a:pt x="196312" y="212347"/>
                      <a:pt x="194958" y="213927"/>
                    </a:cubicBezTo>
                    <a:cubicBezTo>
                      <a:pt x="192476" y="216860"/>
                      <a:pt x="190220" y="219116"/>
                      <a:pt x="185707" y="219342"/>
                    </a:cubicBezTo>
                    <a:cubicBezTo>
                      <a:pt x="180968" y="219568"/>
                      <a:pt x="177809" y="222727"/>
                      <a:pt x="173748" y="231753"/>
                    </a:cubicBezTo>
                    <a:cubicBezTo>
                      <a:pt x="170137" y="239876"/>
                      <a:pt x="163368" y="243938"/>
                      <a:pt x="153891" y="243938"/>
                    </a:cubicBezTo>
                    <a:cubicBezTo>
                      <a:pt x="150055" y="243938"/>
                      <a:pt x="147573" y="242358"/>
                      <a:pt x="145316" y="241004"/>
                    </a:cubicBezTo>
                    <a:cubicBezTo>
                      <a:pt x="143285" y="239650"/>
                      <a:pt x="141254" y="238522"/>
                      <a:pt x="138095" y="238297"/>
                    </a:cubicBezTo>
                    <a:cubicBezTo>
                      <a:pt x="134034" y="238071"/>
                      <a:pt x="132454" y="239199"/>
                      <a:pt x="129972" y="240779"/>
                    </a:cubicBezTo>
                    <a:cubicBezTo>
                      <a:pt x="128393" y="241681"/>
                      <a:pt x="126362" y="243035"/>
                      <a:pt x="123654" y="244163"/>
                    </a:cubicBezTo>
                    <a:cubicBezTo>
                      <a:pt x="122300" y="244840"/>
                      <a:pt x="121172" y="245292"/>
                      <a:pt x="120044" y="245743"/>
                    </a:cubicBezTo>
                    <a:cubicBezTo>
                      <a:pt x="114628" y="248451"/>
                      <a:pt x="112597" y="248225"/>
                      <a:pt x="108310" y="241004"/>
                    </a:cubicBezTo>
                    <a:cubicBezTo>
                      <a:pt x="105602" y="236266"/>
                      <a:pt x="104248" y="236717"/>
                      <a:pt x="102218" y="237394"/>
                    </a:cubicBezTo>
                    <a:cubicBezTo>
                      <a:pt x="101315" y="237620"/>
                      <a:pt x="100187" y="238071"/>
                      <a:pt x="99059" y="238071"/>
                    </a:cubicBezTo>
                    <a:cubicBezTo>
                      <a:pt x="97028" y="238297"/>
                      <a:pt x="91387" y="246645"/>
                      <a:pt x="90258" y="250256"/>
                    </a:cubicBezTo>
                    <a:cubicBezTo>
                      <a:pt x="90033" y="250707"/>
                      <a:pt x="90033" y="251158"/>
                      <a:pt x="89807" y="251610"/>
                    </a:cubicBezTo>
                    <a:cubicBezTo>
                      <a:pt x="89130" y="254317"/>
                      <a:pt x="88228" y="258605"/>
                      <a:pt x="81233" y="257928"/>
                    </a:cubicBezTo>
                    <a:cubicBezTo>
                      <a:pt x="78976" y="257702"/>
                      <a:pt x="77171" y="258379"/>
                      <a:pt x="74689" y="259281"/>
                    </a:cubicBezTo>
                    <a:cubicBezTo>
                      <a:pt x="71304" y="260410"/>
                      <a:pt x="67243" y="261989"/>
                      <a:pt x="59796" y="261989"/>
                    </a:cubicBezTo>
                    <a:cubicBezTo>
                      <a:pt x="49191" y="261989"/>
                      <a:pt x="47386" y="261087"/>
                      <a:pt x="46257" y="257251"/>
                    </a:cubicBezTo>
                    <a:cubicBezTo>
                      <a:pt x="46032" y="256799"/>
                      <a:pt x="46032" y="256348"/>
                      <a:pt x="45806" y="255897"/>
                    </a:cubicBezTo>
                    <a:cubicBezTo>
                      <a:pt x="44904" y="253866"/>
                      <a:pt x="35878" y="252512"/>
                      <a:pt x="33396" y="253415"/>
                    </a:cubicBezTo>
                    <a:cubicBezTo>
                      <a:pt x="32042" y="253866"/>
                      <a:pt x="30688" y="253415"/>
                      <a:pt x="29785" y="252512"/>
                    </a:cubicBezTo>
                    <a:cubicBezTo>
                      <a:pt x="28657" y="254543"/>
                      <a:pt x="27303" y="256348"/>
                      <a:pt x="25498" y="257702"/>
                    </a:cubicBezTo>
                    <a:cubicBezTo>
                      <a:pt x="20534" y="261538"/>
                      <a:pt x="15344" y="263794"/>
                      <a:pt x="11282" y="265600"/>
                    </a:cubicBezTo>
                    <a:cubicBezTo>
                      <a:pt x="7446" y="267405"/>
                      <a:pt x="3836" y="268984"/>
                      <a:pt x="3836" y="270564"/>
                    </a:cubicBezTo>
                    <a:cubicBezTo>
                      <a:pt x="3836" y="273272"/>
                      <a:pt x="5867" y="274400"/>
                      <a:pt x="11508" y="277559"/>
                    </a:cubicBezTo>
                    <a:cubicBezTo>
                      <a:pt x="13313" y="278462"/>
                      <a:pt x="15118" y="279590"/>
                      <a:pt x="17375" y="280944"/>
                    </a:cubicBezTo>
                    <a:cubicBezTo>
                      <a:pt x="19631" y="282297"/>
                      <a:pt x="22113" y="283651"/>
                      <a:pt x="24595" y="285005"/>
                    </a:cubicBezTo>
                    <a:cubicBezTo>
                      <a:pt x="35878" y="291323"/>
                      <a:pt x="42873" y="295385"/>
                      <a:pt x="43324" y="299898"/>
                    </a:cubicBezTo>
                    <a:cubicBezTo>
                      <a:pt x="43775" y="302831"/>
                      <a:pt x="41293" y="304862"/>
                      <a:pt x="39488" y="306216"/>
                    </a:cubicBezTo>
                    <a:cubicBezTo>
                      <a:pt x="38585" y="306893"/>
                      <a:pt x="37232" y="308021"/>
                      <a:pt x="37232" y="308698"/>
                    </a:cubicBezTo>
                    <a:cubicBezTo>
                      <a:pt x="37232" y="308924"/>
                      <a:pt x="37457" y="309601"/>
                      <a:pt x="39262" y="311180"/>
                    </a:cubicBezTo>
                    <a:cubicBezTo>
                      <a:pt x="42873" y="313888"/>
                      <a:pt x="46032" y="313662"/>
                      <a:pt x="49868" y="313211"/>
                    </a:cubicBezTo>
                    <a:cubicBezTo>
                      <a:pt x="53704" y="312760"/>
                      <a:pt x="57991" y="312308"/>
                      <a:pt x="62504" y="315467"/>
                    </a:cubicBezTo>
                    <a:cubicBezTo>
                      <a:pt x="63181" y="315919"/>
                      <a:pt x="64084" y="316370"/>
                      <a:pt x="64760" y="317047"/>
                    </a:cubicBezTo>
                    <a:cubicBezTo>
                      <a:pt x="69499" y="320206"/>
                      <a:pt x="75140" y="323816"/>
                      <a:pt x="75140" y="329232"/>
                    </a:cubicBezTo>
                    <a:cubicBezTo>
                      <a:pt x="75140" y="333293"/>
                      <a:pt x="72207" y="337355"/>
                      <a:pt x="66340" y="341642"/>
                    </a:cubicBezTo>
                    <a:cubicBezTo>
                      <a:pt x="60699" y="345930"/>
                      <a:pt x="59571" y="348186"/>
                      <a:pt x="59571" y="349540"/>
                    </a:cubicBezTo>
                    <a:cubicBezTo>
                      <a:pt x="59796" y="352022"/>
                      <a:pt x="64084" y="354504"/>
                      <a:pt x="69273" y="357212"/>
                    </a:cubicBezTo>
                    <a:cubicBezTo>
                      <a:pt x="71530" y="358566"/>
                      <a:pt x="74238" y="359920"/>
                      <a:pt x="76945" y="361725"/>
                    </a:cubicBezTo>
                    <a:cubicBezTo>
                      <a:pt x="87776" y="368720"/>
                      <a:pt x="90484" y="379099"/>
                      <a:pt x="84617" y="391059"/>
                    </a:cubicBezTo>
                    <a:cubicBezTo>
                      <a:pt x="83489" y="393541"/>
                      <a:pt x="81910" y="394895"/>
                      <a:pt x="80556" y="396023"/>
                    </a:cubicBezTo>
                    <a:cubicBezTo>
                      <a:pt x="78299" y="398054"/>
                      <a:pt x="76945" y="399408"/>
                      <a:pt x="77171" y="406403"/>
                    </a:cubicBezTo>
                    <a:cubicBezTo>
                      <a:pt x="77848" y="418813"/>
                      <a:pt x="81910" y="435962"/>
                      <a:pt x="85971" y="443183"/>
                    </a:cubicBezTo>
                    <a:cubicBezTo>
                      <a:pt x="87776" y="446342"/>
                      <a:pt x="90935" y="447696"/>
                      <a:pt x="93192" y="448373"/>
                    </a:cubicBezTo>
                    <a:cubicBezTo>
                      <a:pt x="97479" y="449501"/>
                      <a:pt x="102218" y="448824"/>
                      <a:pt x="104248" y="447471"/>
                    </a:cubicBezTo>
                    <a:cubicBezTo>
                      <a:pt x="105377" y="446793"/>
                      <a:pt x="106956" y="445665"/>
                      <a:pt x="108310" y="444537"/>
                    </a:cubicBezTo>
                    <a:cubicBezTo>
                      <a:pt x="112597" y="441378"/>
                      <a:pt x="117562" y="437768"/>
                      <a:pt x="122751" y="437768"/>
                    </a:cubicBezTo>
                    <a:cubicBezTo>
                      <a:pt x="130875" y="437768"/>
                      <a:pt x="139675" y="442280"/>
                      <a:pt x="140578" y="452660"/>
                    </a:cubicBezTo>
                    <a:cubicBezTo>
                      <a:pt x="141254" y="460558"/>
                      <a:pt x="138547" y="463943"/>
                      <a:pt x="136290" y="467102"/>
                    </a:cubicBezTo>
                    <a:cubicBezTo>
                      <a:pt x="135388" y="468230"/>
                      <a:pt x="134485" y="469358"/>
                      <a:pt x="133808" y="470486"/>
                    </a:cubicBezTo>
                    <a:cubicBezTo>
                      <a:pt x="132680" y="472743"/>
                      <a:pt x="133131" y="473420"/>
                      <a:pt x="134711" y="475450"/>
                    </a:cubicBezTo>
                    <a:cubicBezTo>
                      <a:pt x="135613" y="476579"/>
                      <a:pt x="136742" y="478158"/>
                      <a:pt x="137644" y="480189"/>
                    </a:cubicBezTo>
                    <a:cubicBezTo>
                      <a:pt x="138998" y="483799"/>
                      <a:pt x="137644" y="487410"/>
                      <a:pt x="136065" y="491246"/>
                    </a:cubicBezTo>
                    <a:cubicBezTo>
                      <a:pt x="134711" y="494405"/>
                      <a:pt x="133357" y="497790"/>
                      <a:pt x="133583" y="501174"/>
                    </a:cubicBezTo>
                    <a:cubicBezTo>
                      <a:pt x="133808" y="509297"/>
                      <a:pt x="134034" y="517646"/>
                      <a:pt x="130875" y="523513"/>
                    </a:cubicBezTo>
                    <a:cubicBezTo>
                      <a:pt x="129747" y="525544"/>
                      <a:pt x="130198" y="529831"/>
                      <a:pt x="131552" y="533893"/>
                    </a:cubicBezTo>
                    <a:cubicBezTo>
                      <a:pt x="132906" y="537278"/>
                      <a:pt x="134936" y="539985"/>
                      <a:pt x="136516" y="540437"/>
                    </a:cubicBezTo>
                    <a:cubicBezTo>
                      <a:pt x="137870" y="540888"/>
                      <a:pt x="138772" y="540662"/>
                      <a:pt x="139901" y="540437"/>
                    </a:cubicBezTo>
                    <a:cubicBezTo>
                      <a:pt x="142834" y="539534"/>
                      <a:pt x="145316" y="539534"/>
                      <a:pt x="150280" y="545175"/>
                    </a:cubicBezTo>
                    <a:cubicBezTo>
                      <a:pt x="157501" y="553524"/>
                      <a:pt x="158178" y="562550"/>
                      <a:pt x="151860" y="571125"/>
                    </a:cubicBezTo>
                    <a:cubicBezTo>
                      <a:pt x="150957" y="572478"/>
                      <a:pt x="150055" y="573607"/>
                      <a:pt x="148926" y="574960"/>
                    </a:cubicBezTo>
                    <a:cubicBezTo>
                      <a:pt x="143962" y="581053"/>
                      <a:pt x="138998" y="587597"/>
                      <a:pt x="138772" y="596848"/>
                    </a:cubicBezTo>
                    <a:cubicBezTo>
                      <a:pt x="138547" y="606100"/>
                      <a:pt x="135388" y="609033"/>
                      <a:pt x="131777" y="612192"/>
                    </a:cubicBezTo>
                    <a:cubicBezTo>
                      <a:pt x="130423" y="613320"/>
                      <a:pt x="129070" y="614674"/>
                      <a:pt x="127716" y="616479"/>
                    </a:cubicBezTo>
                    <a:cubicBezTo>
                      <a:pt x="123880" y="621669"/>
                      <a:pt x="125459" y="625505"/>
                      <a:pt x="130198" y="632049"/>
                    </a:cubicBezTo>
                    <a:cubicBezTo>
                      <a:pt x="134936" y="638593"/>
                      <a:pt x="134936" y="654614"/>
                      <a:pt x="129972" y="662962"/>
                    </a:cubicBezTo>
                    <a:cubicBezTo>
                      <a:pt x="126136" y="669732"/>
                      <a:pt x="126362" y="671537"/>
                      <a:pt x="130649" y="678532"/>
                    </a:cubicBezTo>
                    <a:cubicBezTo>
                      <a:pt x="131552" y="679886"/>
                      <a:pt x="132229" y="681014"/>
                      <a:pt x="132906" y="682142"/>
                    </a:cubicBezTo>
                    <a:cubicBezTo>
                      <a:pt x="136290" y="687107"/>
                      <a:pt x="136742" y="689363"/>
                      <a:pt x="131100" y="696132"/>
                    </a:cubicBezTo>
                    <a:cubicBezTo>
                      <a:pt x="129747" y="697938"/>
                      <a:pt x="128618" y="701322"/>
                      <a:pt x="127490" y="705158"/>
                    </a:cubicBezTo>
                    <a:cubicBezTo>
                      <a:pt x="126136" y="711928"/>
                      <a:pt x="123880" y="719825"/>
                      <a:pt x="118013" y="725918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xmlns="" id="{79EF9541-51AA-4A20-8FF8-A6FA8E0C10C1}"/>
                  </a:ext>
                </a:extLst>
              </p:cNvPr>
              <p:cNvSpPr/>
              <p:nvPr/>
            </p:nvSpPr>
            <p:spPr>
              <a:xfrm>
                <a:off x="9210667" y="3506214"/>
                <a:ext cx="496422" cy="564115"/>
              </a:xfrm>
              <a:custGeom>
                <a:avLst/>
                <a:gdLst>
                  <a:gd name="connsiteX0" fmla="*/ 90745 w 496421"/>
                  <a:gd name="connsiteY0" fmla="*/ 565751 h 564115"/>
                  <a:gd name="connsiteX1" fmla="*/ 80140 w 496421"/>
                  <a:gd name="connsiteY1" fmla="*/ 563946 h 564115"/>
                  <a:gd name="connsiteX2" fmla="*/ 56673 w 496421"/>
                  <a:gd name="connsiteY2" fmla="*/ 562141 h 564115"/>
                  <a:gd name="connsiteX3" fmla="*/ 50129 w 496421"/>
                  <a:gd name="connsiteY3" fmla="*/ 562592 h 564115"/>
                  <a:gd name="connsiteX4" fmla="*/ 21246 w 496421"/>
                  <a:gd name="connsiteY4" fmla="*/ 551535 h 564115"/>
                  <a:gd name="connsiteX5" fmla="*/ 11543 w 496421"/>
                  <a:gd name="connsiteY5" fmla="*/ 535740 h 564115"/>
                  <a:gd name="connsiteX6" fmla="*/ 10190 w 496421"/>
                  <a:gd name="connsiteY6" fmla="*/ 533258 h 564115"/>
                  <a:gd name="connsiteX7" fmla="*/ 12897 w 496421"/>
                  <a:gd name="connsiteY7" fmla="*/ 533033 h 564115"/>
                  <a:gd name="connsiteX8" fmla="*/ 13574 w 496421"/>
                  <a:gd name="connsiteY8" fmla="*/ 533033 h 564115"/>
                  <a:gd name="connsiteX9" fmla="*/ 12672 w 496421"/>
                  <a:gd name="connsiteY9" fmla="*/ 529874 h 564115"/>
                  <a:gd name="connsiteX10" fmla="*/ 14702 w 496421"/>
                  <a:gd name="connsiteY10" fmla="*/ 504375 h 564115"/>
                  <a:gd name="connsiteX11" fmla="*/ 20795 w 496421"/>
                  <a:gd name="connsiteY11" fmla="*/ 498509 h 564115"/>
                  <a:gd name="connsiteX12" fmla="*/ 28241 w 496421"/>
                  <a:gd name="connsiteY12" fmla="*/ 489708 h 564115"/>
                  <a:gd name="connsiteX13" fmla="*/ 26210 w 496421"/>
                  <a:gd name="connsiteY13" fmla="*/ 487452 h 564115"/>
                  <a:gd name="connsiteX14" fmla="*/ 13123 w 496421"/>
                  <a:gd name="connsiteY14" fmla="*/ 483165 h 564115"/>
                  <a:gd name="connsiteX15" fmla="*/ 5451 w 496421"/>
                  <a:gd name="connsiteY15" fmla="*/ 480908 h 564115"/>
                  <a:gd name="connsiteX16" fmla="*/ 2292 w 496421"/>
                  <a:gd name="connsiteY16" fmla="*/ 475493 h 564115"/>
                  <a:gd name="connsiteX17" fmla="*/ 10641 w 496421"/>
                  <a:gd name="connsiteY17" fmla="*/ 464210 h 564115"/>
                  <a:gd name="connsiteX18" fmla="*/ 13349 w 496421"/>
                  <a:gd name="connsiteY18" fmla="*/ 457667 h 564115"/>
                  <a:gd name="connsiteX19" fmla="*/ 10641 w 496421"/>
                  <a:gd name="connsiteY19" fmla="*/ 445707 h 564115"/>
                  <a:gd name="connsiteX20" fmla="*/ 8384 w 496421"/>
                  <a:gd name="connsiteY20" fmla="*/ 430589 h 564115"/>
                  <a:gd name="connsiteX21" fmla="*/ 6805 w 496421"/>
                  <a:gd name="connsiteY21" fmla="*/ 405091 h 564115"/>
                  <a:gd name="connsiteX22" fmla="*/ 7030 w 496421"/>
                  <a:gd name="connsiteY22" fmla="*/ 403963 h 564115"/>
                  <a:gd name="connsiteX23" fmla="*/ 8159 w 496421"/>
                  <a:gd name="connsiteY23" fmla="*/ 383881 h 564115"/>
                  <a:gd name="connsiteX24" fmla="*/ 7030 w 496421"/>
                  <a:gd name="connsiteY24" fmla="*/ 378691 h 564115"/>
                  <a:gd name="connsiteX25" fmla="*/ 3871 w 496421"/>
                  <a:gd name="connsiteY25" fmla="*/ 372147 h 564115"/>
                  <a:gd name="connsiteX26" fmla="*/ 487 w 496421"/>
                  <a:gd name="connsiteY26" fmla="*/ 358382 h 564115"/>
                  <a:gd name="connsiteX27" fmla="*/ 5451 w 496421"/>
                  <a:gd name="connsiteY27" fmla="*/ 353870 h 564115"/>
                  <a:gd name="connsiteX28" fmla="*/ 10415 w 496421"/>
                  <a:gd name="connsiteY28" fmla="*/ 347100 h 564115"/>
                  <a:gd name="connsiteX29" fmla="*/ 17862 w 496421"/>
                  <a:gd name="connsiteY29" fmla="*/ 337397 h 564115"/>
                  <a:gd name="connsiteX30" fmla="*/ 27790 w 496421"/>
                  <a:gd name="connsiteY30" fmla="*/ 328823 h 564115"/>
                  <a:gd name="connsiteX31" fmla="*/ 33205 w 496421"/>
                  <a:gd name="connsiteY31" fmla="*/ 324084 h 564115"/>
                  <a:gd name="connsiteX32" fmla="*/ 32303 w 496421"/>
                  <a:gd name="connsiteY32" fmla="*/ 320700 h 564115"/>
                  <a:gd name="connsiteX33" fmla="*/ 27790 w 496421"/>
                  <a:gd name="connsiteY33" fmla="*/ 319120 h 564115"/>
                  <a:gd name="connsiteX34" fmla="*/ 14477 w 496421"/>
                  <a:gd name="connsiteY34" fmla="*/ 315510 h 564115"/>
                  <a:gd name="connsiteX35" fmla="*/ 10641 w 496421"/>
                  <a:gd name="connsiteY35" fmla="*/ 306935 h 564115"/>
                  <a:gd name="connsiteX36" fmla="*/ 10641 w 496421"/>
                  <a:gd name="connsiteY36" fmla="*/ 303776 h 564115"/>
                  <a:gd name="connsiteX37" fmla="*/ 17410 w 496421"/>
                  <a:gd name="connsiteY37" fmla="*/ 291817 h 564115"/>
                  <a:gd name="connsiteX38" fmla="*/ 21021 w 496421"/>
                  <a:gd name="connsiteY38" fmla="*/ 290012 h 564115"/>
                  <a:gd name="connsiteX39" fmla="*/ 20795 w 496421"/>
                  <a:gd name="connsiteY39" fmla="*/ 284370 h 564115"/>
                  <a:gd name="connsiteX40" fmla="*/ 30272 w 496421"/>
                  <a:gd name="connsiteY40" fmla="*/ 266544 h 564115"/>
                  <a:gd name="connsiteX41" fmla="*/ 34785 w 496421"/>
                  <a:gd name="connsiteY41" fmla="*/ 258196 h 564115"/>
                  <a:gd name="connsiteX42" fmla="*/ 30723 w 496421"/>
                  <a:gd name="connsiteY42" fmla="*/ 256616 h 564115"/>
                  <a:gd name="connsiteX43" fmla="*/ 23728 w 496421"/>
                  <a:gd name="connsiteY43" fmla="*/ 252780 h 564115"/>
                  <a:gd name="connsiteX44" fmla="*/ 27339 w 496421"/>
                  <a:gd name="connsiteY44" fmla="*/ 243077 h 564115"/>
                  <a:gd name="connsiteX45" fmla="*/ 30046 w 496421"/>
                  <a:gd name="connsiteY45" fmla="*/ 239693 h 564115"/>
                  <a:gd name="connsiteX46" fmla="*/ 29369 w 496421"/>
                  <a:gd name="connsiteY46" fmla="*/ 232472 h 564115"/>
                  <a:gd name="connsiteX47" fmla="*/ 28693 w 496421"/>
                  <a:gd name="connsiteY47" fmla="*/ 221190 h 564115"/>
                  <a:gd name="connsiteX48" fmla="*/ 28918 w 496421"/>
                  <a:gd name="connsiteY48" fmla="*/ 220287 h 564115"/>
                  <a:gd name="connsiteX49" fmla="*/ 25985 w 496421"/>
                  <a:gd name="connsiteY49" fmla="*/ 218708 h 564115"/>
                  <a:gd name="connsiteX50" fmla="*/ 17185 w 496421"/>
                  <a:gd name="connsiteY50" fmla="*/ 213066 h 564115"/>
                  <a:gd name="connsiteX51" fmla="*/ 15605 w 496421"/>
                  <a:gd name="connsiteY51" fmla="*/ 211261 h 564115"/>
                  <a:gd name="connsiteX52" fmla="*/ 17636 w 496421"/>
                  <a:gd name="connsiteY52" fmla="*/ 210133 h 564115"/>
                  <a:gd name="connsiteX53" fmla="*/ 19215 w 496421"/>
                  <a:gd name="connsiteY53" fmla="*/ 208779 h 564115"/>
                  <a:gd name="connsiteX54" fmla="*/ 26436 w 496421"/>
                  <a:gd name="connsiteY54" fmla="*/ 203589 h 564115"/>
                  <a:gd name="connsiteX55" fmla="*/ 31852 w 496421"/>
                  <a:gd name="connsiteY55" fmla="*/ 191630 h 564115"/>
                  <a:gd name="connsiteX56" fmla="*/ 31626 w 496421"/>
                  <a:gd name="connsiteY56" fmla="*/ 184409 h 564115"/>
                  <a:gd name="connsiteX57" fmla="*/ 43134 w 496421"/>
                  <a:gd name="connsiteY57" fmla="*/ 172224 h 564115"/>
                  <a:gd name="connsiteX58" fmla="*/ 55093 w 496421"/>
                  <a:gd name="connsiteY58" fmla="*/ 164552 h 564115"/>
                  <a:gd name="connsiteX59" fmla="*/ 62314 w 496421"/>
                  <a:gd name="connsiteY59" fmla="*/ 144696 h 564115"/>
                  <a:gd name="connsiteX60" fmla="*/ 64345 w 496421"/>
                  <a:gd name="connsiteY60" fmla="*/ 134316 h 564115"/>
                  <a:gd name="connsiteX61" fmla="*/ 62765 w 496421"/>
                  <a:gd name="connsiteY61" fmla="*/ 119649 h 564115"/>
                  <a:gd name="connsiteX62" fmla="*/ 62765 w 496421"/>
                  <a:gd name="connsiteY62" fmla="*/ 100469 h 564115"/>
                  <a:gd name="connsiteX63" fmla="*/ 67052 w 496421"/>
                  <a:gd name="connsiteY63" fmla="*/ 88961 h 564115"/>
                  <a:gd name="connsiteX64" fmla="*/ 75627 w 496421"/>
                  <a:gd name="connsiteY64" fmla="*/ 77002 h 564115"/>
                  <a:gd name="connsiteX65" fmla="*/ 95033 w 496421"/>
                  <a:gd name="connsiteY65" fmla="*/ 85576 h 564115"/>
                  <a:gd name="connsiteX66" fmla="*/ 96838 w 496421"/>
                  <a:gd name="connsiteY66" fmla="*/ 87382 h 564115"/>
                  <a:gd name="connsiteX67" fmla="*/ 102930 w 496421"/>
                  <a:gd name="connsiteY67" fmla="*/ 83771 h 564115"/>
                  <a:gd name="connsiteX68" fmla="*/ 106315 w 496421"/>
                  <a:gd name="connsiteY68" fmla="*/ 76776 h 564115"/>
                  <a:gd name="connsiteX69" fmla="*/ 121207 w 496421"/>
                  <a:gd name="connsiteY69" fmla="*/ 56017 h 564115"/>
                  <a:gd name="connsiteX70" fmla="*/ 122110 w 496421"/>
                  <a:gd name="connsiteY70" fmla="*/ 35709 h 564115"/>
                  <a:gd name="connsiteX71" fmla="*/ 121433 w 496421"/>
                  <a:gd name="connsiteY71" fmla="*/ 19011 h 564115"/>
                  <a:gd name="connsiteX72" fmla="*/ 120756 w 496421"/>
                  <a:gd name="connsiteY72" fmla="*/ 12693 h 564115"/>
                  <a:gd name="connsiteX73" fmla="*/ 118725 w 496421"/>
                  <a:gd name="connsiteY73" fmla="*/ 5246 h 564115"/>
                  <a:gd name="connsiteX74" fmla="*/ 123238 w 496421"/>
                  <a:gd name="connsiteY74" fmla="*/ 56 h 564115"/>
                  <a:gd name="connsiteX75" fmla="*/ 126849 w 496421"/>
                  <a:gd name="connsiteY75" fmla="*/ 1410 h 564115"/>
                  <a:gd name="connsiteX76" fmla="*/ 134521 w 496421"/>
                  <a:gd name="connsiteY76" fmla="*/ 5923 h 564115"/>
                  <a:gd name="connsiteX77" fmla="*/ 141967 w 496421"/>
                  <a:gd name="connsiteY77" fmla="*/ 9985 h 564115"/>
                  <a:gd name="connsiteX78" fmla="*/ 156634 w 496421"/>
                  <a:gd name="connsiteY78" fmla="*/ 11564 h 564115"/>
                  <a:gd name="connsiteX79" fmla="*/ 176265 w 496421"/>
                  <a:gd name="connsiteY79" fmla="*/ 14272 h 564115"/>
                  <a:gd name="connsiteX80" fmla="*/ 197025 w 496421"/>
                  <a:gd name="connsiteY80" fmla="*/ 34806 h 564115"/>
                  <a:gd name="connsiteX81" fmla="*/ 198604 w 496421"/>
                  <a:gd name="connsiteY81" fmla="*/ 36611 h 564115"/>
                  <a:gd name="connsiteX82" fmla="*/ 234707 w 496421"/>
                  <a:gd name="connsiteY82" fmla="*/ 51729 h 564115"/>
                  <a:gd name="connsiteX83" fmla="*/ 243733 w 496421"/>
                  <a:gd name="connsiteY83" fmla="*/ 49247 h 564115"/>
                  <a:gd name="connsiteX84" fmla="*/ 252985 w 496421"/>
                  <a:gd name="connsiteY84" fmla="*/ 46765 h 564115"/>
                  <a:gd name="connsiteX85" fmla="*/ 258852 w 496421"/>
                  <a:gd name="connsiteY85" fmla="*/ 46314 h 564115"/>
                  <a:gd name="connsiteX86" fmla="*/ 277355 w 496421"/>
                  <a:gd name="connsiteY86" fmla="*/ 48119 h 564115"/>
                  <a:gd name="connsiteX87" fmla="*/ 287057 w 496421"/>
                  <a:gd name="connsiteY87" fmla="*/ 46765 h 564115"/>
                  <a:gd name="connsiteX88" fmla="*/ 308719 w 496421"/>
                  <a:gd name="connsiteY88" fmla="*/ 41801 h 564115"/>
                  <a:gd name="connsiteX89" fmla="*/ 345048 w 496421"/>
                  <a:gd name="connsiteY89" fmla="*/ 68201 h 564115"/>
                  <a:gd name="connsiteX90" fmla="*/ 335346 w 496421"/>
                  <a:gd name="connsiteY90" fmla="*/ 106336 h 564115"/>
                  <a:gd name="connsiteX91" fmla="*/ 337828 w 496421"/>
                  <a:gd name="connsiteY91" fmla="*/ 123485 h 564115"/>
                  <a:gd name="connsiteX92" fmla="*/ 342566 w 496421"/>
                  <a:gd name="connsiteY92" fmla="*/ 133639 h 564115"/>
                  <a:gd name="connsiteX93" fmla="*/ 341438 w 496421"/>
                  <a:gd name="connsiteY93" fmla="*/ 145147 h 564115"/>
                  <a:gd name="connsiteX94" fmla="*/ 344597 w 496421"/>
                  <a:gd name="connsiteY94" fmla="*/ 153496 h 564115"/>
                  <a:gd name="connsiteX95" fmla="*/ 374382 w 496421"/>
                  <a:gd name="connsiteY95" fmla="*/ 157783 h 564115"/>
                  <a:gd name="connsiteX96" fmla="*/ 376188 w 496421"/>
                  <a:gd name="connsiteY96" fmla="*/ 155075 h 564115"/>
                  <a:gd name="connsiteX97" fmla="*/ 376188 w 496421"/>
                  <a:gd name="connsiteY97" fmla="*/ 151239 h 564115"/>
                  <a:gd name="connsiteX98" fmla="*/ 379121 w 496421"/>
                  <a:gd name="connsiteY98" fmla="*/ 153721 h 564115"/>
                  <a:gd name="connsiteX99" fmla="*/ 388372 w 496421"/>
                  <a:gd name="connsiteY99" fmla="*/ 167035 h 564115"/>
                  <a:gd name="connsiteX100" fmla="*/ 395367 w 496421"/>
                  <a:gd name="connsiteY100" fmla="*/ 170645 h 564115"/>
                  <a:gd name="connsiteX101" fmla="*/ 417255 w 496421"/>
                  <a:gd name="connsiteY101" fmla="*/ 178543 h 564115"/>
                  <a:gd name="connsiteX102" fmla="*/ 446815 w 496421"/>
                  <a:gd name="connsiteY102" fmla="*/ 218256 h 564115"/>
                  <a:gd name="connsiteX103" fmla="*/ 449071 w 496421"/>
                  <a:gd name="connsiteY103" fmla="*/ 234503 h 564115"/>
                  <a:gd name="connsiteX104" fmla="*/ 450876 w 496421"/>
                  <a:gd name="connsiteY104" fmla="*/ 233600 h 564115"/>
                  <a:gd name="connsiteX105" fmla="*/ 455841 w 496421"/>
                  <a:gd name="connsiteY105" fmla="*/ 231569 h 564115"/>
                  <a:gd name="connsiteX106" fmla="*/ 459451 w 496421"/>
                  <a:gd name="connsiteY106" fmla="*/ 234954 h 564115"/>
                  <a:gd name="connsiteX107" fmla="*/ 464867 w 496421"/>
                  <a:gd name="connsiteY107" fmla="*/ 241498 h 564115"/>
                  <a:gd name="connsiteX108" fmla="*/ 470959 w 496421"/>
                  <a:gd name="connsiteY108" fmla="*/ 243980 h 564115"/>
                  <a:gd name="connsiteX109" fmla="*/ 477277 w 496421"/>
                  <a:gd name="connsiteY109" fmla="*/ 254360 h 564115"/>
                  <a:gd name="connsiteX110" fmla="*/ 477728 w 496421"/>
                  <a:gd name="connsiteY110" fmla="*/ 269252 h 564115"/>
                  <a:gd name="connsiteX111" fmla="*/ 478631 w 496421"/>
                  <a:gd name="connsiteY111" fmla="*/ 279858 h 564115"/>
                  <a:gd name="connsiteX112" fmla="*/ 477503 w 496421"/>
                  <a:gd name="connsiteY112" fmla="*/ 292268 h 564115"/>
                  <a:gd name="connsiteX113" fmla="*/ 470959 w 496421"/>
                  <a:gd name="connsiteY113" fmla="*/ 299263 h 564115"/>
                  <a:gd name="connsiteX114" fmla="*/ 466220 w 496421"/>
                  <a:gd name="connsiteY114" fmla="*/ 299714 h 564115"/>
                  <a:gd name="connsiteX115" fmla="*/ 457872 w 496421"/>
                  <a:gd name="connsiteY115" fmla="*/ 301971 h 564115"/>
                  <a:gd name="connsiteX116" fmla="*/ 456292 w 496421"/>
                  <a:gd name="connsiteY116" fmla="*/ 308289 h 564115"/>
                  <a:gd name="connsiteX117" fmla="*/ 460805 w 496421"/>
                  <a:gd name="connsiteY117" fmla="*/ 315510 h 564115"/>
                  <a:gd name="connsiteX118" fmla="*/ 468026 w 496421"/>
                  <a:gd name="connsiteY118" fmla="*/ 323407 h 564115"/>
                  <a:gd name="connsiteX119" fmla="*/ 473667 w 496421"/>
                  <a:gd name="connsiteY119" fmla="*/ 329274 h 564115"/>
                  <a:gd name="connsiteX120" fmla="*/ 485852 w 496421"/>
                  <a:gd name="connsiteY120" fmla="*/ 335592 h 564115"/>
                  <a:gd name="connsiteX121" fmla="*/ 496006 w 496421"/>
                  <a:gd name="connsiteY121" fmla="*/ 340331 h 564115"/>
                  <a:gd name="connsiteX122" fmla="*/ 507514 w 496421"/>
                  <a:gd name="connsiteY122" fmla="*/ 349357 h 564115"/>
                  <a:gd name="connsiteX123" fmla="*/ 507288 w 496421"/>
                  <a:gd name="connsiteY123" fmla="*/ 365603 h 564115"/>
                  <a:gd name="connsiteX124" fmla="*/ 503226 w 496421"/>
                  <a:gd name="connsiteY124" fmla="*/ 368762 h 564115"/>
                  <a:gd name="connsiteX125" fmla="*/ 499390 w 496421"/>
                  <a:gd name="connsiteY125" fmla="*/ 372373 h 564115"/>
                  <a:gd name="connsiteX126" fmla="*/ 484272 w 496421"/>
                  <a:gd name="connsiteY126" fmla="*/ 380045 h 564115"/>
                  <a:gd name="connsiteX127" fmla="*/ 468251 w 496421"/>
                  <a:gd name="connsiteY127" fmla="*/ 384106 h 564115"/>
                  <a:gd name="connsiteX128" fmla="*/ 456066 w 496421"/>
                  <a:gd name="connsiteY128" fmla="*/ 389522 h 564115"/>
                  <a:gd name="connsiteX129" fmla="*/ 455164 w 496421"/>
                  <a:gd name="connsiteY129" fmla="*/ 391327 h 564115"/>
                  <a:gd name="connsiteX130" fmla="*/ 436210 w 496421"/>
                  <a:gd name="connsiteY130" fmla="*/ 400353 h 564115"/>
                  <a:gd name="connsiteX131" fmla="*/ 423122 w 496421"/>
                  <a:gd name="connsiteY131" fmla="*/ 398773 h 564115"/>
                  <a:gd name="connsiteX132" fmla="*/ 420414 w 496421"/>
                  <a:gd name="connsiteY132" fmla="*/ 396968 h 564115"/>
                  <a:gd name="connsiteX133" fmla="*/ 403942 w 496421"/>
                  <a:gd name="connsiteY133" fmla="*/ 397419 h 564115"/>
                  <a:gd name="connsiteX134" fmla="*/ 405296 w 496421"/>
                  <a:gd name="connsiteY134" fmla="*/ 399450 h 564115"/>
                  <a:gd name="connsiteX135" fmla="*/ 406650 w 496421"/>
                  <a:gd name="connsiteY135" fmla="*/ 404189 h 564115"/>
                  <a:gd name="connsiteX136" fmla="*/ 401234 w 496421"/>
                  <a:gd name="connsiteY136" fmla="*/ 406219 h 564115"/>
                  <a:gd name="connsiteX137" fmla="*/ 392208 w 496421"/>
                  <a:gd name="connsiteY137" fmla="*/ 411861 h 564115"/>
                  <a:gd name="connsiteX138" fmla="*/ 399204 w 496421"/>
                  <a:gd name="connsiteY138" fmla="*/ 415922 h 564115"/>
                  <a:gd name="connsiteX139" fmla="*/ 415901 w 496421"/>
                  <a:gd name="connsiteY139" fmla="*/ 426302 h 564115"/>
                  <a:gd name="connsiteX140" fmla="*/ 416578 w 496421"/>
                  <a:gd name="connsiteY140" fmla="*/ 440743 h 564115"/>
                  <a:gd name="connsiteX141" fmla="*/ 402588 w 496421"/>
                  <a:gd name="connsiteY141" fmla="*/ 442548 h 564115"/>
                  <a:gd name="connsiteX142" fmla="*/ 395142 w 496421"/>
                  <a:gd name="connsiteY142" fmla="*/ 439164 h 564115"/>
                  <a:gd name="connsiteX143" fmla="*/ 378444 w 496421"/>
                  <a:gd name="connsiteY143" fmla="*/ 428784 h 564115"/>
                  <a:gd name="connsiteX144" fmla="*/ 375285 w 496421"/>
                  <a:gd name="connsiteY144" fmla="*/ 422917 h 564115"/>
                  <a:gd name="connsiteX145" fmla="*/ 364905 w 496421"/>
                  <a:gd name="connsiteY145" fmla="*/ 409378 h 564115"/>
                  <a:gd name="connsiteX146" fmla="*/ 360392 w 496421"/>
                  <a:gd name="connsiteY146" fmla="*/ 410055 h 564115"/>
                  <a:gd name="connsiteX147" fmla="*/ 347756 w 496421"/>
                  <a:gd name="connsiteY147" fmla="*/ 426979 h 564115"/>
                  <a:gd name="connsiteX148" fmla="*/ 340535 w 496421"/>
                  <a:gd name="connsiteY148" fmla="*/ 454733 h 564115"/>
                  <a:gd name="connsiteX149" fmla="*/ 332864 w 496421"/>
                  <a:gd name="connsiteY149" fmla="*/ 454056 h 564115"/>
                  <a:gd name="connsiteX150" fmla="*/ 311427 w 496421"/>
                  <a:gd name="connsiteY150" fmla="*/ 452026 h 564115"/>
                  <a:gd name="connsiteX151" fmla="*/ 287283 w 496421"/>
                  <a:gd name="connsiteY151" fmla="*/ 459246 h 564115"/>
                  <a:gd name="connsiteX152" fmla="*/ 270360 w 496421"/>
                  <a:gd name="connsiteY152" fmla="*/ 465564 h 564115"/>
                  <a:gd name="connsiteX153" fmla="*/ 262913 w 496421"/>
                  <a:gd name="connsiteY153" fmla="*/ 467144 h 564115"/>
                  <a:gd name="connsiteX154" fmla="*/ 246667 w 496421"/>
                  <a:gd name="connsiteY154" fmla="*/ 479780 h 564115"/>
                  <a:gd name="connsiteX155" fmla="*/ 244636 w 496421"/>
                  <a:gd name="connsiteY155" fmla="*/ 487903 h 564115"/>
                  <a:gd name="connsiteX156" fmla="*/ 239672 w 496421"/>
                  <a:gd name="connsiteY156" fmla="*/ 508888 h 564115"/>
                  <a:gd name="connsiteX157" fmla="*/ 220492 w 496421"/>
                  <a:gd name="connsiteY157" fmla="*/ 515207 h 564115"/>
                  <a:gd name="connsiteX158" fmla="*/ 195445 w 496421"/>
                  <a:gd name="connsiteY158" fmla="*/ 526263 h 564115"/>
                  <a:gd name="connsiteX159" fmla="*/ 172429 w 496421"/>
                  <a:gd name="connsiteY159" fmla="*/ 539576 h 564115"/>
                  <a:gd name="connsiteX160" fmla="*/ 161598 w 496421"/>
                  <a:gd name="connsiteY160" fmla="*/ 537997 h 564115"/>
                  <a:gd name="connsiteX161" fmla="*/ 134069 w 496421"/>
                  <a:gd name="connsiteY161" fmla="*/ 536417 h 564115"/>
                  <a:gd name="connsiteX162" fmla="*/ 111053 w 496421"/>
                  <a:gd name="connsiteY162" fmla="*/ 550859 h 564115"/>
                  <a:gd name="connsiteX163" fmla="*/ 105412 w 496421"/>
                  <a:gd name="connsiteY163" fmla="*/ 557628 h 564115"/>
                  <a:gd name="connsiteX164" fmla="*/ 102704 w 496421"/>
                  <a:gd name="connsiteY164" fmla="*/ 560110 h 564115"/>
                  <a:gd name="connsiteX165" fmla="*/ 90745 w 496421"/>
                  <a:gd name="connsiteY165" fmla="*/ 565751 h 564115"/>
                  <a:gd name="connsiteX166" fmla="*/ 64570 w 496421"/>
                  <a:gd name="connsiteY166" fmla="*/ 557628 h 564115"/>
                  <a:gd name="connsiteX167" fmla="*/ 81042 w 496421"/>
                  <a:gd name="connsiteY167" fmla="*/ 560110 h 564115"/>
                  <a:gd name="connsiteX168" fmla="*/ 99997 w 496421"/>
                  <a:gd name="connsiteY168" fmla="*/ 556951 h 564115"/>
                  <a:gd name="connsiteX169" fmla="*/ 102704 w 496421"/>
                  <a:gd name="connsiteY169" fmla="*/ 554469 h 564115"/>
                  <a:gd name="connsiteX170" fmla="*/ 107669 w 496421"/>
                  <a:gd name="connsiteY170" fmla="*/ 548376 h 564115"/>
                  <a:gd name="connsiteX171" fmla="*/ 133167 w 496421"/>
                  <a:gd name="connsiteY171" fmla="*/ 532356 h 564115"/>
                  <a:gd name="connsiteX172" fmla="*/ 162275 w 496421"/>
                  <a:gd name="connsiteY172" fmla="*/ 534161 h 564115"/>
                  <a:gd name="connsiteX173" fmla="*/ 171978 w 496421"/>
                  <a:gd name="connsiteY173" fmla="*/ 535740 h 564115"/>
                  <a:gd name="connsiteX174" fmla="*/ 192286 w 496421"/>
                  <a:gd name="connsiteY174" fmla="*/ 523781 h 564115"/>
                  <a:gd name="connsiteX175" fmla="*/ 220040 w 496421"/>
                  <a:gd name="connsiteY175" fmla="*/ 511371 h 564115"/>
                  <a:gd name="connsiteX176" fmla="*/ 235610 w 496421"/>
                  <a:gd name="connsiteY176" fmla="*/ 508211 h 564115"/>
                  <a:gd name="connsiteX177" fmla="*/ 240574 w 496421"/>
                  <a:gd name="connsiteY177" fmla="*/ 487001 h 564115"/>
                  <a:gd name="connsiteX178" fmla="*/ 242605 w 496421"/>
                  <a:gd name="connsiteY178" fmla="*/ 478877 h 564115"/>
                  <a:gd name="connsiteX179" fmla="*/ 261785 w 496421"/>
                  <a:gd name="connsiteY179" fmla="*/ 463534 h 564115"/>
                  <a:gd name="connsiteX180" fmla="*/ 269006 w 496421"/>
                  <a:gd name="connsiteY180" fmla="*/ 461954 h 564115"/>
                  <a:gd name="connsiteX181" fmla="*/ 285252 w 496421"/>
                  <a:gd name="connsiteY181" fmla="*/ 455861 h 564115"/>
                  <a:gd name="connsiteX182" fmla="*/ 310750 w 496421"/>
                  <a:gd name="connsiteY182" fmla="*/ 448190 h 564115"/>
                  <a:gd name="connsiteX183" fmla="*/ 333766 w 496421"/>
                  <a:gd name="connsiteY183" fmla="*/ 450446 h 564115"/>
                  <a:gd name="connsiteX184" fmla="*/ 338956 w 496421"/>
                  <a:gd name="connsiteY184" fmla="*/ 451123 h 564115"/>
                  <a:gd name="connsiteX185" fmla="*/ 343920 w 496421"/>
                  <a:gd name="connsiteY185" fmla="*/ 428107 h 564115"/>
                  <a:gd name="connsiteX186" fmla="*/ 358362 w 496421"/>
                  <a:gd name="connsiteY186" fmla="*/ 406671 h 564115"/>
                  <a:gd name="connsiteX187" fmla="*/ 365808 w 496421"/>
                  <a:gd name="connsiteY187" fmla="*/ 405768 h 564115"/>
                  <a:gd name="connsiteX188" fmla="*/ 378444 w 496421"/>
                  <a:gd name="connsiteY188" fmla="*/ 421112 h 564115"/>
                  <a:gd name="connsiteX189" fmla="*/ 381378 w 496421"/>
                  <a:gd name="connsiteY189" fmla="*/ 426528 h 564115"/>
                  <a:gd name="connsiteX190" fmla="*/ 396496 w 496421"/>
                  <a:gd name="connsiteY190" fmla="*/ 435553 h 564115"/>
                  <a:gd name="connsiteX191" fmla="*/ 404168 w 496421"/>
                  <a:gd name="connsiteY191" fmla="*/ 438938 h 564115"/>
                  <a:gd name="connsiteX192" fmla="*/ 413645 w 496421"/>
                  <a:gd name="connsiteY192" fmla="*/ 438036 h 564115"/>
                  <a:gd name="connsiteX193" fmla="*/ 412517 w 496421"/>
                  <a:gd name="connsiteY193" fmla="*/ 428107 h 564115"/>
                  <a:gd name="connsiteX194" fmla="*/ 397850 w 496421"/>
                  <a:gd name="connsiteY194" fmla="*/ 419307 h 564115"/>
                  <a:gd name="connsiteX195" fmla="*/ 388147 w 496421"/>
                  <a:gd name="connsiteY195" fmla="*/ 411635 h 564115"/>
                  <a:gd name="connsiteX196" fmla="*/ 400783 w 496421"/>
                  <a:gd name="connsiteY196" fmla="*/ 402158 h 564115"/>
                  <a:gd name="connsiteX197" fmla="*/ 402137 w 496421"/>
                  <a:gd name="connsiteY197" fmla="*/ 402158 h 564115"/>
                  <a:gd name="connsiteX198" fmla="*/ 401686 w 496421"/>
                  <a:gd name="connsiteY198" fmla="*/ 401707 h 564115"/>
                  <a:gd name="connsiteX199" fmla="*/ 399655 w 496421"/>
                  <a:gd name="connsiteY199" fmla="*/ 397194 h 564115"/>
                  <a:gd name="connsiteX200" fmla="*/ 401911 w 496421"/>
                  <a:gd name="connsiteY200" fmla="*/ 393809 h 564115"/>
                  <a:gd name="connsiteX201" fmla="*/ 421768 w 496421"/>
                  <a:gd name="connsiteY201" fmla="*/ 393583 h 564115"/>
                  <a:gd name="connsiteX202" fmla="*/ 425153 w 496421"/>
                  <a:gd name="connsiteY202" fmla="*/ 395840 h 564115"/>
                  <a:gd name="connsiteX203" fmla="*/ 435984 w 496421"/>
                  <a:gd name="connsiteY203" fmla="*/ 396742 h 564115"/>
                  <a:gd name="connsiteX204" fmla="*/ 451779 w 496421"/>
                  <a:gd name="connsiteY204" fmla="*/ 389522 h 564115"/>
                  <a:gd name="connsiteX205" fmla="*/ 452682 w 496421"/>
                  <a:gd name="connsiteY205" fmla="*/ 387716 h 564115"/>
                  <a:gd name="connsiteX206" fmla="*/ 467574 w 496421"/>
                  <a:gd name="connsiteY206" fmla="*/ 380270 h 564115"/>
                  <a:gd name="connsiteX207" fmla="*/ 482918 w 496421"/>
                  <a:gd name="connsiteY207" fmla="*/ 376434 h 564115"/>
                  <a:gd name="connsiteX208" fmla="*/ 496683 w 496421"/>
                  <a:gd name="connsiteY208" fmla="*/ 369665 h 564115"/>
                  <a:gd name="connsiteX209" fmla="*/ 500744 w 496421"/>
                  <a:gd name="connsiteY209" fmla="*/ 365829 h 564115"/>
                  <a:gd name="connsiteX210" fmla="*/ 505032 w 496421"/>
                  <a:gd name="connsiteY210" fmla="*/ 362444 h 564115"/>
                  <a:gd name="connsiteX211" fmla="*/ 504129 w 496421"/>
                  <a:gd name="connsiteY211" fmla="*/ 351162 h 564115"/>
                  <a:gd name="connsiteX212" fmla="*/ 495329 w 496421"/>
                  <a:gd name="connsiteY212" fmla="*/ 344167 h 564115"/>
                  <a:gd name="connsiteX213" fmla="*/ 483370 w 496421"/>
                  <a:gd name="connsiteY213" fmla="*/ 338526 h 564115"/>
                  <a:gd name="connsiteX214" fmla="*/ 472764 w 496421"/>
                  <a:gd name="connsiteY214" fmla="*/ 332884 h 564115"/>
                  <a:gd name="connsiteX215" fmla="*/ 464415 w 496421"/>
                  <a:gd name="connsiteY215" fmla="*/ 324310 h 564115"/>
                  <a:gd name="connsiteX216" fmla="*/ 459677 w 496421"/>
                  <a:gd name="connsiteY216" fmla="*/ 319120 h 564115"/>
                  <a:gd name="connsiteX217" fmla="*/ 452682 w 496421"/>
                  <a:gd name="connsiteY217" fmla="*/ 308289 h 564115"/>
                  <a:gd name="connsiteX218" fmla="*/ 455389 w 496421"/>
                  <a:gd name="connsiteY218" fmla="*/ 299263 h 564115"/>
                  <a:gd name="connsiteX219" fmla="*/ 466446 w 496421"/>
                  <a:gd name="connsiteY219" fmla="*/ 295878 h 564115"/>
                  <a:gd name="connsiteX220" fmla="*/ 470056 w 496421"/>
                  <a:gd name="connsiteY220" fmla="*/ 295653 h 564115"/>
                  <a:gd name="connsiteX221" fmla="*/ 474344 w 496421"/>
                  <a:gd name="connsiteY221" fmla="*/ 290463 h 564115"/>
                  <a:gd name="connsiteX222" fmla="*/ 475472 w 496421"/>
                  <a:gd name="connsiteY222" fmla="*/ 280986 h 564115"/>
                  <a:gd name="connsiteX223" fmla="*/ 474344 w 496421"/>
                  <a:gd name="connsiteY223" fmla="*/ 269027 h 564115"/>
                  <a:gd name="connsiteX224" fmla="*/ 473892 w 496421"/>
                  <a:gd name="connsiteY224" fmla="*/ 254811 h 564115"/>
                  <a:gd name="connsiteX225" fmla="*/ 470733 w 496421"/>
                  <a:gd name="connsiteY225" fmla="*/ 247590 h 564115"/>
                  <a:gd name="connsiteX226" fmla="*/ 463061 w 496421"/>
                  <a:gd name="connsiteY226" fmla="*/ 244206 h 564115"/>
                  <a:gd name="connsiteX227" fmla="*/ 456743 w 496421"/>
                  <a:gd name="connsiteY227" fmla="*/ 236759 h 564115"/>
                  <a:gd name="connsiteX228" fmla="*/ 455615 w 496421"/>
                  <a:gd name="connsiteY228" fmla="*/ 234954 h 564115"/>
                  <a:gd name="connsiteX229" fmla="*/ 453810 w 496421"/>
                  <a:gd name="connsiteY229" fmla="*/ 236082 h 564115"/>
                  <a:gd name="connsiteX230" fmla="*/ 448169 w 496421"/>
                  <a:gd name="connsiteY230" fmla="*/ 237211 h 564115"/>
                  <a:gd name="connsiteX231" fmla="*/ 443881 w 496421"/>
                  <a:gd name="connsiteY231" fmla="*/ 217579 h 564115"/>
                  <a:gd name="connsiteX232" fmla="*/ 416127 w 496421"/>
                  <a:gd name="connsiteY232" fmla="*/ 181025 h 564115"/>
                  <a:gd name="connsiteX233" fmla="*/ 396044 w 496421"/>
                  <a:gd name="connsiteY233" fmla="*/ 173804 h 564115"/>
                  <a:gd name="connsiteX234" fmla="*/ 385890 w 496421"/>
                  <a:gd name="connsiteY234" fmla="*/ 168163 h 564115"/>
                  <a:gd name="connsiteX235" fmla="*/ 379798 w 496421"/>
                  <a:gd name="connsiteY235" fmla="*/ 158234 h 564115"/>
                  <a:gd name="connsiteX236" fmla="*/ 375511 w 496421"/>
                  <a:gd name="connsiteY236" fmla="*/ 160942 h 564115"/>
                  <a:gd name="connsiteX237" fmla="*/ 343920 w 496421"/>
                  <a:gd name="connsiteY237" fmla="*/ 156429 h 564115"/>
                  <a:gd name="connsiteX238" fmla="*/ 338505 w 496421"/>
                  <a:gd name="connsiteY238" fmla="*/ 143342 h 564115"/>
                  <a:gd name="connsiteX239" fmla="*/ 339633 w 496421"/>
                  <a:gd name="connsiteY239" fmla="*/ 133865 h 564115"/>
                  <a:gd name="connsiteX240" fmla="*/ 335346 w 496421"/>
                  <a:gd name="connsiteY240" fmla="*/ 124613 h 564115"/>
                  <a:gd name="connsiteX241" fmla="*/ 333089 w 496421"/>
                  <a:gd name="connsiteY241" fmla="*/ 103628 h 564115"/>
                  <a:gd name="connsiteX242" fmla="*/ 342115 w 496421"/>
                  <a:gd name="connsiteY242" fmla="*/ 67750 h 564115"/>
                  <a:gd name="connsiteX243" fmla="*/ 309622 w 496421"/>
                  <a:gd name="connsiteY243" fmla="*/ 45186 h 564115"/>
                  <a:gd name="connsiteX244" fmla="*/ 289765 w 496421"/>
                  <a:gd name="connsiteY244" fmla="*/ 49924 h 564115"/>
                  <a:gd name="connsiteX245" fmla="*/ 277129 w 496421"/>
                  <a:gd name="connsiteY245" fmla="*/ 51504 h 564115"/>
                  <a:gd name="connsiteX246" fmla="*/ 260205 w 496421"/>
                  <a:gd name="connsiteY246" fmla="*/ 49924 h 564115"/>
                  <a:gd name="connsiteX247" fmla="*/ 253887 w 496421"/>
                  <a:gd name="connsiteY247" fmla="*/ 50376 h 564115"/>
                  <a:gd name="connsiteX248" fmla="*/ 246441 w 496421"/>
                  <a:gd name="connsiteY248" fmla="*/ 52632 h 564115"/>
                  <a:gd name="connsiteX249" fmla="*/ 235836 w 496421"/>
                  <a:gd name="connsiteY249" fmla="*/ 55565 h 564115"/>
                  <a:gd name="connsiteX250" fmla="*/ 196799 w 496421"/>
                  <a:gd name="connsiteY250" fmla="*/ 39319 h 564115"/>
                  <a:gd name="connsiteX251" fmla="*/ 195219 w 496421"/>
                  <a:gd name="connsiteY251" fmla="*/ 37514 h 564115"/>
                  <a:gd name="connsiteX252" fmla="*/ 175363 w 496421"/>
                  <a:gd name="connsiteY252" fmla="*/ 17657 h 564115"/>
                  <a:gd name="connsiteX253" fmla="*/ 157762 w 496421"/>
                  <a:gd name="connsiteY253" fmla="*/ 15400 h 564115"/>
                  <a:gd name="connsiteX254" fmla="*/ 140839 w 496421"/>
                  <a:gd name="connsiteY254" fmla="*/ 13144 h 564115"/>
                  <a:gd name="connsiteX255" fmla="*/ 133844 w 496421"/>
                  <a:gd name="connsiteY255" fmla="*/ 9534 h 564115"/>
                  <a:gd name="connsiteX256" fmla="*/ 124818 w 496421"/>
                  <a:gd name="connsiteY256" fmla="*/ 4118 h 564115"/>
                  <a:gd name="connsiteX257" fmla="*/ 123464 w 496421"/>
                  <a:gd name="connsiteY257" fmla="*/ 6600 h 564115"/>
                  <a:gd name="connsiteX258" fmla="*/ 124366 w 496421"/>
                  <a:gd name="connsiteY258" fmla="*/ 10210 h 564115"/>
                  <a:gd name="connsiteX259" fmla="*/ 126172 w 496421"/>
                  <a:gd name="connsiteY259" fmla="*/ 19913 h 564115"/>
                  <a:gd name="connsiteX260" fmla="*/ 126849 w 496421"/>
                  <a:gd name="connsiteY260" fmla="*/ 35032 h 564115"/>
                  <a:gd name="connsiteX261" fmla="*/ 123915 w 496421"/>
                  <a:gd name="connsiteY261" fmla="*/ 59853 h 564115"/>
                  <a:gd name="connsiteX262" fmla="*/ 111053 w 496421"/>
                  <a:gd name="connsiteY262" fmla="*/ 76550 h 564115"/>
                  <a:gd name="connsiteX263" fmla="*/ 103156 w 496421"/>
                  <a:gd name="connsiteY263" fmla="*/ 89638 h 564115"/>
                  <a:gd name="connsiteX264" fmla="*/ 95709 w 496421"/>
                  <a:gd name="connsiteY264" fmla="*/ 90766 h 564115"/>
                  <a:gd name="connsiteX265" fmla="*/ 93453 w 496421"/>
                  <a:gd name="connsiteY265" fmla="*/ 88735 h 564115"/>
                  <a:gd name="connsiteX266" fmla="*/ 78109 w 496421"/>
                  <a:gd name="connsiteY266" fmla="*/ 81063 h 564115"/>
                  <a:gd name="connsiteX267" fmla="*/ 71791 w 496421"/>
                  <a:gd name="connsiteY267" fmla="*/ 90541 h 564115"/>
                  <a:gd name="connsiteX268" fmla="*/ 67278 w 496421"/>
                  <a:gd name="connsiteY268" fmla="*/ 102725 h 564115"/>
                  <a:gd name="connsiteX269" fmla="*/ 67504 w 496421"/>
                  <a:gd name="connsiteY269" fmla="*/ 118972 h 564115"/>
                  <a:gd name="connsiteX270" fmla="*/ 69309 w 496421"/>
                  <a:gd name="connsiteY270" fmla="*/ 135670 h 564115"/>
                  <a:gd name="connsiteX271" fmla="*/ 67278 w 496421"/>
                  <a:gd name="connsiteY271" fmla="*/ 145598 h 564115"/>
                  <a:gd name="connsiteX272" fmla="*/ 59606 w 496421"/>
                  <a:gd name="connsiteY272" fmla="*/ 166809 h 564115"/>
                  <a:gd name="connsiteX273" fmla="*/ 45842 w 496421"/>
                  <a:gd name="connsiteY273" fmla="*/ 175835 h 564115"/>
                  <a:gd name="connsiteX274" fmla="*/ 36816 w 496421"/>
                  <a:gd name="connsiteY274" fmla="*/ 184635 h 564115"/>
                  <a:gd name="connsiteX275" fmla="*/ 37041 w 496421"/>
                  <a:gd name="connsiteY275" fmla="*/ 191404 h 564115"/>
                  <a:gd name="connsiteX276" fmla="*/ 29369 w 496421"/>
                  <a:gd name="connsiteY276" fmla="*/ 206974 h 564115"/>
                  <a:gd name="connsiteX277" fmla="*/ 23051 w 496421"/>
                  <a:gd name="connsiteY277" fmla="*/ 211487 h 564115"/>
                  <a:gd name="connsiteX278" fmla="*/ 22600 w 496421"/>
                  <a:gd name="connsiteY278" fmla="*/ 211938 h 564115"/>
                  <a:gd name="connsiteX279" fmla="*/ 28693 w 496421"/>
                  <a:gd name="connsiteY279" fmla="*/ 215323 h 564115"/>
                  <a:gd name="connsiteX280" fmla="*/ 33657 w 496421"/>
                  <a:gd name="connsiteY280" fmla="*/ 219159 h 564115"/>
                  <a:gd name="connsiteX281" fmla="*/ 33205 w 496421"/>
                  <a:gd name="connsiteY281" fmla="*/ 222995 h 564115"/>
                  <a:gd name="connsiteX282" fmla="*/ 34108 w 496421"/>
                  <a:gd name="connsiteY282" fmla="*/ 231118 h 564115"/>
                  <a:gd name="connsiteX283" fmla="*/ 34334 w 496421"/>
                  <a:gd name="connsiteY283" fmla="*/ 241949 h 564115"/>
                  <a:gd name="connsiteX284" fmla="*/ 31400 w 496421"/>
                  <a:gd name="connsiteY284" fmla="*/ 245559 h 564115"/>
                  <a:gd name="connsiteX285" fmla="*/ 28467 w 496421"/>
                  <a:gd name="connsiteY285" fmla="*/ 251426 h 564115"/>
                  <a:gd name="connsiteX286" fmla="*/ 32754 w 496421"/>
                  <a:gd name="connsiteY286" fmla="*/ 253231 h 564115"/>
                  <a:gd name="connsiteX287" fmla="*/ 39072 w 496421"/>
                  <a:gd name="connsiteY287" fmla="*/ 256390 h 564115"/>
                  <a:gd name="connsiteX288" fmla="*/ 34108 w 496421"/>
                  <a:gd name="connsiteY288" fmla="*/ 269478 h 564115"/>
                  <a:gd name="connsiteX289" fmla="*/ 25533 w 496421"/>
                  <a:gd name="connsiteY289" fmla="*/ 283468 h 564115"/>
                  <a:gd name="connsiteX290" fmla="*/ 25533 w 496421"/>
                  <a:gd name="connsiteY290" fmla="*/ 292268 h 564115"/>
                  <a:gd name="connsiteX291" fmla="*/ 19441 w 496421"/>
                  <a:gd name="connsiteY291" fmla="*/ 295653 h 564115"/>
                  <a:gd name="connsiteX292" fmla="*/ 15831 w 496421"/>
                  <a:gd name="connsiteY292" fmla="*/ 303776 h 564115"/>
                  <a:gd name="connsiteX293" fmla="*/ 15831 w 496421"/>
                  <a:gd name="connsiteY293" fmla="*/ 306935 h 564115"/>
                  <a:gd name="connsiteX294" fmla="*/ 18538 w 496421"/>
                  <a:gd name="connsiteY294" fmla="*/ 312802 h 564115"/>
                  <a:gd name="connsiteX295" fmla="*/ 28918 w 496421"/>
                  <a:gd name="connsiteY295" fmla="*/ 315510 h 564115"/>
                  <a:gd name="connsiteX296" fmla="*/ 37041 w 496421"/>
                  <a:gd name="connsiteY296" fmla="*/ 318894 h 564115"/>
                  <a:gd name="connsiteX297" fmla="*/ 38170 w 496421"/>
                  <a:gd name="connsiteY297" fmla="*/ 326341 h 564115"/>
                  <a:gd name="connsiteX298" fmla="*/ 36139 w 496421"/>
                  <a:gd name="connsiteY298" fmla="*/ 327695 h 564115"/>
                  <a:gd name="connsiteX299" fmla="*/ 32303 w 496421"/>
                  <a:gd name="connsiteY299" fmla="*/ 331305 h 564115"/>
                  <a:gd name="connsiteX300" fmla="*/ 21246 w 496421"/>
                  <a:gd name="connsiteY300" fmla="*/ 340556 h 564115"/>
                  <a:gd name="connsiteX301" fmla="*/ 15831 w 496421"/>
                  <a:gd name="connsiteY301" fmla="*/ 348454 h 564115"/>
                  <a:gd name="connsiteX302" fmla="*/ 8159 w 496421"/>
                  <a:gd name="connsiteY302" fmla="*/ 357254 h 564115"/>
                  <a:gd name="connsiteX303" fmla="*/ 6354 w 496421"/>
                  <a:gd name="connsiteY303" fmla="*/ 359059 h 564115"/>
                  <a:gd name="connsiteX304" fmla="*/ 8836 w 496421"/>
                  <a:gd name="connsiteY304" fmla="*/ 368988 h 564115"/>
                  <a:gd name="connsiteX305" fmla="*/ 12897 w 496421"/>
                  <a:gd name="connsiteY305" fmla="*/ 377562 h 564115"/>
                  <a:gd name="connsiteX306" fmla="*/ 14026 w 496421"/>
                  <a:gd name="connsiteY306" fmla="*/ 382527 h 564115"/>
                  <a:gd name="connsiteX307" fmla="*/ 12897 w 496421"/>
                  <a:gd name="connsiteY307" fmla="*/ 404414 h 564115"/>
                  <a:gd name="connsiteX308" fmla="*/ 12672 w 496421"/>
                  <a:gd name="connsiteY308" fmla="*/ 405543 h 564115"/>
                  <a:gd name="connsiteX309" fmla="*/ 14251 w 496421"/>
                  <a:gd name="connsiteY309" fmla="*/ 429461 h 564115"/>
                  <a:gd name="connsiteX310" fmla="*/ 16508 w 496421"/>
                  <a:gd name="connsiteY310" fmla="*/ 444805 h 564115"/>
                  <a:gd name="connsiteX311" fmla="*/ 18990 w 496421"/>
                  <a:gd name="connsiteY311" fmla="*/ 455861 h 564115"/>
                  <a:gd name="connsiteX312" fmla="*/ 14702 w 496421"/>
                  <a:gd name="connsiteY312" fmla="*/ 466693 h 564115"/>
                  <a:gd name="connsiteX313" fmla="*/ 8159 w 496421"/>
                  <a:gd name="connsiteY313" fmla="*/ 474816 h 564115"/>
                  <a:gd name="connsiteX314" fmla="*/ 9513 w 496421"/>
                  <a:gd name="connsiteY314" fmla="*/ 477072 h 564115"/>
                  <a:gd name="connsiteX315" fmla="*/ 15831 w 496421"/>
                  <a:gd name="connsiteY315" fmla="*/ 478877 h 564115"/>
                  <a:gd name="connsiteX316" fmla="*/ 30046 w 496421"/>
                  <a:gd name="connsiteY316" fmla="*/ 483616 h 564115"/>
                  <a:gd name="connsiteX317" fmla="*/ 33882 w 496421"/>
                  <a:gd name="connsiteY317" fmla="*/ 488580 h 564115"/>
                  <a:gd name="connsiteX318" fmla="*/ 25308 w 496421"/>
                  <a:gd name="connsiteY318" fmla="*/ 500540 h 564115"/>
                  <a:gd name="connsiteX319" fmla="*/ 19215 w 496421"/>
                  <a:gd name="connsiteY319" fmla="*/ 506406 h 564115"/>
                  <a:gd name="connsiteX320" fmla="*/ 18087 w 496421"/>
                  <a:gd name="connsiteY320" fmla="*/ 528068 h 564115"/>
                  <a:gd name="connsiteX321" fmla="*/ 18538 w 496421"/>
                  <a:gd name="connsiteY321" fmla="*/ 535063 h 564115"/>
                  <a:gd name="connsiteX322" fmla="*/ 17862 w 496421"/>
                  <a:gd name="connsiteY322" fmla="*/ 535515 h 564115"/>
                  <a:gd name="connsiteX323" fmla="*/ 25985 w 496421"/>
                  <a:gd name="connsiteY323" fmla="*/ 548602 h 564115"/>
                  <a:gd name="connsiteX324" fmla="*/ 51708 w 496421"/>
                  <a:gd name="connsiteY324" fmla="*/ 558305 h 564115"/>
                  <a:gd name="connsiteX325" fmla="*/ 58027 w 496421"/>
                  <a:gd name="connsiteY325" fmla="*/ 557853 h 564115"/>
                  <a:gd name="connsiteX326" fmla="*/ 64570 w 496421"/>
                  <a:gd name="connsiteY326" fmla="*/ 557628 h 5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</a:cxnLst>
                <a:rect l="l" t="t" r="r" b="b"/>
                <a:pathLst>
                  <a:path w="496421" h="564115">
                    <a:moveTo>
                      <a:pt x="90745" y="565751"/>
                    </a:moveTo>
                    <a:cubicBezTo>
                      <a:pt x="88037" y="565751"/>
                      <a:pt x="84653" y="565074"/>
                      <a:pt x="80140" y="563946"/>
                    </a:cubicBezTo>
                    <a:cubicBezTo>
                      <a:pt x="69083" y="560787"/>
                      <a:pt x="63216" y="561464"/>
                      <a:pt x="56673" y="562141"/>
                    </a:cubicBezTo>
                    <a:cubicBezTo>
                      <a:pt x="54642" y="562367"/>
                      <a:pt x="52385" y="562592"/>
                      <a:pt x="50129" y="562592"/>
                    </a:cubicBezTo>
                    <a:cubicBezTo>
                      <a:pt x="39749" y="563044"/>
                      <a:pt x="23503" y="554469"/>
                      <a:pt x="21246" y="551535"/>
                    </a:cubicBezTo>
                    <a:cubicBezTo>
                      <a:pt x="19892" y="549956"/>
                      <a:pt x="17636" y="546571"/>
                      <a:pt x="11543" y="535740"/>
                    </a:cubicBezTo>
                    <a:lnTo>
                      <a:pt x="10190" y="533258"/>
                    </a:lnTo>
                    <a:lnTo>
                      <a:pt x="12897" y="533033"/>
                    </a:lnTo>
                    <a:cubicBezTo>
                      <a:pt x="13123" y="533033"/>
                      <a:pt x="13349" y="533033"/>
                      <a:pt x="13574" y="533033"/>
                    </a:cubicBezTo>
                    <a:cubicBezTo>
                      <a:pt x="13349" y="532356"/>
                      <a:pt x="12897" y="531002"/>
                      <a:pt x="12672" y="529874"/>
                    </a:cubicBezTo>
                    <a:cubicBezTo>
                      <a:pt x="10641" y="523781"/>
                      <a:pt x="6579" y="512499"/>
                      <a:pt x="14702" y="504375"/>
                    </a:cubicBezTo>
                    <a:cubicBezTo>
                      <a:pt x="16959" y="502119"/>
                      <a:pt x="18990" y="500314"/>
                      <a:pt x="20795" y="498509"/>
                    </a:cubicBezTo>
                    <a:cubicBezTo>
                      <a:pt x="24631" y="494898"/>
                      <a:pt x="28467" y="491514"/>
                      <a:pt x="28241" y="489708"/>
                    </a:cubicBezTo>
                    <a:cubicBezTo>
                      <a:pt x="28241" y="488806"/>
                      <a:pt x="27113" y="488129"/>
                      <a:pt x="26210" y="487452"/>
                    </a:cubicBezTo>
                    <a:cubicBezTo>
                      <a:pt x="22149" y="484970"/>
                      <a:pt x="17410" y="484067"/>
                      <a:pt x="13123" y="483165"/>
                    </a:cubicBezTo>
                    <a:cubicBezTo>
                      <a:pt x="9964" y="482488"/>
                      <a:pt x="7256" y="482037"/>
                      <a:pt x="5451" y="480908"/>
                    </a:cubicBezTo>
                    <a:cubicBezTo>
                      <a:pt x="3420" y="479554"/>
                      <a:pt x="2292" y="477749"/>
                      <a:pt x="2292" y="475493"/>
                    </a:cubicBezTo>
                    <a:cubicBezTo>
                      <a:pt x="2292" y="471657"/>
                      <a:pt x="5225" y="467595"/>
                      <a:pt x="10641" y="464210"/>
                    </a:cubicBezTo>
                    <a:cubicBezTo>
                      <a:pt x="14702" y="461503"/>
                      <a:pt x="14702" y="461503"/>
                      <a:pt x="13349" y="457667"/>
                    </a:cubicBezTo>
                    <a:cubicBezTo>
                      <a:pt x="12446" y="455185"/>
                      <a:pt x="11318" y="451574"/>
                      <a:pt x="10641" y="445707"/>
                    </a:cubicBezTo>
                    <a:cubicBezTo>
                      <a:pt x="10190" y="440518"/>
                      <a:pt x="9287" y="435553"/>
                      <a:pt x="8384" y="430589"/>
                    </a:cubicBezTo>
                    <a:cubicBezTo>
                      <a:pt x="6805" y="421338"/>
                      <a:pt x="5225" y="412537"/>
                      <a:pt x="6805" y="405091"/>
                    </a:cubicBezTo>
                    <a:lnTo>
                      <a:pt x="7030" y="403963"/>
                    </a:lnTo>
                    <a:cubicBezTo>
                      <a:pt x="9287" y="394035"/>
                      <a:pt x="9964" y="390650"/>
                      <a:pt x="8159" y="383881"/>
                    </a:cubicBezTo>
                    <a:cubicBezTo>
                      <a:pt x="7707" y="381624"/>
                      <a:pt x="7256" y="380045"/>
                      <a:pt x="7030" y="378691"/>
                    </a:cubicBezTo>
                    <a:cubicBezTo>
                      <a:pt x="6354" y="375306"/>
                      <a:pt x="6128" y="374403"/>
                      <a:pt x="3871" y="372147"/>
                    </a:cubicBezTo>
                    <a:cubicBezTo>
                      <a:pt x="712" y="368988"/>
                      <a:pt x="-867" y="362670"/>
                      <a:pt x="487" y="358382"/>
                    </a:cubicBezTo>
                    <a:cubicBezTo>
                      <a:pt x="1389" y="355900"/>
                      <a:pt x="2969" y="354321"/>
                      <a:pt x="5451" y="353870"/>
                    </a:cubicBezTo>
                    <a:cubicBezTo>
                      <a:pt x="7256" y="353644"/>
                      <a:pt x="8836" y="350259"/>
                      <a:pt x="10415" y="347100"/>
                    </a:cubicBezTo>
                    <a:cubicBezTo>
                      <a:pt x="12220" y="343264"/>
                      <a:pt x="14026" y="339203"/>
                      <a:pt x="17862" y="337397"/>
                    </a:cubicBezTo>
                    <a:cubicBezTo>
                      <a:pt x="21021" y="335818"/>
                      <a:pt x="25082" y="331982"/>
                      <a:pt x="27790" y="328823"/>
                    </a:cubicBezTo>
                    <a:cubicBezTo>
                      <a:pt x="30498" y="326115"/>
                      <a:pt x="31852" y="324761"/>
                      <a:pt x="33205" y="324084"/>
                    </a:cubicBezTo>
                    <a:cubicBezTo>
                      <a:pt x="33205" y="323407"/>
                      <a:pt x="33205" y="322053"/>
                      <a:pt x="32303" y="320700"/>
                    </a:cubicBezTo>
                    <a:cubicBezTo>
                      <a:pt x="31400" y="319346"/>
                      <a:pt x="29821" y="318894"/>
                      <a:pt x="27790" y="319120"/>
                    </a:cubicBezTo>
                    <a:cubicBezTo>
                      <a:pt x="22600" y="319797"/>
                      <a:pt x="17862" y="318443"/>
                      <a:pt x="14477" y="315510"/>
                    </a:cubicBezTo>
                    <a:cubicBezTo>
                      <a:pt x="11995" y="313253"/>
                      <a:pt x="10641" y="310320"/>
                      <a:pt x="10641" y="306935"/>
                    </a:cubicBezTo>
                    <a:cubicBezTo>
                      <a:pt x="10641" y="305807"/>
                      <a:pt x="10641" y="304904"/>
                      <a:pt x="10641" y="303776"/>
                    </a:cubicBezTo>
                    <a:cubicBezTo>
                      <a:pt x="10415" y="298361"/>
                      <a:pt x="10190" y="292945"/>
                      <a:pt x="17410" y="291817"/>
                    </a:cubicBezTo>
                    <a:cubicBezTo>
                      <a:pt x="19215" y="291591"/>
                      <a:pt x="20344" y="290914"/>
                      <a:pt x="21021" y="290012"/>
                    </a:cubicBezTo>
                    <a:cubicBezTo>
                      <a:pt x="21698" y="288884"/>
                      <a:pt x="21698" y="287078"/>
                      <a:pt x="20795" y="284370"/>
                    </a:cubicBezTo>
                    <a:cubicBezTo>
                      <a:pt x="18764" y="278052"/>
                      <a:pt x="30046" y="266544"/>
                      <a:pt x="30272" y="266544"/>
                    </a:cubicBezTo>
                    <a:cubicBezTo>
                      <a:pt x="33657" y="263160"/>
                      <a:pt x="35688" y="259324"/>
                      <a:pt x="34785" y="258196"/>
                    </a:cubicBezTo>
                    <a:cubicBezTo>
                      <a:pt x="34334" y="257519"/>
                      <a:pt x="32303" y="257067"/>
                      <a:pt x="30723" y="256616"/>
                    </a:cubicBezTo>
                    <a:cubicBezTo>
                      <a:pt x="28016" y="255939"/>
                      <a:pt x="24857" y="255262"/>
                      <a:pt x="23728" y="252780"/>
                    </a:cubicBezTo>
                    <a:cubicBezTo>
                      <a:pt x="22149" y="249395"/>
                      <a:pt x="24631" y="246462"/>
                      <a:pt x="27339" y="243077"/>
                    </a:cubicBezTo>
                    <a:cubicBezTo>
                      <a:pt x="28241" y="241949"/>
                      <a:pt x="29144" y="240821"/>
                      <a:pt x="30046" y="239693"/>
                    </a:cubicBezTo>
                    <a:cubicBezTo>
                      <a:pt x="31175" y="238113"/>
                      <a:pt x="30498" y="235857"/>
                      <a:pt x="29369" y="232472"/>
                    </a:cubicBezTo>
                    <a:cubicBezTo>
                      <a:pt x="28016" y="228862"/>
                      <a:pt x="26662" y="225026"/>
                      <a:pt x="28693" y="221190"/>
                    </a:cubicBezTo>
                    <a:cubicBezTo>
                      <a:pt x="28918" y="220513"/>
                      <a:pt x="28918" y="220287"/>
                      <a:pt x="28918" y="220287"/>
                    </a:cubicBezTo>
                    <a:cubicBezTo>
                      <a:pt x="28693" y="219836"/>
                      <a:pt x="27113" y="219159"/>
                      <a:pt x="25985" y="218708"/>
                    </a:cubicBezTo>
                    <a:cubicBezTo>
                      <a:pt x="23503" y="217579"/>
                      <a:pt x="20118" y="216225"/>
                      <a:pt x="17185" y="213066"/>
                    </a:cubicBezTo>
                    <a:lnTo>
                      <a:pt x="15605" y="211261"/>
                    </a:lnTo>
                    <a:lnTo>
                      <a:pt x="17636" y="210133"/>
                    </a:lnTo>
                    <a:cubicBezTo>
                      <a:pt x="18087" y="209907"/>
                      <a:pt x="18538" y="209456"/>
                      <a:pt x="19215" y="208779"/>
                    </a:cubicBezTo>
                    <a:cubicBezTo>
                      <a:pt x="20795" y="207425"/>
                      <a:pt x="22600" y="205394"/>
                      <a:pt x="26436" y="203589"/>
                    </a:cubicBezTo>
                    <a:cubicBezTo>
                      <a:pt x="32529" y="200656"/>
                      <a:pt x="32303" y="198399"/>
                      <a:pt x="31852" y="191630"/>
                    </a:cubicBezTo>
                    <a:cubicBezTo>
                      <a:pt x="31626" y="189599"/>
                      <a:pt x="31626" y="187343"/>
                      <a:pt x="31626" y="184409"/>
                    </a:cubicBezTo>
                    <a:cubicBezTo>
                      <a:pt x="31626" y="176512"/>
                      <a:pt x="37493" y="174255"/>
                      <a:pt x="43134" y="172224"/>
                    </a:cubicBezTo>
                    <a:cubicBezTo>
                      <a:pt x="47647" y="170645"/>
                      <a:pt x="52160" y="168840"/>
                      <a:pt x="55093" y="164552"/>
                    </a:cubicBezTo>
                    <a:cubicBezTo>
                      <a:pt x="60283" y="157332"/>
                      <a:pt x="60960" y="152142"/>
                      <a:pt x="62314" y="144696"/>
                    </a:cubicBezTo>
                    <a:cubicBezTo>
                      <a:pt x="62765" y="141762"/>
                      <a:pt x="63442" y="138377"/>
                      <a:pt x="64345" y="134316"/>
                    </a:cubicBezTo>
                    <a:cubicBezTo>
                      <a:pt x="65699" y="128900"/>
                      <a:pt x="64119" y="124387"/>
                      <a:pt x="62765" y="119649"/>
                    </a:cubicBezTo>
                    <a:cubicBezTo>
                      <a:pt x="60960" y="114008"/>
                      <a:pt x="58929" y="108141"/>
                      <a:pt x="62765" y="100469"/>
                    </a:cubicBezTo>
                    <a:cubicBezTo>
                      <a:pt x="65022" y="95956"/>
                      <a:pt x="66150" y="91894"/>
                      <a:pt x="67052" y="88961"/>
                    </a:cubicBezTo>
                    <a:cubicBezTo>
                      <a:pt x="68632" y="83545"/>
                      <a:pt x="69760" y="79484"/>
                      <a:pt x="75627" y="77002"/>
                    </a:cubicBezTo>
                    <a:cubicBezTo>
                      <a:pt x="83299" y="74068"/>
                      <a:pt x="90971" y="81515"/>
                      <a:pt x="95033" y="85576"/>
                    </a:cubicBezTo>
                    <a:cubicBezTo>
                      <a:pt x="95709" y="86253"/>
                      <a:pt x="96386" y="86930"/>
                      <a:pt x="96838" y="87382"/>
                    </a:cubicBezTo>
                    <a:cubicBezTo>
                      <a:pt x="97289" y="87382"/>
                      <a:pt x="100222" y="86253"/>
                      <a:pt x="102930" y="83771"/>
                    </a:cubicBezTo>
                    <a:cubicBezTo>
                      <a:pt x="105412" y="81289"/>
                      <a:pt x="106766" y="78807"/>
                      <a:pt x="106315" y="76776"/>
                    </a:cubicBezTo>
                    <a:cubicBezTo>
                      <a:pt x="104735" y="68201"/>
                      <a:pt x="117597" y="57596"/>
                      <a:pt x="121207" y="56017"/>
                    </a:cubicBezTo>
                    <a:cubicBezTo>
                      <a:pt x="124141" y="54663"/>
                      <a:pt x="125495" y="47668"/>
                      <a:pt x="122110" y="35709"/>
                    </a:cubicBezTo>
                    <a:cubicBezTo>
                      <a:pt x="120079" y="28488"/>
                      <a:pt x="120756" y="23072"/>
                      <a:pt x="121433" y="19011"/>
                    </a:cubicBezTo>
                    <a:cubicBezTo>
                      <a:pt x="121884" y="15175"/>
                      <a:pt x="122110" y="13821"/>
                      <a:pt x="120756" y="12693"/>
                    </a:cubicBezTo>
                    <a:cubicBezTo>
                      <a:pt x="118725" y="10888"/>
                      <a:pt x="117823" y="8180"/>
                      <a:pt x="118725" y="5246"/>
                    </a:cubicBezTo>
                    <a:cubicBezTo>
                      <a:pt x="119402" y="2990"/>
                      <a:pt x="120982" y="508"/>
                      <a:pt x="123238" y="56"/>
                    </a:cubicBezTo>
                    <a:cubicBezTo>
                      <a:pt x="124592" y="-169"/>
                      <a:pt x="125946" y="282"/>
                      <a:pt x="126849" y="1410"/>
                    </a:cubicBezTo>
                    <a:cubicBezTo>
                      <a:pt x="127977" y="2764"/>
                      <a:pt x="131587" y="4344"/>
                      <a:pt x="134521" y="5923"/>
                    </a:cubicBezTo>
                    <a:cubicBezTo>
                      <a:pt x="137228" y="7051"/>
                      <a:pt x="139936" y="8405"/>
                      <a:pt x="141967" y="9985"/>
                    </a:cubicBezTo>
                    <a:cubicBezTo>
                      <a:pt x="143546" y="11113"/>
                      <a:pt x="150767" y="11339"/>
                      <a:pt x="156634" y="11564"/>
                    </a:cubicBezTo>
                    <a:cubicBezTo>
                      <a:pt x="164983" y="11790"/>
                      <a:pt x="172880" y="12016"/>
                      <a:pt x="176265" y="14272"/>
                    </a:cubicBezTo>
                    <a:cubicBezTo>
                      <a:pt x="181681" y="17882"/>
                      <a:pt x="190481" y="27585"/>
                      <a:pt x="197025" y="34806"/>
                    </a:cubicBezTo>
                    <a:lnTo>
                      <a:pt x="198604" y="36611"/>
                    </a:lnTo>
                    <a:cubicBezTo>
                      <a:pt x="204471" y="43155"/>
                      <a:pt x="226359" y="51729"/>
                      <a:pt x="234707" y="51729"/>
                    </a:cubicBezTo>
                    <a:cubicBezTo>
                      <a:pt x="238769" y="51729"/>
                      <a:pt x="241251" y="50601"/>
                      <a:pt x="243733" y="49247"/>
                    </a:cubicBezTo>
                    <a:cubicBezTo>
                      <a:pt x="246215" y="47893"/>
                      <a:pt x="248923" y="46765"/>
                      <a:pt x="252985" y="46765"/>
                    </a:cubicBezTo>
                    <a:cubicBezTo>
                      <a:pt x="255016" y="46765"/>
                      <a:pt x="256821" y="46539"/>
                      <a:pt x="258852" y="46314"/>
                    </a:cubicBezTo>
                    <a:cubicBezTo>
                      <a:pt x="264042" y="45863"/>
                      <a:pt x="269457" y="45186"/>
                      <a:pt x="277355" y="48119"/>
                    </a:cubicBezTo>
                    <a:cubicBezTo>
                      <a:pt x="281642" y="49699"/>
                      <a:pt x="283447" y="48570"/>
                      <a:pt x="287057" y="46765"/>
                    </a:cubicBezTo>
                    <a:cubicBezTo>
                      <a:pt x="291119" y="44734"/>
                      <a:pt x="296760" y="41801"/>
                      <a:pt x="308719" y="41801"/>
                    </a:cubicBezTo>
                    <a:cubicBezTo>
                      <a:pt x="331058" y="41801"/>
                      <a:pt x="345048" y="60304"/>
                      <a:pt x="345048" y="68201"/>
                    </a:cubicBezTo>
                    <a:cubicBezTo>
                      <a:pt x="345048" y="74294"/>
                      <a:pt x="342566" y="95505"/>
                      <a:pt x="335346" y="106336"/>
                    </a:cubicBezTo>
                    <a:cubicBezTo>
                      <a:pt x="331510" y="111977"/>
                      <a:pt x="334443" y="117392"/>
                      <a:pt x="337828" y="123485"/>
                    </a:cubicBezTo>
                    <a:cubicBezTo>
                      <a:pt x="339633" y="126644"/>
                      <a:pt x="341664" y="130029"/>
                      <a:pt x="342566" y="133639"/>
                    </a:cubicBezTo>
                    <a:cubicBezTo>
                      <a:pt x="343694" y="138152"/>
                      <a:pt x="342566" y="142214"/>
                      <a:pt x="341438" y="145147"/>
                    </a:cubicBezTo>
                    <a:cubicBezTo>
                      <a:pt x="340084" y="149660"/>
                      <a:pt x="339407" y="151465"/>
                      <a:pt x="344597" y="153496"/>
                    </a:cubicBezTo>
                    <a:cubicBezTo>
                      <a:pt x="354751" y="157557"/>
                      <a:pt x="366034" y="159137"/>
                      <a:pt x="374382" y="157783"/>
                    </a:cubicBezTo>
                    <a:cubicBezTo>
                      <a:pt x="375511" y="157557"/>
                      <a:pt x="376188" y="157332"/>
                      <a:pt x="376188" y="155075"/>
                    </a:cubicBezTo>
                    <a:lnTo>
                      <a:pt x="376188" y="151239"/>
                    </a:lnTo>
                    <a:lnTo>
                      <a:pt x="379121" y="153721"/>
                    </a:lnTo>
                    <a:cubicBezTo>
                      <a:pt x="382957" y="156880"/>
                      <a:pt x="385439" y="161168"/>
                      <a:pt x="388372" y="167035"/>
                    </a:cubicBezTo>
                    <a:cubicBezTo>
                      <a:pt x="390178" y="170194"/>
                      <a:pt x="391757" y="170419"/>
                      <a:pt x="395367" y="170645"/>
                    </a:cubicBezTo>
                    <a:cubicBezTo>
                      <a:pt x="399880" y="170871"/>
                      <a:pt x="406875" y="171547"/>
                      <a:pt x="417255" y="178543"/>
                    </a:cubicBezTo>
                    <a:cubicBezTo>
                      <a:pt x="436661" y="191630"/>
                      <a:pt x="446815" y="205169"/>
                      <a:pt x="446815" y="218256"/>
                    </a:cubicBezTo>
                    <a:cubicBezTo>
                      <a:pt x="446815" y="231344"/>
                      <a:pt x="448169" y="234052"/>
                      <a:pt x="449071" y="234503"/>
                    </a:cubicBezTo>
                    <a:cubicBezTo>
                      <a:pt x="449297" y="234503"/>
                      <a:pt x="449748" y="234503"/>
                      <a:pt x="450876" y="233600"/>
                    </a:cubicBezTo>
                    <a:cubicBezTo>
                      <a:pt x="452456" y="232472"/>
                      <a:pt x="454036" y="231344"/>
                      <a:pt x="455841" y="231569"/>
                    </a:cubicBezTo>
                    <a:cubicBezTo>
                      <a:pt x="457646" y="231795"/>
                      <a:pt x="458548" y="233375"/>
                      <a:pt x="459451" y="234954"/>
                    </a:cubicBezTo>
                    <a:cubicBezTo>
                      <a:pt x="460579" y="236759"/>
                      <a:pt x="461933" y="239016"/>
                      <a:pt x="464867" y="241498"/>
                    </a:cubicBezTo>
                    <a:cubicBezTo>
                      <a:pt x="467574" y="243529"/>
                      <a:pt x="469379" y="243754"/>
                      <a:pt x="470959" y="243980"/>
                    </a:cubicBezTo>
                    <a:cubicBezTo>
                      <a:pt x="475021" y="244657"/>
                      <a:pt x="476375" y="246236"/>
                      <a:pt x="477277" y="254360"/>
                    </a:cubicBezTo>
                    <a:cubicBezTo>
                      <a:pt x="477954" y="260452"/>
                      <a:pt x="477728" y="265416"/>
                      <a:pt x="477728" y="269252"/>
                    </a:cubicBezTo>
                    <a:cubicBezTo>
                      <a:pt x="477503" y="273765"/>
                      <a:pt x="477503" y="276924"/>
                      <a:pt x="478631" y="279858"/>
                    </a:cubicBezTo>
                    <a:cubicBezTo>
                      <a:pt x="479985" y="283242"/>
                      <a:pt x="479534" y="287981"/>
                      <a:pt x="477503" y="292268"/>
                    </a:cubicBezTo>
                    <a:cubicBezTo>
                      <a:pt x="475698" y="295878"/>
                      <a:pt x="473441" y="298586"/>
                      <a:pt x="470959" y="299263"/>
                    </a:cubicBezTo>
                    <a:cubicBezTo>
                      <a:pt x="469605" y="299714"/>
                      <a:pt x="468026" y="299714"/>
                      <a:pt x="466220" y="299714"/>
                    </a:cubicBezTo>
                    <a:cubicBezTo>
                      <a:pt x="463061" y="299714"/>
                      <a:pt x="459677" y="299940"/>
                      <a:pt x="457872" y="301971"/>
                    </a:cubicBezTo>
                    <a:cubicBezTo>
                      <a:pt x="456743" y="303325"/>
                      <a:pt x="456066" y="305356"/>
                      <a:pt x="456292" y="308289"/>
                    </a:cubicBezTo>
                    <a:cubicBezTo>
                      <a:pt x="456518" y="314156"/>
                      <a:pt x="458323" y="314607"/>
                      <a:pt x="460805" y="315510"/>
                    </a:cubicBezTo>
                    <a:cubicBezTo>
                      <a:pt x="463287" y="316412"/>
                      <a:pt x="466672" y="317540"/>
                      <a:pt x="468026" y="323407"/>
                    </a:cubicBezTo>
                    <a:cubicBezTo>
                      <a:pt x="469154" y="327920"/>
                      <a:pt x="470282" y="328372"/>
                      <a:pt x="473667" y="329274"/>
                    </a:cubicBezTo>
                    <a:cubicBezTo>
                      <a:pt x="476600" y="329951"/>
                      <a:pt x="480662" y="331079"/>
                      <a:pt x="485852" y="335592"/>
                    </a:cubicBezTo>
                    <a:cubicBezTo>
                      <a:pt x="490364" y="339428"/>
                      <a:pt x="493072" y="339879"/>
                      <a:pt x="496006" y="340331"/>
                    </a:cubicBezTo>
                    <a:cubicBezTo>
                      <a:pt x="499616" y="341008"/>
                      <a:pt x="503226" y="341459"/>
                      <a:pt x="507514" y="349357"/>
                    </a:cubicBezTo>
                    <a:cubicBezTo>
                      <a:pt x="513155" y="359285"/>
                      <a:pt x="513155" y="361541"/>
                      <a:pt x="507288" y="365603"/>
                    </a:cubicBezTo>
                    <a:cubicBezTo>
                      <a:pt x="506160" y="366506"/>
                      <a:pt x="504806" y="367408"/>
                      <a:pt x="503226" y="368762"/>
                    </a:cubicBezTo>
                    <a:cubicBezTo>
                      <a:pt x="501421" y="370342"/>
                      <a:pt x="500293" y="371470"/>
                      <a:pt x="499390" y="372373"/>
                    </a:cubicBezTo>
                    <a:cubicBezTo>
                      <a:pt x="496457" y="375306"/>
                      <a:pt x="496006" y="375757"/>
                      <a:pt x="484272" y="380045"/>
                    </a:cubicBezTo>
                    <a:cubicBezTo>
                      <a:pt x="477954" y="382301"/>
                      <a:pt x="472539" y="383204"/>
                      <a:pt x="468251" y="384106"/>
                    </a:cubicBezTo>
                    <a:cubicBezTo>
                      <a:pt x="461482" y="385234"/>
                      <a:pt x="458097" y="386137"/>
                      <a:pt x="456066" y="389522"/>
                    </a:cubicBezTo>
                    <a:lnTo>
                      <a:pt x="455164" y="391327"/>
                    </a:lnTo>
                    <a:cubicBezTo>
                      <a:pt x="451328" y="398322"/>
                      <a:pt x="449523" y="400353"/>
                      <a:pt x="436210" y="400353"/>
                    </a:cubicBezTo>
                    <a:cubicBezTo>
                      <a:pt x="425378" y="400353"/>
                      <a:pt x="425153" y="400353"/>
                      <a:pt x="423122" y="398773"/>
                    </a:cubicBezTo>
                    <a:cubicBezTo>
                      <a:pt x="422445" y="398322"/>
                      <a:pt x="421768" y="397645"/>
                      <a:pt x="420414" y="396968"/>
                    </a:cubicBezTo>
                    <a:cubicBezTo>
                      <a:pt x="415224" y="394260"/>
                      <a:pt x="404845" y="395840"/>
                      <a:pt x="403942" y="397419"/>
                    </a:cubicBezTo>
                    <a:cubicBezTo>
                      <a:pt x="403942" y="397645"/>
                      <a:pt x="404845" y="398773"/>
                      <a:pt x="405296" y="399450"/>
                    </a:cubicBezTo>
                    <a:cubicBezTo>
                      <a:pt x="406199" y="400804"/>
                      <a:pt x="407327" y="402383"/>
                      <a:pt x="406650" y="404189"/>
                    </a:cubicBezTo>
                    <a:cubicBezTo>
                      <a:pt x="405747" y="405768"/>
                      <a:pt x="403491" y="406219"/>
                      <a:pt x="401234" y="406219"/>
                    </a:cubicBezTo>
                    <a:cubicBezTo>
                      <a:pt x="393111" y="406219"/>
                      <a:pt x="392208" y="406671"/>
                      <a:pt x="392208" y="411861"/>
                    </a:cubicBezTo>
                    <a:cubicBezTo>
                      <a:pt x="392208" y="413666"/>
                      <a:pt x="394239" y="414343"/>
                      <a:pt x="399204" y="415922"/>
                    </a:cubicBezTo>
                    <a:cubicBezTo>
                      <a:pt x="404619" y="417727"/>
                      <a:pt x="411614" y="419758"/>
                      <a:pt x="415901" y="426302"/>
                    </a:cubicBezTo>
                    <a:cubicBezTo>
                      <a:pt x="419512" y="431717"/>
                      <a:pt x="419963" y="437359"/>
                      <a:pt x="416578" y="440743"/>
                    </a:cubicBezTo>
                    <a:cubicBezTo>
                      <a:pt x="413419" y="444354"/>
                      <a:pt x="407552" y="445031"/>
                      <a:pt x="402588" y="442548"/>
                    </a:cubicBezTo>
                    <a:cubicBezTo>
                      <a:pt x="400332" y="441420"/>
                      <a:pt x="397624" y="440292"/>
                      <a:pt x="395142" y="439164"/>
                    </a:cubicBezTo>
                    <a:cubicBezTo>
                      <a:pt x="388598" y="436456"/>
                      <a:pt x="381829" y="433523"/>
                      <a:pt x="378444" y="428784"/>
                    </a:cubicBezTo>
                    <a:cubicBezTo>
                      <a:pt x="377316" y="427430"/>
                      <a:pt x="376413" y="425399"/>
                      <a:pt x="375285" y="422917"/>
                    </a:cubicBezTo>
                    <a:cubicBezTo>
                      <a:pt x="372577" y="417727"/>
                      <a:pt x="369193" y="410732"/>
                      <a:pt x="364905" y="409378"/>
                    </a:cubicBezTo>
                    <a:cubicBezTo>
                      <a:pt x="363551" y="408927"/>
                      <a:pt x="361972" y="409153"/>
                      <a:pt x="360392" y="410055"/>
                    </a:cubicBezTo>
                    <a:cubicBezTo>
                      <a:pt x="349110" y="415922"/>
                      <a:pt x="345048" y="419081"/>
                      <a:pt x="347756" y="426979"/>
                    </a:cubicBezTo>
                    <a:cubicBezTo>
                      <a:pt x="351367" y="437584"/>
                      <a:pt x="346628" y="452251"/>
                      <a:pt x="340535" y="454733"/>
                    </a:cubicBezTo>
                    <a:cubicBezTo>
                      <a:pt x="338053" y="455636"/>
                      <a:pt x="335797" y="454959"/>
                      <a:pt x="332864" y="454056"/>
                    </a:cubicBezTo>
                    <a:cubicBezTo>
                      <a:pt x="328802" y="452702"/>
                      <a:pt x="322709" y="450897"/>
                      <a:pt x="311427" y="452026"/>
                    </a:cubicBezTo>
                    <a:cubicBezTo>
                      <a:pt x="300596" y="453154"/>
                      <a:pt x="294052" y="456087"/>
                      <a:pt x="287283" y="459246"/>
                    </a:cubicBezTo>
                    <a:cubicBezTo>
                      <a:pt x="282319" y="461503"/>
                      <a:pt x="277129" y="463985"/>
                      <a:pt x="270360" y="465564"/>
                    </a:cubicBezTo>
                    <a:cubicBezTo>
                      <a:pt x="267652" y="466241"/>
                      <a:pt x="265170" y="466693"/>
                      <a:pt x="262913" y="467144"/>
                    </a:cubicBezTo>
                    <a:cubicBezTo>
                      <a:pt x="252308" y="469175"/>
                      <a:pt x="249149" y="469852"/>
                      <a:pt x="246667" y="479780"/>
                    </a:cubicBezTo>
                    <a:lnTo>
                      <a:pt x="244636" y="487903"/>
                    </a:lnTo>
                    <a:cubicBezTo>
                      <a:pt x="242154" y="497832"/>
                      <a:pt x="239897" y="506406"/>
                      <a:pt x="239672" y="508888"/>
                    </a:cubicBezTo>
                    <a:cubicBezTo>
                      <a:pt x="238995" y="513401"/>
                      <a:pt x="232451" y="514530"/>
                      <a:pt x="220492" y="515207"/>
                    </a:cubicBezTo>
                    <a:cubicBezTo>
                      <a:pt x="211240" y="515658"/>
                      <a:pt x="198153" y="523330"/>
                      <a:pt x="195445" y="526263"/>
                    </a:cubicBezTo>
                    <a:cubicBezTo>
                      <a:pt x="191609" y="530776"/>
                      <a:pt x="181906" y="539125"/>
                      <a:pt x="172429" y="539576"/>
                    </a:cubicBezTo>
                    <a:cubicBezTo>
                      <a:pt x="168819" y="539802"/>
                      <a:pt x="165434" y="538899"/>
                      <a:pt x="161598" y="537997"/>
                    </a:cubicBezTo>
                    <a:cubicBezTo>
                      <a:pt x="155280" y="536417"/>
                      <a:pt x="147382" y="534386"/>
                      <a:pt x="134069" y="536417"/>
                    </a:cubicBezTo>
                    <a:cubicBezTo>
                      <a:pt x="119402" y="538674"/>
                      <a:pt x="115115" y="544766"/>
                      <a:pt x="111053" y="550859"/>
                    </a:cubicBezTo>
                    <a:cubicBezTo>
                      <a:pt x="109248" y="553341"/>
                      <a:pt x="107669" y="555597"/>
                      <a:pt x="105412" y="557628"/>
                    </a:cubicBezTo>
                    <a:cubicBezTo>
                      <a:pt x="104510" y="558531"/>
                      <a:pt x="103607" y="559433"/>
                      <a:pt x="102704" y="560110"/>
                    </a:cubicBezTo>
                    <a:cubicBezTo>
                      <a:pt x="98643" y="563495"/>
                      <a:pt x="95935" y="565751"/>
                      <a:pt x="90745" y="565751"/>
                    </a:cubicBezTo>
                    <a:close/>
                    <a:moveTo>
                      <a:pt x="64570" y="557628"/>
                    </a:moveTo>
                    <a:cubicBezTo>
                      <a:pt x="68858" y="557628"/>
                      <a:pt x="74047" y="558305"/>
                      <a:pt x="81042" y="560110"/>
                    </a:cubicBezTo>
                    <a:cubicBezTo>
                      <a:pt x="93002" y="563495"/>
                      <a:pt x="95033" y="561690"/>
                      <a:pt x="99997" y="556951"/>
                    </a:cubicBezTo>
                    <a:cubicBezTo>
                      <a:pt x="100899" y="556049"/>
                      <a:pt x="101802" y="555371"/>
                      <a:pt x="102704" y="554469"/>
                    </a:cubicBezTo>
                    <a:cubicBezTo>
                      <a:pt x="104735" y="552664"/>
                      <a:pt x="106089" y="550633"/>
                      <a:pt x="107669" y="548376"/>
                    </a:cubicBezTo>
                    <a:cubicBezTo>
                      <a:pt x="111956" y="542058"/>
                      <a:pt x="116920" y="534838"/>
                      <a:pt x="133167" y="532356"/>
                    </a:cubicBezTo>
                    <a:cubicBezTo>
                      <a:pt x="147382" y="530099"/>
                      <a:pt x="155506" y="532356"/>
                      <a:pt x="162275" y="534161"/>
                    </a:cubicBezTo>
                    <a:cubicBezTo>
                      <a:pt x="165885" y="535063"/>
                      <a:pt x="168819" y="535740"/>
                      <a:pt x="171978" y="535740"/>
                    </a:cubicBezTo>
                    <a:cubicBezTo>
                      <a:pt x="180552" y="535289"/>
                      <a:pt x="189578" y="526940"/>
                      <a:pt x="192286" y="523781"/>
                    </a:cubicBezTo>
                    <a:cubicBezTo>
                      <a:pt x="195671" y="519945"/>
                      <a:pt x="209886" y="511822"/>
                      <a:pt x="220040" y="511371"/>
                    </a:cubicBezTo>
                    <a:cubicBezTo>
                      <a:pt x="233354" y="510694"/>
                      <a:pt x="235610" y="509114"/>
                      <a:pt x="235610" y="508211"/>
                    </a:cubicBezTo>
                    <a:cubicBezTo>
                      <a:pt x="236061" y="505504"/>
                      <a:pt x="238092" y="497380"/>
                      <a:pt x="240574" y="487001"/>
                    </a:cubicBezTo>
                    <a:lnTo>
                      <a:pt x="242605" y="478877"/>
                    </a:lnTo>
                    <a:cubicBezTo>
                      <a:pt x="245538" y="466693"/>
                      <a:pt x="250954" y="465790"/>
                      <a:pt x="261785" y="463534"/>
                    </a:cubicBezTo>
                    <a:cubicBezTo>
                      <a:pt x="263816" y="463082"/>
                      <a:pt x="266298" y="462631"/>
                      <a:pt x="269006" y="461954"/>
                    </a:cubicBezTo>
                    <a:cubicBezTo>
                      <a:pt x="275549" y="460375"/>
                      <a:pt x="280514" y="458118"/>
                      <a:pt x="285252" y="455861"/>
                    </a:cubicBezTo>
                    <a:cubicBezTo>
                      <a:pt x="292022" y="452702"/>
                      <a:pt x="299242" y="449318"/>
                      <a:pt x="310750" y="448190"/>
                    </a:cubicBezTo>
                    <a:cubicBezTo>
                      <a:pt x="322709" y="447061"/>
                      <a:pt x="329253" y="449092"/>
                      <a:pt x="333766" y="450446"/>
                    </a:cubicBezTo>
                    <a:cubicBezTo>
                      <a:pt x="336474" y="451349"/>
                      <a:pt x="337828" y="451574"/>
                      <a:pt x="338956" y="451123"/>
                    </a:cubicBezTo>
                    <a:cubicBezTo>
                      <a:pt x="342566" y="449769"/>
                      <a:pt x="347079" y="437359"/>
                      <a:pt x="343920" y="428107"/>
                    </a:cubicBezTo>
                    <a:cubicBezTo>
                      <a:pt x="339859" y="416148"/>
                      <a:pt x="348433" y="411861"/>
                      <a:pt x="358362" y="406671"/>
                    </a:cubicBezTo>
                    <a:cubicBezTo>
                      <a:pt x="360844" y="405317"/>
                      <a:pt x="363326" y="405091"/>
                      <a:pt x="365808" y="405768"/>
                    </a:cubicBezTo>
                    <a:cubicBezTo>
                      <a:pt x="371675" y="407573"/>
                      <a:pt x="375511" y="415020"/>
                      <a:pt x="378444" y="421112"/>
                    </a:cubicBezTo>
                    <a:cubicBezTo>
                      <a:pt x="379572" y="423143"/>
                      <a:pt x="380475" y="425174"/>
                      <a:pt x="381378" y="426528"/>
                    </a:cubicBezTo>
                    <a:cubicBezTo>
                      <a:pt x="384085" y="430364"/>
                      <a:pt x="390403" y="433071"/>
                      <a:pt x="396496" y="435553"/>
                    </a:cubicBezTo>
                    <a:cubicBezTo>
                      <a:pt x="398978" y="436682"/>
                      <a:pt x="401686" y="437810"/>
                      <a:pt x="404168" y="438938"/>
                    </a:cubicBezTo>
                    <a:cubicBezTo>
                      <a:pt x="407552" y="440743"/>
                      <a:pt x="411614" y="440292"/>
                      <a:pt x="413645" y="438036"/>
                    </a:cubicBezTo>
                    <a:cubicBezTo>
                      <a:pt x="415676" y="435779"/>
                      <a:pt x="415224" y="432169"/>
                      <a:pt x="412517" y="428107"/>
                    </a:cubicBezTo>
                    <a:cubicBezTo>
                      <a:pt x="408906" y="422692"/>
                      <a:pt x="403040" y="420886"/>
                      <a:pt x="397850" y="419307"/>
                    </a:cubicBezTo>
                    <a:cubicBezTo>
                      <a:pt x="392885" y="417727"/>
                      <a:pt x="388147" y="416373"/>
                      <a:pt x="388147" y="411635"/>
                    </a:cubicBezTo>
                    <a:cubicBezTo>
                      <a:pt x="388147" y="402609"/>
                      <a:pt x="392885" y="402158"/>
                      <a:pt x="400783" y="402158"/>
                    </a:cubicBezTo>
                    <a:cubicBezTo>
                      <a:pt x="401460" y="402158"/>
                      <a:pt x="401911" y="402158"/>
                      <a:pt x="402137" y="402158"/>
                    </a:cubicBezTo>
                    <a:cubicBezTo>
                      <a:pt x="401911" y="401932"/>
                      <a:pt x="401911" y="401707"/>
                      <a:pt x="401686" y="401707"/>
                    </a:cubicBezTo>
                    <a:cubicBezTo>
                      <a:pt x="400783" y="400353"/>
                      <a:pt x="399655" y="398999"/>
                      <a:pt x="399655" y="397194"/>
                    </a:cubicBezTo>
                    <a:cubicBezTo>
                      <a:pt x="399655" y="396291"/>
                      <a:pt x="400106" y="394937"/>
                      <a:pt x="401911" y="393809"/>
                    </a:cubicBezTo>
                    <a:cubicBezTo>
                      <a:pt x="406199" y="391327"/>
                      <a:pt x="416353" y="390650"/>
                      <a:pt x="421768" y="393583"/>
                    </a:cubicBezTo>
                    <a:cubicBezTo>
                      <a:pt x="423573" y="394486"/>
                      <a:pt x="424476" y="395163"/>
                      <a:pt x="425153" y="395840"/>
                    </a:cubicBezTo>
                    <a:cubicBezTo>
                      <a:pt x="426281" y="396742"/>
                      <a:pt x="426281" y="396742"/>
                      <a:pt x="435984" y="396742"/>
                    </a:cubicBezTo>
                    <a:cubicBezTo>
                      <a:pt x="447717" y="396742"/>
                      <a:pt x="448620" y="395388"/>
                      <a:pt x="451779" y="389522"/>
                    </a:cubicBezTo>
                    <a:lnTo>
                      <a:pt x="452682" y="387716"/>
                    </a:lnTo>
                    <a:cubicBezTo>
                      <a:pt x="455615" y="382301"/>
                      <a:pt x="460805" y="381398"/>
                      <a:pt x="467574" y="380270"/>
                    </a:cubicBezTo>
                    <a:cubicBezTo>
                      <a:pt x="471636" y="379593"/>
                      <a:pt x="476826" y="378691"/>
                      <a:pt x="482918" y="376434"/>
                    </a:cubicBezTo>
                    <a:cubicBezTo>
                      <a:pt x="494201" y="372373"/>
                      <a:pt x="494426" y="372147"/>
                      <a:pt x="496683" y="369665"/>
                    </a:cubicBezTo>
                    <a:cubicBezTo>
                      <a:pt x="497585" y="368762"/>
                      <a:pt x="498713" y="367634"/>
                      <a:pt x="500744" y="365829"/>
                    </a:cubicBezTo>
                    <a:cubicBezTo>
                      <a:pt x="502324" y="364475"/>
                      <a:pt x="503903" y="363347"/>
                      <a:pt x="505032" y="362444"/>
                    </a:cubicBezTo>
                    <a:cubicBezTo>
                      <a:pt x="508642" y="359736"/>
                      <a:pt x="508867" y="359736"/>
                      <a:pt x="504129" y="351162"/>
                    </a:cubicBezTo>
                    <a:cubicBezTo>
                      <a:pt x="500744" y="345069"/>
                      <a:pt x="498488" y="344618"/>
                      <a:pt x="495329" y="344167"/>
                    </a:cubicBezTo>
                    <a:cubicBezTo>
                      <a:pt x="492395" y="343716"/>
                      <a:pt x="488559" y="343038"/>
                      <a:pt x="483370" y="338526"/>
                    </a:cubicBezTo>
                    <a:cubicBezTo>
                      <a:pt x="478857" y="334690"/>
                      <a:pt x="475472" y="333561"/>
                      <a:pt x="472764" y="332884"/>
                    </a:cubicBezTo>
                    <a:cubicBezTo>
                      <a:pt x="469154" y="331982"/>
                      <a:pt x="465995" y="331079"/>
                      <a:pt x="464415" y="324310"/>
                    </a:cubicBezTo>
                    <a:cubicBezTo>
                      <a:pt x="463513" y="320474"/>
                      <a:pt x="461933" y="320023"/>
                      <a:pt x="459677" y="319120"/>
                    </a:cubicBezTo>
                    <a:cubicBezTo>
                      <a:pt x="456066" y="317766"/>
                      <a:pt x="452907" y="316187"/>
                      <a:pt x="452682" y="308289"/>
                    </a:cubicBezTo>
                    <a:cubicBezTo>
                      <a:pt x="452456" y="304453"/>
                      <a:pt x="453359" y="301294"/>
                      <a:pt x="455389" y="299263"/>
                    </a:cubicBezTo>
                    <a:cubicBezTo>
                      <a:pt x="458323" y="296104"/>
                      <a:pt x="462836" y="295878"/>
                      <a:pt x="466446" y="295878"/>
                    </a:cubicBezTo>
                    <a:cubicBezTo>
                      <a:pt x="467800" y="295878"/>
                      <a:pt x="469154" y="295878"/>
                      <a:pt x="470056" y="295653"/>
                    </a:cubicBezTo>
                    <a:cubicBezTo>
                      <a:pt x="471185" y="295202"/>
                      <a:pt x="472990" y="293622"/>
                      <a:pt x="474344" y="290463"/>
                    </a:cubicBezTo>
                    <a:cubicBezTo>
                      <a:pt x="475923" y="287078"/>
                      <a:pt x="476375" y="283468"/>
                      <a:pt x="475472" y="280986"/>
                    </a:cubicBezTo>
                    <a:cubicBezTo>
                      <a:pt x="474118" y="277376"/>
                      <a:pt x="474118" y="273540"/>
                      <a:pt x="474344" y="269027"/>
                    </a:cubicBezTo>
                    <a:cubicBezTo>
                      <a:pt x="474569" y="265191"/>
                      <a:pt x="474569" y="260678"/>
                      <a:pt x="473892" y="254811"/>
                    </a:cubicBezTo>
                    <a:cubicBezTo>
                      <a:pt x="473215" y="248041"/>
                      <a:pt x="472539" y="248041"/>
                      <a:pt x="470733" y="247590"/>
                    </a:cubicBezTo>
                    <a:cubicBezTo>
                      <a:pt x="468928" y="247365"/>
                      <a:pt x="466446" y="246913"/>
                      <a:pt x="463061" y="244206"/>
                    </a:cubicBezTo>
                    <a:cubicBezTo>
                      <a:pt x="459451" y="241498"/>
                      <a:pt x="457872" y="238564"/>
                      <a:pt x="456743" y="236759"/>
                    </a:cubicBezTo>
                    <a:cubicBezTo>
                      <a:pt x="456292" y="236082"/>
                      <a:pt x="455841" y="235180"/>
                      <a:pt x="455615" y="234954"/>
                    </a:cubicBezTo>
                    <a:cubicBezTo>
                      <a:pt x="455615" y="234954"/>
                      <a:pt x="455164" y="235180"/>
                      <a:pt x="453810" y="236082"/>
                    </a:cubicBezTo>
                    <a:cubicBezTo>
                      <a:pt x="451779" y="237662"/>
                      <a:pt x="449748" y="238113"/>
                      <a:pt x="448169" y="237211"/>
                    </a:cubicBezTo>
                    <a:cubicBezTo>
                      <a:pt x="444558" y="235405"/>
                      <a:pt x="443881" y="228636"/>
                      <a:pt x="443881" y="217579"/>
                    </a:cubicBezTo>
                    <a:cubicBezTo>
                      <a:pt x="443881" y="206071"/>
                      <a:pt x="434179" y="193435"/>
                      <a:pt x="416127" y="181025"/>
                    </a:cubicBezTo>
                    <a:cubicBezTo>
                      <a:pt x="406424" y="174481"/>
                      <a:pt x="400557" y="174030"/>
                      <a:pt x="396044" y="173804"/>
                    </a:cubicBezTo>
                    <a:cubicBezTo>
                      <a:pt x="391983" y="173578"/>
                      <a:pt x="388598" y="173353"/>
                      <a:pt x="385890" y="168163"/>
                    </a:cubicBezTo>
                    <a:cubicBezTo>
                      <a:pt x="383634" y="164101"/>
                      <a:pt x="381829" y="160717"/>
                      <a:pt x="379798" y="158234"/>
                    </a:cubicBezTo>
                    <a:cubicBezTo>
                      <a:pt x="378895" y="160040"/>
                      <a:pt x="377090" y="160717"/>
                      <a:pt x="375511" y="160942"/>
                    </a:cubicBezTo>
                    <a:cubicBezTo>
                      <a:pt x="366485" y="162296"/>
                      <a:pt x="354751" y="160717"/>
                      <a:pt x="343920" y="156429"/>
                    </a:cubicBezTo>
                    <a:cubicBezTo>
                      <a:pt x="335571" y="153270"/>
                      <a:pt x="337151" y="148080"/>
                      <a:pt x="338505" y="143342"/>
                    </a:cubicBezTo>
                    <a:cubicBezTo>
                      <a:pt x="339407" y="140408"/>
                      <a:pt x="340310" y="137249"/>
                      <a:pt x="339633" y="133865"/>
                    </a:cubicBezTo>
                    <a:cubicBezTo>
                      <a:pt x="338956" y="130706"/>
                      <a:pt x="337151" y="127547"/>
                      <a:pt x="335346" y="124613"/>
                    </a:cubicBezTo>
                    <a:cubicBezTo>
                      <a:pt x="331735" y="118295"/>
                      <a:pt x="327674" y="111074"/>
                      <a:pt x="333089" y="103628"/>
                    </a:cubicBezTo>
                    <a:cubicBezTo>
                      <a:pt x="339633" y="94151"/>
                      <a:pt x="342115" y="74294"/>
                      <a:pt x="342115" y="67750"/>
                    </a:cubicBezTo>
                    <a:cubicBezTo>
                      <a:pt x="342115" y="62335"/>
                      <a:pt x="330156" y="45186"/>
                      <a:pt x="309622" y="45186"/>
                    </a:cubicBezTo>
                    <a:cubicBezTo>
                      <a:pt x="298565" y="45186"/>
                      <a:pt x="293601" y="47668"/>
                      <a:pt x="289765" y="49924"/>
                    </a:cubicBezTo>
                    <a:cubicBezTo>
                      <a:pt x="286155" y="51955"/>
                      <a:pt x="282996" y="53535"/>
                      <a:pt x="277129" y="51504"/>
                    </a:cubicBezTo>
                    <a:cubicBezTo>
                      <a:pt x="269908" y="49022"/>
                      <a:pt x="265170" y="49473"/>
                      <a:pt x="260205" y="49924"/>
                    </a:cubicBezTo>
                    <a:cubicBezTo>
                      <a:pt x="258175" y="50150"/>
                      <a:pt x="256144" y="50376"/>
                      <a:pt x="253887" y="50376"/>
                    </a:cubicBezTo>
                    <a:cubicBezTo>
                      <a:pt x="250728" y="50376"/>
                      <a:pt x="248698" y="51278"/>
                      <a:pt x="246441" y="52632"/>
                    </a:cubicBezTo>
                    <a:cubicBezTo>
                      <a:pt x="243733" y="53986"/>
                      <a:pt x="240800" y="55565"/>
                      <a:pt x="235836" y="55565"/>
                    </a:cubicBezTo>
                    <a:cubicBezTo>
                      <a:pt x="226584" y="55565"/>
                      <a:pt x="203568" y="46765"/>
                      <a:pt x="196799" y="39319"/>
                    </a:cubicBezTo>
                    <a:lnTo>
                      <a:pt x="195219" y="37514"/>
                    </a:lnTo>
                    <a:cubicBezTo>
                      <a:pt x="189353" y="30970"/>
                      <a:pt x="180327" y="21042"/>
                      <a:pt x="175363" y="17657"/>
                    </a:cubicBezTo>
                    <a:cubicBezTo>
                      <a:pt x="172880" y="16077"/>
                      <a:pt x="164532" y="15626"/>
                      <a:pt x="157762" y="15400"/>
                    </a:cubicBezTo>
                    <a:cubicBezTo>
                      <a:pt x="148962" y="15175"/>
                      <a:pt x="143321" y="14949"/>
                      <a:pt x="140839" y="13144"/>
                    </a:cubicBezTo>
                    <a:cubicBezTo>
                      <a:pt x="139034" y="11790"/>
                      <a:pt x="136551" y="10662"/>
                      <a:pt x="133844" y="9534"/>
                    </a:cubicBezTo>
                    <a:cubicBezTo>
                      <a:pt x="130008" y="7728"/>
                      <a:pt x="126397" y="6149"/>
                      <a:pt x="124818" y="4118"/>
                    </a:cubicBezTo>
                    <a:cubicBezTo>
                      <a:pt x="124818" y="4118"/>
                      <a:pt x="123690" y="5021"/>
                      <a:pt x="123464" y="6600"/>
                    </a:cubicBezTo>
                    <a:cubicBezTo>
                      <a:pt x="123238" y="7503"/>
                      <a:pt x="123013" y="9082"/>
                      <a:pt x="124366" y="10210"/>
                    </a:cubicBezTo>
                    <a:cubicBezTo>
                      <a:pt x="127300" y="12693"/>
                      <a:pt x="126849" y="16077"/>
                      <a:pt x="126172" y="19913"/>
                    </a:cubicBezTo>
                    <a:cubicBezTo>
                      <a:pt x="125720" y="23749"/>
                      <a:pt x="125043" y="28488"/>
                      <a:pt x="126849" y="35032"/>
                    </a:cubicBezTo>
                    <a:cubicBezTo>
                      <a:pt x="131136" y="50150"/>
                      <a:pt x="128203" y="57596"/>
                      <a:pt x="123915" y="59853"/>
                    </a:cubicBezTo>
                    <a:cubicBezTo>
                      <a:pt x="120305" y="61658"/>
                      <a:pt x="110151" y="71135"/>
                      <a:pt x="111053" y="76550"/>
                    </a:cubicBezTo>
                    <a:cubicBezTo>
                      <a:pt x="111956" y="81740"/>
                      <a:pt x="107669" y="86930"/>
                      <a:pt x="103156" y="89638"/>
                    </a:cubicBezTo>
                    <a:cubicBezTo>
                      <a:pt x="101351" y="90766"/>
                      <a:pt x="97740" y="92571"/>
                      <a:pt x="95709" y="90766"/>
                    </a:cubicBezTo>
                    <a:cubicBezTo>
                      <a:pt x="95258" y="90315"/>
                      <a:pt x="94356" y="89638"/>
                      <a:pt x="93453" y="88735"/>
                    </a:cubicBezTo>
                    <a:cubicBezTo>
                      <a:pt x="90068" y="85351"/>
                      <a:pt x="83525" y="78807"/>
                      <a:pt x="78109" y="81063"/>
                    </a:cubicBezTo>
                    <a:cubicBezTo>
                      <a:pt x="74047" y="82643"/>
                      <a:pt x="73145" y="85351"/>
                      <a:pt x="71791" y="90541"/>
                    </a:cubicBezTo>
                    <a:cubicBezTo>
                      <a:pt x="70888" y="93925"/>
                      <a:pt x="69760" y="97987"/>
                      <a:pt x="67278" y="102725"/>
                    </a:cubicBezTo>
                    <a:cubicBezTo>
                      <a:pt x="64119" y="108818"/>
                      <a:pt x="65699" y="113556"/>
                      <a:pt x="67504" y="118972"/>
                    </a:cubicBezTo>
                    <a:cubicBezTo>
                      <a:pt x="69083" y="123711"/>
                      <a:pt x="70888" y="129126"/>
                      <a:pt x="69309" y="135670"/>
                    </a:cubicBezTo>
                    <a:cubicBezTo>
                      <a:pt x="68406" y="139506"/>
                      <a:pt x="67955" y="142665"/>
                      <a:pt x="67278" y="145598"/>
                    </a:cubicBezTo>
                    <a:cubicBezTo>
                      <a:pt x="66150" y="153044"/>
                      <a:pt x="65022" y="158911"/>
                      <a:pt x="59606" y="166809"/>
                    </a:cubicBezTo>
                    <a:cubicBezTo>
                      <a:pt x="55996" y="171999"/>
                      <a:pt x="50580" y="174030"/>
                      <a:pt x="45842" y="175835"/>
                    </a:cubicBezTo>
                    <a:cubicBezTo>
                      <a:pt x="39749" y="178091"/>
                      <a:pt x="36816" y="179445"/>
                      <a:pt x="36816" y="184635"/>
                    </a:cubicBezTo>
                    <a:cubicBezTo>
                      <a:pt x="36816" y="187343"/>
                      <a:pt x="37041" y="189599"/>
                      <a:pt x="37041" y="191404"/>
                    </a:cubicBezTo>
                    <a:cubicBezTo>
                      <a:pt x="37493" y="198399"/>
                      <a:pt x="37944" y="202912"/>
                      <a:pt x="29369" y="206974"/>
                    </a:cubicBezTo>
                    <a:cubicBezTo>
                      <a:pt x="25985" y="208553"/>
                      <a:pt x="24405" y="210133"/>
                      <a:pt x="23051" y="211487"/>
                    </a:cubicBezTo>
                    <a:cubicBezTo>
                      <a:pt x="22826" y="211712"/>
                      <a:pt x="22826" y="211712"/>
                      <a:pt x="22600" y="211938"/>
                    </a:cubicBezTo>
                    <a:cubicBezTo>
                      <a:pt x="24631" y="213518"/>
                      <a:pt x="26662" y="214420"/>
                      <a:pt x="28693" y="215323"/>
                    </a:cubicBezTo>
                    <a:cubicBezTo>
                      <a:pt x="30949" y="216225"/>
                      <a:pt x="32980" y="217128"/>
                      <a:pt x="33657" y="219159"/>
                    </a:cubicBezTo>
                    <a:cubicBezTo>
                      <a:pt x="34108" y="220287"/>
                      <a:pt x="33882" y="221641"/>
                      <a:pt x="33205" y="222995"/>
                    </a:cubicBezTo>
                    <a:cubicBezTo>
                      <a:pt x="32077" y="225251"/>
                      <a:pt x="32980" y="228185"/>
                      <a:pt x="34108" y="231118"/>
                    </a:cubicBezTo>
                    <a:cubicBezTo>
                      <a:pt x="35462" y="234503"/>
                      <a:pt x="36816" y="238564"/>
                      <a:pt x="34334" y="241949"/>
                    </a:cubicBezTo>
                    <a:cubicBezTo>
                      <a:pt x="33431" y="243303"/>
                      <a:pt x="32303" y="244431"/>
                      <a:pt x="31400" y="245559"/>
                    </a:cubicBezTo>
                    <a:cubicBezTo>
                      <a:pt x="29144" y="248493"/>
                      <a:pt x="27790" y="250072"/>
                      <a:pt x="28467" y="251426"/>
                    </a:cubicBezTo>
                    <a:cubicBezTo>
                      <a:pt x="28918" y="252329"/>
                      <a:pt x="30949" y="252780"/>
                      <a:pt x="32754" y="253231"/>
                    </a:cubicBezTo>
                    <a:cubicBezTo>
                      <a:pt x="35236" y="253908"/>
                      <a:pt x="37718" y="254360"/>
                      <a:pt x="39072" y="256390"/>
                    </a:cubicBezTo>
                    <a:cubicBezTo>
                      <a:pt x="42231" y="261129"/>
                      <a:pt x="35462" y="268124"/>
                      <a:pt x="34108" y="269478"/>
                    </a:cubicBezTo>
                    <a:cubicBezTo>
                      <a:pt x="30046" y="273540"/>
                      <a:pt x="24857" y="280986"/>
                      <a:pt x="25533" y="283468"/>
                    </a:cubicBezTo>
                    <a:cubicBezTo>
                      <a:pt x="26436" y="285950"/>
                      <a:pt x="27339" y="289560"/>
                      <a:pt x="25533" y="292268"/>
                    </a:cubicBezTo>
                    <a:cubicBezTo>
                      <a:pt x="24405" y="294073"/>
                      <a:pt x="22374" y="295202"/>
                      <a:pt x="19441" y="295653"/>
                    </a:cubicBezTo>
                    <a:cubicBezTo>
                      <a:pt x="15831" y="296104"/>
                      <a:pt x="15605" y="297458"/>
                      <a:pt x="15831" y="303776"/>
                    </a:cubicBezTo>
                    <a:cubicBezTo>
                      <a:pt x="15831" y="304904"/>
                      <a:pt x="15831" y="305807"/>
                      <a:pt x="15831" y="306935"/>
                    </a:cubicBezTo>
                    <a:cubicBezTo>
                      <a:pt x="15831" y="309192"/>
                      <a:pt x="16733" y="311222"/>
                      <a:pt x="18538" y="312802"/>
                    </a:cubicBezTo>
                    <a:cubicBezTo>
                      <a:pt x="21021" y="315058"/>
                      <a:pt x="24857" y="315961"/>
                      <a:pt x="28918" y="315510"/>
                    </a:cubicBezTo>
                    <a:cubicBezTo>
                      <a:pt x="32303" y="315058"/>
                      <a:pt x="35236" y="316187"/>
                      <a:pt x="37041" y="318894"/>
                    </a:cubicBezTo>
                    <a:cubicBezTo>
                      <a:pt x="38847" y="321376"/>
                      <a:pt x="38847" y="324761"/>
                      <a:pt x="38170" y="326341"/>
                    </a:cubicBezTo>
                    <a:cubicBezTo>
                      <a:pt x="37718" y="327243"/>
                      <a:pt x="37041" y="327695"/>
                      <a:pt x="36139" y="327695"/>
                    </a:cubicBezTo>
                    <a:cubicBezTo>
                      <a:pt x="35462" y="328146"/>
                      <a:pt x="33657" y="329951"/>
                      <a:pt x="32303" y="331305"/>
                    </a:cubicBezTo>
                    <a:cubicBezTo>
                      <a:pt x="29144" y="334690"/>
                      <a:pt x="25082" y="338751"/>
                      <a:pt x="21246" y="340556"/>
                    </a:cubicBezTo>
                    <a:cubicBezTo>
                      <a:pt x="18990" y="341685"/>
                      <a:pt x="17185" y="345069"/>
                      <a:pt x="15831" y="348454"/>
                    </a:cubicBezTo>
                    <a:cubicBezTo>
                      <a:pt x="14026" y="352516"/>
                      <a:pt x="11995" y="356577"/>
                      <a:pt x="8159" y="357254"/>
                    </a:cubicBezTo>
                    <a:cubicBezTo>
                      <a:pt x="7482" y="357254"/>
                      <a:pt x="6805" y="357705"/>
                      <a:pt x="6354" y="359059"/>
                    </a:cubicBezTo>
                    <a:cubicBezTo>
                      <a:pt x="5451" y="361993"/>
                      <a:pt x="6579" y="366957"/>
                      <a:pt x="8836" y="368988"/>
                    </a:cubicBezTo>
                    <a:cubicBezTo>
                      <a:pt x="11995" y="372147"/>
                      <a:pt x="12220" y="373952"/>
                      <a:pt x="12897" y="377562"/>
                    </a:cubicBezTo>
                    <a:cubicBezTo>
                      <a:pt x="13123" y="378916"/>
                      <a:pt x="13349" y="380496"/>
                      <a:pt x="14026" y="382527"/>
                    </a:cubicBezTo>
                    <a:cubicBezTo>
                      <a:pt x="16056" y="390199"/>
                      <a:pt x="15154" y="394486"/>
                      <a:pt x="12897" y="404414"/>
                    </a:cubicBezTo>
                    <a:lnTo>
                      <a:pt x="12672" y="405543"/>
                    </a:lnTo>
                    <a:cubicBezTo>
                      <a:pt x="11318" y="412312"/>
                      <a:pt x="12672" y="420661"/>
                      <a:pt x="14251" y="429461"/>
                    </a:cubicBezTo>
                    <a:cubicBezTo>
                      <a:pt x="15154" y="434425"/>
                      <a:pt x="16056" y="439615"/>
                      <a:pt x="16508" y="444805"/>
                    </a:cubicBezTo>
                    <a:cubicBezTo>
                      <a:pt x="16959" y="450220"/>
                      <a:pt x="18087" y="453605"/>
                      <a:pt x="18990" y="455861"/>
                    </a:cubicBezTo>
                    <a:cubicBezTo>
                      <a:pt x="20569" y="460600"/>
                      <a:pt x="20795" y="462857"/>
                      <a:pt x="14702" y="466693"/>
                    </a:cubicBezTo>
                    <a:cubicBezTo>
                      <a:pt x="10641" y="469400"/>
                      <a:pt x="8159" y="472559"/>
                      <a:pt x="8159" y="474816"/>
                    </a:cubicBezTo>
                    <a:cubicBezTo>
                      <a:pt x="8159" y="475718"/>
                      <a:pt x="8610" y="476621"/>
                      <a:pt x="9513" y="477072"/>
                    </a:cubicBezTo>
                    <a:cubicBezTo>
                      <a:pt x="10867" y="477749"/>
                      <a:pt x="13123" y="478426"/>
                      <a:pt x="15831" y="478877"/>
                    </a:cubicBezTo>
                    <a:cubicBezTo>
                      <a:pt x="20118" y="479780"/>
                      <a:pt x="25308" y="480683"/>
                      <a:pt x="30046" y="483616"/>
                    </a:cubicBezTo>
                    <a:cubicBezTo>
                      <a:pt x="32303" y="484970"/>
                      <a:pt x="33657" y="486775"/>
                      <a:pt x="33882" y="488580"/>
                    </a:cubicBezTo>
                    <a:cubicBezTo>
                      <a:pt x="34334" y="492191"/>
                      <a:pt x="30723" y="495575"/>
                      <a:pt x="25308" y="500540"/>
                    </a:cubicBezTo>
                    <a:cubicBezTo>
                      <a:pt x="23503" y="502345"/>
                      <a:pt x="21472" y="504150"/>
                      <a:pt x="19215" y="506406"/>
                    </a:cubicBezTo>
                    <a:cubicBezTo>
                      <a:pt x="12897" y="512724"/>
                      <a:pt x="16056" y="521976"/>
                      <a:pt x="18087" y="528068"/>
                    </a:cubicBezTo>
                    <a:cubicBezTo>
                      <a:pt x="19215" y="531453"/>
                      <a:pt x="20118" y="533710"/>
                      <a:pt x="18538" y="535063"/>
                    </a:cubicBezTo>
                    <a:cubicBezTo>
                      <a:pt x="18313" y="535289"/>
                      <a:pt x="18087" y="535515"/>
                      <a:pt x="17862" y="535515"/>
                    </a:cubicBezTo>
                    <a:cubicBezTo>
                      <a:pt x="22826" y="544540"/>
                      <a:pt x="24857" y="547248"/>
                      <a:pt x="25985" y="548602"/>
                    </a:cubicBezTo>
                    <a:cubicBezTo>
                      <a:pt x="27564" y="550633"/>
                      <a:pt x="42457" y="558756"/>
                      <a:pt x="51708" y="558305"/>
                    </a:cubicBezTo>
                    <a:cubicBezTo>
                      <a:pt x="53965" y="558305"/>
                      <a:pt x="55996" y="558079"/>
                      <a:pt x="58027" y="557853"/>
                    </a:cubicBezTo>
                    <a:cubicBezTo>
                      <a:pt x="58929" y="558079"/>
                      <a:pt x="61637" y="557628"/>
                      <a:pt x="64570" y="557628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xmlns="" id="{4B788F60-EACE-4CB2-9D42-03FE7B08D3EF}"/>
                  </a:ext>
                </a:extLst>
              </p:cNvPr>
              <p:cNvSpPr/>
              <p:nvPr/>
            </p:nvSpPr>
            <p:spPr>
              <a:xfrm>
                <a:off x="9586737" y="2928616"/>
                <a:ext cx="496422" cy="857455"/>
              </a:xfrm>
              <a:custGeom>
                <a:avLst/>
                <a:gdLst>
                  <a:gd name="connsiteX0" fmla="*/ 98274 w 496421"/>
                  <a:gd name="connsiteY0" fmla="*/ 869414 h 857455"/>
                  <a:gd name="connsiteX1" fmla="*/ 99176 w 496421"/>
                  <a:gd name="connsiteY1" fmla="*/ 866707 h 857455"/>
                  <a:gd name="connsiteX2" fmla="*/ 99627 w 496421"/>
                  <a:gd name="connsiteY2" fmla="*/ 859035 h 857455"/>
                  <a:gd name="connsiteX3" fmla="*/ 98499 w 496421"/>
                  <a:gd name="connsiteY3" fmla="*/ 847076 h 857455"/>
                  <a:gd name="connsiteX4" fmla="*/ 98048 w 496421"/>
                  <a:gd name="connsiteY4" fmla="*/ 832860 h 857455"/>
                  <a:gd name="connsiteX5" fmla="*/ 94889 w 496421"/>
                  <a:gd name="connsiteY5" fmla="*/ 825639 h 857455"/>
                  <a:gd name="connsiteX6" fmla="*/ 87217 w 496421"/>
                  <a:gd name="connsiteY6" fmla="*/ 822254 h 857455"/>
                  <a:gd name="connsiteX7" fmla="*/ 80899 w 496421"/>
                  <a:gd name="connsiteY7" fmla="*/ 814808 h 857455"/>
                  <a:gd name="connsiteX8" fmla="*/ 79771 w 496421"/>
                  <a:gd name="connsiteY8" fmla="*/ 813003 h 857455"/>
                  <a:gd name="connsiteX9" fmla="*/ 77965 w 496421"/>
                  <a:gd name="connsiteY9" fmla="*/ 814131 h 857455"/>
                  <a:gd name="connsiteX10" fmla="*/ 72324 w 496421"/>
                  <a:gd name="connsiteY10" fmla="*/ 815259 h 857455"/>
                  <a:gd name="connsiteX11" fmla="*/ 68037 w 496421"/>
                  <a:gd name="connsiteY11" fmla="*/ 795628 h 857455"/>
                  <a:gd name="connsiteX12" fmla="*/ 40282 w 496421"/>
                  <a:gd name="connsiteY12" fmla="*/ 759074 h 857455"/>
                  <a:gd name="connsiteX13" fmla="*/ 20200 w 496421"/>
                  <a:gd name="connsiteY13" fmla="*/ 751853 h 857455"/>
                  <a:gd name="connsiteX14" fmla="*/ 10046 w 496421"/>
                  <a:gd name="connsiteY14" fmla="*/ 746212 h 857455"/>
                  <a:gd name="connsiteX15" fmla="*/ 1697 w 496421"/>
                  <a:gd name="connsiteY15" fmla="*/ 734027 h 857455"/>
                  <a:gd name="connsiteX16" fmla="*/ 1020 w 496421"/>
                  <a:gd name="connsiteY16" fmla="*/ 733350 h 857455"/>
                  <a:gd name="connsiteX17" fmla="*/ 1020 w 496421"/>
                  <a:gd name="connsiteY17" fmla="*/ 732447 h 857455"/>
                  <a:gd name="connsiteX18" fmla="*/ 569 w 496421"/>
                  <a:gd name="connsiteY18" fmla="*/ 727709 h 857455"/>
                  <a:gd name="connsiteX19" fmla="*/ 2374 w 496421"/>
                  <a:gd name="connsiteY19" fmla="*/ 714395 h 857455"/>
                  <a:gd name="connsiteX20" fmla="*/ 6887 w 496421"/>
                  <a:gd name="connsiteY20" fmla="*/ 691380 h 857455"/>
                  <a:gd name="connsiteX21" fmla="*/ 22908 w 496421"/>
                  <a:gd name="connsiteY21" fmla="*/ 661369 h 857455"/>
                  <a:gd name="connsiteX22" fmla="*/ 24939 w 496421"/>
                  <a:gd name="connsiteY22" fmla="*/ 659112 h 857455"/>
                  <a:gd name="connsiteX23" fmla="*/ 42539 w 496421"/>
                  <a:gd name="connsiteY23" fmla="*/ 650538 h 857455"/>
                  <a:gd name="connsiteX24" fmla="*/ 49083 w 496421"/>
                  <a:gd name="connsiteY24" fmla="*/ 653697 h 857455"/>
                  <a:gd name="connsiteX25" fmla="*/ 59237 w 496421"/>
                  <a:gd name="connsiteY25" fmla="*/ 655953 h 857455"/>
                  <a:gd name="connsiteX26" fmla="*/ 62622 w 496421"/>
                  <a:gd name="connsiteY26" fmla="*/ 655502 h 857455"/>
                  <a:gd name="connsiteX27" fmla="*/ 75258 w 496421"/>
                  <a:gd name="connsiteY27" fmla="*/ 638578 h 857455"/>
                  <a:gd name="connsiteX28" fmla="*/ 60139 w 496421"/>
                  <a:gd name="connsiteY28" fmla="*/ 619624 h 857455"/>
                  <a:gd name="connsiteX29" fmla="*/ 57883 w 496421"/>
                  <a:gd name="connsiteY29" fmla="*/ 618270 h 857455"/>
                  <a:gd name="connsiteX30" fmla="*/ 45472 w 496421"/>
                  <a:gd name="connsiteY30" fmla="*/ 599090 h 857455"/>
                  <a:gd name="connsiteX31" fmla="*/ 43893 w 496421"/>
                  <a:gd name="connsiteY31" fmla="*/ 595480 h 857455"/>
                  <a:gd name="connsiteX32" fmla="*/ 36221 w 496421"/>
                  <a:gd name="connsiteY32" fmla="*/ 587583 h 857455"/>
                  <a:gd name="connsiteX33" fmla="*/ 27421 w 496421"/>
                  <a:gd name="connsiteY33" fmla="*/ 576977 h 857455"/>
                  <a:gd name="connsiteX34" fmla="*/ 32159 w 496421"/>
                  <a:gd name="connsiteY34" fmla="*/ 565695 h 857455"/>
                  <a:gd name="connsiteX35" fmla="*/ 34867 w 496421"/>
                  <a:gd name="connsiteY35" fmla="*/ 562536 h 857455"/>
                  <a:gd name="connsiteX36" fmla="*/ 34867 w 496421"/>
                  <a:gd name="connsiteY36" fmla="*/ 561859 h 857455"/>
                  <a:gd name="connsiteX37" fmla="*/ 28549 w 496421"/>
                  <a:gd name="connsiteY37" fmla="*/ 545161 h 857455"/>
                  <a:gd name="connsiteX38" fmla="*/ 22231 w 496421"/>
                  <a:gd name="connsiteY38" fmla="*/ 539520 h 857455"/>
                  <a:gd name="connsiteX39" fmla="*/ 31031 w 496421"/>
                  <a:gd name="connsiteY39" fmla="*/ 523273 h 857455"/>
                  <a:gd name="connsiteX40" fmla="*/ 35995 w 496421"/>
                  <a:gd name="connsiteY40" fmla="*/ 518986 h 857455"/>
                  <a:gd name="connsiteX41" fmla="*/ 39154 w 496421"/>
                  <a:gd name="connsiteY41" fmla="*/ 508606 h 857455"/>
                  <a:gd name="connsiteX42" fmla="*/ 41862 w 496421"/>
                  <a:gd name="connsiteY42" fmla="*/ 496196 h 857455"/>
                  <a:gd name="connsiteX43" fmla="*/ 42539 w 496421"/>
                  <a:gd name="connsiteY43" fmla="*/ 495068 h 857455"/>
                  <a:gd name="connsiteX44" fmla="*/ 41185 w 496421"/>
                  <a:gd name="connsiteY44" fmla="*/ 494391 h 857455"/>
                  <a:gd name="connsiteX45" fmla="*/ 34190 w 496421"/>
                  <a:gd name="connsiteY45" fmla="*/ 488749 h 857455"/>
                  <a:gd name="connsiteX46" fmla="*/ 35770 w 496421"/>
                  <a:gd name="connsiteY46" fmla="*/ 474985 h 857455"/>
                  <a:gd name="connsiteX47" fmla="*/ 37349 w 496421"/>
                  <a:gd name="connsiteY47" fmla="*/ 464605 h 857455"/>
                  <a:gd name="connsiteX48" fmla="*/ 36898 w 496421"/>
                  <a:gd name="connsiteY48" fmla="*/ 449938 h 857455"/>
                  <a:gd name="connsiteX49" fmla="*/ 35093 w 496421"/>
                  <a:gd name="connsiteY49" fmla="*/ 439784 h 857455"/>
                  <a:gd name="connsiteX50" fmla="*/ 25841 w 496421"/>
                  <a:gd name="connsiteY50" fmla="*/ 427599 h 857455"/>
                  <a:gd name="connsiteX51" fmla="*/ 34641 w 496421"/>
                  <a:gd name="connsiteY51" fmla="*/ 394204 h 857455"/>
                  <a:gd name="connsiteX52" fmla="*/ 37349 w 496421"/>
                  <a:gd name="connsiteY52" fmla="*/ 391496 h 857455"/>
                  <a:gd name="connsiteX53" fmla="*/ 38929 w 496421"/>
                  <a:gd name="connsiteY53" fmla="*/ 389691 h 857455"/>
                  <a:gd name="connsiteX54" fmla="*/ 39831 w 496421"/>
                  <a:gd name="connsiteY54" fmla="*/ 388563 h 857455"/>
                  <a:gd name="connsiteX55" fmla="*/ 42990 w 496421"/>
                  <a:gd name="connsiteY55" fmla="*/ 389691 h 857455"/>
                  <a:gd name="connsiteX56" fmla="*/ 49534 w 496421"/>
                  <a:gd name="connsiteY56" fmla="*/ 389691 h 857455"/>
                  <a:gd name="connsiteX57" fmla="*/ 51339 w 496421"/>
                  <a:gd name="connsiteY57" fmla="*/ 385178 h 857455"/>
                  <a:gd name="connsiteX58" fmla="*/ 56755 w 496421"/>
                  <a:gd name="connsiteY58" fmla="*/ 376829 h 857455"/>
                  <a:gd name="connsiteX59" fmla="*/ 59688 w 496421"/>
                  <a:gd name="connsiteY59" fmla="*/ 354039 h 857455"/>
                  <a:gd name="connsiteX60" fmla="*/ 59462 w 496421"/>
                  <a:gd name="connsiteY60" fmla="*/ 346141 h 857455"/>
                  <a:gd name="connsiteX61" fmla="*/ 72324 w 496421"/>
                  <a:gd name="connsiteY61" fmla="*/ 317033 h 857455"/>
                  <a:gd name="connsiteX62" fmla="*/ 79094 w 496421"/>
                  <a:gd name="connsiteY62" fmla="*/ 300335 h 857455"/>
                  <a:gd name="connsiteX63" fmla="*/ 79094 w 496421"/>
                  <a:gd name="connsiteY63" fmla="*/ 289730 h 857455"/>
                  <a:gd name="connsiteX64" fmla="*/ 85186 w 496421"/>
                  <a:gd name="connsiteY64" fmla="*/ 278899 h 857455"/>
                  <a:gd name="connsiteX65" fmla="*/ 91504 w 496421"/>
                  <a:gd name="connsiteY65" fmla="*/ 269196 h 857455"/>
                  <a:gd name="connsiteX66" fmla="*/ 100981 w 496421"/>
                  <a:gd name="connsiteY66" fmla="*/ 252949 h 857455"/>
                  <a:gd name="connsiteX67" fmla="*/ 108202 w 496421"/>
                  <a:gd name="connsiteY67" fmla="*/ 247082 h 857455"/>
                  <a:gd name="connsiteX68" fmla="*/ 116776 w 496421"/>
                  <a:gd name="connsiteY68" fmla="*/ 233995 h 857455"/>
                  <a:gd name="connsiteX69" fmla="*/ 122869 w 496421"/>
                  <a:gd name="connsiteY69" fmla="*/ 224969 h 857455"/>
                  <a:gd name="connsiteX70" fmla="*/ 141146 w 496421"/>
                  <a:gd name="connsiteY70" fmla="*/ 222261 h 857455"/>
                  <a:gd name="connsiteX71" fmla="*/ 145885 w 496421"/>
                  <a:gd name="connsiteY71" fmla="*/ 222713 h 857455"/>
                  <a:gd name="connsiteX72" fmla="*/ 178152 w 496421"/>
                  <a:gd name="connsiteY72" fmla="*/ 207369 h 857455"/>
                  <a:gd name="connsiteX73" fmla="*/ 183793 w 496421"/>
                  <a:gd name="connsiteY73" fmla="*/ 201728 h 857455"/>
                  <a:gd name="connsiteX74" fmla="*/ 186276 w 496421"/>
                  <a:gd name="connsiteY74" fmla="*/ 195409 h 857455"/>
                  <a:gd name="connsiteX75" fmla="*/ 188983 w 496421"/>
                  <a:gd name="connsiteY75" fmla="*/ 185707 h 857455"/>
                  <a:gd name="connsiteX76" fmla="*/ 195753 w 496421"/>
                  <a:gd name="connsiteY76" fmla="*/ 167204 h 857455"/>
                  <a:gd name="connsiteX77" fmla="*/ 205907 w 496421"/>
                  <a:gd name="connsiteY77" fmla="*/ 159080 h 857455"/>
                  <a:gd name="connsiteX78" fmla="*/ 211773 w 496421"/>
                  <a:gd name="connsiteY78" fmla="*/ 156147 h 857455"/>
                  <a:gd name="connsiteX79" fmla="*/ 216061 w 496421"/>
                  <a:gd name="connsiteY79" fmla="*/ 153439 h 857455"/>
                  <a:gd name="connsiteX80" fmla="*/ 224410 w 496421"/>
                  <a:gd name="connsiteY80" fmla="*/ 141706 h 857455"/>
                  <a:gd name="connsiteX81" fmla="*/ 233661 w 496421"/>
                  <a:gd name="connsiteY81" fmla="*/ 133582 h 857455"/>
                  <a:gd name="connsiteX82" fmla="*/ 233661 w 496421"/>
                  <a:gd name="connsiteY82" fmla="*/ 133131 h 857455"/>
                  <a:gd name="connsiteX83" fmla="*/ 236595 w 496421"/>
                  <a:gd name="connsiteY83" fmla="*/ 127039 h 857455"/>
                  <a:gd name="connsiteX84" fmla="*/ 238625 w 496421"/>
                  <a:gd name="connsiteY84" fmla="*/ 121849 h 857455"/>
                  <a:gd name="connsiteX85" fmla="*/ 229148 w 496421"/>
                  <a:gd name="connsiteY85" fmla="*/ 106731 h 857455"/>
                  <a:gd name="connsiteX86" fmla="*/ 223056 w 496421"/>
                  <a:gd name="connsiteY86" fmla="*/ 104474 h 857455"/>
                  <a:gd name="connsiteX87" fmla="*/ 214933 w 496421"/>
                  <a:gd name="connsiteY87" fmla="*/ 95674 h 857455"/>
                  <a:gd name="connsiteX88" fmla="*/ 210194 w 496421"/>
                  <a:gd name="connsiteY88" fmla="*/ 91838 h 857455"/>
                  <a:gd name="connsiteX89" fmla="*/ 201168 w 496421"/>
                  <a:gd name="connsiteY89" fmla="*/ 88228 h 857455"/>
                  <a:gd name="connsiteX90" fmla="*/ 196430 w 496421"/>
                  <a:gd name="connsiteY90" fmla="*/ 86874 h 857455"/>
                  <a:gd name="connsiteX91" fmla="*/ 186952 w 496421"/>
                  <a:gd name="connsiteY91" fmla="*/ 91161 h 857455"/>
                  <a:gd name="connsiteX92" fmla="*/ 168449 w 496421"/>
                  <a:gd name="connsiteY92" fmla="*/ 81007 h 857455"/>
                  <a:gd name="connsiteX93" fmla="*/ 170706 w 496421"/>
                  <a:gd name="connsiteY93" fmla="*/ 70401 h 857455"/>
                  <a:gd name="connsiteX94" fmla="*/ 176347 w 496421"/>
                  <a:gd name="connsiteY94" fmla="*/ 62278 h 857455"/>
                  <a:gd name="connsiteX95" fmla="*/ 169803 w 496421"/>
                  <a:gd name="connsiteY95" fmla="*/ 46709 h 857455"/>
                  <a:gd name="connsiteX96" fmla="*/ 163485 w 496421"/>
                  <a:gd name="connsiteY96" fmla="*/ 33621 h 857455"/>
                  <a:gd name="connsiteX97" fmla="*/ 168449 w 496421"/>
                  <a:gd name="connsiteY97" fmla="*/ 28657 h 857455"/>
                  <a:gd name="connsiteX98" fmla="*/ 191240 w 496421"/>
                  <a:gd name="connsiteY98" fmla="*/ 36103 h 857455"/>
                  <a:gd name="connsiteX99" fmla="*/ 203876 w 496421"/>
                  <a:gd name="connsiteY99" fmla="*/ 42873 h 857455"/>
                  <a:gd name="connsiteX100" fmla="*/ 230277 w 496421"/>
                  <a:gd name="connsiteY100" fmla="*/ 41519 h 857455"/>
                  <a:gd name="connsiteX101" fmla="*/ 269313 w 496421"/>
                  <a:gd name="connsiteY101" fmla="*/ 41519 h 857455"/>
                  <a:gd name="connsiteX102" fmla="*/ 302709 w 496421"/>
                  <a:gd name="connsiteY102" fmla="*/ 24821 h 857455"/>
                  <a:gd name="connsiteX103" fmla="*/ 312637 w 496421"/>
                  <a:gd name="connsiteY103" fmla="*/ 11959 h 857455"/>
                  <a:gd name="connsiteX104" fmla="*/ 313991 w 496421"/>
                  <a:gd name="connsiteY104" fmla="*/ 10380 h 857455"/>
                  <a:gd name="connsiteX105" fmla="*/ 315571 w 496421"/>
                  <a:gd name="connsiteY105" fmla="*/ 11734 h 857455"/>
                  <a:gd name="connsiteX106" fmla="*/ 321438 w 496421"/>
                  <a:gd name="connsiteY106" fmla="*/ 20534 h 857455"/>
                  <a:gd name="connsiteX107" fmla="*/ 326853 w 496421"/>
                  <a:gd name="connsiteY107" fmla="*/ 27754 h 857455"/>
                  <a:gd name="connsiteX108" fmla="*/ 363182 w 496421"/>
                  <a:gd name="connsiteY108" fmla="*/ 28657 h 857455"/>
                  <a:gd name="connsiteX109" fmla="*/ 372434 w 496421"/>
                  <a:gd name="connsiteY109" fmla="*/ 17375 h 857455"/>
                  <a:gd name="connsiteX110" fmla="*/ 379429 w 496421"/>
                  <a:gd name="connsiteY110" fmla="*/ 6318 h 857455"/>
                  <a:gd name="connsiteX111" fmla="*/ 381911 w 496421"/>
                  <a:gd name="connsiteY111" fmla="*/ 1580 h 857455"/>
                  <a:gd name="connsiteX112" fmla="*/ 382362 w 496421"/>
                  <a:gd name="connsiteY112" fmla="*/ 0 h 857455"/>
                  <a:gd name="connsiteX113" fmla="*/ 383942 w 496421"/>
                  <a:gd name="connsiteY113" fmla="*/ 226 h 857455"/>
                  <a:gd name="connsiteX114" fmla="*/ 402670 w 496421"/>
                  <a:gd name="connsiteY114" fmla="*/ 10154 h 857455"/>
                  <a:gd name="connsiteX115" fmla="*/ 404701 w 496421"/>
                  <a:gd name="connsiteY115" fmla="*/ 13088 h 857455"/>
                  <a:gd name="connsiteX116" fmla="*/ 417112 w 496421"/>
                  <a:gd name="connsiteY116" fmla="*/ 23693 h 857455"/>
                  <a:gd name="connsiteX117" fmla="*/ 424332 w 496421"/>
                  <a:gd name="connsiteY117" fmla="*/ 29108 h 857455"/>
                  <a:gd name="connsiteX118" fmla="*/ 425686 w 496421"/>
                  <a:gd name="connsiteY118" fmla="*/ 30236 h 857455"/>
                  <a:gd name="connsiteX119" fmla="*/ 439225 w 496421"/>
                  <a:gd name="connsiteY119" fmla="*/ 48063 h 857455"/>
                  <a:gd name="connsiteX120" fmla="*/ 452538 w 496421"/>
                  <a:gd name="connsiteY120" fmla="*/ 65437 h 857455"/>
                  <a:gd name="connsiteX121" fmla="*/ 465400 w 496421"/>
                  <a:gd name="connsiteY121" fmla="*/ 70627 h 857455"/>
                  <a:gd name="connsiteX122" fmla="*/ 471944 w 496421"/>
                  <a:gd name="connsiteY122" fmla="*/ 74463 h 857455"/>
                  <a:gd name="connsiteX123" fmla="*/ 472169 w 496421"/>
                  <a:gd name="connsiteY123" fmla="*/ 79879 h 857455"/>
                  <a:gd name="connsiteX124" fmla="*/ 477585 w 496421"/>
                  <a:gd name="connsiteY124" fmla="*/ 95448 h 857455"/>
                  <a:gd name="connsiteX125" fmla="*/ 480744 w 496421"/>
                  <a:gd name="connsiteY125" fmla="*/ 109664 h 857455"/>
                  <a:gd name="connsiteX126" fmla="*/ 479841 w 496421"/>
                  <a:gd name="connsiteY126" fmla="*/ 118239 h 857455"/>
                  <a:gd name="connsiteX127" fmla="*/ 500375 w 496421"/>
                  <a:gd name="connsiteY127" fmla="*/ 145993 h 857455"/>
                  <a:gd name="connsiteX128" fmla="*/ 500375 w 496421"/>
                  <a:gd name="connsiteY128" fmla="*/ 145993 h 857455"/>
                  <a:gd name="connsiteX129" fmla="*/ 505113 w 496421"/>
                  <a:gd name="connsiteY129" fmla="*/ 148926 h 857455"/>
                  <a:gd name="connsiteX130" fmla="*/ 517524 w 496421"/>
                  <a:gd name="connsiteY130" fmla="*/ 166978 h 857455"/>
                  <a:gd name="connsiteX131" fmla="*/ 483451 w 496421"/>
                  <a:gd name="connsiteY131" fmla="*/ 201953 h 857455"/>
                  <a:gd name="connsiteX132" fmla="*/ 477585 w 496421"/>
                  <a:gd name="connsiteY132" fmla="*/ 207369 h 857455"/>
                  <a:gd name="connsiteX133" fmla="*/ 478939 w 496421"/>
                  <a:gd name="connsiteY133" fmla="*/ 210302 h 857455"/>
                  <a:gd name="connsiteX134" fmla="*/ 482098 w 496421"/>
                  <a:gd name="connsiteY134" fmla="*/ 215943 h 857455"/>
                  <a:gd name="connsiteX135" fmla="*/ 475780 w 496421"/>
                  <a:gd name="connsiteY135" fmla="*/ 237831 h 857455"/>
                  <a:gd name="connsiteX136" fmla="*/ 454118 w 496421"/>
                  <a:gd name="connsiteY136" fmla="*/ 250241 h 857455"/>
                  <a:gd name="connsiteX137" fmla="*/ 444189 w 496421"/>
                  <a:gd name="connsiteY137" fmla="*/ 255657 h 857455"/>
                  <a:gd name="connsiteX138" fmla="*/ 424332 w 496421"/>
                  <a:gd name="connsiteY138" fmla="*/ 270098 h 857455"/>
                  <a:gd name="connsiteX139" fmla="*/ 424558 w 496421"/>
                  <a:gd name="connsiteY139" fmla="*/ 293566 h 857455"/>
                  <a:gd name="connsiteX140" fmla="*/ 426137 w 496421"/>
                  <a:gd name="connsiteY140" fmla="*/ 296048 h 857455"/>
                  <a:gd name="connsiteX141" fmla="*/ 425686 w 496421"/>
                  <a:gd name="connsiteY141" fmla="*/ 304171 h 857455"/>
                  <a:gd name="connsiteX142" fmla="*/ 415532 w 496421"/>
                  <a:gd name="connsiteY142" fmla="*/ 311617 h 857455"/>
                  <a:gd name="connsiteX143" fmla="*/ 406055 w 496421"/>
                  <a:gd name="connsiteY143" fmla="*/ 324705 h 857455"/>
                  <a:gd name="connsiteX144" fmla="*/ 403121 w 496421"/>
                  <a:gd name="connsiteY144" fmla="*/ 329218 h 857455"/>
                  <a:gd name="connsiteX145" fmla="*/ 396352 w 496421"/>
                  <a:gd name="connsiteY145" fmla="*/ 350880 h 857455"/>
                  <a:gd name="connsiteX146" fmla="*/ 396578 w 496421"/>
                  <a:gd name="connsiteY146" fmla="*/ 352008 h 857455"/>
                  <a:gd name="connsiteX147" fmla="*/ 391613 w 496421"/>
                  <a:gd name="connsiteY147" fmla="*/ 372316 h 857455"/>
                  <a:gd name="connsiteX148" fmla="*/ 387326 w 496421"/>
                  <a:gd name="connsiteY148" fmla="*/ 377506 h 857455"/>
                  <a:gd name="connsiteX149" fmla="*/ 383039 w 496421"/>
                  <a:gd name="connsiteY149" fmla="*/ 388337 h 857455"/>
                  <a:gd name="connsiteX150" fmla="*/ 357315 w 496421"/>
                  <a:gd name="connsiteY150" fmla="*/ 405712 h 857455"/>
                  <a:gd name="connsiteX151" fmla="*/ 318504 w 496421"/>
                  <a:gd name="connsiteY151" fmla="*/ 404358 h 857455"/>
                  <a:gd name="connsiteX152" fmla="*/ 304289 w 496421"/>
                  <a:gd name="connsiteY152" fmla="*/ 416543 h 857455"/>
                  <a:gd name="connsiteX153" fmla="*/ 299324 w 496421"/>
                  <a:gd name="connsiteY153" fmla="*/ 423538 h 857455"/>
                  <a:gd name="connsiteX154" fmla="*/ 297519 w 496421"/>
                  <a:gd name="connsiteY154" fmla="*/ 429405 h 857455"/>
                  <a:gd name="connsiteX155" fmla="*/ 294811 w 496421"/>
                  <a:gd name="connsiteY155" fmla="*/ 439107 h 857455"/>
                  <a:gd name="connsiteX156" fmla="*/ 279242 w 496421"/>
                  <a:gd name="connsiteY156" fmla="*/ 449713 h 857455"/>
                  <a:gd name="connsiteX157" fmla="*/ 272698 w 496421"/>
                  <a:gd name="connsiteY157" fmla="*/ 464380 h 857455"/>
                  <a:gd name="connsiteX158" fmla="*/ 270893 w 496421"/>
                  <a:gd name="connsiteY158" fmla="*/ 477918 h 857455"/>
                  <a:gd name="connsiteX159" fmla="*/ 270216 w 496421"/>
                  <a:gd name="connsiteY159" fmla="*/ 486042 h 857455"/>
                  <a:gd name="connsiteX160" fmla="*/ 272021 w 496421"/>
                  <a:gd name="connsiteY160" fmla="*/ 492811 h 857455"/>
                  <a:gd name="connsiteX161" fmla="*/ 275406 w 496421"/>
                  <a:gd name="connsiteY161" fmla="*/ 509960 h 857455"/>
                  <a:gd name="connsiteX162" fmla="*/ 276534 w 496421"/>
                  <a:gd name="connsiteY162" fmla="*/ 532299 h 857455"/>
                  <a:gd name="connsiteX163" fmla="*/ 277211 w 496421"/>
                  <a:gd name="connsiteY163" fmla="*/ 541325 h 857455"/>
                  <a:gd name="connsiteX164" fmla="*/ 292555 w 496421"/>
                  <a:gd name="connsiteY164" fmla="*/ 555766 h 857455"/>
                  <a:gd name="connsiteX165" fmla="*/ 314443 w 496421"/>
                  <a:gd name="connsiteY165" fmla="*/ 559828 h 857455"/>
                  <a:gd name="connsiteX166" fmla="*/ 320084 w 496421"/>
                  <a:gd name="connsiteY166" fmla="*/ 562310 h 857455"/>
                  <a:gd name="connsiteX167" fmla="*/ 321438 w 496421"/>
                  <a:gd name="connsiteY167" fmla="*/ 575172 h 857455"/>
                  <a:gd name="connsiteX168" fmla="*/ 310381 w 496421"/>
                  <a:gd name="connsiteY168" fmla="*/ 587131 h 857455"/>
                  <a:gd name="connsiteX169" fmla="*/ 302483 w 496421"/>
                  <a:gd name="connsiteY169" fmla="*/ 583295 h 857455"/>
                  <a:gd name="connsiteX170" fmla="*/ 284657 w 496421"/>
                  <a:gd name="connsiteY170" fmla="*/ 579234 h 857455"/>
                  <a:gd name="connsiteX171" fmla="*/ 267283 w 496421"/>
                  <a:gd name="connsiteY171" fmla="*/ 573141 h 857455"/>
                  <a:gd name="connsiteX172" fmla="*/ 249005 w 496421"/>
                  <a:gd name="connsiteY172" fmla="*/ 557572 h 857455"/>
                  <a:gd name="connsiteX173" fmla="*/ 237949 w 496421"/>
                  <a:gd name="connsiteY173" fmla="*/ 549899 h 857455"/>
                  <a:gd name="connsiteX174" fmla="*/ 224861 w 496421"/>
                  <a:gd name="connsiteY174" fmla="*/ 542228 h 857455"/>
                  <a:gd name="connsiteX175" fmla="*/ 219220 w 496421"/>
                  <a:gd name="connsiteY175" fmla="*/ 548094 h 857455"/>
                  <a:gd name="connsiteX176" fmla="*/ 223507 w 496421"/>
                  <a:gd name="connsiteY176" fmla="*/ 581490 h 857455"/>
                  <a:gd name="connsiteX177" fmla="*/ 223733 w 496421"/>
                  <a:gd name="connsiteY177" fmla="*/ 581716 h 857455"/>
                  <a:gd name="connsiteX178" fmla="*/ 229148 w 496421"/>
                  <a:gd name="connsiteY178" fmla="*/ 595480 h 857455"/>
                  <a:gd name="connsiteX179" fmla="*/ 233210 w 496421"/>
                  <a:gd name="connsiteY179" fmla="*/ 607439 h 857455"/>
                  <a:gd name="connsiteX180" fmla="*/ 237949 w 496421"/>
                  <a:gd name="connsiteY180" fmla="*/ 615111 h 857455"/>
                  <a:gd name="connsiteX181" fmla="*/ 244718 w 496421"/>
                  <a:gd name="connsiteY181" fmla="*/ 629778 h 857455"/>
                  <a:gd name="connsiteX182" fmla="*/ 250585 w 496421"/>
                  <a:gd name="connsiteY182" fmla="*/ 648056 h 857455"/>
                  <a:gd name="connsiteX183" fmla="*/ 256903 w 496421"/>
                  <a:gd name="connsiteY183" fmla="*/ 665882 h 857455"/>
                  <a:gd name="connsiteX184" fmla="*/ 256451 w 496421"/>
                  <a:gd name="connsiteY184" fmla="*/ 689574 h 857455"/>
                  <a:gd name="connsiteX185" fmla="*/ 253292 w 496421"/>
                  <a:gd name="connsiteY185" fmla="*/ 707175 h 857455"/>
                  <a:gd name="connsiteX186" fmla="*/ 241559 w 496421"/>
                  <a:gd name="connsiteY186" fmla="*/ 731996 h 857455"/>
                  <a:gd name="connsiteX187" fmla="*/ 237497 w 496421"/>
                  <a:gd name="connsiteY187" fmla="*/ 734929 h 857455"/>
                  <a:gd name="connsiteX188" fmla="*/ 226666 w 496421"/>
                  <a:gd name="connsiteY188" fmla="*/ 748919 h 857455"/>
                  <a:gd name="connsiteX189" fmla="*/ 218092 w 496421"/>
                  <a:gd name="connsiteY189" fmla="*/ 761781 h 857455"/>
                  <a:gd name="connsiteX190" fmla="*/ 213127 w 496421"/>
                  <a:gd name="connsiteY190" fmla="*/ 768099 h 857455"/>
                  <a:gd name="connsiteX191" fmla="*/ 191240 w 496421"/>
                  <a:gd name="connsiteY191" fmla="*/ 789536 h 857455"/>
                  <a:gd name="connsiteX192" fmla="*/ 178152 w 496421"/>
                  <a:gd name="connsiteY192" fmla="*/ 808490 h 857455"/>
                  <a:gd name="connsiteX193" fmla="*/ 172511 w 496421"/>
                  <a:gd name="connsiteY193" fmla="*/ 817741 h 857455"/>
                  <a:gd name="connsiteX194" fmla="*/ 162357 w 496421"/>
                  <a:gd name="connsiteY194" fmla="*/ 836019 h 857455"/>
                  <a:gd name="connsiteX195" fmla="*/ 157393 w 496421"/>
                  <a:gd name="connsiteY195" fmla="*/ 847076 h 857455"/>
                  <a:gd name="connsiteX196" fmla="*/ 151300 w 496421"/>
                  <a:gd name="connsiteY196" fmla="*/ 858809 h 857455"/>
                  <a:gd name="connsiteX197" fmla="*/ 150849 w 496421"/>
                  <a:gd name="connsiteY197" fmla="*/ 859712 h 857455"/>
                  <a:gd name="connsiteX198" fmla="*/ 149946 w 496421"/>
                  <a:gd name="connsiteY198" fmla="*/ 859937 h 857455"/>
                  <a:gd name="connsiteX199" fmla="*/ 128736 w 496421"/>
                  <a:gd name="connsiteY199" fmla="*/ 859937 h 857455"/>
                  <a:gd name="connsiteX200" fmla="*/ 113166 w 496421"/>
                  <a:gd name="connsiteY200" fmla="*/ 865353 h 857455"/>
                  <a:gd name="connsiteX201" fmla="*/ 112715 w 496421"/>
                  <a:gd name="connsiteY201" fmla="*/ 866030 h 857455"/>
                  <a:gd name="connsiteX202" fmla="*/ 101433 w 496421"/>
                  <a:gd name="connsiteY202" fmla="*/ 869189 h 857455"/>
                  <a:gd name="connsiteX203" fmla="*/ 98274 w 496421"/>
                  <a:gd name="connsiteY203" fmla="*/ 869414 h 857455"/>
                  <a:gd name="connsiteX204" fmla="*/ 79545 w 496421"/>
                  <a:gd name="connsiteY204" fmla="*/ 809392 h 857455"/>
                  <a:gd name="connsiteX205" fmla="*/ 80222 w 496421"/>
                  <a:gd name="connsiteY205" fmla="*/ 809392 h 857455"/>
                  <a:gd name="connsiteX206" fmla="*/ 83832 w 496421"/>
                  <a:gd name="connsiteY206" fmla="*/ 812777 h 857455"/>
                  <a:gd name="connsiteX207" fmla="*/ 89248 w 496421"/>
                  <a:gd name="connsiteY207" fmla="*/ 819321 h 857455"/>
                  <a:gd name="connsiteX208" fmla="*/ 95340 w 496421"/>
                  <a:gd name="connsiteY208" fmla="*/ 821803 h 857455"/>
                  <a:gd name="connsiteX209" fmla="*/ 101658 w 496421"/>
                  <a:gd name="connsiteY209" fmla="*/ 832183 h 857455"/>
                  <a:gd name="connsiteX210" fmla="*/ 102110 w 496421"/>
                  <a:gd name="connsiteY210" fmla="*/ 847076 h 857455"/>
                  <a:gd name="connsiteX211" fmla="*/ 103012 w 496421"/>
                  <a:gd name="connsiteY211" fmla="*/ 857681 h 857455"/>
                  <a:gd name="connsiteX212" fmla="*/ 103463 w 496421"/>
                  <a:gd name="connsiteY212" fmla="*/ 865127 h 857455"/>
                  <a:gd name="connsiteX213" fmla="*/ 109105 w 496421"/>
                  <a:gd name="connsiteY213" fmla="*/ 863999 h 857455"/>
                  <a:gd name="connsiteX214" fmla="*/ 109330 w 496421"/>
                  <a:gd name="connsiteY214" fmla="*/ 863322 h 857455"/>
                  <a:gd name="connsiteX215" fmla="*/ 128736 w 496421"/>
                  <a:gd name="connsiteY215" fmla="*/ 856101 h 857455"/>
                  <a:gd name="connsiteX216" fmla="*/ 147916 w 496421"/>
                  <a:gd name="connsiteY216" fmla="*/ 856327 h 857455"/>
                  <a:gd name="connsiteX217" fmla="*/ 153557 w 496421"/>
                  <a:gd name="connsiteY217" fmla="*/ 845496 h 857455"/>
                  <a:gd name="connsiteX218" fmla="*/ 158521 w 496421"/>
                  <a:gd name="connsiteY218" fmla="*/ 834665 h 857455"/>
                  <a:gd name="connsiteX219" fmla="*/ 170255 w 496421"/>
                  <a:gd name="connsiteY219" fmla="*/ 814582 h 857455"/>
                  <a:gd name="connsiteX220" fmla="*/ 174316 w 496421"/>
                  <a:gd name="connsiteY220" fmla="*/ 806911 h 857455"/>
                  <a:gd name="connsiteX221" fmla="*/ 188983 w 496421"/>
                  <a:gd name="connsiteY221" fmla="*/ 786377 h 857455"/>
                  <a:gd name="connsiteX222" fmla="*/ 209743 w 496421"/>
                  <a:gd name="connsiteY222" fmla="*/ 765843 h 857455"/>
                  <a:gd name="connsiteX223" fmla="*/ 214707 w 496421"/>
                  <a:gd name="connsiteY223" fmla="*/ 759525 h 857455"/>
                  <a:gd name="connsiteX224" fmla="*/ 223056 w 496421"/>
                  <a:gd name="connsiteY224" fmla="*/ 747114 h 857455"/>
                  <a:gd name="connsiteX225" fmla="*/ 234789 w 496421"/>
                  <a:gd name="connsiteY225" fmla="*/ 731996 h 857455"/>
                  <a:gd name="connsiteX226" fmla="*/ 239077 w 496421"/>
                  <a:gd name="connsiteY226" fmla="*/ 729063 h 857455"/>
                  <a:gd name="connsiteX227" fmla="*/ 249231 w 496421"/>
                  <a:gd name="connsiteY227" fmla="*/ 706949 h 857455"/>
                  <a:gd name="connsiteX228" fmla="*/ 252390 w 496421"/>
                  <a:gd name="connsiteY228" fmla="*/ 689123 h 857455"/>
                  <a:gd name="connsiteX229" fmla="*/ 253067 w 496421"/>
                  <a:gd name="connsiteY229" fmla="*/ 667236 h 857455"/>
                  <a:gd name="connsiteX230" fmla="*/ 246749 w 496421"/>
                  <a:gd name="connsiteY230" fmla="*/ 649861 h 857455"/>
                  <a:gd name="connsiteX231" fmla="*/ 240656 w 496421"/>
                  <a:gd name="connsiteY231" fmla="*/ 630230 h 857455"/>
                  <a:gd name="connsiteX232" fmla="*/ 234564 w 496421"/>
                  <a:gd name="connsiteY232" fmla="*/ 617593 h 857455"/>
                  <a:gd name="connsiteX233" fmla="*/ 229600 w 496421"/>
                  <a:gd name="connsiteY233" fmla="*/ 609470 h 857455"/>
                  <a:gd name="connsiteX234" fmla="*/ 225312 w 496421"/>
                  <a:gd name="connsiteY234" fmla="*/ 596834 h 857455"/>
                  <a:gd name="connsiteX235" fmla="*/ 220574 w 496421"/>
                  <a:gd name="connsiteY235" fmla="*/ 584423 h 857455"/>
                  <a:gd name="connsiteX236" fmla="*/ 220348 w 496421"/>
                  <a:gd name="connsiteY236" fmla="*/ 584198 h 857455"/>
                  <a:gd name="connsiteX237" fmla="*/ 215610 w 496421"/>
                  <a:gd name="connsiteY237" fmla="*/ 546740 h 857455"/>
                  <a:gd name="connsiteX238" fmla="*/ 223958 w 496421"/>
                  <a:gd name="connsiteY238" fmla="*/ 538843 h 857455"/>
                  <a:gd name="connsiteX239" fmla="*/ 240205 w 496421"/>
                  <a:gd name="connsiteY239" fmla="*/ 547418 h 857455"/>
                  <a:gd name="connsiteX240" fmla="*/ 249682 w 496421"/>
                  <a:gd name="connsiteY240" fmla="*/ 554187 h 857455"/>
                  <a:gd name="connsiteX241" fmla="*/ 270893 w 496421"/>
                  <a:gd name="connsiteY241" fmla="*/ 572464 h 857455"/>
                  <a:gd name="connsiteX242" fmla="*/ 284657 w 496421"/>
                  <a:gd name="connsiteY242" fmla="*/ 575623 h 857455"/>
                  <a:gd name="connsiteX243" fmla="*/ 305417 w 496421"/>
                  <a:gd name="connsiteY243" fmla="*/ 581264 h 857455"/>
                  <a:gd name="connsiteX244" fmla="*/ 309478 w 496421"/>
                  <a:gd name="connsiteY244" fmla="*/ 583521 h 857455"/>
                  <a:gd name="connsiteX245" fmla="*/ 317602 w 496421"/>
                  <a:gd name="connsiteY245" fmla="*/ 574269 h 857455"/>
                  <a:gd name="connsiteX246" fmla="*/ 317150 w 496421"/>
                  <a:gd name="connsiteY246" fmla="*/ 564567 h 857455"/>
                  <a:gd name="connsiteX247" fmla="*/ 314443 w 496421"/>
                  <a:gd name="connsiteY247" fmla="*/ 563438 h 857455"/>
                  <a:gd name="connsiteX248" fmla="*/ 291201 w 496421"/>
                  <a:gd name="connsiteY248" fmla="*/ 559151 h 857455"/>
                  <a:gd name="connsiteX249" fmla="*/ 273601 w 496421"/>
                  <a:gd name="connsiteY249" fmla="*/ 541551 h 857455"/>
                  <a:gd name="connsiteX250" fmla="*/ 272924 w 496421"/>
                  <a:gd name="connsiteY250" fmla="*/ 532525 h 857455"/>
                  <a:gd name="connsiteX251" fmla="*/ 271570 w 496421"/>
                  <a:gd name="connsiteY251" fmla="*/ 509960 h 857455"/>
                  <a:gd name="connsiteX252" fmla="*/ 268411 w 496421"/>
                  <a:gd name="connsiteY252" fmla="*/ 493939 h 857455"/>
                  <a:gd name="connsiteX253" fmla="*/ 266380 w 496421"/>
                  <a:gd name="connsiteY253" fmla="*/ 486944 h 857455"/>
                  <a:gd name="connsiteX254" fmla="*/ 267057 w 496421"/>
                  <a:gd name="connsiteY254" fmla="*/ 477242 h 857455"/>
                  <a:gd name="connsiteX255" fmla="*/ 268636 w 496421"/>
                  <a:gd name="connsiteY255" fmla="*/ 464605 h 857455"/>
                  <a:gd name="connsiteX256" fmla="*/ 279016 w 496421"/>
                  <a:gd name="connsiteY256" fmla="*/ 446328 h 857455"/>
                  <a:gd name="connsiteX257" fmla="*/ 291652 w 496421"/>
                  <a:gd name="connsiteY257" fmla="*/ 437302 h 857455"/>
                  <a:gd name="connsiteX258" fmla="*/ 293683 w 496421"/>
                  <a:gd name="connsiteY258" fmla="*/ 429630 h 857455"/>
                  <a:gd name="connsiteX259" fmla="*/ 297293 w 496421"/>
                  <a:gd name="connsiteY259" fmla="*/ 420830 h 857455"/>
                  <a:gd name="connsiteX260" fmla="*/ 300904 w 496421"/>
                  <a:gd name="connsiteY260" fmla="*/ 415414 h 857455"/>
                  <a:gd name="connsiteX261" fmla="*/ 318504 w 496421"/>
                  <a:gd name="connsiteY261" fmla="*/ 401199 h 857455"/>
                  <a:gd name="connsiteX262" fmla="*/ 357541 w 496421"/>
                  <a:gd name="connsiteY262" fmla="*/ 402553 h 857455"/>
                  <a:gd name="connsiteX263" fmla="*/ 379654 w 496421"/>
                  <a:gd name="connsiteY263" fmla="*/ 387209 h 857455"/>
                  <a:gd name="connsiteX264" fmla="*/ 383716 w 496421"/>
                  <a:gd name="connsiteY264" fmla="*/ 377055 h 857455"/>
                  <a:gd name="connsiteX265" fmla="*/ 390711 w 496421"/>
                  <a:gd name="connsiteY265" fmla="*/ 369383 h 857455"/>
                  <a:gd name="connsiteX266" fmla="*/ 392742 w 496421"/>
                  <a:gd name="connsiteY266" fmla="*/ 353362 h 857455"/>
                  <a:gd name="connsiteX267" fmla="*/ 392516 w 496421"/>
                  <a:gd name="connsiteY267" fmla="*/ 352234 h 857455"/>
                  <a:gd name="connsiteX268" fmla="*/ 399962 w 496421"/>
                  <a:gd name="connsiteY268" fmla="*/ 327864 h 857455"/>
                  <a:gd name="connsiteX269" fmla="*/ 402896 w 496421"/>
                  <a:gd name="connsiteY269" fmla="*/ 323351 h 857455"/>
                  <a:gd name="connsiteX270" fmla="*/ 415532 w 496421"/>
                  <a:gd name="connsiteY270" fmla="*/ 308684 h 857455"/>
                  <a:gd name="connsiteX271" fmla="*/ 422527 w 496421"/>
                  <a:gd name="connsiteY271" fmla="*/ 302817 h 857455"/>
                  <a:gd name="connsiteX272" fmla="*/ 422753 w 496421"/>
                  <a:gd name="connsiteY272" fmla="*/ 298755 h 857455"/>
                  <a:gd name="connsiteX273" fmla="*/ 421399 w 496421"/>
                  <a:gd name="connsiteY273" fmla="*/ 296273 h 857455"/>
                  <a:gd name="connsiteX274" fmla="*/ 421624 w 496421"/>
                  <a:gd name="connsiteY274" fmla="*/ 268293 h 857455"/>
                  <a:gd name="connsiteX275" fmla="*/ 442610 w 496421"/>
                  <a:gd name="connsiteY275" fmla="*/ 252949 h 857455"/>
                  <a:gd name="connsiteX276" fmla="*/ 452087 w 496421"/>
                  <a:gd name="connsiteY276" fmla="*/ 247759 h 857455"/>
                  <a:gd name="connsiteX277" fmla="*/ 474651 w 496421"/>
                  <a:gd name="connsiteY277" fmla="*/ 234898 h 857455"/>
                  <a:gd name="connsiteX278" fmla="*/ 478713 w 496421"/>
                  <a:gd name="connsiteY278" fmla="*/ 217974 h 857455"/>
                  <a:gd name="connsiteX279" fmla="*/ 476005 w 496421"/>
                  <a:gd name="connsiteY279" fmla="*/ 213010 h 857455"/>
                  <a:gd name="connsiteX280" fmla="*/ 473974 w 496421"/>
                  <a:gd name="connsiteY280" fmla="*/ 207369 h 857455"/>
                  <a:gd name="connsiteX281" fmla="*/ 481421 w 496421"/>
                  <a:gd name="connsiteY281" fmla="*/ 199471 h 857455"/>
                  <a:gd name="connsiteX282" fmla="*/ 513914 w 496421"/>
                  <a:gd name="connsiteY282" fmla="*/ 166752 h 857455"/>
                  <a:gd name="connsiteX283" fmla="*/ 503083 w 496421"/>
                  <a:gd name="connsiteY283" fmla="*/ 152988 h 857455"/>
                  <a:gd name="connsiteX284" fmla="*/ 498344 w 496421"/>
                  <a:gd name="connsiteY284" fmla="*/ 150055 h 857455"/>
                  <a:gd name="connsiteX285" fmla="*/ 498344 w 496421"/>
                  <a:gd name="connsiteY285" fmla="*/ 150055 h 857455"/>
                  <a:gd name="connsiteX286" fmla="*/ 476231 w 496421"/>
                  <a:gd name="connsiteY286" fmla="*/ 120269 h 857455"/>
                  <a:gd name="connsiteX287" fmla="*/ 477133 w 496421"/>
                  <a:gd name="connsiteY287" fmla="*/ 109213 h 857455"/>
                  <a:gd name="connsiteX288" fmla="*/ 474877 w 496421"/>
                  <a:gd name="connsiteY288" fmla="*/ 99284 h 857455"/>
                  <a:gd name="connsiteX289" fmla="*/ 468108 w 496421"/>
                  <a:gd name="connsiteY289" fmla="*/ 80556 h 857455"/>
                  <a:gd name="connsiteX290" fmla="*/ 468108 w 496421"/>
                  <a:gd name="connsiteY290" fmla="*/ 76494 h 857455"/>
                  <a:gd name="connsiteX291" fmla="*/ 464723 w 496421"/>
                  <a:gd name="connsiteY291" fmla="*/ 75366 h 857455"/>
                  <a:gd name="connsiteX292" fmla="*/ 450056 w 496421"/>
                  <a:gd name="connsiteY292" fmla="*/ 69273 h 857455"/>
                  <a:gd name="connsiteX293" fmla="*/ 435615 w 496421"/>
                  <a:gd name="connsiteY293" fmla="*/ 50319 h 857455"/>
                  <a:gd name="connsiteX294" fmla="*/ 423204 w 496421"/>
                  <a:gd name="connsiteY294" fmla="*/ 34073 h 857455"/>
                  <a:gd name="connsiteX295" fmla="*/ 421850 w 496421"/>
                  <a:gd name="connsiteY295" fmla="*/ 32944 h 857455"/>
                  <a:gd name="connsiteX296" fmla="*/ 414855 w 496421"/>
                  <a:gd name="connsiteY296" fmla="*/ 27754 h 857455"/>
                  <a:gd name="connsiteX297" fmla="*/ 401542 w 496421"/>
                  <a:gd name="connsiteY297" fmla="*/ 16472 h 857455"/>
                  <a:gd name="connsiteX298" fmla="*/ 399286 w 496421"/>
                  <a:gd name="connsiteY298" fmla="*/ 13539 h 857455"/>
                  <a:gd name="connsiteX299" fmla="*/ 384844 w 496421"/>
                  <a:gd name="connsiteY299" fmla="*/ 5415 h 857455"/>
                  <a:gd name="connsiteX300" fmla="*/ 381911 w 496421"/>
                  <a:gd name="connsiteY300" fmla="*/ 10154 h 857455"/>
                  <a:gd name="connsiteX301" fmla="*/ 375367 w 496421"/>
                  <a:gd name="connsiteY301" fmla="*/ 20534 h 857455"/>
                  <a:gd name="connsiteX302" fmla="*/ 364085 w 496421"/>
                  <a:gd name="connsiteY302" fmla="*/ 33621 h 857455"/>
                  <a:gd name="connsiteX303" fmla="*/ 323920 w 496421"/>
                  <a:gd name="connsiteY303" fmla="*/ 32042 h 857455"/>
                  <a:gd name="connsiteX304" fmla="*/ 317376 w 496421"/>
                  <a:gd name="connsiteY304" fmla="*/ 23242 h 857455"/>
                  <a:gd name="connsiteX305" fmla="*/ 313766 w 496421"/>
                  <a:gd name="connsiteY305" fmla="*/ 17375 h 857455"/>
                  <a:gd name="connsiteX306" fmla="*/ 305417 w 496421"/>
                  <a:gd name="connsiteY306" fmla="*/ 28431 h 857455"/>
                  <a:gd name="connsiteX307" fmla="*/ 268636 w 496421"/>
                  <a:gd name="connsiteY307" fmla="*/ 46709 h 857455"/>
                  <a:gd name="connsiteX308" fmla="*/ 230051 w 496421"/>
                  <a:gd name="connsiteY308" fmla="*/ 46709 h 857455"/>
                  <a:gd name="connsiteX309" fmla="*/ 203876 w 496421"/>
                  <a:gd name="connsiteY309" fmla="*/ 48063 h 857455"/>
                  <a:gd name="connsiteX310" fmla="*/ 188306 w 496421"/>
                  <a:gd name="connsiteY310" fmla="*/ 40391 h 857455"/>
                  <a:gd name="connsiteX311" fmla="*/ 169352 w 496421"/>
                  <a:gd name="connsiteY311" fmla="*/ 33396 h 857455"/>
                  <a:gd name="connsiteX312" fmla="*/ 166419 w 496421"/>
                  <a:gd name="connsiteY312" fmla="*/ 35878 h 857455"/>
                  <a:gd name="connsiteX313" fmla="*/ 172060 w 496421"/>
                  <a:gd name="connsiteY313" fmla="*/ 45580 h 857455"/>
                  <a:gd name="connsiteX314" fmla="*/ 179055 w 496421"/>
                  <a:gd name="connsiteY314" fmla="*/ 65212 h 857455"/>
                  <a:gd name="connsiteX315" fmla="*/ 172962 w 496421"/>
                  <a:gd name="connsiteY315" fmla="*/ 74012 h 857455"/>
                  <a:gd name="connsiteX316" fmla="*/ 171608 w 496421"/>
                  <a:gd name="connsiteY316" fmla="*/ 81458 h 857455"/>
                  <a:gd name="connsiteX317" fmla="*/ 185824 w 496421"/>
                  <a:gd name="connsiteY317" fmla="*/ 88679 h 857455"/>
                  <a:gd name="connsiteX318" fmla="*/ 193496 w 496421"/>
                  <a:gd name="connsiteY318" fmla="*/ 85294 h 857455"/>
                  <a:gd name="connsiteX319" fmla="*/ 202973 w 496421"/>
                  <a:gd name="connsiteY319" fmla="*/ 86648 h 857455"/>
                  <a:gd name="connsiteX320" fmla="*/ 209743 w 496421"/>
                  <a:gd name="connsiteY320" fmla="*/ 89356 h 857455"/>
                  <a:gd name="connsiteX321" fmla="*/ 217866 w 496421"/>
                  <a:gd name="connsiteY321" fmla="*/ 95448 h 857455"/>
                  <a:gd name="connsiteX322" fmla="*/ 223733 w 496421"/>
                  <a:gd name="connsiteY322" fmla="*/ 101992 h 857455"/>
                  <a:gd name="connsiteX323" fmla="*/ 230051 w 496421"/>
                  <a:gd name="connsiteY323" fmla="*/ 104474 h 857455"/>
                  <a:gd name="connsiteX324" fmla="*/ 241784 w 496421"/>
                  <a:gd name="connsiteY324" fmla="*/ 123203 h 857455"/>
                  <a:gd name="connsiteX325" fmla="*/ 238400 w 496421"/>
                  <a:gd name="connsiteY325" fmla="*/ 131326 h 857455"/>
                  <a:gd name="connsiteX326" fmla="*/ 236820 w 496421"/>
                  <a:gd name="connsiteY326" fmla="*/ 134485 h 857455"/>
                  <a:gd name="connsiteX327" fmla="*/ 235692 w 496421"/>
                  <a:gd name="connsiteY327" fmla="*/ 138095 h 857455"/>
                  <a:gd name="connsiteX328" fmla="*/ 233210 w 496421"/>
                  <a:gd name="connsiteY328" fmla="*/ 138772 h 857455"/>
                  <a:gd name="connsiteX329" fmla="*/ 227343 w 496421"/>
                  <a:gd name="connsiteY329" fmla="*/ 144639 h 857455"/>
                  <a:gd name="connsiteX330" fmla="*/ 217640 w 496421"/>
                  <a:gd name="connsiteY330" fmla="*/ 157727 h 857455"/>
                  <a:gd name="connsiteX331" fmla="*/ 213579 w 496421"/>
                  <a:gd name="connsiteY331" fmla="*/ 160434 h 857455"/>
                  <a:gd name="connsiteX332" fmla="*/ 206584 w 496421"/>
                  <a:gd name="connsiteY332" fmla="*/ 163819 h 857455"/>
                  <a:gd name="connsiteX333" fmla="*/ 198235 w 496421"/>
                  <a:gd name="connsiteY333" fmla="*/ 170814 h 857455"/>
                  <a:gd name="connsiteX334" fmla="*/ 192368 w 496421"/>
                  <a:gd name="connsiteY334" fmla="*/ 187512 h 857455"/>
                  <a:gd name="connsiteX335" fmla="*/ 188983 w 496421"/>
                  <a:gd name="connsiteY335" fmla="*/ 199020 h 857455"/>
                  <a:gd name="connsiteX336" fmla="*/ 187178 w 496421"/>
                  <a:gd name="connsiteY336" fmla="*/ 203533 h 857455"/>
                  <a:gd name="connsiteX337" fmla="*/ 179732 w 496421"/>
                  <a:gd name="connsiteY337" fmla="*/ 212107 h 857455"/>
                  <a:gd name="connsiteX338" fmla="*/ 145434 w 496421"/>
                  <a:gd name="connsiteY338" fmla="*/ 228128 h 857455"/>
                  <a:gd name="connsiteX339" fmla="*/ 140244 w 496421"/>
                  <a:gd name="connsiteY339" fmla="*/ 227677 h 857455"/>
                  <a:gd name="connsiteX340" fmla="*/ 124674 w 496421"/>
                  <a:gd name="connsiteY340" fmla="*/ 229708 h 857455"/>
                  <a:gd name="connsiteX341" fmla="*/ 119936 w 496421"/>
                  <a:gd name="connsiteY341" fmla="*/ 237154 h 857455"/>
                  <a:gd name="connsiteX342" fmla="*/ 110458 w 496421"/>
                  <a:gd name="connsiteY342" fmla="*/ 251595 h 857455"/>
                  <a:gd name="connsiteX343" fmla="*/ 102787 w 496421"/>
                  <a:gd name="connsiteY343" fmla="*/ 257914 h 857455"/>
                  <a:gd name="connsiteX344" fmla="*/ 94663 w 496421"/>
                  <a:gd name="connsiteY344" fmla="*/ 272129 h 857455"/>
                  <a:gd name="connsiteX345" fmla="*/ 86540 w 496421"/>
                  <a:gd name="connsiteY345" fmla="*/ 284088 h 857455"/>
                  <a:gd name="connsiteX346" fmla="*/ 82253 w 496421"/>
                  <a:gd name="connsiteY346" fmla="*/ 291986 h 857455"/>
                  <a:gd name="connsiteX347" fmla="*/ 82253 w 496421"/>
                  <a:gd name="connsiteY347" fmla="*/ 302140 h 857455"/>
                  <a:gd name="connsiteX348" fmla="*/ 73904 w 496421"/>
                  <a:gd name="connsiteY348" fmla="*/ 322223 h 857455"/>
                  <a:gd name="connsiteX349" fmla="*/ 62847 w 496421"/>
                  <a:gd name="connsiteY349" fmla="*/ 348172 h 857455"/>
                  <a:gd name="connsiteX350" fmla="*/ 63073 w 496421"/>
                  <a:gd name="connsiteY350" fmla="*/ 356070 h 857455"/>
                  <a:gd name="connsiteX351" fmla="*/ 59237 w 496421"/>
                  <a:gd name="connsiteY351" fmla="*/ 381567 h 857455"/>
                  <a:gd name="connsiteX352" fmla="*/ 54724 w 496421"/>
                  <a:gd name="connsiteY352" fmla="*/ 388788 h 857455"/>
                  <a:gd name="connsiteX353" fmla="*/ 52693 w 496421"/>
                  <a:gd name="connsiteY353" fmla="*/ 393527 h 857455"/>
                  <a:gd name="connsiteX354" fmla="*/ 41411 w 496421"/>
                  <a:gd name="connsiteY354" fmla="*/ 395558 h 857455"/>
                  <a:gd name="connsiteX355" fmla="*/ 40734 w 496421"/>
                  <a:gd name="connsiteY355" fmla="*/ 395332 h 857455"/>
                  <a:gd name="connsiteX356" fmla="*/ 39606 w 496421"/>
                  <a:gd name="connsiteY356" fmla="*/ 396460 h 857455"/>
                  <a:gd name="connsiteX357" fmla="*/ 36672 w 496421"/>
                  <a:gd name="connsiteY357" fmla="*/ 399168 h 857455"/>
                  <a:gd name="connsiteX358" fmla="*/ 28549 w 496421"/>
                  <a:gd name="connsiteY358" fmla="*/ 428051 h 857455"/>
                  <a:gd name="connsiteX359" fmla="*/ 36447 w 496421"/>
                  <a:gd name="connsiteY359" fmla="*/ 438656 h 857455"/>
                  <a:gd name="connsiteX360" fmla="*/ 39831 w 496421"/>
                  <a:gd name="connsiteY360" fmla="*/ 451969 h 857455"/>
                  <a:gd name="connsiteX361" fmla="*/ 40282 w 496421"/>
                  <a:gd name="connsiteY361" fmla="*/ 466185 h 857455"/>
                  <a:gd name="connsiteX362" fmla="*/ 38477 w 496421"/>
                  <a:gd name="connsiteY362" fmla="*/ 478370 h 857455"/>
                  <a:gd name="connsiteX363" fmla="*/ 36898 w 496421"/>
                  <a:gd name="connsiteY363" fmla="*/ 489201 h 857455"/>
                  <a:gd name="connsiteX364" fmla="*/ 41636 w 496421"/>
                  <a:gd name="connsiteY364" fmla="*/ 492811 h 857455"/>
                  <a:gd name="connsiteX365" fmla="*/ 45472 w 496421"/>
                  <a:gd name="connsiteY365" fmla="*/ 495745 h 857455"/>
                  <a:gd name="connsiteX366" fmla="*/ 44344 w 496421"/>
                  <a:gd name="connsiteY366" fmla="*/ 500257 h 857455"/>
                  <a:gd name="connsiteX367" fmla="*/ 42088 w 496421"/>
                  <a:gd name="connsiteY367" fmla="*/ 509960 h 857455"/>
                  <a:gd name="connsiteX368" fmla="*/ 37349 w 496421"/>
                  <a:gd name="connsiteY368" fmla="*/ 523950 h 857455"/>
                  <a:gd name="connsiteX369" fmla="*/ 32611 w 496421"/>
                  <a:gd name="connsiteY369" fmla="*/ 527786 h 857455"/>
                  <a:gd name="connsiteX370" fmla="*/ 24939 w 496421"/>
                  <a:gd name="connsiteY370" fmla="*/ 540422 h 857455"/>
                  <a:gd name="connsiteX371" fmla="*/ 28775 w 496421"/>
                  <a:gd name="connsiteY371" fmla="*/ 543356 h 857455"/>
                  <a:gd name="connsiteX372" fmla="*/ 37575 w 496421"/>
                  <a:gd name="connsiteY372" fmla="*/ 564115 h 857455"/>
                  <a:gd name="connsiteX373" fmla="*/ 37575 w 496421"/>
                  <a:gd name="connsiteY373" fmla="*/ 564792 h 857455"/>
                  <a:gd name="connsiteX374" fmla="*/ 33513 w 496421"/>
                  <a:gd name="connsiteY374" fmla="*/ 570433 h 857455"/>
                  <a:gd name="connsiteX375" fmla="*/ 30128 w 496421"/>
                  <a:gd name="connsiteY375" fmla="*/ 577880 h 857455"/>
                  <a:gd name="connsiteX376" fmla="*/ 37349 w 496421"/>
                  <a:gd name="connsiteY376" fmla="*/ 586229 h 857455"/>
                  <a:gd name="connsiteX377" fmla="*/ 46375 w 496421"/>
                  <a:gd name="connsiteY377" fmla="*/ 595706 h 857455"/>
                  <a:gd name="connsiteX378" fmla="*/ 47955 w 496421"/>
                  <a:gd name="connsiteY378" fmla="*/ 599316 h 857455"/>
                  <a:gd name="connsiteX379" fmla="*/ 58785 w 496421"/>
                  <a:gd name="connsiteY379" fmla="*/ 616691 h 857455"/>
                  <a:gd name="connsiteX380" fmla="*/ 60816 w 496421"/>
                  <a:gd name="connsiteY380" fmla="*/ 617819 h 857455"/>
                  <a:gd name="connsiteX381" fmla="*/ 77740 w 496421"/>
                  <a:gd name="connsiteY381" fmla="*/ 640158 h 857455"/>
                  <a:gd name="connsiteX382" fmla="*/ 61493 w 496421"/>
                  <a:gd name="connsiteY382" fmla="*/ 660692 h 857455"/>
                  <a:gd name="connsiteX383" fmla="*/ 58560 w 496421"/>
                  <a:gd name="connsiteY383" fmla="*/ 661143 h 857455"/>
                  <a:gd name="connsiteX384" fmla="*/ 44795 w 496421"/>
                  <a:gd name="connsiteY384" fmla="*/ 657533 h 857455"/>
                  <a:gd name="connsiteX385" fmla="*/ 41185 w 496421"/>
                  <a:gd name="connsiteY385" fmla="*/ 655953 h 857455"/>
                  <a:gd name="connsiteX386" fmla="*/ 26518 w 496421"/>
                  <a:gd name="connsiteY386" fmla="*/ 663400 h 857455"/>
                  <a:gd name="connsiteX387" fmla="*/ 24487 w 496421"/>
                  <a:gd name="connsiteY387" fmla="*/ 665656 h 857455"/>
                  <a:gd name="connsiteX388" fmla="*/ 9369 w 496421"/>
                  <a:gd name="connsiteY388" fmla="*/ 692733 h 857455"/>
                  <a:gd name="connsiteX389" fmla="*/ 3953 w 496421"/>
                  <a:gd name="connsiteY389" fmla="*/ 718683 h 857455"/>
                  <a:gd name="connsiteX390" fmla="*/ 3051 w 496421"/>
                  <a:gd name="connsiteY390" fmla="*/ 728837 h 857455"/>
                  <a:gd name="connsiteX391" fmla="*/ 3502 w 496421"/>
                  <a:gd name="connsiteY391" fmla="*/ 733124 h 857455"/>
                  <a:gd name="connsiteX392" fmla="*/ 12302 w 496421"/>
                  <a:gd name="connsiteY392" fmla="*/ 745986 h 857455"/>
                  <a:gd name="connsiteX393" fmla="*/ 19297 w 496421"/>
                  <a:gd name="connsiteY393" fmla="*/ 749596 h 857455"/>
                  <a:gd name="connsiteX394" fmla="*/ 41185 w 496421"/>
                  <a:gd name="connsiteY394" fmla="*/ 757494 h 857455"/>
                  <a:gd name="connsiteX395" fmla="*/ 70745 w 496421"/>
                  <a:gd name="connsiteY395" fmla="*/ 797208 h 857455"/>
                  <a:gd name="connsiteX396" fmla="*/ 73001 w 496421"/>
                  <a:gd name="connsiteY396" fmla="*/ 813454 h 857455"/>
                  <a:gd name="connsiteX397" fmla="*/ 74806 w 496421"/>
                  <a:gd name="connsiteY397" fmla="*/ 812552 h 857455"/>
                  <a:gd name="connsiteX398" fmla="*/ 79545 w 496421"/>
                  <a:gd name="connsiteY398" fmla="*/ 809392 h 85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</a:cxnLst>
                <a:rect l="l" t="t" r="r" b="b"/>
                <a:pathLst>
                  <a:path w="496421" h="857455">
                    <a:moveTo>
                      <a:pt x="98274" y="869414"/>
                    </a:moveTo>
                    <a:lnTo>
                      <a:pt x="99176" y="866707"/>
                    </a:lnTo>
                    <a:cubicBezTo>
                      <a:pt x="100079" y="863773"/>
                      <a:pt x="100304" y="861065"/>
                      <a:pt x="99627" y="859035"/>
                    </a:cubicBezTo>
                    <a:cubicBezTo>
                      <a:pt x="98274" y="855424"/>
                      <a:pt x="98274" y="851588"/>
                      <a:pt x="98499" y="847076"/>
                    </a:cubicBezTo>
                    <a:cubicBezTo>
                      <a:pt x="98725" y="843239"/>
                      <a:pt x="98725" y="838727"/>
                      <a:pt x="98048" y="832860"/>
                    </a:cubicBezTo>
                    <a:cubicBezTo>
                      <a:pt x="97371" y="826090"/>
                      <a:pt x="96694" y="826090"/>
                      <a:pt x="94889" y="825639"/>
                    </a:cubicBezTo>
                    <a:cubicBezTo>
                      <a:pt x="93084" y="825414"/>
                      <a:pt x="90602" y="824962"/>
                      <a:pt x="87217" y="822254"/>
                    </a:cubicBezTo>
                    <a:cubicBezTo>
                      <a:pt x="83607" y="819547"/>
                      <a:pt x="82027" y="816613"/>
                      <a:pt x="80899" y="814808"/>
                    </a:cubicBezTo>
                    <a:cubicBezTo>
                      <a:pt x="80447" y="814131"/>
                      <a:pt x="79996" y="813229"/>
                      <a:pt x="79771" y="813003"/>
                    </a:cubicBezTo>
                    <a:cubicBezTo>
                      <a:pt x="79771" y="813003"/>
                      <a:pt x="79319" y="813229"/>
                      <a:pt x="77965" y="814131"/>
                    </a:cubicBezTo>
                    <a:cubicBezTo>
                      <a:pt x="75935" y="815711"/>
                      <a:pt x="73904" y="816162"/>
                      <a:pt x="72324" y="815259"/>
                    </a:cubicBezTo>
                    <a:cubicBezTo>
                      <a:pt x="68714" y="813454"/>
                      <a:pt x="68037" y="806685"/>
                      <a:pt x="68037" y="795628"/>
                    </a:cubicBezTo>
                    <a:cubicBezTo>
                      <a:pt x="68037" y="784120"/>
                      <a:pt x="58334" y="771484"/>
                      <a:pt x="40282" y="759074"/>
                    </a:cubicBezTo>
                    <a:cubicBezTo>
                      <a:pt x="30580" y="752530"/>
                      <a:pt x="24713" y="752079"/>
                      <a:pt x="20200" y="751853"/>
                    </a:cubicBezTo>
                    <a:cubicBezTo>
                      <a:pt x="16138" y="751627"/>
                      <a:pt x="12754" y="751401"/>
                      <a:pt x="10046" y="746212"/>
                    </a:cubicBezTo>
                    <a:cubicBezTo>
                      <a:pt x="7112" y="740796"/>
                      <a:pt x="4856" y="736735"/>
                      <a:pt x="1697" y="734027"/>
                    </a:cubicBezTo>
                    <a:lnTo>
                      <a:pt x="1020" y="733350"/>
                    </a:lnTo>
                    <a:lnTo>
                      <a:pt x="1020" y="732447"/>
                    </a:lnTo>
                    <a:cubicBezTo>
                      <a:pt x="1020" y="731093"/>
                      <a:pt x="794" y="729514"/>
                      <a:pt x="569" y="727709"/>
                    </a:cubicBezTo>
                    <a:cubicBezTo>
                      <a:pt x="-108" y="723196"/>
                      <a:pt x="-785" y="718006"/>
                      <a:pt x="2374" y="714395"/>
                    </a:cubicBezTo>
                    <a:cubicBezTo>
                      <a:pt x="7112" y="708980"/>
                      <a:pt x="8241" y="703790"/>
                      <a:pt x="6887" y="691380"/>
                    </a:cubicBezTo>
                    <a:cubicBezTo>
                      <a:pt x="5759" y="680097"/>
                      <a:pt x="16815" y="667912"/>
                      <a:pt x="22908" y="661369"/>
                    </a:cubicBezTo>
                    <a:cubicBezTo>
                      <a:pt x="23585" y="660466"/>
                      <a:pt x="24262" y="659789"/>
                      <a:pt x="24939" y="659112"/>
                    </a:cubicBezTo>
                    <a:cubicBezTo>
                      <a:pt x="28775" y="654825"/>
                      <a:pt x="36447" y="650086"/>
                      <a:pt x="42539" y="650538"/>
                    </a:cubicBezTo>
                    <a:cubicBezTo>
                      <a:pt x="45247" y="650538"/>
                      <a:pt x="47503" y="651666"/>
                      <a:pt x="49083" y="653697"/>
                    </a:cubicBezTo>
                    <a:cubicBezTo>
                      <a:pt x="51565" y="656856"/>
                      <a:pt x="54724" y="656630"/>
                      <a:pt x="59237" y="655953"/>
                    </a:cubicBezTo>
                    <a:cubicBezTo>
                      <a:pt x="60365" y="655728"/>
                      <a:pt x="61719" y="655502"/>
                      <a:pt x="62622" y="655502"/>
                    </a:cubicBezTo>
                    <a:cubicBezTo>
                      <a:pt x="65555" y="655502"/>
                      <a:pt x="74581" y="649635"/>
                      <a:pt x="75258" y="638578"/>
                    </a:cubicBezTo>
                    <a:cubicBezTo>
                      <a:pt x="75709" y="628424"/>
                      <a:pt x="66683" y="623460"/>
                      <a:pt x="60139" y="619624"/>
                    </a:cubicBezTo>
                    <a:cubicBezTo>
                      <a:pt x="59462" y="619173"/>
                      <a:pt x="58560" y="618722"/>
                      <a:pt x="57883" y="618270"/>
                    </a:cubicBezTo>
                    <a:cubicBezTo>
                      <a:pt x="52016" y="614660"/>
                      <a:pt x="48857" y="607214"/>
                      <a:pt x="45472" y="599090"/>
                    </a:cubicBezTo>
                    <a:cubicBezTo>
                      <a:pt x="45021" y="597962"/>
                      <a:pt x="44570" y="596608"/>
                      <a:pt x="43893" y="595480"/>
                    </a:cubicBezTo>
                    <a:cubicBezTo>
                      <a:pt x="42313" y="591870"/>
                      <a:pt x="39380" y="589613"/>
                      <a:pt x="36221" y="587583"/>
                    </a:cubicBezTo>
                    <a:cubicBezTo>
                      <a:pt x="32611" y="585100"/>
                      <a:pt x="28775" y="582393"/>
                      <a:pt x="27421" y="576977"/>
                    </a:cubicBezTo>
                    <a:cubicBezTo>
                      <a:pt x="26067" y="570659"/>
                      <a:pt x="29677" y="567726"/>
                      <a:pt x="32159" y="565695"/>
                    </a:cubicBezTo>
                    <a:cubicBezTo>
                      <a:pt x="33739" y="564341"/>
                      <a:pt x="34641" y="563664"/>
                      <a:pt x="34867" y="562536"/>
                    </a:cubicBezTo>
                    <a:lnTo>
                      <a:pt x="34867" y="561859"/>
                    </a:lnTo>
                    <a:cubicBezTo>
                      <a:pt x="35770" y="555089"/>
                      <a:pt x="35995" y="547418"/>
                      <a:pt x="28549" y="545161"/>
                    </a:cubicBezTo>
                    <a:cubicBezTo>
                      <a:pt x="24939" y="544033"/>
                      <a:pt x="22908" y="542228"/>
                      <a:pt x="22231" y="539520"/>
                    </a:cubicBezTo>
                    <a:cubicBezTo>
                      <a:pt x="21328" y="535458"/>
                      <a:pt x="24036" y="530043"/>
                      <a:pt x="31031" y="523273"/>
                    </a:cubicBezTo>
                    <a:cubicBezTo>
                      <a:pt x="33062" y="521242"/>
                      <a:pt x="34641" y="520114"/>
                      <a:pt x="35995" y="518986"/>
                    </a:cubicBezTo>
                    <a:cubicBezTo>
                      <a:pt x="39380" y="516504"/>
                      <a:pt x="40282" y="515601"/>
                      <a:pt x="39154" y="508606"/>
                    </a:cubicBezTo>
                    <a:cubicBezTo>
                      <a:pt x="38026" y="502288"/>
                      <a:pt x="40508" y="498452"/>
                      <a:pt x="41862" y="496196"/>
                    </a:cubicBezTo>
                    <a:cubicBezTo>
                      <a:pt x="42088" y="495745"/>
                      <a:pt x="42313" y="495293"/>
                      <a:pt x="42539" y="495068"/>
                    </a:cubicBezTo>
                    <a:cubicBezTo>
                      <a:pt x="42313" y="494842"/>
                      <a:pt x="41862" y="494616"/>
                      <a:pt x="41185" y="494391"/>
                    </a:cubicBezTo>
                    <a:cubicBezTo>
                      <a:pt x="37575" y="493262"/>
                      <a:pt x="35318" y="491232"/>
                      <a:pt x="34190" y="488749"/>
                    </a:cubicBezTo>
                    <a:cubicBezTo>
                      <a:pt x="32611" y="485365"/>
                      <a:pt x="33062" y="481077"/>
                      <a:pt x="35770" y="474985"/>
                    </a:cubicBezTo>
                    <a:cubicBezTo>
                      <a:pt x="37800" y="470246"/>
                      <a:pt x="37575" y="468667"/>
                      <a:pt x="37349" y="464605"/>
                    </a:cubicBezTo>
                    <a:cubicBezTo>
                      <a:pt x="37123" y="461446"/>
                      <a:pt x="36672" y="457385"/>
                      <a:pt x="36898" y="449938"/>
                    </a:cubicBezTo>
                    <a:cubicBezTo>
                      <a:pt x="37123" y="441364"/>
                      <a:pt x="36672" y="440913"/>
                      <a:pt x="35093" y="439784"/>
                    </a:cubicBezTo>
                    <a:cubicBezTo>
                      <a:pt x="33062" y="438430"/>
                      <a:pt x="30128" y="436174"/>
                      <a:pt x="25841" y="427599"/>
                    </a:cubicBezTo>
                    <a:cubicBezTo>
                      <a:pt x="17492" y="410450"/>
                      <a:pt x="27421" y="400973"/>
                      <a:pt x="34641" y="394204"/>
                    </a:cubicBezTo>
                    <a:cubicBezTo>
                      <a:pt x="35544" y="393301"/>
                      <a:pt x="36672" y="392399"/>
                      <a:pt x="37349" y="391496"/>
                    </a:cubicBezTo>
                    <a:cubicBezTo>
                      <a:pt x="38026" y="390819"/>
                      <a:pt x="38477" y="390142"/>
                      <a:pt x="38929" y="389691"/>
                    </a:cubicBezTo>
                    <a:lnTo>
                      <a:pt x="39831" y="388563"/>
                    </a:lnTo>
                    <a:lnTo>
                      <a:pt x="42990" y="389691"/>
                    </a:lnTo>
                    <a:cubicBezTo>
                      <a:pt x="48631" y="391496"/>
                      <a:pt x="48631" y="391496"/>
                      <a:pt x="49534" y="389691"/>
                    </a:cubicBezTo>
                    <a:cubicBezTo>
                      <a:pt x="50437" y="387660"/>
                      <a:pt x="50888" y="386306"/>
                      <a:pt x="51339" y="385178"/>
                    </a:cubicBezTo>
                    <a:cubicBezTo>
                      <a:pt x="52467" y="382245"/>
                      <a:pt x="53144" y="380891"/>
                      <a:pt x="56755" y="376829"/>
                    </a:cubicBezTo>
                    <a:cubicBezTo>
                      <a:pt x="60139" y="372993"/>
                      <a:pt x="59914" y="363290"/>
                      <a:pt x="59688" y="354039"/>
                    </a:cubicBezTo>
                    <a:cubicBezTo>
                      <a:pt x="59688" y="351331"/>
                      <a:pt x="59462" y="348623"/>
                      <a:pt x="59462" y="346141"/>
                    </a:cubicBezTo>
                    <a:cubicBezTo>
                      <a:pt x="59462" y="333956"/>
                      <a:pt x="59462" y="325156"/>
                      <a:pt x="72324" y="317033"/>
                    </a:cubicBezTo>
                    <a:cubicBezTo>
                      <a:pt x="79771" y="312294"/>
                      <a:pt x="79545" y="307781"/>
                      <a:pt x="79094" y="300335"/>
                    </a:cubicBezTo>
                    <a:cubicBezTo>
                      <a:pt x="78868" y="297176"/>
                      <a:pt x="78642" y="293566"/>
                      <a:pt x="79094" y="289730"/>
                    </a:cubicBezTo>
                    <a:cubicBezTo>
                      <a:pt x="79771" y="282735"/>
                      <a:pt x="82027" y="280929"/>
                      <a:pt x="85186" y="278899"/>
                    </a:cubicBezTo>
                    <a:cubicBezTo>
                      <a:pt x="87443" y="277545"/>
                      <a:pt x="89925" y="276191"/>
                      <a:pt x="91504" y="269196"/>
                    </a:cubicBezTo>
                    <a:cubicBezTo>
                      <a:pt x="94212" y="258590"/>
                      <a:pt x="96017" y="256560"/>
                      <a:pt x="100981" y="252949"/>
                    </a:cubicBezTo>
                    <a:cubicBezTo>
                      <a:pt x="102787" y="251595"/>
                      <a:pt x="105269" y="249790"/>
                      <a:pt x="108202" y="247082"/>
                    </a:cubicBezTo>
                    <a:cubicBezTo>
                      <a:pt x="113617" y="241893"/>
                      <a:pt x="115197" y="237831"/>
                      <a:pt x="116776" y="233995"/>
                    </a:cubicBezTo>
                    <a:cubicBezTo>
                      <a:pt x="118130" y="230610"/>
                      <a:pt x="119259" y="227451"/>
                      <a:pt x="122869" y="224969"/>
                    </a:cubicBezTo>
                    <a:cubicBezTo>
                      <a:pt x="128510" y="220682"/>
                      <a:pt x="135505" y="221584"/>
                      <a:pt x="141146" y="222261"/>
                    </a:cubicBezTo>
                    <a:cubicBezTo>
                      <a:pt x="142952" y="222487"/>
                      <a:pt x="144531" y="222713"/>
                      <a:pt x="145885" y="222713"/>
                    </a:cubicBezTo>
                    <a:cubicBezTo>
                      <a:pt x="150623" y="222713"/>
                      <a:pt x="166870" y="214589"/>
                      <a:pt x="178152" y="207369"/>
                    </a:cubicBezTo>
                    <a:cubicBezTo>
                      <a:pt x="183793" y="203758"/>
                      <a:pt x="183793" y="202856"/>
                      <a:pt x="183793" y="201728"/>
                    </a:cubicBezTo>
                    <a:cubicBezTo>
                      <a:pt x="183793" y="200374"/>
                      <a:pt x="184019" y="198568"/>
                      <a:pt x="186276" y="195409"/>
                    </a:cubicBezTo>
                    <a:cubicBezTo>
                      <a:pt x="188081" y="192927"/>
                      <a:pt x="188532" y="189543"/>
                      <a:pt x="188983" y="185707"/>
                    </a:cubicBezTo>
                    <a:cubicBezTo>
                      <a:pt x="189660" y="180291"/>
                      <a:pt x="190337" y="173747"/>
                      <a:pt x="195753" y="167204"/>
                    </a:cubicBezTo>
                    <a:cubicBezTo>
                      <a:pt x="201168" y="160660"/>
                      <a:pt x="203199" y="159757"/>
                      <a:pt x="205907" y="159080"/>
                    </a:cubicBezTo>
                    <a:cubicBezTo>
                      <a:pt x="207261" y="158629"/>
                      <a:pt x="208840" y="158178"/>
                      <a:pt x="211773" y="156147"/>
                    </a:cubicBezTo>
                    <a:cubicBezTo>
                      <a:pt x="213579" y="155019"/>
                      <a:pt x="214933" y="154116"/>
                      <a:pt x="216061" y="153439"/>
                    </a:cubicBezTo>
                    <a:cubicBezTo>
                      <a:pt x="219671" y="151183"/>
                      <a:pt x="219671" y="151183"/>
                      <a:pt x="224410" y="141706"/>
                    </a:cubicBezTo>
                    <a:cubicBezTo>
                      <a:pt x="228020" y="134711"/>
                      <a:pt x="230954" y="133582"/>
                      <a:pt x="233661" y="133582"/>
                    </a:cubicBezTo>
                    <a:cubicBezTo>
                      <a:pt x="233661" y="133357"/>
                      <a:pt x="233661" y="133357"/>
                      <a:pt x="233661" y="133131"/>
                    </a:cubicBezTo>
                    <a:cubicBezTo>
                      <a:pt x="233661" y="129295"/>
                      <a:pt x="235466" y="127941"/>
                      <a:pt x="236595" y="127039"/>
                    </a:cubicBezTo>
                    <a:cubicBezTo>
                      <a:pt x="237723" y="126136"/>
                      <a:pt x="238625" y="125459"/>
                      <a:pt x="238625" y="121849"/>
                    </a:cubicBezTo>
                    <a:cubicBezTo>
                      <a:pt x="238625" y="114177"/>
                      <a:pt x="238174" y="110567"/>
                      <a:pt x="229148" y="106731"/>
                    </a:cubicBezTo>
                    <a:cubicBezTo>
                      <a:pt x="226441" y="105602"/>
                      <a:pt x="224410" y="104925"/>
                      <a:pt x="223056" y="104474"/>
                    </a:cubicBezTo>
                    <a:cubicBezTo>
                      <a:pt x="218769" y="103120"/>
                      <a:pt x="217866" y="102443"/>
                      <a:pt x="214933" y="95674"/>
                    </a:cubicBezTo>
                    <a:cubicBezTo>
                      <a:pt x="213353" y="91838"/>
                      <a:pt x="212451" y="91838"/>
                      <a:pt x="210194" y="91838"/>
                    </a:cubicBezTo>
                    <a:cubicBezTo>
                      <a:pt x="207938" y="91612"/>
                      <a:pt x="205004" y="91612"/>
                      <a:pt x="201168" y="88228"/>
                    </a:cubicBezTo>
                    <a:cubicBezTo>
                      <a:pt x="198009" y="85745"/>
                      <a:pt x="198009" y="85745"/>
                      <a:pt x="196430" y="86874"/>
                    </a:cubicBezTo>
                    <a:cubicBezTo>
                      <a:pt x="194850" y="88228"/>
                      <a:pt x="192368" y="90258"/>
                      <a:pt x="186952" y="91161"/>
                    </a:cubicBezTo>
                    <a:cubicBezTo>
                      <a:pt x="175219" y="93192"/>
                      <a:pt x="170706" y="91838"/>
                      <a:pt x="168449" y="81007"/>
                    </a:cubicBezTo>
                    <a:cubicBezTo>
                      <a:pt x="167321" y="74915"/>
                      <a:pt x="167998" y="73335"/>
                      <a:pt x="170706" y="70401"/>
                    </a:cubicBezTo>
                    <a:cubicBezTo>
                      <a:pt x="172060" y="68822"/>
                      <a:pt x="173865" y="66791"/>
                      <a:pt x="176347" y="62278"/>
                    </a:cubicBezTo>
                    <a:cubicBezTo>
                      <a:pt x="178829" y="57765"/>
                      <a:pt x="174316" y="52124"/>
                      <a:pt x="169803" y="46709"/>
                    </a:cubicBezTo>
                    <a:cubicBezTo>
                      <a:pt x="165967" y="42196"/>
                      <a:pt x="162583" y="37683"/>
                      <a:pt x="163485" y="33621"/>
                    </a:cubicBezTo>
                    <a:cubicBezTo>
                      <a:pt x="163937" y="31590"/>
                      <a:pt x="165742" y="29785"/>
                      <a:pt x="168449" y="28657"/>
                    </a:cubicBezTo>
                    <a:cubicBezTo>
                      <a:pt x="177701" y="24595"/>
                      <a:pt x="184922" y="30688"/>
                      <a:pt x="191240" y="36103"/>
                    </a:cubicBezTo>
                    <a:cubicBezTo>
                      <a:pt x="195753" y="39939"/>
                      <a:pt x="199814" y="43324"/>
                      <a:pt x="203876" y="42873"/>
                    </a:cubicBezTo>
                    <a:cubicBezTo>
                      <a:pt x="215384" y="41519"/>
                      <a:pt x="210194" y="42873"/>
                      <a:pt x="230277" y="41519"/>
                    </a:cubicBezTo>
                    <a:cubicBezTo>
                      <a:pt x="250359" y="40165"/>
                      <a:pt x="254421" y="40165"/>
                      <a:pt x="269313" y="41519"/>
                    </a:cubicBezTo>
                    <a:cubicBezTo>
                      <a:pt x="283980" y="42647"/>
                      <a:pt x="290750" y="41519"/>
                      <a:pt x="302709" y="24821"/>
                    </a:cubicBezTo>
                    <a:cubicBezTo>
                      <a:pt x="305642" y="20759"/>
                      <a:pt x="308801" y="16472"/>
                      <a:pt x="312637" y="11959"/>
                    </a:cubicBezTo>
                    <a:lnTo>
                      <a:pt x="313991" y="10380"/>
                    </a:lnTo>
                    <a:lnTo>
                      <a:pt x="315571" y="11734"/>
                    </a:lnTo>
                    <a:cubicBezTo>
                      <a:pt x="319632" y="15570"/>
                      <a:pt x="320535" y="18277"/>
                      <a:pt x="321438" y="20534"/>
                    </a:cubicBezTo>
                    <a:cubicBezTo>
                      <a:pt x="322340" y="22790"/>
                      <a:pt x="323017" y="24595"/>
                      <a:pt x="326853" y="27754"/>
                    </a:cubicBezTo>
                    <a:cubicBezTo>
                      <a:pt x="334751" y="33847"/>
                      <a:pt x="354156" y="32493"/>
                      <a:pt x="363182" y="28657"/>
                    </a:cubicBezTo>
                    <a:cubicBezTo>
                      <a:pt x="367695" y="26626"/>
                      <a:pt x="369951" y="22339"/>
                      <a:pt x="372434" y="17375"/>
                    </a:cubicBezTo>
                    <a:cubicBezTo>
                      <a:pt x="374239" y="13764"/>
                      <a:pt x="376270" y="9928"/>
                      <a:pt x="379429" y="6318"/>
                    </a:cubicBezTo>
                    <a:cubicBezTo>
                      <a:pt x="380783" y="4964"/>
                      <a:pt x="381459" y="3385"/>
                      <a:pt x="381911" y="1580"/>
                    </a:cubicBezTo>
                    <a:lnTo>
                      <a:pt x="382362" y="0"/>
                    </a:lnTo>
                    <a:lnTo>
                      <a:pt x="383942" y="226"/>
                    </a:lnTo>
                    <a:cubicBezTo>
                      <a:pt x="396352" y="1580"/>
                      <a:pt x="399286" y="5415"/>
                      <a:pt x="402670" y="10154"/>
                    </a:cubicBezTo>
                    <a:cubicBezTo>
                      <a:pt x="403347" y="11057"/>
                      <a:pt x="404024" y="11959"/>
                      <a:pt x="404701" y="13088"/>
                    </a:cubicBezTo>
                    <a:cubicBezTo>
                      <a:pt x="408311" y="17375"/>
                      <a:pt x="412599" y="20534"/>
                      <a:pt x="417112" y="23693"/>
                    </a:cubicBezTo>
                    <a:cubicBezTo>
                      <a:pt x="419594" y="25498"/>
                      <a:pt x="422076" y="27077"/>
                      <a:pt x="424332" y="29108"/>
                    </a:cubicBezTo>
                    <a:lnTo>
                      <a:pt x="425686" y="30236"/>
                    </a:lnTo>
                    <a:cubicBezTo>
                      <a:pt x="431778" y="35201"/>
                      <a:pt x="435615" y="38360"/>
                      <a:pt x="439225" y="48063"/>
                    </a:cubicBezTo>
                    <a:cubicBezTo>
                      <a:pt x="442835" y="57540"/>
                      <a:pt x="442835" y="57540"/>
                      <a:pt x="452538" y="65437"/>
                    </a:cubicBezTo>
                    <a:cubicBezTo>
                      <a:pt x="457728" y="69725"/>
                      <a:pt x="462241" y="70176"/>
                      <a:pt x="465400" y="70627"/>
                    </a:cubicBezTo>
                    <a:cubicBezTo>
                      <a:pt x="468108" y="71079"/>
                      <a:pt x="471041" y="71304"/>
                      <a:pt x="471944" y="74463"/>
                    </a:cubicBezTo>
                    <a:cubicBezTo>
                      <a:pt x="472395" y="76043"/>
                      <a:pt x="472169" y="77848"/>
                      <a:pt x="472169" y="79879"/>
                    </a:cubicBezTo>
                    <a:cubicBezTo>
                      <a:pt x="471944" y="84617"/>
                      <a:pt x="471492" y="90258"/>
                      <a:pt x="477585" y="95448"/>
                    </a:cubicBezTo>
                    <a:cubicBezTo>
                      <a:pt x="483903" y="101089"/>
                      <a:pt x="482323" y="105602"/>
                      <a:pt x="480744" y="109664"/>
                    </a:cubicBezTo>
                    <a:cubicBezTo>
                      <a:pt x="479841" y="112372"/>
                      <a:pt x="478713" y="114854"/>
                      <a:pt x="479841" y="118239"/>
                    </a:cubicBezTo>
                    <a:cubicBezTo>
                      <a:pt x="482775" y="126813"/>
                      <a:pt x="489770" y="139224"/>
                      <a:pt x="500375" y="145993"/>
                    </a:cubicBezTo>
                    <a:lnTo>
                      <a:pt x="500375" y="145993"/>
                    </a:lnTo>
                    <a:cubicBezTo>
                      <a:pt x="501954" y="147121"/>
                      <a:pt x="503534" y="148024"/>
                      <a:pt x="505113" y="148926"/>
                    </a:cubicBezTo>
                    <a:cubicBezTo>
                      <a:pt x="513462" y="154116"/>
                      <a:pt x="520006" y="158178"/>
                      <a:pt x="517524" y="166978"/>
                    </a:cubicBezTo>
                    <a:cubicBezTo>
                      <a:pt x="514816" y="176230"/>
                      <a:pt x="495862" y="193604"/>
                      <a:pt x="483451" y="201953"/>
                    </a:cubicBezTo>
                    <a:cubicBezTo>
                      <a:pt x="479841" y="204435"/>
                      <a:pt x="477810" y="206241"/>
                      <a:pt x="477585" y="207369"/>
                    </a:cubicBezTo>
                    <a:cubicBezTo>
                      <a:pt x="477585" y="208046"/>
                      <a:pt x="478036" y="208723"/>
                      <a:pt x="478939" y="210302"/>
                    </a:cubicBezTo>
                    <a:cubicBezTo>
                      <a:pt x="480067" y="211656"/>
                      <a:pt x="481195" y="213461"/>
                      <a:pt x="482098" y="215943"/>
                    </a:cubicBezTo>
                    <a:cubicBezTo>
                      <a:pt x="485708" y="225195"/>
                      <a:pt x="483000" y="235123"/>
                      <a:pt x="475780" y="237831"/>
                    </a:cubicBezTo>
                    <a:cubicBezTo>
                      <a:pt x="469913" y="240087"/>
                      <a:pt x="463820" y="243923"/>
                      <a:pt x="454118" y="250241"/>
                    </a:cubicBezTo>
                    <a:cubicBezTo>
                      <a:pt x="450733" y="252498"/>
                      <a:pt x="447348" y="254078"/>
                      <a:pt x="444189" y="255657"/>
                    </a:cubicBezTo>
                    <a:cubicBezTo>
                      <a:pt x="437420" y="259042"/>
                      <a:pt x="431102" y="262201"/>
                      <a:pt x="424332" y="270098"/>
                    </a:cubicBezTo>
                    <a:cubicBezTo>
                      <a:pt x="416209" y="279801"/>
                      <a:pt x="420722" y="287473"/>
                      <a:pt x="424558" y="293566"/>
                    </a:cubicBezTo>
                    <a:cubicBezTo>
                      <a:pt x="425009" y="294468"/>
                      <a:pt x="425686" y="295371"/>
                      <a:pt x="426137" y="296048"/>
                    </a:cubicBezTo>
                    <a:cubicBezTo>
                      <a:pt x="427491" y="298530"/>
                      <a:pt x="427266" y="301238"/>
                      <a:pt x="425686" y="304171"/>
                    </a:cubicBezTo>
                    <a:cubicBezTo>
                      <a:pt x="423430" y="308007"/>
                      <a:pt x="418014" y="311617"/>
                      <a:pt x="415532" y="311617"/>
                    </a:cubicBezTo>
                    <a:cubicBezTo>
                      <a:pt x="414178" y="312294"/>
                      <a:pt x="408763" y="320417"/>
                      <a:pt x="406055" y="324705"/>
                    </a:cubicBezTo>
                    <a:cubicBezTo>
                      <a:pt x="404927" y="326284"/>
                      <a:pt x="404024" y="327864"/>
                      <a:pt x="403121" y="329218"/>
                    </a:cubicBezTo>
                    <a:cubicBezTo>
                      <a:pt x="397480" y="337115"/>
                      <a:pt x="395224" y="344562"/>
                      <a:pt x="396352" y="350880"/>
                    </a:cubicBezTo>
                    <a:lnTo>
                      <a:pt x="396578" y="352008"/>
                    </a:lnTo>
                    <a:cubicBezTo>
                      <a:pt x="397932" y="360357"/>
                      <a:pt x="399737" y="370737"/>
                      <a:pt x="391613" y="372316"/>
                    </a:cubicBezTo>
                    <a:cubicBezTo>
                      <a:pt x="388680" y="372993"/>
                      <a:pt x="388454" y="373670"/>
                      <a:pt x="387326" y="377506"/>
                    </a:cubicBezTo>
                    <a:cubicBezTo>
                      <a:pt x="386649" y="379988"/>
                      <a:pt x="385521" y="383598"/>
                      <a:pt x="383039" y="388337"/>
                    </a:cubicBezTo>
                    <a:cubicBezTo>
                      <a:pt x="376495" y="401199"/>
                      <a:pt x="365213" y="406389"/>
                      <a:pt x="357315" y="405712"/>
                    </a:cubicBezTo>
                    <a:cubicBezTo>
                      <a:pt x="349643" y="405260"/>
                      <a:pt x="331366" y="404358"/>
                      <a:pt x="318504" y="404358"/>
                    </a:cubicBezTo>
                    <a:cubicBezTo>
                      <a:pt x="310832" y="404358"/>
                      <a:pt x="307448" y="410902"/>
                      <a:pt x="304289" y="416543"/>
                    </a:cubicBezTo>
                    <a:cubicBezTo>
                      <a:pt x="302709" y="419702"/>
                      <a:pt x="301130" y="422184"/>
                      <a:pt x="299324" y="423538"/>
                    </a:cubicBezTo>
                    <a:cubicBezTo>
                      <a:pt x="297745" y="424440"/>
                      <a:pt x="297745" y="426245"/>
                      <a:pt x="297519" y="429405"/>
                    </a:cubicBezTo>
                    <a:cubicBezTo>
                      <a:pt x="297293" y="432338"/>
                      <a:pt x="297068" y="435948"/>
                      <a:pt x="294811" y="439107"/>
                    </a:cubicBezTo>
                    <a:cubicBezTo>
                      <a:pt x="289396" y="446328"/>
                      <a:pt x="284432" y="449713"/>
                      <a:pt x="279242" y="449713"/>
                    </a:cubicBezTo>
                    <a:cubicBezTo>
                      <a:pt x="277437" y="449713"/>
                      <a:pt x="272698" y="449713"/>
                      <a:pt x="272698" y="464380"/>
                    </a:cubicBezTo>
                    <a:cubicBezTo>
                      <a:pt x="272698" y="470698"/>
                      <a:pt x="271795" y="474759"/>
                      <a:pt x="270893" y="477918"/>
                    </a:cubicBezTo>
                    <a:cubicBezTo>
                      <a:pt x="270216" y="481077"/>
                      <a:pt x="269539" y="483108"/>
                      <a:pt x="270216" y="486042"/>
                    </a:cubicBezTo>
                    <a:cubicBezTo>
                      <a:pt x="270667" y="488072"/>
                      <a:pt x="271344" y="490329"/>
                      <a:pt x="272021" y="492811"/>
                    </a:cubicBezTo>
                    <a:cubicBezTo>
                      <a:pt x="273601" y="498001"/>
                      <a:pt x="275406" y="503868"/>
                      <a:pt x="275406" y="509960"/>
                    </a:cubicBezTo>
                    <a:cubicBezTo>
                      <a:pt x="275406" y="515827"/>
                      <a:pt x="276083" y="524402"/>
                      <a:pt x="276534" y="532299"/>
                    </a:cubicBezTo>
                    <a:cubicBezTo>
                      <a:pt x="276760" y="535684"/>
                      <a:pt x="276985" y="538843"/>
                      <a:pt x="277211" y="541325"/>
                    </a:cubicBezTo>
                    <a:cubicBezTo>
                      <a:pt x="277662" y="548997"/>
                      <a:pt x="286914" y="553510"/>
                      <a:pt x="292555" y="555766"/>
                    </a:cubicBezTo>
                    <a:cubicBezTo>
                      <a:pt x="299550" y="558474"/>
                      <a:pt x="307448" y="559828"/>
                      <a:pt x="314443" y="559828"/>
                    </a:cubicBezTo>
                    <a:cubicBezTo>
                      <a:pt x="317376" y="559828"/>
                      <a:pt x="319181" y="561182"/>
                      <a:pt x="320084" y="562310"/>
                    </a:cubicBezTo>
                    <a:cubicBezTo>
                      <a:pt x="323017" y="565920"/>
                      <a:pt x="322115" y="572013"/>
                      <a:pt x="321438" y="575172"/>
                    </a:cubicBezTo>
                    <a:cubicBezTo>
                      <a:pt x="320535" y="578782"/>
                      <a:pt x="315796" y="586229"/>
                      <a:pt x="310381" y="587131"/>
                    </a:cubicBezTo>
                    <a:cubicBezTo>
                      <a:pt x="308350" y="587583"/>
                      <a:pt x="305191" y="587131"/>
                      <a:pt x="302483" y="583295"/>
                    </a:cubicBezTo>
                    <a:cubicBezTo>
                      <a:pt x="300001" y="579685"/>
                      <a:pt x="291878" y="579459"/>
                      <a:pt x="284657" y="579234"/>
                    </a:cubicBezTo>
                    <a:cubicBezTo>
                      <a:pt x="276308" y="579008"/>
                      <a:pt x="268636" y="578782"/>
                      <a:pt x="267283" y="573141"/>
                    </a:cubicBezTo>
                    <a:cubicBezTo>
                      <a:pt x="265703" y="565920"/>
                      <a:pt x="258257" y="559377"/>
                      <a:pt x="249005" y="557572"/>
                    </a:cubicBezTo>
                    <a:cubicBezTo>
                      <a:pt x="245395" y="556895"/>
                      <a:pt x="241784" y="553510"/>
                      <a:pt x="237949" y="549899"/>
                    </a:cubicBezTo>
                    <a:cubicBezTo>
                      <a:pt x="233661" y="546064"/>
                      <a:pt x="228697" y="541551"/>
                      <a:pt x="224861" y="542228"/>
                    </a:cubicBezTo>
                    <a:cubicBezTo>
                      <a:pt x="222830" y="542679"/>
                      <a:pt x="220799" y="544484"/>
                      <a:pt x="219220" y="548094"/>
                    </a:cubicBezTo>
                    <a:cubicBezTo>
                      <a:pt x="210645" y="565469"/>
                      <a:pt x="219671" y="576751"/>
                      <a:pt x="223507" y="581490"/>
                    </a:cubicBezTo>
                    <a:lnTo>
                      <a:pt x="223733" y="581716"/>
                    </a:lnTo>
                    <a:cubicBezTo>
                      <a:pt x="225989" y="584649"/>
                      <a:pt x="227569" y="589839"/>
                      <a:pt x="229148" y="595480"/>
                    </a:cubicBezTo>
                    <a:cubicBezTo>
                      <a:pt x="230502" y="599767"/>
                      <a:pt x="231630" y="604280"/>
                      <a:pt x="233210" y="607439"/>
                    </a:cubicBezTo>
                    <a:cubicBezTo>
                      <a:pt x="234564" y="609921"/>
                      <a:pt x="236369" y="612629"/>
                      <a:pt x="237949" y="615111"/>
                    </a:cubicBezTo>
                    <a:cubicBezTo>
                      <a:pt x="241333" y="620301"/>
                      <a:pt x="244718" y="625040"/>
                      <a:pt x="244718" y="629778"/>
                    </a:cubicBezTo>
                    <a:cubicBezTo>
                      <a:pt x="244718" y="633163"/>
                      <a:pt x="247651" y="640384"/>
                      <a:pt x="250585" y="648056"/>
                    </a:cubicBezTo>
                    <a:cubicBezTo>
                      <a:pt x="252841" y="653922"/>
                      <a:pt x="255323" y="660241"/>
                      <a:pt x="256903" y="665882"/>
                    </a:cubicBezTo>
                    <a:cubicBezTo>
                      <a:pt x="259385" y="674907"/>
                      <a:pt x="258257" y="680774"/>
                      <a:pt x="256451" y="689574"/>
                    </a:cubicBezTo>
                    <a:cubicBezTo>
                      <a:pt x="255549" y="694087"/>
                      <a:pt x="254195" y="699729"/>
                      <a:pt x="253292" y="707175"/>
                    </a:cubicBezTo>
                    <a:cubicBezTo>
                      <a:pt x="251036" y="725001"/>
                      <a:pt x="248103" y="727709"/>
                      <a:pt x="241559" y="731996"/>
                    </a:cubicBezTo>
                    <a:cubicBezTo>
                      <a:pt x="240431" y="732898"/>
                      <a:pt x="239077" y="733801"/>
                      <a:pt x="237497" y="734929"/>
                    </a:cubicBezTo>
                    <a:cubicBezTo>
                      <a:pt x="232759" y="738540"/>
                      <a:pt x="230051" y="743278"/>
                      <a:pt x="226666" y="748919"/>
                    </a:cubicBezTo>
                    <a:cubicBezTo>
                      <a:pt x="224184" y="753207"/>
                      <a:pt x="221702" y="757494"/>
                      <a:pt x="218092" y="761781"/>
                    </a:cubicBezTo>
                    <a:cubicBezTo>
                      <a:pt x="216287" y="763812"/>
                      <a:pt x="214707" y="766068"/>
                      <a:pt x="213127" y="768099"/>
                    </a:cubicBezTo>
                    <a:cubicBezTo>
                      <a:pt x="207035" y="775997"/>
                      <a:pt x="201168" y="783443"/>
                      <a:pt x="191240" y="789536"/>
                    </a:cubicBezTo>
                    <a:cubicBezTo>
                      <a:pt x="184245" y="793823"/>
                      <a:pt x="180860" y="801946"/>
                      <a:pt x="178152" y="808490"/>
                    </a:cubicBezTo>
                    <a:cubicBezTo>
                      <a:pt x="176347" y="813003"/>
                      <a:pt x="174768" y="816388"/>
                      <a:pt x="172511" y="817741"/>
                    </a:cubicBezTo>
                    <a:cubicBezTo>
                      <a:pt x="169803" y="819321"/>
                      <a:pt x="165742" y="828347"/>
                      <a:pt x="162357" y="836019"/>
                    </a:cubicBezTo>
                    <a:cubicBezTo>
                      <a:pt x="160778" y="839629"/>
                      <a:pt x="158972" y="843691"/>
                      <a:pt x="157393" y="847076"/>
                    </a:cubicBezTo>
                    <a:cubicBezTo>
                      <a:pt x="155813" y="850235"/>
                      <a:pt x="153557" y="854296"/>
                      <a:pt x="151300" y="858809"/>
                    </a:cubicBezTo>
                    <a:lnTo>
                      <a:pt x="150849" y="859712"/>
                    </a:lnTo>
                    <a:lnTo>
                      <a:pt x="149946" y="859937"/>
                    </a:lnTo>
                    <a:cubicBezTo>
                      <a:pt x="142049" y="861065"/>
                      <a:pt x="138890" y="861291"/>
                      <a:pt x="128736" y="859937"/>
                    </a:cubicBezTo>
                    <a:cubicBezTo>
                      <a:pt x="117002" y="858358"/>
                      <a:pt x="114971" y="862194"/>
                      <a:pt x="113166" y="865353"/>
                    </a:cubicBezTo>
                    <a:lnTo>
                      <a:pt x="112715" y="866030"/>
                    </a:lnTo>
                    <a:cubicBezTo>
                      <a:pt x="111587" y="868061"/>
                      <a:pt x="108653" y="868738"/>
                      <a:pt x="101433" y="869189"/>
                    </a:cubicBezTo>
                    <a:lnTo>
                      <a:pt x="98274" y="869414"/>
                    </a:lnTo>
                    <a:close/>
                    <a:moveTo>
                      <a:pt x="79545" y="809392"/>
                    </a:moveTo>
                    <a:cubicBezTo>
                      <a:pt x="79771" y="809392"/>
                      <a:pt x="79996" y="809392"/>
                      <a:pt x="80222" y="809392"/>
                    </a:cubicBezTo>
                    <a:cubicBezTo>
                      <a:pt x="82027" y="809618"/>
                      <a:pt x="82930" y="811198"/>
                      <a:pt x="83832" y="812777"/>
                    </a:cubicBezTo>
                    <a:cubicBezTo>
                      <a:pt x="84960" y="814582"/>
                      <a:pt x="86314" y="816839"/>
                      <a:pt x="89248" y="819321"/>
                    </a:cubicBezTo>
                    <a:cubicBezTo>
                      <a:pt x="91955" y="821352"/>
                      <a:pt x="93761" y="821577"/>
                      <a:pt x="95340" y="821803"/>
                    </a:cubicBezTo>
                    <a:cubicBezTo>
                      <a:pt x="99402" y="822480"/>
                      <a:pt x="100756" y="824060"/>
                      <a:pt x="101658" y="832183"/>
                    </a:cubicBezTo>
                    <a:cubicBezTo>
                      <a:pt x="102335" y="838275"/>
                      <a:pt x="102110" y="843239"/>
                      <a:pt x="102110" y="847076"/>
                    </a:cubicBezTo>
                    <a:cubicBezTo>
                      <a:pt x="101884" y="851588"/>
                      <a:pt x="101884" y="854747"/>
                      <a:pt x="103012" y="857681"/>
                    </a:cubicBezTo>
                    <a:cubicBezTo>
                      <a:pt x="103915" y="859712"/>
                      <a:pt x="103915" y="862419"/>
                      <a:pt x="103463" y="865127"/>
                    </a:cubicBezTo>
                    <a:cubicBezTo>
                      <a:pt x="107976" y="864676"/>
                      <a:pt x="109105" y="863999"/>
                      <a:pt x="109105" y="863999"/>
                    </a:cubicBezTo>
                    <a:lnTo>
                      <a:pt x="109330" y="863322"/>
                    </a:lnTo>
                    <a:cubicBezTo>
                      <a:pt x="111135" y="859937"/>
                      <a:pt x="114294" y="854070"/>
                      <a:pt x="128736" y="856101"/>
                    </a:cubicBezTo>
                    <a:cubicBezTo>
                      <a:pt x="137987" y="857230"/>
                      <a:pt x="140921" y="857230"/>
                      <a:pt x="147916" y="856327"/>
                    </a:cubicBezTo>
                    <a:cubicBezTo>
                      <a:pt x="150172" y="852265"/>
                      <a:pt x="152203" y="848204"/>
                      <a:pt x="153557" y="845496"/>
                    </a:cubicBezTo>
                    <a:cubicBezTo>
                      <a:pt x="155136" y="842111"/>
                      <a:pt x="156942" y="838275"/>
                      <a:pt x="158521" y="834665"/>
                    </a:cubicBezTo>
                    <a:cubicBezTo>
                      <a:pt x="162808" y="825188"/>
                      <a:pt x="166419" y="816839"/>
                      <a:pt x="170255" y="814582"/>
                    </a:cubicBezTo>
                    <a:cubicBezTo>
                      <a:pt x="171608" y="813906"/>
                      <a:pt x="172962" y="810295"/>
                      <a:pt x="174316" y="806911"/>
                    </a:cubicBezTo>
                    <a:cubicBezTo>
                      <a:pt x="177024" y="800367"/>
                      <a:pt x="180860" y="791341"/>
                      <a:pt x="188983" y="786377"/>
                    </a:cubicBezTo>
                    <a:cubicBezTo>
                      <a:pt x="198460" y="780510"/>
                      <a:pt x="203650" y="773741"/>
                      <a:pt x="209743" y="765843"/>
                    </a:cubicBezTo>
                    <a:cubicBezTo>
                      <a:pt x="211322" y="763812"/>
                      <a:pt x="212902" y="761781"/>
                      <a:pt x="214707" y="759525"/>
                    </a:cubicBezTo>
                    <a:cubicBezTo>
                      <a:pt x="218092" y="755238"/>
                      <a:pt x="220574" y="751176"/>
                      <a:pt x="223056" y="747114"/>
                    </a:cubicBezTo>
                    <a:cubicBezTo>
                      <a:pt x="226441" y="741473"/>
                      <a:pt x="229600" y="736058"/>
                      <a:pt x="234789" y="731996"/>
                    </a:cubicBezTo>
                    <a:cubicBezTo>
                      <a:pt x="236369" y="730868"/>
                      <a:pt x="237723" y="729739"/>
                      <a:pt x="239077" y="729063"/>
                    </a:cubicBezTo>
                    <a:cubicBezTo>
                      <a:pt x="244492" y="725452"/>
                      <a:pt x="246974" y="723873"/>
                      <a:pt x="249231" y="706949"/>
                    </a:cubicBezTo>
                    <a:cubicBezTo>
                      <a:pt x="250133" y="699503"/>
                      <a:pt x="251487" y="693636"/>
                      <a:pt x="252390" y="689123"/>
                    </a:cubicBezTo>
                    <a:cubicBezTo>
                      <a:pt x="254195" y="680549"/>
                      <a:pt x="255323" y="675359"/>
                      <a:pt x="253067" y="667236"/>
                    </a:cubicBezTo>
                    <a:cubicBezTo>
                      <a:pt x="251487" y="661820"/>
                      <a:pt x="249231" y="655728"/>
                      <a:pt x="246749" y="649861"/>
                    </a:cubicBezTo>
                    <a:cubicBezTo>
                      <a:pt x="243590" y="641512"/>
                      <a:pt x="240656" y="634291"/>
                      <a:pt x="240656" y="630230"/>
                    </a:cubicBezTo>
                    <a:cubicBezTo>
                      <a:pt x="240656" y="626619"/>
                      <a:pt x="237723" y="622106"/>
                      <a:pt x="234564" y="617593"/>
                    </a:cubicBezTo>
                    <a:cubicBezTo>
                      <a:pt x="232759" y="614886"/>
                      <a:pt x="230954" y="612178"/>
                      <a:pt x="229600" y="609470"/>
                    </a:cubicBezTo>
                    <a:cubicBezTo>
                      <a:pt x="227795" y="605860"/>
                      <a:pt x="226441" y="601347"/>
                      <a:pt x="225312" y="596834"/>
                    </a:cubicBezTo>
                    <a:cubicBezTo>
                      <a:pt x="223958" y="591870"/>
                      <a:pt x="222379" y="586680"/>
                      <a:pt x="220574" y="584423"/>
                    </a:cubicBezTo>
                    <a:lnTo>
                      <a:pt x="220348" y="584198"/>
                    </a:lnTo>
                    <a:cubicBezTo>
                      <a:pt x="216512" y="579234"/>
                      <a:pt x="205907" y="566146"/>
                      <a:pt x="215610" y="546740"/>
                    </a:cubicBezTo>
                    <a:cubicBezTo>
                      <a:pt x="217866" y="542002"/>
                      <a:pt x="220574" y="539520"/>
                      <a:pt x="223958" y="538843"/>
                    </a:cubicBezTo>
                    <a:cubicBezTo>
                      <a:pt x="229600" y="537715"/>
                      <a:pt x="235015" y="542679"/>
                      <a:pt x="240205" y="547418"/>
                    </a:cubicBezTo>
                    <a:cubicBezTo>
                      <a:pt x="243590" y="550351"/>
                      <a:pt x="246974" y="553510"/>
                      <a:pt x="249682" y="554187"/>
                    </a:cubicBezTo>
                    <a:cubicBezTo>
                      <a:pt x="260513" y="556443"/>
                      <a:pt x="268862" y="563664"/>
                      <a:pt x="270893" y="572464"/>
                    </a:cubicBezTo>
                    <a:cubicBezTo>
                      <a:pt x="271570" y="575172"/>
                      <a:pt x="278565" y="575398"/>
                      <a:pt x="284657" y="575623"/>
                    </a:cubicBezTo>
                    <a:cubicBezTo>
                      <a:pt x="293006" y="575849"/>
                      <a:pt x="301806" y="576075"/>
                      <a:pt x="305417" y="581264"/>
                    </a:cubicBezTo>
                    <a:cubicBezTo>
                      <a:pt x="306996" y="583746"/>
                      <a:pt x="308576" y="583746"/>
                      <a:pt x="309478" y="583521"/>
                    </a:cubicBezTo>
                    <a:cubicBezTo>
                      <a:pt x="313089" y="582844"/>
                      <a:pt x="316925" y="576751"/>
                      <a:pt x="317602" y="574269"/>
                    </a:cubicBezTo>
                    <a:cubicBezTo>
                      <a:pt x="318278" y="570885"/>
                      <a:pt x="318504" y="566372"/>
                      <a:pt x="317150" y="564567"/>
                    </a:cubicBezTo>
                    <a:cubicBezTo>
                      <a:pt x="316699" y="564115"/>
                      <a:pt x="316022" y="563438"/>
                      <a:pt x="314443" y="563438"/>
                    </a:cubicBezTo>
                    <a:cubicBezTo>
                      <a:pt x="306996" y="563438"/>
                      <a:pt x="298647" y="561859"/>
                      <a:pt x="291201" y="559151"/>
                    </a:cubicBezTo>
                    <a:cubicBezTo>
                      <a:pt x="284883" y="556669"/>
                      <a:pt x="274052" y="551253"/>
                      <a:pt x="273601" y="541551"/>
                    </a:cubicBezTo>
                    <a:cubicBezTo>
                      <a:pt x="273375" y="539069"/>
                      <a:pt x="273149" y="535910"/>
                      <a:pt x="272924" y="532525"/>
                    </a:cubicBezTo>
                    <a:cubicBezTo>
                      <a:pt x="272247" y="524627"/>
                      <a:pt x="271570" y="515827"/>
                      <a:pt x="271570" y="509960"/>
                    </a:cubicBezTo>
                    <a:cubicBezTo>
                      <a:pt x="271570" y="504545"/>
                      <a:pt x="269765" y="498904"/>
                      <a:pt x="268411" y="493939"/>
                    </a:cubicBezTo>
                    <a:cubicBezTo>
                      <a:pt x="267734" y="491457"/>
                      <a:pt x="267057" y="489201"/>
                      <a:pt x="266380" y="486944"/>
                    </a:cubicBezTo>
                    <a:cubicBezTo>
                      <a:pt x="265477" y="483108"/>
                      <a:pt x="266154" y="480401"/>
                      <a:pt x="267057" y="477242"/>
                    </a:cubicBezTo>
                    <a:cubicBezTo>
                      <a:pt x="267734" y="474308"/>
                      <a:pt x="268636" y="470472"/>
                      <a:pt x="268636" y="464605"/>
                    </a:cubicBezTo>
                    <a:cubicBezTo>
                      <a:pt x="268636" y="460092"/>
                      <a:pt x="268636" y="446328"/>
                      <a:pt x="279016" y="446328"/>
                    </a:cubicBezTo>
                    <a:cubicBezTo>
                      <a:pt x="282852" y="446328"/>
                      <a:pt x="286914" y="443395"/>
                      <a:pt x="291652" y="437302"/>
                    </a:cubicBezTo>
                    <a:cubicBezTo>
                      <a:pt x="293457" y="435046"/>
                      <a:pt x="293457" y="432338"/>
                      <a:pt x="293683" y="429630"/>
                    </a:cubicBezTo>
                    <a:cubicBezTo>
                      <a:pt x="293909" y="426471"/>
                      <a:pt x="294134" y="422861"/>
                      <a:pt x="297293" y="420830"/>
                    </a:cubicBezTo>
                    <a:cubicBezTo>
                      <a:pt x="298422" y="420153"/>
                      <a:pt x="299776" y="417671"/>
                      <a:pt x="300904" y="415414"/>
                    </a:cubicBezTo>
                    <a:cubicBezTo>
                      <a:pt x="304063" y="409548"/>
                      <a:pt x="308576" y="401199"/>
                      <a:pt x="318504" y="401199"/>
                    </a:cubicBezTo>
                    <a:cubicBezTo>
                      <a:pt x="331592" y="401199"/>
                      <a:pt x="349869" y="402101"/>
                      <a:pt x="357541" y="402553"/>
                    </a:cubicBezTo>
                    <a:cubicBezTo>
                      <a:pt x="364085" y="403004"/>
                      <a:pt x="374013" y="398265"/>
                      <a:pt x="379654" y="387209"/>
                    </a:cubicBezTo>
                    <a:cubicBezTo>
                      <a:pt x="381911" y="382696"/>
                      <a:pt x="383039" y="379537"/>
                      <a:pt x="383716" y="377055"/>
                    </a:cubicBezTo>
                    <a:cubicBezTo>
                      <a:pt x="384844" y="372993"/>
                      <a:pt x="385747" y="370285"/>
                      <a:pt x="390711" y="369383"/>
                    </a:cubicBezTo>
                    <a:cubicBezTo>
                      <a:pt x="394998" y="368480"/>
                      <a:pt x="394096" y="362162"/>
                      <a:pt x="392742" y="353362"/>
                    </a:cubicBezTo>
                    <a:lnTo>
                      <a:pt x="392516" y="352234"/>
                    </a:lnTo>
                    <a:cubicBezTo>
                      <a:pt x="391388" y="344787"/>
                      <a:pt x="393870" y="336664"/>
                      <a:pt x="399962" y="327864"/>
                    </a:cubicBezTo>
                    <a:cubicBezTo>
                      <a:pt x="400865" y="326510"/>
                      <a:pt x="401768" y="325156"/>
                      <a:pt x="402896" y="323351"/>
                    </a:cubicBezTo>
                    <a:cubicBezTo>
                      <a:pt x="410342" y="312069"/>
                      <a:pt x="413050" y="308684"/>
                      <a:pt x="415532" y="308684"/>
                    </a:cubicBezTo>
                    <a:cubicBezTo>
                      <a:pt x="416435" y="308684"/>
                      <a:pt x="420948" y="305976"/>
                      <a:pt x="422527" y="302817"/>
                    </a:cubicBezTo>
                    <a:cubicBezTo>
                      <a:pt x="423430" y="301238"/>
                      <a:pt x="423430" y="300109"/>
                      <a:pt x="422753" y="298755"/>
                    </a:cubicBezTo>
                    <a:cubicBezTo>
                      <a:pt x="422301" y="298078"/>
                      <a:pt x="421850" y="297176"/>
                      <a:pt x="421399" y="296273"/>
                    </a:cubicBezTo>
                    <a:cubicBezTo>
                      <a:pt x="417789" y="290181"/>
                      <a:pt x="411696" y="280027"/>
                      <a:pt x="421624" y="268293"/>
                    </a:cubicBezTo>
                    <a:cubicBezTo>
                      <a:pt x="428845" y="259719"/>
                      <a:pt x="435840" y="256334"/>
                      <a:pt x="442610" y="252949"/>
                    </a:cubicBezTo>
                    <a:cubicBezTo>
                      <a:pt x="445994" y="251370"/>
                      <a:pt x="448928" y="249790"/>
                      <a:pt x="452087" y="247759"/>
                    </a:cubicBezTo>
                    <a:cubicBezTo>
                      <a:pt x="462015" y="241216"/>
                      <a:pt x="468333" y="237380"/>
                      <a:pt x="474651" y="234898"/>
                    </a:cubicBezTo>
                    <a:cubicBezTo>
                      <a:pt x="479616" y="232867"/>
                      <a:pt x="481646" y="225195"/>
                      <a:pt x="478713" y="217974"/>
                    </a:cubicBezTo>
                    <a:cubicBezTo>
                      <a:pt x="478036" y="215943"/>
                      <a:pt x="476908" y="214364"/>
                      <a:pt x="476005" y="213010"/>
                    </a:cubicBezTo>
                    <a:cubicBezTo>
                      <a:pt x="474651" y="211205"/>
                      <a:pt x="473523" y="209625"/>
                      <a:pt x="473974" y="207369"/>
                    </a:cubicBezTo>
                    <a:cubicBezTo>
                      <a:pt x="474426" y="205112"/>
                      <a:pt x="476456" y="202856"/>
                      <a:pt x="481421" y="199471"/>
                    </a:cubicBezTo>
                    <a:cubicBezTo>
                      <a:pt x="493154" y="191573"/>
                      <a:pt x="511657" y="174650"/>
                      <a:pt x="513914" y="166752"/>
                    </a:cubicBezTo>
                    <a:cubicBezTo>
                      <a:pt x="515493" y="160886"/>
                      <a:pt x="511883" y="158403"/>
                      <a:pt x="503083" y="152988"/>
                    </a:cubicBezTo>
                    <a:cubicBezTo>
                      <a:pt x="501503" y="152085"/>
                      <a:pt x="499924" y="151183"/>
                      <a:pt x="498344" y="150055"/>
                    </a:cubicBezTo>
                    <a:lnTo>
                      <a:pt x="498344" y="150055"/>
                    </a:lnTo>
                    <a:cubicBezTo>
                      <a:pt x="486836" y="142608"/>
                      <a:pt x="479390" y="129295"/>
                      <a:pt x="476231" y="120269"/>
                    </a:cubicBezTo>
                    <a:cubicBezTo>
                      <a:pt x="474651" y="115756"/>
                      <a:pt x="476005" y="112146"/>
                      <a:pt x="477133" y="109213"/>
                    </a:cubicBezTo>
                    <a:cubicBezTo>
                      <a:pt x="478487" y="105377"/>
                      <a:pt x="479390" y="103120"/>
                      <a:pt x="474877" y="99284"/>
                    </a:cubicBezTo>
                    <a:cubicBezTo>
                      <a:pt x="467431" y="92741"/>
                      <a:pt x="467882" y="85520"/>
                      <a:pt x="468108" y="80556"/>
                    </a:cubicBezTo>
                    <a:cubicBezTo>
                      <a:pt x="468108" y="78750"/>
                      <a:pt x="468333" y="77397"/>
                      <a:pt x="468108" y="76494"/>
                    </a:cubicBezTo>
                    <a:cubicBezTo>
                      <a:pt x="467882" y="75817"/>
                      <a:pt x="467431" y="75591"/>
                      <a:pt x="464723" y="75366"/>
                    </a:cubicBezTo>
                    <a:cubicBezTo>
                      <a:pt x="461338" y="74915"/>
                      <a:pt x="455923" y="74238"/>
                      <a:pt x="450056" y="69273"/>
                    </a:cubicBezTo>
                    <a:cubicBezTo>
                      <a:pt x="439902" y="60924"/>
                      <a:pt x="439451" y="60699"/>
                      <a:pt x="435615" y="50319"/>
                    </a:cubicBezTo>
                    <a:cubicBezTo>
                      <a:pt x="432230" y="41519"/>
                      <a:pt x="429071" y="38811"/>
                      <a:pt x="423204" y="34073"/>
                    </a:cubicBezTo>
                    <a:lnTo>
                      <a:pt x="421850" y="32944"/>
                    </a:lnTo>
                    <a:cubicBezTo>
                      <a:pt x="419594" y="31139"/>
                      <a:pt x="417112" y="29334"/>
                      <a:pt x="414855" y="27754"/>
                    </a:cubicBezTo>
                    <a:cubicBezTo>
                      <a:pt x="410342" y="24595"/>
                      <a:pt x="405604" y="21211"/>
                      <a:pt x="401542" y="16472"/>
                    </a:cubicBezTo>
                    <a:cubicBezTo>
                      <a:pt x="400639" y="15344"/>
                      <a:pt x="399962" y="14441"/>
                      <a:pt x="399286" y="13539"/>
                    </a:cubicBezTo>
                    <a:cubicBezTo>
                      <a:pt x="396352" y="9477"/>
                      <a:pt x="394321" y="6544"/>
                      <a:pt x="384844" y="5415"/>
                    </a:cubicBezTo>
                    <a:cubicBezTo>
                      <a:pt x="384167" y="7221"/>
                      <a:pt x="383265" y="8800"/>
                      <a:pt x="381911" y="10154"/>
                    </a:cubicBezTo>
                    <a:cubicBezTo>
                      <a:pt x="378977" y="13313"/>
                      <a:pt x="377172" y="16923"/>
                      <a:pt x="375367" y="20534"/>
                    </a:cubicBezTo>
                    <a:cubicBezTo>
                      <a:pt x="372659" y="25949"/>
                      <a:pt x="369951" y="30913"/>
                      <a:pt x="364085" y="33621"/>
                    </a:cubicBezTo>
                    <a:cubicBezTo>
                      <a:pt x="355736" y="37232"/>
                      <a:pt x="333848" y="39939"/>
                      <a:pt x="323920" y="32042"/>
                    </a:cubicBezTo>
                    <a:cubicBezTo>
                      <a:pt x="319181" y="28431"/>
                      <a:pt x="318278" y="25724"/>
                      <a:pt x="317376" y="23242"/>
                    </a:cubicBezTo>
                    <a:cubicBezTo>
                      <a:pt x="316699" y="21436"/>
                      <a:pt x="316022" y="19857"/>
                      <a:pt x="313766" y="17375"/>
                    </a:cubicBezTo>
                    <a:cubicBezTo>
                      <a:pt x="310607" y="21211"/>
                      <a:pt x="307899" y="25047"/>
                      <a:pt x="305417" y="28431"/>
                    </a:cubicBezTo>
                    <a:cubicBezTo>
                      <a:pt x="292329" y="46709"/>
                      <a:pt x="284206" y="48063"/>
                      <a:pt x="268636" y="46709"/>
                    </a:cubicBezTo>
                    <a:cubicBezTo>
                      <a:pt x="253744" y="45355"/>
                      <a:pt x="250133" y="45355"/>
                      <a:pt x="230051" y="46709"/>
                    </a:cubicBezTo>
                    <a:cubicBezTo>
                      <a:pt x="210194" y="48063"/>
                      <a:pt x="214933" y="46709"/>
                      <a:pt x="203876" y="48063"/>
                    </a:cubicBezTo>
                    <a:cubicBezTo>
                      <a:pt x="198235" y="48739"/>
                      <a:pt x="193271" y="44452"/>
                      <a:pt x="188306" y="40391"/>
                    </a:cubicBezTo>
                    <a:cubicBezTo>
                      <a:pt x="182214" y="35201"/>
                      <a:pt x="176347" y="30462"/>
                      <a:pt x="169352" y="33396"/>
                    </a:cubicBezTo>
                    <a:cubicBezTo>
                      <a:pt x="167773" y="34073"/>
                      <a:pt x="166644" y="34975"/>
                      <a:pt x="166419" y="35878"/>
                    </a:cubicBezTo>
                    <a:cubicBezTo>
                      <a:pt x="165967" y="38134"/>
                      <a:pt x="168901" y="41970"/>
                      <a:pt x="172060" y="45580"/>
                    </a:cubicBezTo>
                    <a:cubicBezTo>
                      <a:pt x="177024" y="51673"/>
                      <a:pt x="182440" y="58442"/>
                      <a:pt x="179055" y="65212"/>
                    </a:cubicBezTo>
                    <a:cubicBezTo>
                      <a:pt x="176573" y="69950"/>
                      <a:pt x="174316" y="72432"/>
                      <a:pt x="172962" y="74012"/>
                    </a:cubicBezTo>
                    <a:cubicBezTo>
                      <a:pt x="170932" y="76268"/>
                      <a:pt x="170706" y="76720"/>
                      <a:pt x="171608" y="81458"/>
                    </a:cubicBezTo>
                    <a:cubicBezTo>
                      <a:pt x="173188" y="89582"/>
                      <a:pt x="174993" y="90484"/>
                      <a:pt x="185824" y="88679"/>
                    </a:cubicBezTo>
                    <a:cubicBezTo>
                      <a:pt x="190337" y="88002"/>
                      <a:pt x="192142" y="86423"/>
                      <a:pt x="193496" y="85294"/>
                    </a:cubicBezTo>
                    <a:cubicBezTo>
                      <a:pt x="196430" y="82812"/>
                      <a:pt x="198235" y="82812"/>
                      <a:pt x="202973" y="86648"/>
                    </a:cubicBezTo>
                    <a:cubicBezTo>
                      <a:pt x="205907" y="89130"/>
                      <a:pt x="207938" y="89130"/>
                      <a:pt x="209743" y="89356"/>
                    </a:cubicBezTo>
                    <a:cubicBezTo>
                      <a:pt x="212902" y="89582"/>
                      <a:pt x="215384" y="90033"/>
                      <a:pt x="217866" y="95448"/>
                    </a:cubicBezTo>
                    <a:cubicBezTo>
                      <a:pt x="220348" y="101089"/>
                      <a:pt x="220348" y="101089"/>
                      <a:pt x="223733" y="101992"/>
                    </a:cubicBezTo>
                    <a:cubicBezTo>
                      <a:pt x="225312" y="102443"/>
                      <a:pt x="227343" y="103120"/>
                      <a:pt x="230051" y="104474"/>
                    </a:cubicBezTo>
                    <a:cubicBezTo>
                      <a:pt x="241333" y="109438"/>
                      <a:pt x="241784" y="114854"/>
                      <a:pt x="241784" y="123203"/>
                    </a:cubicBezTo>
                    <a:cubicBezTo>
                      <a:pt x="241784" y="127941"/>
                      <a:pt x="240205" y="129747"/>
                      <a:pt x="238400" y="131326"/>
                    </a:cubicBezTo>
                    <a:cubicBezTo>
                      <a:pt x="237272" y="132229"/>
                      <a:pt x="236820" y="132680"/>
                      <a:pt x="236820" y="134485"/>
                    </a:cubicBezTo>
                    <a:cubicBezTo>
                      <a:pt x="236820" y="136065"/>
                      <a:pt x="236595" y="137418"/>
                      <a:pt x="235692" y="138095"/>
                    </a:cubicBezTo>
                    <a:cubicBezTo>
                      <a:pt x="234789" y="138998"/>
                      <a:pt x="233661" y="138772"/>
                      <a:pt x="233210" y="138772"/>
                    </a:cubicBezTo>
                    <a:cubicBezTo>
                      <a:pt x="232082" y="138772"/>
                      <a:pt x="230277" y="138547"/>
                      <a:pt x="227343" y="144639"/>
                    </a:cubicBezTo>
                    <a:cubicBezTo>
                      <a:pt x="222379" y="154568"/>
                      <a:pt x="221928" y="155019"/>
                      <a:pt x="217640" y="157727"/>
                    </a:cubicBezTo>
                    <a:cubicBezTo>
                      <a:pt x="216512" y="158403"/>
                      <a:pt x="215384" y="159080"/>
                      <a:pt x="213579" y="160434"/>
                    </a:cubicBezTo>
                    <a:cubicBezTo>
                      <a:pt x="210194" y="162917"/>
                      <a:pt x="208163" y="163368"/>
                      <a:pt x="206584" y="163819"/>
                    </a:cubicBezTo>
                    <a:cubicBezTo>
                      <a:pt x="204553" y="164270"/>
                      <a:pt x="203199" y="164722"/>
                      <a:pt x="198235" y="170814"/>
                    </a:cubicBezTo>
                    <a:cubicBezTo>
                      <a:pt x="193496" y="176455"/>
                      <a:pt x="192819" y="182096"/>
                      <a:pt x="192368" y="187512"/>
                    </a:cubicBezTo>
                    <a:cubicBezTo>
                      <a:pt x="191917" y="191799"/>
                      <a:pt x="191465" y="195635"/>
                      <a:pt x="188983" y="199020"/>
                    </a:cubicBezTo>
                    <a:cubicBezTo>
                      <a:pt x="187404" y="201276"/>
                      <a:pt x="187178" y="202405"/>
                      <a:pt x="187178" y="203533"/>
                    </a:cubicBezTo>
                    <a:cubicBezTo>
                      <a:pt x="186952" y="206241"/>
                      <a:pt x="186276" y="207820"/>
                      <a:pt x="179732" y="212107"/>
                    </a:cubicBezTo>
                    <a:cubicBezTo>
                      <a:pt x="169803" y="218651"/>
                      <a:pt x="151977" y="228128"/>
                      <a:pt x="145434" y="228128"/>
                    </a:cubicBezTo>
                    <a:cubicBezTo>
                      <a:pt x="143854" y="228128"/>
                      <a:pt x="142049" y="227903"/>
                      <a:pt x="140244" y="227677"/>
                    </a:cubicBezTo>
                    <a:cubicBezTo>
                      <a:pt x="135054" y="227000"/>
                      <a:pt x="129187" y="226323"/>
                      <a:pt x="124674" y="229708"/>
                    </a:cubicBezTo>
                    <a:cubicBezTo>
                      <a:pt x="121966" y="231738"/>
                      <a:pt x="121064" y="233995"/>
                      <a:pt x="119936" y="237154"/>
                    </a:cubicBezTo>
                    <a:cubicBezTo>
                      <a:pt x="118356" y="240990"/>
                      <a:pt x="116551" y="245729"/>
                      <a:pt x="110458" y="251595"/>
                    </a:cubicBezTo>
                    <a:cubicBezTo>
                      <a:pt x="107299" y="254529"/>
                      <a:pt x="104817" y="256334"/>
                      <a:pt x="102787" y="257914"/>
                    </a:cubicBezTo>
                    <a:cubicBezTo>
                      <a:pt x="98499" y="261073"/>
                      <a:pt x="97145" y="262201"/>
                      <a:pt x="94663" y="272129"/>
                    </a:cubicBezTo>
                    <a:cubicBezTo>
                      <a:pt x="92632" y="280478"/>
                      <a:pt x="89248" y="282509"/>
                      <a:pt x="86540" y="284088"/>
                    </a:cubicBezTo>
                    <a:cubicBezTo>
                      <a:pt x="84284" y="285442"/>
                      <a:pt x="82704" y="286345"/>
                      <a:pt x="82253" y="291986"/>
                    </a:cubicBezTo>
                    <a:cubicBezTo>
                      <a:pt x="81801" y="295596"/>
                      <a:pt x="82027" y="298981"/>
                      <a:pt x="82253" y="302140"/>
                    </a:cubicBezTo>
                    <a:cubicBezTo>
                      <a:pt x="82704" y="309812"/>
                      <a:pt x="83155" y="316356"/>
                      <a:pt x="73904" y="322223"/>
                    </a:cubicBezTo>
                    <a:cubicBezTo>
                      <a:pt x="62847" y="329218"/>
                      <a:pt x="62847" y="336438"/>
                      <a:pt x="62847" y="348172"/>
                    </a:cubicBezTo>
                    <a:cubicBezTo>
                      <a:pt x="62847" y="350654"/>
                      <a:pt x="62847" y="353362"/>
                      <a:pt x="63073" y="356070"/>
                    </a:cubicBezTo>
                    <a:cubicBezTo>
                      <a:pt x="63524" y="366675"/>
                      <a:pt x="63750" y="376378"/>
                      <a:pt x="59237" y="381567"/>
                    </a:cubicBezTo>
                    <a:cubicBezTo>
                      <a:pt x="56078" y="385178"/>
                      <a:pt x="55626" y="386306"/>
                      <a:pt x="54724" y="388788"/>
                    </a:cubicBezTo>
                    <a:cubicBezTo>
                      <a:pt x="54273" y="389916"/>
                      <a:pt x="53821" y="391496"/>
                      <a:pt x="52693" y="393527"/>
                    </a:cubicBezTo>
                    <a:cubicBezTo>
                      <a:pt x="50437" y="398717"/>
                      <a:pt x="46826" y="397363"/>
                      <a:pt x="41411" y="395558"/>
                    </a:cubicBezTo>
                    <a:lnTo>
                      <a:pt x="40734" y="395332"/>
                    </a:lnTo>
                    <a:cubicBezTo>
                      <a:pt x="40508" y="395783"/>
                      <a:pt x="40057" y="396009"/>
                      <a:pt x="39606" y="396460"/>
                    </a:cubicBezTo>
                    <a:cubicBezTo>
                      <a:pt x="38703" y="397363"/>
                      <a:pt x="37800" y="398265"/>
                      <a:pt x="36672" y="399168"/>
                    </a:cubicBezTo>
                    <a:cubicBezTo>
                      <a:pt x="29226" y="406163"/>
                      <a:pt x="21554" y="413384"/>
                      <a:pt x="28549" y="428051"/>
                    </a:cubicBezTo>
                    <a:cubicBezTo>
                      <a:pt x="32385" y="435723"/>
                      <a:pt x="34867" y="437528"/>
                      <a:pt x="36447" y="438656"/>
                    </a:cubicBezTo>
                    <a:cubicBezTo>
                      <a:pt x="39606" y="440913"/>
                      <a:pt x="40282" y="442266"/>
                      <a:pt x="39831" y="451969"/>
                    </a:cubicBezTo>
                    <a:cubicBezTo>
                      <a:pt x="39606" y="458964"/>
                      <a:pt x="40057" y="463026"/>
                      <a:pt x="40282" y="466185"/>
                    </a:cubicBezTo>
                    <a:cubicBezTo>
                      <a:pt x="40734" y="470698"/>
                      <a:pt x="40959" y="472729"/>
                      <a:pt x="38477" y="478370"/>
                    </a:cubicBezTo>
                    <a:cubicBezTo>
                      <a:pt x="36447" y="483334"/>
                      <a:pt x="35770" y="486719"/>
                      <a:pt x="36898" y="489201"/>
                    </a:cubicBezTo>
                    <a:cubicBezTo>
                      <a:pt x="37575" y="490780"/>
                      <a:pt x="39154" y="492134"/>
                      <a:pt x="41636" y="492811"/>
                    </a:cubicBezTo>
                    <a:cubicBezTo>
                      <a:pt x="43216" y="493262"/>
                      <a:pt x="45021" y="494165"/>
                      <a:pt x="45472" y="495745"/>
                    </a:cubicBezTo>
                    <a:cubicBezTo>
                      <a:pt x="46149" y="497324"/>
                      <a:pt x="45247" y="498678"/>
                      <a:pt x="44344" y="500257"/>
                    </a:cubicBezTo>
                    <a:cubicBezTo>
                      <a:pt x="42990" y="502288"/>
                      <a:pt x="41411" y="505222"/>
                      <a:pt x="42088" y="509960"/>
                    </a:cubicBezTo>
                    <a:cubicBezTo>
                      <a:pt x="43667" y="518986"/>
                      <a:pt x="41636" y="520791"/>
                      <a:pt x="37349" y="523950"/>
                    </a:cubicBezTo>
                    <a:cubicBezTo>
                      <a:pt x="35995" y="524853"/>
                      <a:pt x="34416" y="526207"/>
                      <a:pt x="32611" y="527786"/>
                    </a:cubicBezTo>
                    <a:cubicBezTo>
                      <a:pt x="24939" y="535458"/>
                      <a:pt x="24487" y="539069"/>
                      <a:pt x="24939" y="540422"/>
                    </a:cubicBezTo>
                    <a:cubicBezTo>
                      <a:pt x="25164" y="541776"/>
                      <a:pt x="26518" y="542679"/>
                      <a:pt x="28775" y="543356"/>
                    </a:cubicBezTo>
                    <a:cubicBezTo>
                      <a:pt x="39831" y="546740"/>
                      <a:pt x="38252" y="558925"/>
                      <a:pt x="37575" y="564115"/>
                    </a:cubicBezTo>
                    <a:lnTo>
                      <a:pt x="37575" y="564792"/>
                    </a:lnTo>
                    <a:cubicBezTo>
                      <a:pt x="37123" y="567500"/>
                      <a:pt x="35093" y="569080"/>
                      <a:pt x="33513" y="570433"/>
                    </a:cubicBezTo>
                    <a:cubicBezTo>
                      <a:pt x="31031" y="572239"/>
                      <a:pt x="29226" y="573818"/>
                      <a:pt x="30128" y="577880"/>
                    </a:cubicBezTo>
                    <a:cubicBezTo>
                      <a:pt x="31031" y="581716"/>
                      <a:pt x="33964" y="583746"/>
                      <a:pt x="37349" y="586229"/>
                    </a:cubicBezTo>
                    <a:cubicBezTo>
                      <a:pt x="40734" y="588485"/>
                      <a:pt x="44344" y="591193"/>
                      <a:pt x="46375" y="595706"/>
                    </a:cubicBezTo>
                    <a:cubicBezTo>
                      <a:pt x="46826" y="596834"/>
                      <a:pt x="47503" y="598188"/>
                      <a:pt x="47955" y="599316"/>
                    </a:cubicBezTo>
                    <a:cubicBezTo>
                      <a:pt x="51114" y="606762"/>
                      <a:pt x="54047" y="613757"/>
                      <a:pt x="58785" y="616691"/>
                    </a:cubicBezTo>
                    <a:cubicBezTo>
                      <a:pt x="59462" y="617142"/>
                      <a:pt x="60139" y="617593"/>
                      <a:pt x="60816" y="617819"/>
                    </a:cubicBezTo>
                    <a:cubicBezTo>
                      <a:pt x="67360" y="621655"/>
                      <a:pt x="78417" y="627747"/>
                      <a:pt x="77740" y="640158"/>
                    </a:cubicBezTo>
                    <a:cubicBezTo>
                      <a:pt x="77063" y="653697"/>
                      <a:pt x="66006" y="660692"/>
                      <a:pt x="61493" y="660692"/>
                    </a:cubicBezTo>
                    <a:cubicBezTo>
                      <a:pt x="60816" y="660692"/>
                      <a:pt x="59688" y="660917"/>
                      <a:pt x="58560" y="661143"/>
                    </a:cubicBezTo>
                    <a:cubicBezTo>
                      <a:pt x="54724" y="661820"/>
                      <a:pt x="48857" y="662723"/>
                      <a:pt x="44795" y="657533"/>
                    </a:cubicBezTo>
                    <a:cubicBezTo>
                      <a:pt x="43893" y="656404"/>
                      <a:pt x="42765" y="655953"/>
                      <a:pt x="41185" y="655953"/>
                    </a:cubicBezTo>
                    <a:cubicBezTo>
                      <a:pt x="36447" y="655728"/>
                      <a:pt x="29677" y="659563"/>
                      <a:pt x="26518" y="663400"/>
                    </a:cubicBezTo>
                    <a:cubicBezTo>
                      <a:pt x="25841" y="664077"/>
                      <a:pt x="25164" y="664753"/>
                      <a:pt x="24487" y="665656"/>
                    </a:cubicBezTo>
                    <a:cubicBezTo>
                      <a:pt x="18846" y="671748"/>
                      <a:pt x="8466" y="683031"/>
                      <a:pt x="9369" y="692733"/>
                    </a:cubicBezTo>
                    <a:cubicBezTo>
                      <a:pt x="10723" y="704693"/>
                      <a:pt x="10046" y="711688"/>
                      <a:pt x="3953" y="718683"/>
                    </a:cubicBezTo>
                    <a:cubicBezTo>
                      <a:pt x="1923" y="720939"/>
                      <a:pt x="2374" y="725001"/>
                      <a:pt x="3051" y="728837"/>
                    </a:cubicBezTo>
                    <a:cubicBezTo>
                      <a:pt x="3276" y="730416"/>
                      <a:pt x="3502" y="731770"/>
                      <a:pt x="3502" y="733124"/>
                    </a:cubicBezTo>
                    <a:cubicBezTo>
                      <a:pt x="6887" y="736283"/>
                      <a:pt x="9369" y="740345"/>
                      <a:pt x="12302" y="745986"/>
                    </a:cubicBezTo>
                    <a:cubicBezTo>
                      <a:pt x="14108" y="749145"/>
                      <a:pt x="15687" y="749371"/>
                      <a:pt x="19297" y="749596"/>
                    </a:cubicBezTo>
                    <a:cubicBezTo>
                      <a:pt x="23810" y="749822"/>
                      <a:pt x="30805" y="750499"/>
                      <a:pt x="41185" y="757494"/>
                    </a:cubicBezTo>
                    <a:cubicBezTo>
                      <a:pt x="60591" y="770582"/>
                      <a:pt x="70745" y="784120"/>
                      <a:pt x="70745" y="797208"/>
                    </a:cubicBezTo>
                    <a:cubicBezTo>
                      <a:pt x="70745" y="810295"/>
                      <a:pt x="72099" y="813003"/>
                      <a:pt x="73001" y="813454"/>
                    </a:cubicBezTo>
                    <a:cubicBezTo>
                      <a:pt x="73227" y="813454"/>
                      <a:pt x="73678" y="813454"/>
                      <a:pt x="74806" y="812552"/>
                    </a:cubicBezTo>
                    <a:cubicBezTo>
                      <a:pt x="76611" y="810521"/>
                      <a:pt x="77965" y="809392"/>
                      <a:pt x="79545" y="809392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xmlns="" id="{4D7E7CA5-5F3C-42D8-9E91-92B4DBA99017}"/>
                  </a:ext>
                </a:extLst>
              </p:cNvPr>
              <p:cNvSpPr/>
              <p:nvPr/>
            </p:nvSpPr>
            <p:spPr>
              <a:xfrm>
                <a:off x="9968197" y="2736519"/>
                <a:ext cx="564115" cy="473857"/>
              </a:xfrm>
              <a:custGeom>
                <a:avLst/>
                <a:gdLst>
                  <a:gd name="connsiteX0" fmla="*/ 332828 w 564115"/>
                  <a:gd name="connsiteY0" fmla="*/ 474380 h 473856"/>
                  <a:gd name="connsiteX1" fmla="*/ 323125 w 564115"/>
                  <a:gd name="connsiteY1" fmla="*/ 470995 h 473856"/>
                  <a:gd name="connsiteX2" fmla="*/ 321094 w 564115"/>
                  <a:gd name="connsiteY2" fmla="*/ 462872 h 473856"/>
                  <a:gd name="connsiteX3" fmla="*/ 320869 w 564115"/>
                  <a:gd name="connsiteY3" fmla="*/ 461293 h 473856"/>
                  <a:gd name="connsiteX4" fmla="*/ 312520 w 564115"/>
                  <a:gd name="connsiteY4" fmla="*/ 461744 h 473856"/>
                  <a:gd name="connsiteX5" fmla="*/ 306428 w 564115"/>
                  <a:gd name="connsiteY5" fmla="*/ 462647 h 473856"/>
                  <a:gd name="connsiteX6" fmla="*/ 278673 w 564115"/>
                  <a:gd name="connsiteY6" fmla="*/ 455877 h 473856"/>
                  <a:gd name="connsiteX7" fmla="*/ 260847 w 564115"/>
                  <a:gd name="connsiteY7" fmla="*/ 461067 h 473856"/>
                  <a:gd name="connsiteX8" fmla="*/ 258816 w 564115"/>
                  <a:gd name="connsiteY8" fmla="*/ 463549 h 473856"/>
                  <a:gd name="connsiteX9" fmla="*/ 230159 w 564115"/>
                  <a:gd name="connsiteY9" fmla="*/ 462421 h 473856"/>
                  <a:gd name="connsiteX10" fmla="*/ 228128 w 564115"/>
                  <a:gd name="connsiteY10" fmla="*/ 434892 h 473856"/>
                  <a:gd name="connsiteX11" fmla="*/ 216395 w 564115"/>
                  <a:gd name="connsiteY11" fmla="*/ 415487 h 473856"/>
                  <a:gd name="connsiteX12" fmla="*/ 197440 w 564115"/>
                  <a:gd name="connsiteY12" fmla="*/ 416163 h 473856"/>
                  <a:gd name="connsiteX13" fmla="*/ 172168 w 564115"/>
                  <a:gd name="connsiteY13" fmla="*/ 418871 h 473856"/>
                  <a:gd name="connsiteX14" fmla="*/ 149378 w 564115"/>
                  <a:gd name="connsiteY14" fmla="*/ 422030 h 473856"/>
                  <a:gd name="connsiteX15" fmla="*/ 136967 w 564115"/>
                  <a:gd name="connsiteY15" fmla="*/ 425415 h 473856"/>
                  <a:gd name="connsiteX16" fmla="*/ 115080 w 564115"/>
                  <a:gd name="connsiteY16" fmla="*/ 418194 h 473856"/>
                  <a:gd name="connsiteX17" fmla="*/ 109438 w 564115"/>
                  <a:gd name="connsiteY17" fmla="*/ 412779 h 473856"/>
                  <a:gd name="connsiteX18" fmla="*/ 96351 w 564115"/>
                  <a:gd name="connsiteY18" fmla="*/ 406009 h 473856"/>
                  <a:gd name="connsiteX19" fmla="*/ 95674 w 564115"/>
                  <a:gd name="connsiteY19" fmla="*/ 405784 h 473856"/>
                  <a:gd name="connsiteX20" fmla="*/ 94771 w 564115"/>
                  <a:gd name="connsiteY20" fmla="*/ 404655 h 473856"/>
                  <a:gd name="connsiteX21" fmla="*/ 92741 w 564115"/>
                  <a:gd name="connsiteY21" fmla="*/ 399014 h 473856"/>
                  <a:gd name="connsiteX22" fmla="*/ 100187 w 564115"/>
                  <a:gd name="connsiteY22" fmla="*/ 391117 h 473856"/>
                  <a:gd name="connsiteX23" fmla="*/ 132680 w 564115"/>
                  <a:gd name="connsiteY23" fmla="*/ 358398 h 473856"/>
                  <a:gd name="connsiteX24" fmla="*/ 121849 w 564115"/>
                  <a:gd name="connsiteY24" fmla="*/ 344634 h 473856"/>
                  <a:gd name="connsiteX25" fmla="*/ 117110 w 564115"/>
                  <a:gd name="connsiteY25" fmla="*/ 341700 h 473856"/>
                  <a:gd name="connsiteX26" fmla="*/ 94997 w 564115"/>
                  <a:gd name="connsiteY26" fmla="*/ 311915 h 473856"/>
                  <a:gd name="connsiteX27" fmla="*/ 95900 w 564115"/>
                  <a:gd name="connsiteY27" fmla="*/ 300858 h 473856"/>
                  <a:gd name="connsiteX28" fmla="*/ 93643 w 564115"/>
                  <a:gd name="connsiteY28" fmla="*/ 290930 h 473856"/>
                  <a:gd name="connsiteX29" fmla="*/ 86874 w 564115"/>
                  <a:gd name="connsiteY29" fmla="*/ 272201 h 473856"/>
                  <a:gd name="connsiteX30" fmla="*/ 86874 w 564115"/>
                  <a:gd name="connsiteY30" fmla="*/ 268140 h 473856"/>
                  <a:gd name="connsiteX31" fmla="*/ 83489 w 564115"/>
                  <a:gd name="connsiteY31" fmla="*/ 267011 h 473856"/>
                  <a:gd name="connsiteX32" fmla="*/ 68822 w 564115"/>
                  <a:gd name="connsiteY32" fmla="*/ 260919 h 473856"/>
                  <a:gd name="connsiteX33" fmla="*/ 54381 w 564115"/>
                  <a:gd name="connsiteY33" fmla="*/ 241965 h 473856"/>
                  <a:gd name="connsiteX34" fmla="*/ 41970 w 564115"/>
                  <a:gd name="connsiteY34" fmla="*/ 225718 h 473856"/>
                  <a:gd name="connsiteX35" fmla="*/ 40616 w 564115"/>
                  <a:gd name="connsiteY35" fmla="*/ 224590 h 473856"/>
                  <a:gd name="connsiteX36" fmla="*/ 33621 w 564115"/>
                  <a:gd name="connsiteY36" fmla="*/ 219400 h 473856"/>
                  <a:gd name="connsiteX37" fmla="*/ 20308 w 564115"/>
                  <a:gd name="connsiteY37" fmla="*/ 208118 h 473856"/>
                  <a:gd name="connsiteX38" fmla="*/ 18052 w 564115"/>
                  <a:gd name="connsiteY38" fmla="*/ 205184 h 473856"/>
                  <a:gd name="connsiteX39" fmla="*/ 2031 w 564115"/>
                  <a:gd name="connsiteY39" fmla="*/ 196835 h 473856"/>
                  <a:gd name="connsiteX40" fmla="*/ 0 w 564115"/>
                  <a:gd name="connsiteY40" fmla="*/ 196610 h 473856"/>
                  <a:gd name="connsiteX41" fmla="*/ 451 w 564115"/>
                  <a:gd name="connsiteY41" fmla="*/ 194579 h 473856"/>
                  <a:gd name="connsiteX42" fmla="*/ 677 w 564115"/>
                  <a:gd name="connsiteY42" fmla="*/ 188486 h 473856"/>
                  <a:gd name="connsiteX43" fmla="*/ 5867 w 564115"/>
                  <a:gd name="connsiteY43" fmla="*/ 175850 h 473856"/>
                  <a:gd name="connsiteX44" fmla="*/ 6544 w 564115"/>
                  <a:gd name="connsiteY44" fmla="*/ 165245 h 473856"/>
                  <a:gd name="connsiteX45" fmla="*/ 8123 w 564115"/>
                  <a:gd name="connsiteY45" fmla="*/ 149224 h 473856"/>
                  <a:gd name="connsiteX46" fmla="*/ 20759 w 564115"/>
                  <a:gd name="connsiteY46" fmla="*/ 129593 h 473856"/>
                  <a:gd name="connsiteX47" fmla="*/ 20759 w 564115"/>
                  <a:gd name="connsiteY47" fmla="*/ 129142 h 473856"/>
                  <a:gd name="connsiteX48" fmla="*/ 20082 w 564115"/>
                  <a:gd name="connsiteY48" fmla="*/ 125983 h 473856"/>
                  <a:gd name="connsiteX49" fmla="*/ 23016 w 564115"/>
                  <a:gd name="connsiteY49" fmla="*/ 126885 h 473856"/>
                  <a:gd name="connsiteX50" fmla="*/ 35652 w 564115"/>
                  <a:gd name="connsiteY50" fmla="*/ 131849 h 473856"/>
                  <a:gd name="connsiteX51" fmla="*/ 44452 w 564115"/>
                  <a:gd name="connsiteY51" fmla="*/ 135008 h 473856"/>
                  <a:gd name="connsiteX52" fmla="*/ 77397 w 564115"/>
                  <a:gd name="connsiteY52" fmla="*/ 122824 h 473856"/>
                  <a:gd name="connsiteX53" fmla="*/ 94771 w 564115"/>
                  <a:gd name="connsiteY53" fmla="*/ 120341 h 473856"/>
                  <a:gd name="connsiteX54" fmla="*/ 101315 w 564115"/>
                  <a:gd name="connsiteY54" fmla="*/ 128239 h 473856"/>
                  <a:gd name="connsiteX55" fmla="*/ 105151 w 564115"/>
                  <a:gd name="connsiteY55" fmla="*/ 133429 h 473856"/>
                  <a:gd name="connsiteX56" fmla="*/ 108761 w 564115"/>
                  <a:gd name="connsiteY56" fmla="*/ 133429 h 473856"/>
                  <a:gd name="connsiteX57" fmla="*/ 119367 w 564115"/>
                  <a:gd name="connsiteY57" fmla="*/ 132301 h 473856"/>
                  <a:gd name="connsiteX58" fmla="*/ 126362 w 564115"/>
                  <a:gd name="connsiteY58" fmla="*/ 135008 h 473856"/>
                  <a:gd name="connsiteX59" fmla="*/ 126588 w 564115"/>
                  <a:gd name="connsiteY59" fmla="*/ 140650 h 473856"/>
                  <a:gd name="connsiteX60" fmla="*/ 126362 w 564115"/>
                  <a:gd name="connsiteY60" fmla="*/ 144486 h 473856"/>
                  <a:gd name="connsiteX61" fmla="*/ 133808 w 564115"/>
                  <a:gd name="connsiteY61" fmla="*/ 149450 h 473856"/>
                  <a:gd name="connsiteX62" fmla="*/ 140803 w 564115"/>
                  <a:gd name="connsiteY62" fmla="*/ 152834 h 473856"/>
                  <a:gd name="connsiteX63" fmla="*/ 142608 w 564115"/>
                  <a:gd name="connsiteY63" fmla="*/ 153963 h 473856"/>
                  <a:gd name="connsiteX64" fmla="*/ 149378 w 564115"/>
                  <a:gd name="connsiteY64" fmla="*/ 156896 h 473856"/>
                  <a:gd name="connsiteX65" fmla="*/ 152311 w 564115"/>
                  <a:gd name="connsiteY65" fmla="*/ 153737 h 473856"/>
                  <a:gd name="connsiteX66" fmla="*/ 162014 w 564115"/>
                  <a:gd name="connsiteY66" fmla="*/ 146968 h 473856"/>
                  <a:gd name="connsiteX67" fmla="*/ 166752 w 564115"/>
                  <a:gd name="connsiteY67" fmla="*/ 145388 h 473856"/>
                  <a:gd name="connsiteX68" fmla="*/ 170137 w 564115"/>
                  <a:gd name="connsiteY68" fmla="*/ 142906 h 473856"/>
                  <a:gd name="connsiteX69" fmla="*/ 187738 w 564115"/>
                  <a:gd name="connsiteY69" fmla="*/ 133880 h 473856"/>
                  <a:gd name="connsiteX70" fmla="*/ 199246 w 564115"/>
                  <a:gd name="connsiteY70" fmla="*/ 144711 h 473856"/>
                  <a:gd name="connsiteX71" fmla="*/ 200148 w 564115"/>
                  <a:gd name="connsiteY71" fmla="*/ 146291 h 473856"/>
                  <a:gd name="connsiteX72" fmla="*/ 205789 w 564115"/>
                  <a:gd name="connsiteY72" fmla="*/ 147645 h 473856"/>
                  <a:gd name="connsiteX73" fmla="*/ 213010 w 564115"/>
                  <a:gd name="connsiteY73" fmla="*/ 147193 h 473856"/>
                  <a:gd name="connsiteX74" fmla="*/ 224292 w 564115"/>
                  <a:gd name="connsiteY74" fmla="*/ 147193 h 473856"/>
                  <a:gd name="connsiteX75" fmla="*/ 230159 w 564115"/>
                  <a:gd name="connsiteY75" fmla="*/ 142003 h 473856"/>
                  <a:gd name="connsiteX76" fmla="*/ 236703 w 564115"/>
                  <a:gd name="connsiteY76" fmla="*/ 135460 h 473856"/>
                  <a:gd name="connsiteX77" fmla="*/ 253401 w 564115"/>
                  <a:gd name="connsiteY77" fmla="*/ 127562 h 473856"/>
                  <a:gd name="connsiteX78" fmla="*/ 265134 w 564115"/>
                  <a:gd name="connsiteY78" fmla="*/ 122598 h 473856"/>
                  <a:gd name="connsiteX79" fmla="*/ 275063 w 564115"/>
                  <a:gd name="connsiteY79" fmla="*/ 118536 h 473856"/>
                  <a:gd name="connsiteX80" fmla="*/ 289278 w 564115"/>
                  <a:gd name="connsiteY80" fmla="*/ 110639 h 473856"/>
                  <a:gd name="connsiteX81" fmla="*/ 295145 w 564115"/>
                  <a:gd name="connsiteY81" fmla="*/ 98228 h 473856"/>
                  <a:gd name="connsiteX82" fmla="*/ 298079 w 564115"/>
                  <a:gd name="connsiteY82" fmla="*/ 91910 h 473856"/>
                  <a:gd name="connsiteX83" fmla="*/ 302591 w 564115"/>
                  <a:gd name="connsiteY83" fmla="*/ 88525 h 473856"/>
                  <a:gd name="connsiteX84" fmla="*/ 317935 w 564115"/>
                  <a:gd name="connsiteY84" fmla="*/ 89654 h 473856"/>
                  <a:gd name="connsiteX85" fmla="*/ 331249 w 564115"/>
                  <a:gd name="connsiteY85" fmla="*/ 91910 h 473856"/>
                  <a:gd name="connsiteX86" fmla="*/ 346367 w 564115"/>
                  <a:gd name="connsiteY86" fmla="*/ 97325 h 473856"/>
                  <a:gd name="connsiteX87" fmla="*/ 353136 w 564115"/>
                  <a:gd name="connsiteY87" fmla="*/ 110413 h 473856"/>
                  <a:gd name="connsiteX88" fmla="*/ 360582 w 564115"/>
                  <a:gd name="connsiteY88" fmla="*/ 114475 h 473856"/>
                  <a:gd name="connsiteX89" fmla="*/ 365998 w 564115"/>
                  <a:gd name="connsiteY89" fmla="*/ 116054 h 473856"/>
                  <a:gd name="connsiteX90" fmla="*/ 379537 w 564115"/>
                  <a:gd name="connsiteY90" fmla="*/ 133203 h 473856"/>
                  <a:gd name="connsiteX91" fmla="*/ 382019 w 564115"/>
                  <a:gd name="connsiteY91" fmla="*/ 137491 h 473856"/>
                  <a:gd name="connsiteX92" fmla="*/ 390593 w 564115"/>
                  <a:gd name="connsiteY92" fmla="*/ 140424 h 473856"/>
                  <a:gd name="connsiteX93" fmla="*/ 392173 w 564115"/>
                  <a:gd name="connsiteY93" fmla="*/ 139973 h 473856"/>
                  <a:gd name="connsiteX94" fmla="*/ 396460 w 564115"/>
                  <a:gd name="connsiteY94" fmla="*/ 123049 h 473856"/>
                  <a:gd name="connsiteX95" fmla="*/ 402101 w 564115"/>
                  <a:gd name="connsiteY95" fmla="*/ 114249 h 473856"/>
                  <a:gd name="connsiteX96" fmla="*/ 407066 w 564115"/>
                  <a:gd name="connsiteY96" fmla="*/ 111090 h 473856"/>
                  <a:gd name="connsiteX97" fmla="*/ 412255 w 564115"/>
                  <a:gd name="connsiteY97" fmla="*/ 108833 h 473856"/>
                  <a:gd name="connsiteX98" fmla="*/ 414286 w 564115"/>
                  <a:gd name="connsiteY98" fmla="*/ 111541 h 473856"/>
                  <a:gd name="connsiteX99" fmla="*/ 414512 w 564115"/>
                  <a:gd name="connsiteY99" fmla="*/ 111992 h 473856"/>
                  <a:gd name="connsiteX100" fmla="*/ 421281 w 564115"/>
                  <a:gd name="connsiteY100" fmla="*/ 110864 h 473856"/>
                  <a:gd name="connsiteX101" fmla="*/ 432789 w 564115"/>
                  <a:gd name="connsiteY101" fmla="*/ 109285 h 473856"/>
                  <a:gd name="connsiteX102" fmla="*/ 446102 w 564115"/>
                  <a:gd name="connsiteY102" fmla="*/ 105674 h 473856"/>
                  <a:gd name="connsiteX103" fmla="*/ 455128 w 564115"/>
                  <a:gd name="connsiteY103" fmla="*/ 101838 h 473856"/>
                  <a:gd name="connsiteX104" fmla="*/ 459416 w 564115"/>
                  <a:gd name="connsiteY104" fmla="*/ 102064 h 473856"/>
                  <a:gd name="connsiteX105" fmla="*/ 463252 w 564115"/>
                  <a:gd name="connsiteY105" fmla="*/ 89654 h 473856"/>
                  <a:gd name="connsiteX106" fmla="*/ 468893 w 564115"/>
                  <a:gd name="connsiteY106" fmla="*/ 72956 h 473856"/>
                  <a:gd name="connsiteX107" fmla="*/ 470246 w 564115"/>
                  <a:gd name="connsiteY107" fmla="*/ 70699 h 473856"/>
                  <a:gd name="connsiteX108" fmla="*/ 474308 w 564115"/>
                  <a:gd name="connsiteY108" fmla="*/ 54904 h 473856"/>
                  <a:gd name="connsiteX109" fmla="*/ 474760 w 564115"/>
                  <a:gd name="connsiteY109" fmla="*/ 50391 h 473856"/>
                  <a:gd name="connsiteX110" fmla="*/ 487170 w 564115"/>
                  <a:gd name="connsiteY110" fmla="*/ 33242 h 473856"/>
                  <a:gd name="connsiteX111" fmla="*/ 490103 w 564115"/>
                  <a:gd name="connsiteY111" fmla="*/ 30760 h 473856"/>
                  <a:gd name="connsiteX112" fmla="*/ 492360 w 564115"/>
                  <a:gd name="connsiteY112" fmla="*/ 26924 h 473856"/>
                  <a:gd name="connsiteX113" fmla="*/ 498678 w 564115"/>
                  <a:gd name="connsiteY113" fmla="*/ 19252 h 473856"/>
                  <a:gd name="connsiteX114" fmla="*/ 508155 w 564115"/>
                  <a:gd name="connsiteY114" fmla="*/ 16995 h 473856"/>
                  <a:gd name="connsiteX115" fmla="*/ 513571 w 564115"/>
                  <a:gd name="connsiteY115" fmla="*/ 15867 h 473856"/>
                  <a:gd name="connsiteX116" fmla="*/ 521017 w 564115"/>
                  <a:gd name="connsiteY116" fmla="*/ 5262 h 473856"/>
                  <a:gd name="connsiteX117" fmla="*/ 524627 w 564115"/>
                  <a:gd name="connsiteY117" fmla="*/ 298 h 473856"/>
                  <a:gd name="connsiteX118" fmla="*/ 530494 w 564115"/>
                  <a:gd name="connsiteY118" fmla="*/ 1651 h 473856"/>
                  <a:gd name="connsiteX119" fmla="*/ 533879 w 564115"/>
                  <a:gd name="connsiteY119" fmla="*/ 3231 h 473856"/>
                  <a:gd name="connsiteX120" fmla="*/ 548997 w 564115"/>
                  <a:gd name="connsiteY120" fmla="*/ 11129 h 473856"/>
                  <a:gd name="connsiteX121" fmla="*/ 552833 w 564115"/>
                  <a:gd name="connsiteY121" fmla="*/ 25344 h 473856"/>
                  <a:gd name="connsiteX122" fmla="*/ 559151 w 564115"/>
                  <a:gd name="connsiteY122" fmla="*/ 35724 h 473856"/>
                  <a:gd name="connsiteX123" fmla="*/ 564341 w 564115"/>
                  <a:gd name="connsiteY123" fmla="*/ 49940 h 473856"/>
                  <a:gd name="connsiteX124" fmla="*/ 564341 w 564115"/>
                  <a:gd name="connsiteY124" fmla="*/ 53324 h 473856"/>
                  <a:gd name="connsiteX125" fmla="*/ 560505 w 564115"/>
                  <a:gd name="connsiteY125" fmla="*/ 77469 h 473856"/>
                  <a:gd name="connsiteX126" fmla="*/ 559603 w 564115"/>
                  <a:gd name="connsiteY126" fmla="*/ 78822 h 473856"/>
                  <a:gd name="connsiteX127" fmla="*/ 563213 w 564115"/>
                  <a:gd name="connsiteY127" fmla="*/ 84464 h 473856"/>
                  <a:gd name="connsiteX128" fmla="*/ 564115 w 564115"/>
                  <a:gd name="connsiteY128" fmla="*/ 85366 h 473856"/>
                  <a:gd name="connsiteX129" fmla="*/ 567951 w 564115"/>
                  <a:gd name="connsiteY129" fmla="*/ 99131 h 473856"/>
                  <a:gd name="connsiteX130" fmla="*/ 563213 w 564115"/>
                  <a:gd name="connsiteY130" fmla="*/ 109736 h 473856"/>
                  <a:gd name="connsiteX131" fmla="*/ 560731 w 564115"/>
                  <a:gd name="connsiteY131" fmla="*/ 112444 h 473856"/>
                  <a:gd name="connsiteX132" fmla="*/ 560279 w 564115"/>
                  <a:gd name="connsiteY132" fmla="*/ 118085 h 473856"/>
                  <a:gd name="connsiteX133" fmla="*/ 559377 w 564115"/>
                  <a:gd name="connsiteY133" fmla="*/ 130270 h 473856"/>
                  <a:gd name="connsiteX134" fmla="*/ 556895 w 564115"/>
                  <a:gd name="connsiteY134" fmla="*/ 135460 h 473856"/>
                  <a:gd name="connsiteX135" fmla="*/ 544033 w 564115"/>
                  <a:gd name="connsiteY135" fmla="*/ 151255 h 473856"/>
                  <a:gd name="connsiteX136" fmla="*/ 537489 w 564115"/>
                  <a:gd name="connsiteY136" fmla="*/ 160055 h 473856"/>
                  <a:gd name="connsiteX137" fmla="*/ 525530 w 564115"/>
                  <a:gd name="connsiteY137" fmla="*/ 175625 h 473856"/>
                  <a:gd name="connsiteX138" fmla="*/ 517407 w 564115"/>
                  <a:gd name="connsiteY138" fmla="*/ 185102 h 473856"/>
                  <a:gd name="connsiteX139" fmla="*/ 512894 w 564115"/>
                  <a:gd name="connsiteY139" fmla="*/ 188486 h 473856"/>
                  <a:gd name="connsiteX140" fmla="*/ 511089 w 564115"/>
                  <a:gd name="connsiteY140" fmla="*/ 188261 h 473856"/>
                  <a:gd name="connsiteX141" fmla="*/ 500934 w 564115"/>
                  <a:gd name="connsiteY141" fmla="*/ 195707 h 473856"/>
                  <a:gd name="connsiteX142" fmla="*/ 497550 w 564115"/>
                  <a:gd name="connsiteY142" fmla="*/ 202928 h 473856"/>
                  <a:gd name="connsiteX143" fmla="*/ 493714 w 564115"/>
                  <a:gd name="connsiteY143" fmla="*/ 205636 h 473856"/>
                  <a:gd name="connsiteX144" fmla="*/ 491232 w 564115"/>
                  <a:gd name="connsiteY144" fmla="*/ 205410 h 473856"/>
                  <a:gd name="connsiteX145" fmla="*/ 481303 w 564115"/>
                  <a:gd name="connsiteY145" fmla="*/ 210600 h 473856"/>
                  <a:gd name="connsiteX146" fmla="*/ 469570 w 564115"/>
                  <a:gd name="connsiteY146" fmla="*/ 215338 h 473856"/>
                  <a:gd name="connsiteX147" fmla="*/ 463703 w 564115"/>
                  <a:gd name="connsiteY147" fmla="*/ 211954 h 473856"/>
                  <a:gd name="connsiteX148" fmla="*/ 454000 w 564115"/>
                  <a:gd name="connsiteY148" fmla="*/ 206989 h 473856"/>
                  <a:gd name="connsiteX149" fmla="*/ 445651 w 564115"/>
                  <a:gd name="connsiteY149" fmla="*/ 214436 h 473856"/>
                  <a:gd name="connsiteX150" fmla="*/ 444523 w 564115"/>
                  <a:gd name="connsiteY150" fmla="*/ 219174 h 473856"/>
                  <a:gd name="connsiteX151" fmla="*/ 442492 w 564115"/>
                  <a:gd name="connsiteY151" fmla="*/ 226395 h 473856"/>
                  <a:gd name="connsiteX152" fmla="*/ 422184 w 564115"/>
                  <a:gd name="connsiteY152" fmla="*/ 235872 h 473856"/>
                  <a:gd name="connsiteX153" fmla="*/ 408645 w 564115"/>
                  <a:gd name="connsiteY153" fmla="*/ 241288 h 473856"/>
                  <a:gd name="connsiteX154" fmla="*/ 402553 w 564115"/>
                  <a:gd name="connsiteY154" fmla="*/ 245124 h 473856"/>
                  <a:gd name="connsiteX155" fmla="*/ 391496 w 564115"/>
                  <a:gd name="connsiteY155" fmla="*/ 256857 h 473856"/>
                  <a:gd name="connsiteX156" fmla="*/ 375024 w 564115"/>
                  <a:gd name="connsiteY156" fmla="*/ 271073 h 473856"/>
                  <a:gd name="connsiteX157" fmla="*/ 361485 w 564115"/>
                  <a:gd name="connsiteY157" fmla="*/ 256857 h 473856"/>
                  <a:gd name="connsiteX158" fmla="*/ 360808 w 564115"/>
                  <a:gd name="connsiteY158" fmla="*/ 255052 h 473856"/>
                  <a:gd name="connsiteX159" fmla="*/ 349752 w 564115"/>
                  <a:gd name="connsiteY159" fmla="*/ 254150 h 473856"/>
                  <a:gd name="connsiteX160" fmla="*/ 348849 w 564115"/>
                  <a:gd name="connsiteY160" fmla="*/ 254150 h 473856"/>
                  <a:gd name="connsiteX161" fmla="*/ 346367 w 564115"/>
                  <a:gd name="connsiteY161" fmla="*/ 258437 h 473856"/>
                  <a:gd name="connsiteX162" fmla="*/ 344562 w 564115"/>
                  <a:gd name="connsiteY162" fmla="*/ 264980 h 473856"/>
                  <a:gd name="connsiteX163" fmla="*/ 337115 w 564115"/>
                  <a:gd name="connsiteY163" fmla="*/ 267688 h 473856"/>
                  <a:gd name="connsiteX164" fmla="*/ 334633 w 564115"/>
                  <a:gd name="connsiteY164" fmla="*/ 267237 h 473856"/>
                  <a:gd name="connsiteX165" fmla="*/ 332602 w 564115"/>
                  <a:gd name="connsiteY165" fmla="*/ 268591 h 473856"/>
                  <a:gd name="connsiteX166" fmla="*/ 328992 w 564115"/>
                  <a:gd name="connsiteY166" fmla="*/ 277165 h 473856"/>
                  <a:gd name="connsiteX167" fmla="*/ 324479 w 564115"/>
                  <a:gd name="connsiteY167" fmla="*/ 290704 h 473856"/>
                  <a:gd name="connsiteX168" fmla="*/ 325156 w 564115"/>
                  <a:gd name="connsiteY168" fmla="*/ 302664 h 473856"/>
                  <a:gd name="connsiteX169" fmla="*/ 331700 w 564115"/>
                  <a:gd name="connsiteY169" fmla="*/ 309884 h 473856"/>
                  <a:gd name="connsiteX170" fmla="*/ 342305 w 564115"/>
                  <a:gd name="connsiteY170" fmla="*/ 312818 h 473856"/>
                  <a:gd name="connsiteX171" fmla="*/ 350654 w 564115"/>
                  <a:gd name="connsiteY171" fmla="*/ 315525 h 473856"/>
                  <a:gd name="connsiteX172" fmla="*/ 362162 w 564115"/>
                  <a:gd name="connsiteY172" fmla="*/ 323874 h 473856"/>
                  <a:gd name="connsiteX173" fmla="*/ 367803 w 564115"/>
                  <a:gd name="connsiteY173" fmla="*/ 329515 h 473856"/>
                  <a:gd name="connsiteX174" fmla="*/ 382245 w 564115"/>
                  <a:gd name="connsiteY174" fmla="*/ 329967 h 473856"/>
                  <a:gd name="connsiteX175" fmla="*/ 391947 w 564115"/>
                  <a:gd name="connsiteY175" fmla="*/ 328613 h 473856"/>
                  <a:gd name="connsiteX176" fmla="*/ 408419 w 564115"/>
                  <a:gd name="connsiteY176" fmla="*/ 336736 h 473856"/>
                  <a:gd name="connsiteX177" fmla="*/ 408871 w 564115"/>
                  <a:gd name="connsiteY177" fmla="*/ 340121 h 473856"/>
                  <a:gd name="connsiteX178" fmla="*/ 407066 w 564115"/>
                  <a:gd name="connsiteY178" fmla="*/ 341249 h 473856"/>
                  <a:gd name="connsiteX179" fmla="*/ 404809 w 564115"/>
                  <a:gd name="connsiteY179" fmla="*/ 343054 h 473856"/>
                  <a:gd name="connsiteX180" fmla="*/ 403681 w 564115"/>
                  <a:gd name="connsiteY180" fmla="*/ 360880 h 473856"/>
                  <a:gd name="connsiteX181" fmla="*/ 417220 w 564115"/>
                  <a:gd name="connsiteY181" fmla="*/ 367650 h 473856"/>
                  <a:gd name="connsiteX182" fmla="*/ 418122 w 564115"/>
                  <a:gd name="connsiteY182" fmla="*/ 368101 h 473856"/>
                  <a:gd name="connsiteX183" fmla="*/ 427148 w 564115"/>
                  <a:gd name="connsiteY183" fmla="*/ 375547 h 473856"/>
                  <a:gd name="connsiteX184" fmla="*/ 435948 w 564115"/>
                  <a:gd name="connsiteY184" fmla="*/ 382091 h 473856"/>
                  <a:gd name="connsiteX185" fmla="*/ 445651 w 564115"/>
                  <a:gd name="connsiteY185" fmla="*/ 393147 h 473856"/>
                  <a:gd name="connsiteX186" fmla="*/ 446102 w 564115"/>
                  <a:gd name="connsiteY186" fmla="*/ 395178 h 473856"/>
                  <a:gd name="connsiteX187" fmla="*/ 446554 w 564115"/>
                  <a:gd name="connsiteY187" fmla="*/ 396758 h 473856"/>
                  <a:gd name="connsiteX188" fmla="*/ 451969 w 564115"/>
                  <a:gd name="connsiteY188" fmla="*/ 405784 h 473856"/>
                  <a:gd name="connsiteX189" fmla="*/ 456933 w 564115"/>
                  <a:gd name="connsiteY189" fmla="*/ 414584 h 473856"/>
                  <a:gd name="connsiteX190" fmla="*/ 458739 w 564115"/>
                  <a:gd name="connsiteY190" fmla="*/ 420451 h 473856"/>
                  <a:gd name="connsiteX191" fmla="*/ 459867 w 564115"/>
                  <a:gd name="connsiteY191" fmla="*/ 423835 h 473856"/>
                  <a:gd name="connsiteX192" fmla="*/ 449938 w 564115"/>
                  <a:gd name="connsiteY192" fmla="*/ 431507 h 473856"/>
                  <a:gd name="connsiteX193" fmla="*/ 444749 w 564115"/>
                  <a:gd name="connsiteY193" fmla="*/ 434215 h 473856"/>
                  <a:gd name="connsiteX194" fmla="*/ 424440 w 564115"/>
                  <a:gd name="connsiteY194" fmla="*/ 427897 h 473856"/>
                  <a:gd name="connsiteX195" fmla="*/ 423312 w 564115"/>
                  <a:gd name="connsiteY195" fmla="*/ 427220 h 473856"/>
                  <a:gd name="connsiteX196" fmla="*/ 403455 w 564115"/>
                  <a:gd name="connsiteY196" fmla="*/ 419999 h 473856"/>
                  <a:gd name="connsiteX197" fmla="*/ 398265 w 564115"/>
                  <a:gd name="connsiteY197" fmla="*/ 419097 h 473856"/>
                  <a:gd name="connsiteX198" fmla="*/ 388337 w 564115"/>
                  <a:gd name="connsiteY198" fmla="*/ 413230 h 473856"/>
                  <a:gd name="connsiteX199" fmla="*/ 386306 w 564115"/>
                  <a:gd name="connsiteY199" fmla="*/ 410748 h 473856"/>
                  <a:gd name="connsiteX200" fmla="*/ 380214 w 564115"/>
                  <a:gd name="connsiteY200" fmla="*/ 409394 h 473856"/>
                  <a:gd name="connsiteX201" fmla="*/ 366901 w 564115"/>
                  <a:gd name="connsiteY201" fmla="*/ 405107 h 473856"/>
                  <a:gd name="connsiteX202" fmla="*/ 360131 w 564115"/>
                  <a:gd name="connsiteY202" fmla="*/ 399917 h 473856"/>
                  <a:gd name="connsiteX203" fmla="*/ 353587 w 564115"/>
                  <a:gd name="connsiteY203" fmla="*/ 396081 h 473856"/>
                  <a:gd name="connsiteX204" fmla="*/ 350203 w 564115"/>
                  <a:gd name="connsiteY204" fmla="*/ 399466 h 473856"/>
                  <a:gd name="connsiteX205" fmla="*/ 347946 w 564115"/>
                  <a:gd name="connsiteY205" fmla="*/ 405107 h 473856"/>
                  <a:gd name="connsiteX206" fmla="*/ 349075 w 564115"/>
                  <a:gd name="connsiteY206" fmla="*/ 406686 h 473856"/>
                  <a:gd name="connsiteX207" fmla="*/ 351782 w 564115"/>
                  <a:gd name="connsiteY207" fmla="*/ 415035 h 473856"/>
                  <a:gd name="connsiteX208" fmla="*/ 351331 w 564115"/>
                  <a:gd name="connsiteY208" fmla="*/ 416615 h 473856"/>
                  <a:gd name="connsiteX209" fmla="*/ 351557 w 564115"/>
                  <a:gd name="connsiteY209" fmla="*/ 433087 h 473856"/>
                  <a:gd name="connsiteX210" fmla="*/ 349752 w 564115"/>
                  <a:gd name="connsiteY210" fmla="*/ 457005 h 473856"/>
                  <a:gd name="connsiteX211" fmla="*/ 332828 w 564115"/>
                  <a:gd name="connsiteY211" fmla="*/ 474380 h 473856"/>
                  <a:gd name="connsiteX212" fmla="*/ 318838 w 564115"/>
                  <a:gd name="connsiteY212" fmla="*/ 457231 h 473856"/>
                  <a:gd name="connsiteX213" fmla="*/ 323576 w 564115"/>
                  <a:gd name="connsiteY213" fmla="*/ 458811 h 473856"/>
                  <a:gd name="connsiteX214" fmla="*/ 324930 w 564115"/>
                  <a:gd name="connsiteY214" fmla="*/ 463549 h 473856"/>
                  <a:gd name="connsiteX215" fmla="*/ 326059 w 564115"/>
                  <a:gd name="connsiteY215" fmla="*/ 468739 h 473856"/>
                  <a:gd name="connsiteX216" fmla="*/ 333054 w 564115"/>
                  <a:gd name="connsiteY216" fmla="*/ 470995 h 473856"/>
                  <a:gd name="connsiteX217" fmla="*/ 346367 w 564115"/>
                  <a:gd name="connsiteY217" fmla="*/ 455200 h 473856"/>
                  <a:gd name="connsiteX218" fmla="*/ 348172 w 564115"/>
                  <a:gd name="connsiteY218" fmla="*/ 433990 h 473856"/>
                  <a:gd name="connsiteX219" fmla="*/ 347721 w 564115"/>
                  <a:gd name="connsiteY219" fmla="*/ 415261 h 473856"/>
                  <a:gd name="connsiteX220" fmla="*/ 348172 w 564115"/>
                  <a:gd name="connsiteY220" fmla="*/ 413681 h 473856"/>
                  <a:gd name="connsiteX221" fmla="*/ 346141 w 564115"/>
                  <a:gd name="connsiteY221" fmla="*/ 408717 h 473856"/>
                  <a:gd name="connsiteX222" fmla="*/ 344562 w 564115"/>
                  <a:gd name="connsiteY222" fmla="*/ 406686 h 473856"/>
                  <a:gd name="connsiteX223" fmla="*/ 345464 w 564115"/>
                  <a:gd name="connsiteY223" fmla="*/ 399917 h 473856"/>
                  <a:gd name="connsiteX224" fmla="*/ 353136 w 564115"/>
                  <a:gd name="connsiteY224" fmla="*/ 392019 h 473856"/>
                  <a:gd name="connsiteX225" fmla="*/ 362613 w 564115"/>
                  <a:gd name="connsiteY225" fmla="*/ 396758 h 473856"/>
                  <a:gd name="connsiteX226" fmla="*/ 369157 w 564115"/>
                  <a:gd name="connsiteY226" fmla="*/ 401722 h 473856"/>
                  <a:gd name="connsiteX227" fmla="*/ 380665 w 564115"/>
                  <a:gd name="connsiteY227" fmla="*/ 405332 h 473856"/>
                  <a:gd name="connsiteX228" fmla="*/ 388337 w 564115"/>
                  <a:gd name="connsiteY228" fmla="*/ 407138 h 473856"/>
                  <a:gd name="connsiteX229" fmla="*/ 392173 w 564115"/>
                  <a:gd name="connsiteY229" fmla="*/ 411425 h 473856"/>
                  <a:gd name="connsiteX230" fmla="*/ 399168 w 564115"/>
                  <a:gd name="connsiteY230" fmla="*/ 415035 h 473856"/>
                  <a:gd name="connsiteX231" fmla="*/ 404358 w 564115"/>
                  <a:gd name="connsiteY231" fmla="*/ 415938 h 473856"/>
                  <a:gd name="connsiteX232" fmla="*/ 425794 w 564115"/>
                  <a:gd name="connsiteY232" fmla="*/ 423835 h 473856"/>
                  <a:gd name="connsiteX233" fmla="*/ 426922 w 564115"/>
                  <a:gd name="connsiteY233" fmla="*/ 424512 h 473856"/>
                  <a:gd name="connsiteX234" fmla="*/ 442943 w 564115"/>
                  <a:gd name="connsiteY234" fmla="*/ 430830 h 473856"/>
                  <a:gd name="connsiteX235" fmla="*/ 448584 w 564115"/>
                  <a:gd name="connsiteY235" fmla="*/ 427897 h 473856"/>
                  <a:gd name="connsiteX236" fmla="*/ 456482 w 564115"/>
                  <a:gd name="connsiteY236" fmla="*/ 422933 h 473856"/>
                  <a:gd name="connsiteX237" fmla="*/ 453323 w 564115"/>
                  <a:gd name="connsiteY237" fmla="*/ 414809 h 473856"/>
                  <a:gd name="connsiteX238" fmla="*/ 450841 w 564115"/>
                  <a:gd name="connsiteY238" fmla="*/ 409168 h 473856"/>
                  <a:gd name="connsiteX239" fmla="*/ 442943 w 564115"/>
                  <a:gd name="connsiteY239" fmla="*/ 397660 h 473856"/>
                  <a:gd name="connsiteX240" fmla="*/ 442492 w 564115"/>
                  <a:gd name="connsiteY240" fmla="*/ 396306 h 473856"/>
                  <a:gd name="connsiteX241" fmla="*/ 442041 w 564115"/>
                  <a:gd name="connsiteY241" fmla="*/ 393825 h 473856"/>
                  <a:gd name="connsiteX242" fmla="*/ 435497 w 564115"/>
                  <a:gd name="connsiteY242" fmla="*/ 385927 h 473856"/>
                  <a:gd name="connsiteX243" fmla="*/ 424440 w 564115"/>
                  <a:gd name="connsiteY243" fmla="*/ 378255 h 473856"/>
                  <a:gd name="connsiteX244" fmla="*/ 416768 w 564115"/>
                  <a:gd name="connsiteY244" fmla="*/ 371711 h 473856"/>
                  <a:gd name="connsiteX245" fmla="*/ 415866 w 564115"/>
                  <a:gd name="connsiteY245" fmla="*/ 371260 h 473856"/>
                  <a:gd name="connsiteX246" fmla="*/ 401199 w 564115"/>
                  <a:gd name="connsiteY246" fmla="*/ 363588 h 473856"/>
                  <a:gd name="connsiteX247" fmla="*/ 401876 w 564115"/>
                  <a:gd name="connsiteY247" fmla="*/ 340798 h 473856"/>
                  <a:gd name="connsiteX248" fmla="*/ 404809 w 564115"/>
                  <a:gd name="connsiteY248" fmla="*/ 338090 h 473856"/>
                  <a:gd name="connsiteX249" fmla="*/ 392173 w 564115"/>
                  <a:gd name="connsiteY249" fmla="*/ 332449 h 473856"/>
                  <a:gd name="connsiteX250" fmla="*/ 382696 w 564115"/>
                  <a:gd name="connsiteY250" fmla="*/ 333803 h 473856"/>
                  <a:gd name="connsiteX251" fmla="*/ 365321 w 564115"/>
                  <a:gd name="connsiteY251" fmla="*/ 332674 h 473856"/>
                  <a:gd name="connsiteX252" fmla="*/ 359003 w 564115"/>
                  <a:gd name="connsiteY252" fmla="*/ 326582 h 473856"/>
                  <a:gd name="connsiteX253" fmla="*/ 349526 w 564115"/>
                  <a:gd name="connsiteY253" fmla="*/ 319361 h 473856"/>
                  <a:gd name="connsiteX254" fmla="*/ 340500 w 564115"/>
                  <a:gd name="connsiteY254" fmla="*/ 316428 h 473856"/>
                  <a:gd name="connsiteX255" fmla="*/ 331023 w 564115"/>
                  <a:gd name="connsiteY255" fmla="*/ 313720 h 473856"/>
                  <a:gd name="connsiteX256" fmla="*/ 321546 w 564115"/>
                  <a:gd name="connsiteY256" fmla="*/ 304243 h 473856"/>
                  <a:gd name="connsiteX257" fmla="*/ 321320 w 564115"/>
                  <a:gd name="connsiteY257" fmla="*/ 288448 h 473856"/>
                  <a:gd name="connsiteX258" fmla="*/ 325156 w 564115"/>
                  <a:gd name="connsiteY258" fmla="*/ 277617 h 473856"/>
                  <a:gd name="connsiteX259" fmla="*/ 329669 w 564115"/>
                  <a:gd name="connsiteY259" fmla="*/ 266109 h 473856"/>
                  <a:gd name="connsiteX260" fmla="*/ 334633 w 564115"/>
                  <a:gd name="connsiteY260" fmla="*/ 263401 h 473856"/>
                  <a:gd name="connsiteX261" fmla="*/ 338244 w 564115"/>
                  <a:gd name="connsiteY261" fmla="*/ 264078 h 473856"/>
                  <a:gd name="connsiteX262" fmla="*/ 341628 w 564115"/>
                  <a:gd name="connsiteY262" fmla="*/ 262950 h 473856"/>
                  <a:gd name="connsiteX263" fmla="*/ 342757 w 564115"/>
                  <a:gd name="connsiteY263" fmla="*/ 258211 h 473856"/>
                  <a:gd name="connsiteX264" fmla="*/ 348623 w 564115"/>
                  <a:gd name="connsiteY264" fmla="*/ 250314 h 473856"/>
                  <a:gd name="connsiteX265" fmla="*/ 349300 w 564115"/>
                  <a:gd name="connsiteY265" fmla="*/ 250314 h 473856"/>
                  <a:gd name="connsiteX266" fmla="*/ 363290 w 564115"/>
                  <a:gd name="connsiteY266" fmla="*/ 252344 h 473856"/>
                  <a:gd name="connsiteX267" fmla="*/ 365095 w 564115"/>
                  <a:gd name="connsiteY267" fmla="*/ 257083 h 473856"/>
                  <a:gd name="connsiteX268" fmla="*/ 375024 w 564115"/>
                  <a:gd name="connsiteY268" fmla="*/ 267463 h 473856"/>
                  <a:gd name="connsiteX269" fmla="*/ 387660 w 564115"/>
                  <a:gd name="connsiteY269" fmla="*/ 256406 h 473856"/>
                  <a:gd name="connsiteX270" fmla="*/ 400973 w 564115"/>
                  <a:gd name="connsiteY270" fmla="*/ 241739 h 473856"/>
                  <a:gd name="connsiteX271" fmla="*/ 406389 w 564115"/>
                  <a:gd name="connsiteY271" fmla="*/ 238354 h 473856"/>
                  <a:gd name="connsiteX272" fmla="*/ 421733 w 564115"/>
                  <a:gd name="connsiteY272" fmla="*/ 232262 h 473856"/>
                  <a:gd name="connsiteX273" fmla="*/ 439107 w 564115"/>
                  <a:gd name="connsiteY273" fmla="*/ 224815 h 473856"/>
                  <a:gd name="connsiteX274" fmla="*/ 440913 w 564115"/>
                  <a:gd name="connsiteY274" fmla="*/ 218723 h 473856"/>
                  <a:gd name="connsiteX275" fmla="*/ 442266 w 564115"/>
                  <a:gd name="connsiteY275" fmla="*/ 213308 h 473856"/>
                  <a:gd name="connsiteX276" fmla="*/ 454677 w 564115"/>
                  <a:gd name="connsiteY276" fmla="*/ 203830 h 473856"/>
                  <a:gd name="connsiteX277" fmla="*/ 465734 w 564115"/>
                  <a:gd name="connsiteY277" fmla="*/ 209246 h 473856"/>
                  <a:gd name="connsiteX278" fmla="*/ 470924 w 564115"/>
                  <a:gd name="connsiteY278" fmla="*/ 212405 h 473856"/>
                  <a:gd name="connsiteX279" fmla="*/ 479047 w 564115"/>
                  <a:gd name="connsiteY279" fmla="*/ 208118 h 473856"/>
                  <a:gd name="connsiteX280" fmla="*/ 491006 w 564115"/>
                  <a:gd name="connsiteY280" fmla="*/ 202251 h 473856"/>
                  <a:gd name="connsiteX281" fmla="*/ 493714 w 564115"/>
                  <a:gd name="connsiteY281" fmla="*/ 202477 h 473856"/>
                  <a:gd name="connsiteX282" fmla="*/ 493714 w 564115"/>
                  <a:gd name="connsiteY282" fmla="*/ 202251 h 473856"/>
                  <a:gd name="connsiteX283" fmla="*/ 497324 w 564115"/>
                  <a:gd name="connsiteY283" fmla="*/ 194579 h 473856"/>
                  <a:gd name="connsiteX284" fmla="*/ 511540 w 564115"/>
                  <a:gd name="connsiteY284" fmla="*/ 185102 h 473856"/>
                  <a:gd name="connsiteX285" fmla="*/ 513119 w 564115"/>
                  <a:gd name="connsiteY285" fmla="*/ 185327 h 473856"/>
                  <a:gd name="connsiteX286" fmla="*/ 513345 w 564115"/>
                  <a:gd name="connsiteY286" fmla="*/ 185327 h 473856"/>
                  <a:gd name="connsiteX287" fmla="*/ 513571 w 564115"/>
                  <a:gd name="connsiteY287" fmla="*/ 184651 h 473856"/>
                  <a:gd name="connsiteX288" fmla="*/ 523273 w 564115"/>
                  <a:gd name="connsiteY288" fmla="*/ 173143 h 473856"/>
                  <a:gd name="connsiteX289" fmla="*/ 533653 w 564115"/>
                  <a:gd name="connsiteY289" fmla="*/ 159153 h 473856"/>
                  <a:gd name="connsiteX290" fmla="*/ 542228 w 564115"/>
                  <a:gd name="connsiteY290" fmla="*/ 148321 h 473856"/>
                  <a:gd name="connsiteX291" fmla="*/ 553059 w 564115"/>
                  <a:gd name="connsiteY291" fmla="*/ 134557 h 473856"/>
                  <a:gd name="connsiteX292" fmla="*/ 555541 w 564115"/>
                  <a:gd name="connsiteY292" fmla="*/ 129142 h 473856"/>
                  <a:gd name="connsiteX293" fmla="*/ 556218 w 564115"/>
                  <a:gd name="connsiteY293" fmla="*/ 119664 h 473856"/>
                  <a:gd name="connsiteX294" fmla="*/ 557572 w 564115"/>
                  <a:gd name="connsiteY294" fmla="*/ 110639 h 473856"/>
                  <a:gd name="connsiteX295" fmla="*/ 560054 w 564115"/>
                  <a:gd name="connsiteY295" fmla="*/ 107931 h 473856"/>
                  <a:gd name="connsiteX296" fmla="*/ 563664 w 564115"/>
                  <a:gd name="connsiteY296" fmla="*/ 100033 h 473856"/>
                  <a:gd name="connsiteX297" fmla="*/ 560731 w 564115"/>
                  <a:gd name="connsiteY297" fmla="*/ 88751 h 473856"/>
                  <a:gd name="connsiteX298" fmla="*/ 559828 w 564115"/>
                  <a:gd name="connsiteY298" fmla="*/ 87848 h 473856"/>
                  <a:gd name="connsiteX299" fmla="*/ 555315 w 564115"/>
                  <a:gd name="connsiteY299" fmla="*/ 79500 h 473856"/>
                  <a:gd name="connsiteX300" fmla="*/ 557572 w 564115"/>
                  <a:gd name="connsiteY300" fmla="*/ 75438 h 473856"/>
                  <a:gd name="connsiteX301" fmla="*/ 560054 w 564115"/>
                  <a:gd name="connsiteY301" fmla="*/ 54227 h 473856"/>
                  <a:gd name="connsiteX302" fmla="*/ 560054 w 564115"/>
                  <a:gd name="connsiteY302" fmla="*/ 50842 h 473856"/>
                  <a:gd name="connsiteX303" fmla="*/ 556669 w 564115"/>
                  <a:gd name="connsiteY303" fmla="*/ 40011 h 473856"/>
                  <a:gd name="connsiteX304" fmla="*/ 548546 w 564115"/>
                  <a:gd name="connsiteY304" fmla="*/ 26473 h 473856"/>
                  <a:gd name="connsiteX305" fmla="*/ 546064 w 564115"/>
                  <a:gd name="connsiteY305" fmla="*/ 15190 h 473856"/>
                  <a:gd name="connsiteX306" fmla="*/ 532299 w 564115"/>
                  <a:gd name="connsiteY306" fmla="*/ 7970 h 473856"/>
                  <a:gd name="connsiteX307" fmla="*/ 528012 w 564115"/>
                  <a:gd name="connsiteY307" fmla="*/ 5939 h 473856"/>
                  <a:gd name="connsiteX308" fmla="*/ 525304 w 564115"/>
                  <a:gd name="connsiteY308" fmla="*/ 4811 h 473856"/>
                  <a:gd name="connsiteX309" fmla="*/ 523950 w 564115"/>
                  <a:gd name="connsiteY309" fmla="*/ 7293 h 473856"/>
                  <a:gd name="connsiteX310" fmla="*/ 515150 w 564115"/>
                  <a:gd name="connsiteY310" fmla="*/ 19929 h 473856"/>
                  <a:gd name="connsiteX311" fmla="*/ 507478 w 564115"/>
                  <a:gd name="connsiteY311" fmla="*/ 21734 h 473856"/>
                  <a:gd name="connsiteX312" fmla="*/ 500032 w 564115"/>
                  <a:gd name="connsiteY312" fmla="*/ 23314 h 473856"/>
                  <a:gd name="connsiteX313" fmla="*/ 495293 w 564115"/>
                  <a:gd name="connsiteY313" fmla="*/ 29406 h 473856"/>
                  <a:gd name="connsiteX314" fmla="*/ 492134 w 564115"/>
                  <a:gd name="connsiteY314" fmla="*/ 34370 h 473856"/>
                  <a:gd name="connsiteX315" fmla="*/ 488975 w 564115"/>
                  <a:gd name="connsiteY315" fmla="*/ 37078 h 473856"/>
                  <a:gd name="connsiteX316" fmla="*/ 477919 w 564115"/>
                  <a:gd name="connsiteY316" fmla="*/ 51745 h 473856"/>
                  <a:gd name="connsiteX317" fmla="*/ 477467 w 564115"/>
                  <a:gd name="connsiteY317" fmla="*/ 56258 h 473856"/>
                  <a:gd name="connsiteX318" fmla="*/ 472954 w 564115"/>
                  <a:gd name="connsiteY318" fmla="*/ 73633 h 473856"/>
                  <a:gd name="connsiteX319" fmla="*/ 471600 w 564115"/>
                  <a:gd name="connsiteY319" fmla="*/ 75889 h 473856"/>
                  <a:gd name="connsiteX320" fmla="*/ 466411 w 564115"/>
                  <a:gd name="connsiteY320" fmla="*/ 90556 h 473856"/>
                  <a:gd name="connsiteX321" fmla="*/ 458964 w 564115"/>
                  <a:gd name="connsiteY321" fmla="*/ 107028 h 473856"/>
                  <a:gd name="connsiteX322" fmla="*/ 454000 w 564115"/>
                  <a:gd name="connsiteY322" fmla="*/ 106803 h 473856"/>
                  <a:gd name="connsiteX323" fmla="*/ 448810 w 564115"/>
                  <a:gd name="connsiteY323" fmla="*/ 108382 h 473856"/>
                  <a:gd name="connsiteX324" fmla="*/ 432112 w 564115"/>
                  <a:gd name="connsiteY324" fmla="*/ 114249 h 473856"/>
                  <a:gd name="connsiteX325" fmla="*/ 421281 w 564115"/>
                  <a:gd name="connsiteY325" fmla="*/ 115828 h 473856"/>
                  <a:gd name="connsiteX326" fmla="*/ 413609 w 564115"/>
                  <a:gd name="connsiteY326" fmla="*/ 116957 h 473856"/>
                  <a:gd name="connsiteX327" fmla="*/ 410225 w 564115"/>
                  <a:gd name="connsiteY327" fmla="*/ 114023 h 473856"/>
                  <a:gd name="connsiteX328" fmla="*/ 408871 w 564115"/>
                  <a:gd name="connsiteY328" fmla="*/ 114926 h 473856"/>
                  <a:gd name="connsiteX329" fmla="*/ 403230 w 564115"/>
                  <a:gd name="connsiteY329" fmla="*/ 118536 h 473856"/>
                  <a:gd name="connsiteX330" fmla="*/ 399619 w 564115"/>
                  <a:gd name="connsiteY330" fmla="*/ 124177 h 473856"/>
                  <a:gd name="connsiteX331" fmla="*/ 394655 w 564115"/>
                  <a:gd name="connsiteY331" fmla="*/ 143132 h 473856"/>
                  <a:gd name="connsiteX332" fmla="*/ 390142 w 564115"/>
                  <a:gd name="connsiteY332" fmla="*/ 145162 h 473856"/>
                  <a:gd name="connsiteX333" fmla="*/ 378409 w 564115"/>
                  <a:gd name="connsiteY333" fmla="*/ 140650 h 473856"/>
                  <a:gd name="connsiteX334" fmla="*/ 375475 w 564115"/>
                  <a:gd name="connsiteY334" fmla="*/ 135911 h 473856"/>
                  <a:gd name="connsiteX335" fmla="*/ 363967 w 564115"/>
                  <a:gd name="connsiteY335" fmla="*/ 120341 h 473856"/>
                  <a:gd name="connsiteX336" fmla="*/ 358777 w 564115"/>
                  <a:gd name="connsiteY336" fmla="*/ 118762 h 473856"/>
                  <a:gd name="connsiteX337" fmla="*/ 348623 w 564115"/>
                  <a:gd name="connsiteY337" fmla="*/ 111992 h 473856"/>
                  <a:gd name="connsiteX338" fmla="*/ 342982 w 564115"/>
                  <a:gd name="connsiteY338" fmla="*/ 100710 h 473856"/>
                  <a:gd name="connsiteX339" fmla="*/ 331700 w 564115"/>
                  <a:gd name="connsiteY339" fmla="*/ 95746 h 473856"/>
                  <a:gd name="connsiteX340" fmla="*/ 315002 w 564115"/>
                  <a:gd name="connsiteY340" fmla="*/ 93264 h 473856"/>
                  <a:gd name="connsiteX341" fmla="*/ 302591 w 564115"/>
                  <a:gd name="connsiteY341" fmla="*/ 92361 h 473856"/>
                  <a:gd name="connsiteX342" fmla="*/ 300335 w 564115"/>
                  <a:gd name="connsiteY342" fmla="*/ 93715 h 473856"/>
                  <a:gd name="connsiteX343" fmla="*/ 297402 w 564115"/>
                  <a:gd name="connsiteY343" fmla="*/ 100033 h 473856"/>
                  <a:gd name="connsiteX344" fmla="*/ 291309 w 564115"/>
                  <a:gd name="connsiteY344" fmla="*/ 112669 h 473856"/>
                  <a:gd name="connsiteX345" fmla="*/ 275063 w 564115"/>
                  <a:gd name="connsiteY345" fmla="*/ 122372 h 473856"/>
                  <a:gd name="connsiteX346" fmla="*/ 265811 w 564115"/>
                  <a:gd name="connsiteY346" fmla="*/ 126208 h 473856"/>
                  <a:gd name="connsiteX347" fmla="*/ 253401 w 564115"/>
                  <a:gd name="connsiteY347" fmla="*/ 131398 h 473856"/>
                  <a:gd name="connsiteX348" fmla="*/ 237831 w 564115"/>
                  <a:gd name="connsiteY348" fmla="*/ 138619 h 473856"/>
                  <a:gd name="connsiteX349" fmla="*/ 231739 w 564115"/>
                  <a:gd name="connsiteY349" fmla="*/ 144937 h 473856"/>
                  <a:gd name="connsiteX350" fmla="*/ 223164 w 564115"/>
                  <a:gd name="connsiteY350" fmla="*/ 150352 h 473856"/>
                  <a:gd name="connsiteX351" fmla="*/ 211882 w 564115"/>
                  <a:gd name="connsiteY351" fmla="*/ 150352 h 473856"/>
                  <a:gd name="connsiteX352" fmla="*/ 204887 w 564115"/>
                  <a:gd name="connsiteY352" fmla="*/ 150804 h 473856"/>
                  <a:gd name="connsiteX353" fmla="*/ 195635 w 564115"/>
                  <a:gd name="connsiteY353" fmla="*/ 147645 h 473856"/>
                  <a:gd name="connsiteX354" fmla="*/ 194733 w 564115"/>
                  <a:gd name="connsiteY354" fmla="*/ 146065 h 473856"/>
                  <a:gd name="connsiteX355" fmla="*/ 186158 w 564115"/>
                  <a:gd name="connsiteY355" fmla="*/ 137265 h 473856"/>
                  <a:gd name="connsiteX356" fmla="*/ 171040 w 564115"/>
                  <a:gd name="connsiteY356" fmla="*/ 145614 h 473856"/>
                  <a:gd name="connsiteX357" fmla="*/ 167655 w 564115"/>
                  <a:gd name="connsiteY357" fmla="*/ 148321 h 473856"/>
                  <a:gd name="connsiteX358" fmla="*/ 161563 w 564115"/>
                  <a:gd name="connsiteY358" fmla="*/ 150578 h 473856"/>
                  <a:gd name="connsiteX359" fmla="*/ 154793 w 564115"/>
                  <a:gd name="connsiteY359" fmla="*/ 155316 h 473856"/>
                  <a:gd name="connsiteX360" fmla="*/ 149603 w 564115"/>
                  <a:gd name="connsiteY360" fmla="*/ 160506 h 473856"/>
                  <a:gd name="connsiteX361" fmla="*/ 139675 w 564115"/>
                  <a:gd name="connsiteY361" fmla="*/ 157122 h 473856"/>
                  <a:gd name="connsiteX362" fmla="*/ 137870 w 564115"/>
                  <a:gd name="connsiteY362" fmla="*/ 155994 h 473856"/>
                  <a:gd name="connsiteX363" fmla="*/ 131552 w 564115"/>
                  <a:gd name="connsiteY363" fmla="*/ 152834 h 473856"/>
                  <a:gd name="connsiteX364" fmla="*/ 122300 w 564115"/>
                  <a:gd name="connsiteY364" fmla="*/ 146291 h 473856"/>
                  <a:gd name="connsiteX365" fmla="*/ 122074 w 564115"/>
                  <a:gd name="connsiteY365" fmla="*/ 139521 h 473856"/>
                  <a:gd name="connsiteX366" fmla="*/ 122300 w 564115"/>
                  <a:gd name="connsiteY366" fmla="*/ 137039 h 473856"/>
                  <a:gd name="connsiteX367" fmla="*/ 118013 w 564115"/>
                  <a:gd name="connsiteY367" fmla="*/ 135911 h 473856"/>
                  <a:gd name="connsiteX368" fmla="*/ 109213 w 564115"/>
                  <a:gd name="connsiteY368" fmla="*/ 136813 h 473856"/>
                  <a:gd name="connsiteX369" fmla="*/ 103120 w 564115"/>
                  <a:gd name="connsiteY369" fmla="*/ 136813 h 473856"/>
                  <a:gd name="connsiteX370" fmla="*/ 97028 w 564115"/>
                  <a:gd name="connsiteY370" fmla="*/ 129367 h 473856"/>
                  <a:gd name="connsiteX371" fmla="*/ 92741 w 564115"/>
                  <a:gd name="connsiteY371" fmla="*/ 123726 h 473856"/>
                  <a:gd name="connsiteX372" fmla="*/ 79202 w 564115"/>
                  <a:gd name="connsiteY372" fmla="*/ 125080 h 473856"/>
                  <a:gd name="connsiteX373" fmla="*/ 43550 w 564115"/>
                  <a:gd name="connsiteY373" fmla="*/ 138393 h 473856"/>
                  <a:gd name="connsiteX374" fmla="*/ 33170 w 564115"/>
                  <a:gd name="connsiteY374" fmla="*/ 135008 h 473856"/>
                  <a:gd name="connsiteX375" fmla="*/ 23693 w 564115"/>
                  <a:gd name="connsiteY375" fmla="*/ 130947 h 473856"/>
                  <a:gd name="connsiteX376" fmla="*/ 9928 w 564115"/>
                  <a:gd name="connsiteY376" fmla="*/ 151706 h 473856"/>
                  <a:gd name="connsiteX377" fmla="*/ 9477 w 564115"/>
                  <a:gd name="connsiteY377" fmla="*/ 163891 h 473856"/>
                  <a:gd name="connsiteX378" fmla="*/ 7221 w 564115"/>
                  <a:gd name="connsiteY378" fmla="*/ 178784 h 473856"/>
                  <a:gd name="connsiteX379" fmla="*/ 3836 w 564115"/>
                  <a:gd name="connsiteY379" fmla="*/ 188035 h 473856"/>
                  <a:gd name="connsiteX380" fmla="*/ 3836 w 564115"/>
                  <a:gd name="connsiteY380" fmla="*/ 192999 h 473856"/>
                  <a:gd name="connsiteX381" fmla="*/ 20534 w 564115"/>
                  <a:gd name="connsiteY381" fmla="*/ 202702 h 473856"/>
                  <a:gd name="connsiteX382" fmla="*/ 22565 w 564115"/>
                  <a:gd name="connsiteY382" fmla="*/ 205636 h 473856"/>
                  <a:gd name="connsiteX383" fmla="*/ 34975 w 564115"/>
                  <a:gd name="connsiteY383" fmla="*/ 216241 h 473856"/>
                  <a:gd name="connsiteX384" fmla="*/ 42196 w 564115"/>
                  <a:gd name="connsiteY384" fmla="*/ 221656 h 473856"/>
                  <a:gd name="connsiteX385" fmla="*/ 43550 w 564115"/>
                  <a:gd name="connsiteY385" fmla="*/ 222785 h 473856"/>
                  <a:gd name="connsiteX386" fmla="*/ 57088 w 564115"/>
                  <a:gd name="connsiteY386" fmla="*/ 240611 h 473856"/>
                  <a:gd name="connsiteX387" fmla="*/ 70402 w 564115"/>
                  <a:gd name="connsiteY387" fmla="*/ 257985 h 473856"/>
                  <a:gd name="connsiteX388" fmla="*/ 83263 w 564115"/>
                  <a:gd name="connsiteY388" fmla="*/ 263175 h 473856"/>
                  <a:gd name="connsiteX389" fmla="*/ 89807 w 564115"/>
                  <a:gd name="connsiteY389" fmla="*/ 267011 h 473856"/>
                  <a:gd name="connsiteX390" fmla="*/ 90033 w 564115"/>
                  <a:gd name="connsiteY390" fmla="*/ 272427 h 473856"/>
                  <a:gd name="connsiteX391" fmla="*/ 95448 w 564115"/>
                  <a:gd name="connsiteY391" fmla="*/ 287996 h 473856"/>
                  <a:gd name="connsiteX392" fmla="*/ 98607 w 564115"/>
                  <a:gd name="connsiteY392" fmla="*/ 302212 h 473856"/>
                  <a:gd name="connsiteX393" fmla="*/ 97705 w 564115"/>
                  <a:gd name="connsiteY393" fmla="*/ 310787 h 473856"/>
                  <a:gd name="connsiteX394" fmla="*/ 118239 w 564115"/>
                  <a:gd name="connsiteY394" fmla="*/ 338541 h 473856"/>
                  <a:gd name="connsiteX395" fmla="*/ 122977 w 564115"/>
                  <a:gd name="connsiteY395" fmla="*/ 341474 h 473856"/>
                  <a:gd name="connsiteX396" fmla="*/ 135388 w 564115"/>
                  <a:gd name="connsiteY396" fmla="*/ 359526 h 473856"/>
                  <a:gd name="connsiteX397" fmla="*/ 101315 w 564115"/>
                  <a:gd name="connsiteY397" fmla="*/ 394501 h 473856"/>
                  <a:gd name="connsiteX398" fmla="*/ 95448 w 564115"/>
                  <a:gd name="connsiteY398" fmla="*/ 399917 h 473856"/>
                  <a:gd name="connsiteX399" fmla="*/ 96802 w 564115"/>
                  <a:gd name="connsiteY399" fmla="*/ 402850 h 473856"/>
                  <a:gd name="connsiteX400" fmla="*/ 97028 w 564115"/>
                  <a:gd name="connsiteY400" fmla="*/ 403076 h 473856"/>
                  <a:gd name="connsiteX401" fmla="*/ 111018 w 564115"/>
                  <a:gd name="connsiteY401" fmla="*/ 410297 h 473856"/>
                  <a:gd name="connsiteX402" fmla="*/ 116659 w 564115"/>
                  <a:gd name="connsiteY402" fmla="*/ 415938 h 473856"/>
                  <a:gd name="connsiteX403" fmla="*/ 135162 w 564115"/>
                  <a:gd name="connsiteY403" fmla="*/ 422030 h 473856"/>
                  <a:gd name="connsiteX404" fmla="*/ 146896 w 564115"/>
                  <a:gd name="connsiteY404" fmla="*/ 418871 h 473856"/>
                  <a:gd name="connsiteX405" fmla="*/ 171265 w 564115"/>
                  <a:gd name="connsiteY405" fmla="*/ 415487 h 473856"/>
                  <a:gd name="connsiteX406" fmla="*/ 195635 w 564115"/>
                  <a:gd name="connsiteY406" fmla="*/ 412779 h 473856"/>
                  <a:gd name="connsiteX407" fmla="*/ 217072 w 564115"/>
                  <a:gd name="connsiteY407" fmla="*/ 412328 h 473856"/>
                  <a:gd name="connsiteX408" fmla="*/ 230610 w 564115"/>
                  <a:gd name="connsiteY408" fmla="*/ 436246 h 473856"/>
                  <a:gd name="connsiteX409" fmla="*/ 231287 w 564115"/>
                  <a:gd name="connsiteY409" fmla="*/ 459487 h 473856"/>
                  <a:gd name="connsiteX410" fmla="*/ 255206 w 564115"/>
                  <a:gd name="connsiteY410" fmla="*/ 461293 h 473856"/>
                  <a:gd name="connsiteX411" fmla="*/ 257237 w 564115"/>
                  <a:gd name="connsiteY411" fmla="*/ 459036 h 473856"/>
                  <a:gd name="connsiteX412" fmla="*/ 279576 w 564115"/>
                  <a:gd name="connsiteY412" fmla="*/ 452944 h 473856"/>
                  <a:gd name="connsiteX413" fmla="*/ 305525 w 564115"/>
                  <a:gd name="connsiteY413" fmla="*/ 459262 h 473856"/>
                  <a:gd name="connsiteX414" fmla="*/ 311166 w 564115"/>
                  <a:gd name="connsiteY414" fmla="*/ 458359 h 473856"/>
                  <a:gd name="connsiteX415" fmla="*/ 318838 w 564115"/>
                  <a:gd name="connsiteY415" fmla="*/ 457231 h 473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</a:cxnLst>
                <a:rect l="l" t="t" r="r" b="b"/>
                <a:pathLst>
                  <a:path w="564115" h="473856">
                    <a:moveTo>
                      <a:pt x="332828" y="474380"/>
                    </a:moveTo>
                    <a:cubicBezTo>
                      <a:pt x="328315" y="474380"/>
                      <a:pt x="325156" y="473252"/>
                      <a:pt x="323125" y="470995"/>
                    </a:cubicBezTo>
                    <a:cubicBezTo>
                      <a:pt x="321320" y="468965"/>
                      <a:pt x="320643" y="466257"/>
                      <a:pt x="321094" y="462872"/>
                    </a:cubicBezTo>
                    <a:cubicBezTo>
                      <a:pt x="321094" y="462421"/>
                      <a:pt x="321320" y="461744"/>
                      <a:pt x="320869" y="461293"/>
                    </a:cubicBezTo>
                    <a:cubicBezTo>
                      <a:pt x="319966" y="460390"/>
                      <a:pt x="315453" y="461067"/>
                      <a:pt x="312520" y="461744"/>
                    </a:cubicBezTo>
                    <a:cubicBezTo>
                      <a:pt x="310489" y="462195"/>
                      <a:pt x="308458" y="462421"/>
                      <a:pt x="306428" y="462647"/>
                    </a:cubicBezTo>
                    <a:cubicBezTo>
                      <a:pt x="299207" y="463098"/>
                      <a:pt x="292212" y="462195"/>
                      <a:pt x="278673" y="455877"/>
                    </a:cubicBezTo>
                    <a:cubicBezTo>
                      <a:pt x="268744" y="451364"/>
                      <a:pt x="264909" y="455877"/>
                      <a:pt x="260847" y="461067"/>
                    </a:cubicBezTo>
                    <a:cubicBezTo>
                      <a:pt x="260170" y="461970"/>
                      <a:pt x="259493" y="462872"/>
                      <a:pt x="258816" y="463549"/>
                    </a:cubicBezTo>
                    <a:cubicBezTo>
                      <a:pt x="253175" y="469867"/>
                      <a:pt x="237380" y="467385"/>
                      <a:pt x="230159" y="462421"/>
                    </a:cubicBezTo>
                    <a:cubicBezTo>
                      <a:pt x="221585" y="456780"/>
                      <a:pt x="224067" y="445723"/>
                      <a:pt x="228128" y="434892"/>
                    </a:cubicBezTo>
                    <a:cubicBezTo>
                      <a:pt x="231739" y="424964"/>
                      <a:pt x="225420" y="420676"/>
                      <a:pt x="216395" y="415487"/>
                    </a:cubicBezTo>
                    <a:cubicBezTo>
                      <a:pt x="212559" y="413230"/>
                      <a:pt x="205564" y="414584"/>
                      <a:pt x="197440" y="416163"/>
                    </a:cubicBezTo>
                    <a:cubicBezTo>
                      <a:pt x="189768" y="417743"/>
                      <a:pt x="181194" y="419322"/>
                      <a:pt x="172168" y="418871"/>
                    </a:cubicBezTo>
                    <a:cubicBezTo>
                      <a:pt x="160209" y="418194"/>
                      <a:pt x="155244" y="419999"/>
                      <a:pt x="149378" y="422030"/>
                    </a:cubicBezTo>
                    <a:cubicBezTo>
                      <a:pt x="145767" y="423158"/>
                      <a:pt x="142157" y="424512"/>
                      <a:pt x="136967" y="425415"/>
                    </a:cubicBezTo>
                    <a:cubicBezTo>
                      <a:pt x="124557" y="427446"/>
                      <a:pt x="122074" y="425189"/>
                      <a:pt x="115080" y="418194"/>
                    </a:cubicBezTo>
                    <a:cubicBezTo>
                      <a:pt x="113500" y="416615"/>
                      <a:pt x="111695" y="414809"/>
                      <a:pt x="109438" y="412779"/>
                    </a:cubicBezTo>
                    <a:cubicBezTo>
                      <a:pt x="106505" y="410071"/>
                      <a:pt x="101992" y="407814"/>
                      <a:pt x="96351" y="406009"/>
                    </a:cubicBezTo>
                    <a:lnTo>
                      <a:pt x="95674" y="405784"/>
                    </a:lnTo>
                    <a:lnTo>
                      <a:pt x="94771" y="404655"/>
                    </a:lnTo>
                    <a:cubicBezTo>
                      <a:pt x="93417" y="402850"/>
                      <a:pt x="92289" y="401045"/>
                      <a:pt x="92741" y="399014"/>
                    </a:cubicBezTo>
                    <a:cubicBezTo>
                      <a:pt x="93192" y="396758"/>
                      <a:pt x="95223" y="394501"/>
                      <a:pt x="100187" y="391117"/>
                    </a:cubicBezTo>
                    <a:cubicBezTo>
                      <a:pt x="111920" y="383219"/>
                      <a:pt x="130423" y="366296"/>
                      <a:pt x="132680" y="358398"/>
                    </a:cubicBezTo>
                    <a:cubicBezTo>
                      <a:pt x="134259" y="352531"/>
                      <a:pt x="130649" y="350049"/>
                      <a:pt x="121849" y="344634"/>
                    </a:cubicBezTo>
                    <a:cubicBezTo>
                      <a:pt x="120269" y="343731"/>
                      <a:pt x="118690" y="342828"/>
                      <a:pt x="117110" y="341700"/>
                    </a:cubicBezTo>
                    <a:cubicBezTo>
                      <a:pt x="105602" y="334254"/>
                      <a:pt x="98156" y="320941"/>
                      <a:pt x="94997" y="311915"/>
                    </a:cubicBezTo>
                    <a:cubicBezTo>
                      <a:pt x="93417" y="307402"/>
                      <a:pt x="94771" y="303792"/>
                      <a:pt x="95900" y="300858"/>
                    </a:cubicBezTo>
                    <a:cubicBezTo>
                      <a:pt x="97253" y="297022"/>
                      <a:pt x="98156" y="294766"/>
                      <a:pt x="93643" y="290930"/>
                    </a:cubicBezTo>
                    <a:cubicBezTo>
                      <a:pt x="86197" y="284386"/>
                      <a:pt x="86648" y="277165"/>
                      <a:pt x="86874" y="272201"/>
                    </a:cubicBezTo>
                    <a:cubicBezTo>
                      <a:pt x="86874" y="270396"/>
                      <a:pt x="87099" y="269042"/>
                      <a:pt x="86874" y="268140"/>
                    </a:cubicBezTo>
                    <a:cubicBezTo>
                      <a:pt x="86648" y="267463"/>
                      <a:pt x="86197" y="267237"/>
                      <a:pt x="83489" y="267011"/>
                    </a:cubicBezTo>
                    <a:cubicBezTo>
                      <a:pt x="80104" y="266560"/>
                      <a:pt x="74689" y="265883"/>
                      <a:pt x="68822" y="260919"/>
                    </a:cubicBezTo>
                    <a:cubicBezTo>
                      <a:pt x="58668" y="252570"/>
                      <a:pt x="58217" y="252344"/>
                      <a:pt x="54381" y="241965"/>
                    </a:cubicBezTo>
                    <a:cubicBezTo>
                      <a:pt x="50996" y="233164"/>
                      <a:pt x="47837" y="230457"/>
                      <a:pt x="41970" y="225718"/>
                    </a:cubicBezTo>
                    <a:lnTo>
                      <a:pt x="40616" y="224590"/>
                    </a:lnTo>
                    <a:cubicBezTo>
                      <a:pt x="38360" y="222785"/>
                      <a:pt x="35878" y="220980"/>
                      <a:pt x="33621" y="219400"/>
                    </a:cubicBezTo>
                    <a:cubicBezTo>
                      <a:pt x="29108" y="216241"/>
                      <a:pt x="24370" y="212856"/>
                      <a:pt x="20308" y="208118"/>
                    </a:cubicBezTo>
                    <a:cubicBezTo>
                      <a:pt x="19406" y="206989"/>
                      <a:pt x="18729" y="206087"/>
                      <a:pt x="18052" y="205184"/>
                    </a:cubicBezTo>
                    <a:cubicBezTo>
                      <a:pt x="14893" y="200897"/>
                      <a:pt x="12862" y="197964"/>
                      <a:pt x="2031" y="196835"/>
                    </a:cubicBezTo>
                    <a:lnTo>
                      <a:pt x="0" y="196610"/>
                    </a:lnTo>
                    <a:lnTo>
                      <a:pt x="451" y="194579"/>
                    </a:lnTo>
                    <a:cubicBezTo>
                      <a:pt x="903" y="192548"/>
                      <a:pt x="903" y="190517"/>
                      <a:pt x="677" y="188486"/>
                    </a:cubicBezTo>
                    <a:cubicBezTo>
                      <a:pt x="451" y="184199"/>
                      <a:pt x="226" y="179461"/>
                      <a:pt x="5867" y="175850"/>
                    </a:cubicBezTo>
                    <a:cubicBezTo>
                      <a:pt x="8800" y="174045"/>
                      <a:pt x="8349" y="171337"/>
                      <a:pt x="6544" y="165245"/>
                    </a:cubicBezTo>
                    <a:cubicBezTo>
                      <a:pt x="4964" y="160055"/>
                      <a:pt x="2933" y="153737"/>
                      <a:pt x="8123" y="149224"/>
                    </a:cubicBezTo>
                    <a:cubicBezTo>
                      <a:pt x="16472" y="141778"/>
                      <a:pt x="20985" y="133429"/>
                      <a:pt x="20759" y="129593"/>
                    </a:cubicBezTo>
                    <a:lnTo>
                      <a:pt x="20759" y="129142"/>
                    </a:lnTo>
                    <a:lnTo>
                      <a:pt x="20082" y="125983"/>
                    </a:lnTo>
                    <a:lnTo>
                      <a:pt x="23016" y="126885"/>
                    </a:lnTo>
                    <a:cubicBezTo>
                      <a:pt x="28206" y="128239"/>
                      <a:pt x="32267" y="130270"/>
                      <a:pt x="35652" y="131849"/>
                    </a:cubicBezTo>
                    <a:cubicBezTo>
                      <a:pt x="39037" y="133654"/>
                      <a:pt x="41970" y="135008"/>
                      <a:pt x="44452" y="135008"/>
                    </a:cubicBezTo>
                    <a:cubicBezTo>
                      <a:pt x="51673" y="135008"/>
                      <a:pt x="73109" y="127562"/>
                      <a:pt x="77397" y="122824"/>
                    </a:cubicBezTo>
                    <a:cubicBezTo>
                      <a:pt x="82812" y="116731"/>
                      <a:pt x="88679" y="118536"/>
                      <a:pt x="94771" y="120341"/>
                    </a:cubicBezTo>
                    <a:cubicBezTo>
                      <a:pt x="98833" y="121470"/>
                      <a:pt x="100187" y="125080"/>
                      <a:pt x="101315" y="128239"/>
                    </a:cubicBezTo>
                    <a:cubicBezTo>
                      <a:pt x="102218" y="130721"/>
                      <a:pt x="103120" y="132978"/>
                      <a:pt x="105151" y="133429"/>
                    </a:cubicBezTo>
                    <a:cubicBezTo>
                      <a:pt x="107182" y="134106"/>
                      <a:pt x="107633" y="133880"/>
                      <a:pt x="108761" y="133429"/>
                    </a:cubicBezTo>
                    <a:cubicBezTo>
                      <a:pt x="110341" y="132752"/>
                      <a:pt x="112823" y="131849"/>
                      <a:pt x="119367" y="132301"/>
                    </a:cubicBezTo>
                    <a:cubicBezTo>
                      <a:pt x="123203" y="132526"/>
                      <a:pt x="125234" y="133429"/>
                      <a:pt x="126362" y="135008"/>
                    </a:cubicBezTo>
                    <a:cubicBezTo>
                      <a:pt x="127716" y="136813"/>
                      <a:pt x="127039" y="138844"/>
                      <a:pt x="126588" y="140650"/>
                    </a:cubicBezTo>
                    <a:cubicBezTo>
                      <a:pt x="126136" y="142455"/>
                      <a:pt x="125911" y="143583"/>
                      <a:pt x="126362" y="144486"/>
                    </a:cubicBezTo>
                    <a:cubicBezTo>
                      <a:pt x="127716" y="146968"/>
                      <a:pt x="130423" y="148096"/>
                      <a:pt x="133808" y="149450"/>
                    </a:cubicBezTo>
                    <a:cubicBezTo>
                      <a:pt x="135839" y="150352"/>
                      <a:pt x="138321" y="151255"/>
                      <a:pt x="140803" y="152834"/>
                    </a:cubicBezTo>
                    <a:lnTo>
                      <a:pt x="142608" y="153963"/>
                    </a:lnTo>
                    <a:cubicBezTo>
                      <a:pt x="145316" y="155768"/>
                      <a:pt x="147798" y="157347"/>
                      <a:pt x="149378" y="156896"/>
                    </a:cubicBezTo>
                    <a:cubicBezTo>
                      <a:pt x="150280" y="156670"/>
                      <a:pt x="151183" y="155542"/>
                      <a:pt x="152311" y="153737"/>
                    </a:cubicBezTo>
                    <a:cubicBezTo>
                      <a:pt x="155019" y="148096"/>
                      <a:pt x="158855" y="147645"/>
                      <a:pt x="162014" y="146968"/>
                    </a:cubicBezTo>
                    <a:cubicBezTo>
                      <a:pt x="163819" y="146742"/>
                      <a:pt x="165173" y="146516"/>
                      <a:pt x="166752" y="145388"/>
                    </a:cubicBezTo>
                    <a:cubicBezTo>
                      <a:pt x="167655" y="144711"/>
                      <a:pt x="168783" y="143809"/>
                      <a:pt x="170137" y="142906"/>
                    </a:cubicBezTo>
                    <a:cubicBezTo>
                      <a:pt x="175778" y="138619"/>
                      <a:pt x="182548" y="133429"/>
                      <a:pt x="187738" y="133880"/>
                    </a:cubicBezTo>
                    <a:cubicBezTo>
                      <a:pt x="193830" y="134332"/>
                      <a:pt x="196989" y="140198"/>
                      <a:pt x="199246" y="144711"/>
                    </a:cubicBezTo>
                    <a:lnTo>
                      <a:pt x="200148" y="146291"/>
                    </a:lnTo>
                    <a:cubicBezTo>
                      <a:pt x="201051" y="147870"/>
                      <a:pt x="201502" y="148096"/>
                      <a:pt x="205789" y="147645"/>
                    </a:cubicBezTo>
                    <a:cubicBezTo>
                      <a:pt x="207594" y="147419"/>
                      <a:pt x="210077" y="147193"/>
                      <a:pt x="213010" y="147193"/>
                    </a:cubicBezTo>
                    <a:lnTo>
                      <a:pt x="224292" y="147193"/>
                    </a:lnTo>
                    <a:cubicBezTo>
                      <a:pt x="225646" y="147193"/>
                      <a:pt x="228128" y="144486"/>
                      <a:pt x="230159" y="142003"/>
                    </a:cubicBezTo>
                    <a:cubicBezTo>
                      <a:pt x="231964" y="139973"/>
                      <a:pt x="233995" y="137491"/>
                      <a:pt x="236703" y="135460"/>
                    </a:cubicBezTo>
                    <a:cubicBezTo>
                      <a:pt x="240539" y="132301"/>
                      <a:pt x="247082" y="129818"/>
                      <a:pt x="253401" y="127562"/>
                    </a:cubicBezTo>
                    <a:cubicBezTo>
                      <a:pt x="257914" y="125983"/>
                      <a:pt x="262426" y="124403"/>
                      <a:pt x="265134" y="122598"/>
                    </a:cubicBezTo>
                    <a:cubicBezTo>
                      <a:pt x="267842" y="121018"/>
                      <a:pt x="271452" y="119890"/>
                      <a:pt x="275063" y="118536"/>
                    </a:cubicBezTo>
                    <a:cubicBezTo>
                      <a:pt x="281155" y="116505"/>
                      <a:pt x="287247" y="114475"/>
                      <a:pt x="289278" y="110639"/>
                    </a:cubicBezTo>
                    <a:cubicBezTo>
                      <a:pt x="291535" y="106351"/>
                      <a:pt x="293566" y="102064"/>
                      <a:pt x="295145" y="98228"/>
                    </a:cubicBezTo>
                    <a:cubicBezTo>
                      <a:pt x="296273" y="95746"/>
                      <a:pt x="297176" y="93715"/>
                      <a:pt x="298079" y="91910"/>
                    </a:cubicBezTo>
                    <a:cubicBezTo>
                      <a:pt x="298981" y="90330"/>
                      <a:pt x="300335" y="89202"/>
                      <a:pt x="302591" y="88525"/>
                    </a:cubicBezTo>
                    <a:cubicBezTo>
                      <a:pt x="307781" y="86946"/>
                      <a:pt x="315905" y="88525"/>
                      <a:pt x="317935" y="89654"/>
                    </a:cubicBezTo>
                    <a:cubicBezTo>
                      <a:pt x="320192" y="91007"/>
                      <a:pt x="327864" y="93264"/>
                      <a:pt x="331249" y="91910"/>
                    </a:cubicBezTo>
                    <a:cubicBezTo>
                      <a:pt x="335084" y="90105"/>
                      <a:pt x="340049" y="91910"/>
                      <a:pt x="346367" y="97325"/>
                    </a:cubicBezTo>
                    <a:cubicBezTo>
                      <a:pt x="349977" y="100485"/>
                      <a:pt x="351557" y="105449"/>
                      <a:pt x="353136" y="110413"/>
                    </a:cubicBezTo>
                    <a:cubicBezTo>
                      <a:pt x="353813" y="112669"/>
                      <a:pt x="356521" y="113346"/>
                      <a:pt x="360582" y="114475"/>
                    </a:cubicBezTo>
                    <a:cubicBezTo>
                      <a:pt x="362388" y="114926"/>
                      <a:pt x="364193" y="115377"/>
                      <a:pt x="365998" y="116054"/>
                    </a:cubicBezTo>
                    <a:cubicBezTo>
                      <a:pt x="370737" y="117859"/>
                      <a:pt x="375024" y="125306"/>
                      <a:pt x="379537" y="133203"/>
                    </a:cubicBezTo>
                    <a:cubicBezTo>
                      <a:pt x="380665" y="135008"/>
                      <a:pt x="381568" y="136813"/>
                      <a:pt x="382019" y="137491"/>
                    </a:cubicBezTo>
                    <a:cubicBezTo>
                      <a:pt x="383147" y="138844"/>
                      <a:pt x="387660" y="140650"/>
                      <a:pt x="390593" y="140424"/>
                    </a:cubicBezTo>
                    <a:cubicBezTo>
                      <a:pt x="391722" y="140424"/>
                      <a:pt x="392173" y="140198"/>
                      <a:pt x="392173" y="139973"/>
                    </a:cubicBezTo>
                    <a:cubicBezTo>
                      <a:pt x="393978" y="137265"/>
                      <a:pt x="396460" y="129818"/>
                      <a:pt x="396460" y="123049"/>
                    </a:cubicBezTo>
                    <a:cubicBezTo>
                      <a:pt x="396460" y="117182"/>
                      <a:pt x="399168" y="115828"/>
                      <a:pt x="402101" y="114249"/>
                    </a:cubicBezTo>
                    <a:cubicBezTo>
                      <a:pt x="403681" y="113572"/>
                      <a:pt x="405260" y="112669"/>
                      <a:pt x="407066" y="111090"/>
                    </a:cubicBezTo>
                    <a:cubicBezTo>
                      <a:pt x="409096" y="109510"/>
                      <a:pt x="410676" y="108382"/>
                      <a:pt x="412255" y="108833"/>
                    </a:cubicBezTo>
                    <a:cubicBezTo>
                      <a:pt x="413835" y="109285"/>
                      <a:pt x="414061" y="110639"/>
                      <a:pt x="414286" y="111541"/>
                    </a:cubicBezTo>
                    <a:cubicBezTo>
                      <a:pt x="414286" y="111767"/>
                      <a:pt x="414286" y="111992"/>
                      <a:pt x="414512" y="111992"/>
                    </a:cubicBezTo>
                    <a:cubicBezTo>
                      <a:pt x="415866" y="111992"/>
                      <a:pt x="418574" y="111316"/>
                      <a:pt x="421281" y="110864"/>
                    </a:cubicBezTo>
                    <a:cubicBezTo>
                      <a:pt x="425343" y="109962"/>
                      <a:pt x="429856" y="109285"/>
                      <a:pt x="432789" y="109285"/>
                    </a:cubicBezTo>
                    <a:cubicBezTo>
                      <a:pt x="437077" y="109285"/>
                      <a:pt x="444523" y="109285"/>
                      <a:pt x="446102" y="105674"/>
                    </a:cubicBezTo>
                    <a:cubicBezTo>
                      <a:pt x="448133" y="101162"/>
                      <a:pt x="451744" y="101613"/>
                      <a:pt x="455128" y="101838"/>
                    </a:cubicBezTo>
                    <a:cubicBezTo>
                      <a:pt x="456482" y="102064"/>
                      <a:pt x="457836" y="102064"/>
                      <a:pt x="459416" y="102064"/>
                    </a:cubicBezTo>
                    <a:cubicBezTo>
                      <a:pt x="462575" y="101838"/>
                      <a:pt x="463703" y="98002"/>
                      <a:pt x="463252" y="89654"/>
                    </a:cubicBezTo>
                    <a:cubicBezTo>
                      <a:pt x="463026" y="83110"/>
                      <a:pt x="465508" y="78822"/>
                      <a:pt x="468893" y="72956"/>
                    </a:cubicBezTo>
                    <a:lnTo>
                      <a:pt x="470246" y="70699"/>
                    </a:lnTo>
                    <a:cubicBezTo>
                      <a:pt x="473406" y="65284"/>
                      <a:pt x="473631" y="60997"/>
                      <a:pt x="474308" y="54904"/>
                    </a:cubicBezTo>
                    <a:cubicBezTo>
                      <a:pt x="474534" y="53550"/>
                      <a:pt x="474534" y="51971"/>
                      <a:pt x="474760" y="50391"/>
                    </a:cubicBezTo>
                    <a:cubicBezTo>
                      <a:pt x="475662" y="42945"/>
                      <a:pt x="482657" y="37078"/>
                      <a:pt x="487170" y="33242"/>
                    </a:cubicBezTo>
                    <a:cubicBezTo>
                      <a:pt x="488298" y="32339"/>
                      <a:pt x="489427" y="31437"/>
                      <a:pt x="490103" y="30760"/>
                    </a:cubicBezTo>
                    <a:cubicBezTo>
                      <a:pt x="491232" y="29632"/>
                      <a:pt x="491683" y="28278"/>
                      <a:pt x="492360" y="26924"/>
                    </a:cubicBezTo>
                    <a:cubicBezTo>
                      <a:pt x="493488" y="24442"/>
                      <a:pt x="494616" y="21734"/>
                      <a:pt x="498678" y="19252"/>
                    </a:cubicBezTo>
                    <a:cubicBezTo>
                      <a:pt x="502288" y="16995"/>
                      <a:pt x="505447" y="16995"/>
                      <a:pt x="508155" y="16995"/>
                    </a:cubicBezTo>
                    <a:cubicBezTo>
                      <a:pt x="510186" y="16995"/>
                      <a:pt x="511991" y="16995"/>
                      <a:pt x="513571" y="15867"/>
                    </a:cubicBezTo>
                    <a:cubicBezTo>
                      <a:pt x="517632" y="12934"/>
                      <a:pt x="518760" y="12257"/>
                      <a:pt x="521017" y="5262"/>
                    </a:cubicBezTo>
                    <a:cubicBezTo>
                      <a:pt x="521694" y="3457"/>
                      <a:pt x="522596" y="1200"/>
                      <a:pt x="524627" y="298"/>
                    </a:cubicBezTo>
                    <a:cubicBezTo>
                      <a:pt x="526658" y="-605"/>
                      <a:pt x="528689" y="749"/>
                      <a:pt x="530494" y="1651"/>
                    </a:cubicBezTo>
                    <a:cubicBezTo>
                      <a:pt x="531622" y="2328"/>
                      <a:pt x="532751" y="3005"/>
                      <a:pt x="533879" y="3231"/>
                    </a:cubicBezTo>
                    <a:cubicBezTo>
                      <a:pt x="538843" y="4585"/>
                      <a:pt x="545612" y="8421"/>
                      <a:pt x="548997" y="11129"/>
                    </a:cubicBezTo>
                    <a:cubicBezTo>
                      <a:pt x="552382" y="13836"/>
                      <a:pt x="552833" y="20606"/>
                      <a:pt x="552833" y="25344"/>
                    </a:cubicBezTo>
                    <a:cubicBezTo>
                      <a:pt x="552833" y="27150"/>
                      <a:pt x="556443" y="34145"/>
                      <a:pt x="559151" y="35724"/>
                    </a:cubicBezTo>
                    <a:cubicBezTo>
                      <a:pt x="562762" y="37981"/>
                      <a:pt x="564341" y="42268"/>
                      <a:pt x="564341" y="49940"/>
                    </a:cubicBezTo>
                    <a:cubicBezTo>
                      <a:pt x="564341" y="50842"/>
                      <a:pt x="564341" y="51971"/>
                      <a:pt x="564341" y="53324"/>
                    </a:cubicBezTo>
                    <a:cubicBezTo>
                      <a:pt x="564567" y="64156"/>
                      <a:pt x="564341" y="74084"/>
                      <a:pt x="560505" y="77469"/>
                    </a:cubicBezTo>
                    <a:cubicBezTo>
                      <a:pt x="559828" y="78146"/>
                      <a:pt x="559603" y="78597"/>
                      <a:pt x="559603" y="78822"/>
                    </a:cubicBezTo>
                    <a:cubicBezTo>
                      <a:pt x="559603" y="80402"/>
                      <a:pt x="561633" y="82884"/>
                      <a:pt x="563213" y="84464"/>
                    </a:cubicBezTo>
                    <a:cubicBezTo>
                      <a:pt x="563438" y="84915"/>
                      <a:pt x="563890" y="85141"/>
                      <a:pt x="564115" y="85366"/>
                    </a:cubicBezTo>
                    <a:cubicBezTo>
                      <a:pt x="566823" y="88525"/>
                      <a:pt x="567951" y="92813"/>
                      <a:pt x="567951" y="99131"/>
                    </a:cubicBezTo>
                    <a:cubicBezTo>
                      <a:pt x="567951" y="104772"/>
                      <a:pt x="566146" y="106803"/>
                      <a:pt x="563213" y="109736"/>
                    </a:cubicBezTo>
                    <a:cubicBezTo>
                      <a:pt x="562536" y="110413"/>
                      <a:pt x="561633" y="111316"/>
                      <a:pt x="560731" y="112444"/>
                    </a:cubicBezTo>
                    <a:cubicBezTo>
                      <a:pt x="559377" y="114023"/>
                      <a:pt x="559603" y="115377"/>
                      <a:pt x="560279" y="118085"/>
                    </a:cubicBezTo>
                    <a:cubicBezTo>
                      <a:pt x="560956" y="121018"/>
                      <a:pt x="562084" y="125080"/>
                      <a:pt x="559377" y="130270"/>
                    </a:cubicBezTo>
                    <a:cubicBezTo>
                      <a:pt x="558474" y="132075"/>
                      <a:pt x="557797" y="133880"/>
                      <a:pt x="556895" y="135460"/>
                    </a:cubicBezTo>
                    <a:cubicBezTo>
                      <a:pt x="553961" y="142003"/>
                      <a:pt x="551028" y="148321"/>
                      <a:pt x="544033" y="151255"/>
                    </a:cubicBezTo>
                    <a:cubicBezTo>
                      <a:pt x="540874" y="152383"/>
                      <a:pt x="539294" y="155768"/>
                      <a:pt x="537489" y="160055"/>
                    </a:cubicBezTo>
                    <a:cubicBezTo>
                      <a:pt x="535233" y="165019"/>
                      <a:pt x="532299" y="171337"/>
                      <a:pt x="525530" y="175625"/>
                    </a:cubicBezTo>
                    <a:cubicBezTo>
                      <a:pt x="518986" y="179686"/>
                      <a:pt x="518084" y="183071"/>
                      <a:pt x="517407" y="185102"/>
                    </a:cubicBezTo>
                    <a:cubicBezTo>
                      <a:pt x="516955" y="186456"/>
                      <a:pt x="516278" y="188938"/>
                      <a:pt x="512894" y="188486"/>
                    </a:cubicBezTo>
                    <a:cubicBezTo>
                      <a:pt x="512217" y="188486"/>
                      <a:pt x="511765" y="188261"/>
                      <a:pt x="511089" y="188261"/>
                    </a:cubicBezTo>
                    <a:cubicBezTo>
                      <a:pt x="507930" y="187584"/>
                      <a:pt x="505673" y="187133"/>
                      <a:pt x="500934" y="195707"/>
                    </a:cubicBezTo>
                    <a:cubicBezTo>
                      <a:pt x="498678" y="199543"/>
                      <a:pt x="498001" y="201800"/>
                      <a:pt x="497550" y="202928"/>
                    </a:cubicBezTo>
                    <a:cubicBezTo>
                      <a:pt x="496647" y="204959"/>
                      <a:pt x="496196" y="205861"/>
                      <a:pt x="493714" y="205636"/>
                    </a:cubicBezTo>
                    <a:cubicBezTo>
                      <a:pt x="493262" y="205636"/>
                      <a:pt x="492360" y="205410"/>
                      <a:pt x="491232" y="205410"/>
                    </a:cubicBezTo>
                    <a:cubicBezTo>
                      <a:pt x="488749" y="205410"/>
                      <a:pt x="484914" y="208118"/>
                      <a:pt x="481303" y="210600"/>
                    </a:cubicBezTo>
                    <a:cubicBezTo>
                      <a:pt x="476565" y="213985"/>
                      <a:pt x="472729" y="216692"/>
                      <a:pt x="469570" y="215338"/>
                    </a:cubicBezTo>
                    <a:cubicBezTo>
                      <a:pt x="467764" y="214661"/>
                      <a:pt x="465959" y="213308"/>
                      <a:pt x="463703" y="211954"/>
                    </a:cubicBezTo>
                    <a:cubicBezTo>
                      <a:pt x="460544" y="209923"/>
                      <a:pt x="456708" y="207441"/>
                      <a:pt x="454000" y="206989"/>
                    </a:cubicBezTo>
                    <a:cubicBezTo>
                      <a:pt x="450390" y="206313"/>
                      <a:pt x="447005" y="211277"/>
                      <a:pt x="445651" y="214436"/>
                    </a:cubicBezTo>
                    <a:cubicBezTo>
                      <a:pt x="445200" y="215790"/>
                      <a:pt x="444749" y="217369"/>
                      <a:pt x="444523" y="219174"/>
                    </a:cubicBezTo>
                    <a:cubicBezTo>
                      <a:pt x="444072" y="221431"/>
                      <a:pt x="443620" y="223913"/>
                      <a:pt x="442492" y="226395"/>
                    </a:cubicBezTo>
                    <a:cubicBezTo>
                      <a:pt x="440010" y="231585"/>
                      <a:pt x="433466" y="234518"/>
                      <a:pt x="422184" y="235872"/>
                    </a:cubicBezTo>
                    <a:cubicBezTo>
                      <a:pt x="414512" y="236775"/>
                      <a:pt x="411804" y="238806"/>
                      <a:pt x="408645" y="241288"/>
                    </a:cubicBezTo>
                    <a:cubicBezTo>
                      <a:pt x="406840" y="242642"/>
                      <a:pt x="405035" y="243995"/>
                      <a:pt x="402553" y="245124"/>
                    </a:cubicBezTo>
                    <a:cubicBezTo>
                      <a:pt x="396009" y="248283"/>
                      <a:pt x="391722" y="254826"/>
                      <a:pt x="391496" y="256857"/>
                    </a:cubicBezTo>
                    <a:cubicBezTo>
                      <a:pt x="390819" y="261145"/>
                      <a:pt x="385178" y="271073"/>
                      <a:pt x="375024" y="271073"/>
                    </a:cubicBezTo>
                    <a:cubicBezTo>
                      <a:pt x="366224" y="271073"/>
                      <a:pt x="361485" y="266109"/>
                      <a:pt x="361485" y="256857"/>
                    </a:cubicBezTo>
                    <a:cubicBezTo>
                      <a:pt x="361485" y="255729"/>
                      <a:pt x="361034" y="255278"/>
                      <a:pt x="360808" y="255052"/>
                    </a:cubicBezTo>
                    <a:cubicBezTo>
                      <a:pt x="359003" y="253247"/>
                      <a:pt x="353587" y="253698"/>
                      <a:pt x="349752" y="254150"/>
                    </a:cubicBezTo>
                    <a:lnTo>
                      <a:pt x="348849" y="254150"/>
                    </a:lnTo>
                    <a:cubicBezTo>
                      <a:pt x="347044" y="254375"/>
                      <a:pt x="346592" y="254826"/>
                      <a:pt x="346367" y="258437"/>
                    </a:cubicBezTo>
                    <a:cubicBezTo>
                      <a:pt x="346141" y="260468"/>
                      <a:pt x="345916" y="262950"/>
                      <a:pt x="344562" y="264980"/>
                    </a:cubicBezTo>
                    <a:cubicBezTo>
                      <a:pt x="341854" y="269042"/>
                      <a:pt x="339146" y="268140"/>
                      <a:pt x="337115" y="267688"/>
                    </a:cubicBezTo>
                    <a:cubicBezTo>
                      <a:pt x="336213" y="267463"/>
                      <a:pt x="335536" y="267237"/>
                      <a:pt x="334633" y="267237"/>
                    </a:cubicBezTo>
                    <a:cubicBezTo>
                      <a:pt x="334182" y="267237"/>
                      <a:pt x="333505" y="267688"/>
                      <a:pt x="332602" y="268591"/>
                    </a:cubicBezTo>
                    <a:cubicBezTo>
                      <a:pt x="330346" y="271073"/>
                      <a:pt x="328766" y="275360"/>
                      <a:pt x="328992" y="277165"/>
                    </a:cubicBezTo>
                    <a:cubicBezTo>
                      <a:pt x="329443" y="281678"/>
                      <a:pt x="329218" y="284386"/>
                      <a:pt x="324479" y="290704"/>
                    </a:cubicBezTo>
                    <a:cubicBezTo>
                      <a:pt x="322674" y="292961"/>
                      <a:pt x="322900" y="297699"/>
                      <a:pt x="325156" y="302664"/>
                    </a:cubicBezTo>
                    <a:cubicBezTo>
                      <a:pt x="327187" y="307176"/>
                      <a:pt x="329895" y="309658"/>
                      <a:pt x="331700" y="309884"/>
                    </a:cubicBezTo>
                    <a:cubicBezTo>
                      <a:pt x="335310" y="310110"/>
                      <a:pt x="338920" y="311464"/>
                      <a:pt x="342305" y="312818"/>
                    </a:cubicBezTo>
                    <a:cubicBezTo>
                      <a:pt x="345239" y="313946"/>
                      <a:pt x="347946" y="315074"/>
                      <a:pt x="350654" y="315525"/>
                    </a:cubicBezTo>
                    <a:cubicBezTo>
                      <a:pt x="355167" y="316202"/>
                      <a:pt x="358777" y="320264"/>
                      <a:pt x="362162" y="323874"/>
                    </a:cubicBezTo>
                    <a:cubicBezTo>
                      <a:pt x="363967" y="325905"/>
                      <a:pt x="365998" y="327936"/>
                      <a:pt x="367803" y="329515"/>
                    </a:cubicBezTo>
                    <a:cubicBezTo>
                      <a:pt x="370962" y="331997"/>
                      <a:pt x="375926" y="331095"/>
                      <a:pt x="382245" y="329967"/>
                    </a:cubicBezTo>
                    <a:cubicBezTo>
                      <a:pt x="385178" y="329515"/>
                      <a:pt x="388337" y="328838"/>
                      <a:pt x="391947" y="328613"/>
                    </a:cubicBezTo>
                    <a:cubicBezTo>
                      <a:pt x="404584" y="327485"/>
                      <a:pt x="406840" y="333351"/>
                      <a:pt x="408419" y="336736"/>
                    </a:cubicBezTo>
                    <a:cubicBezTo>
                      <a:pt x="409096" y="338315"/>
                      <a:pt x="409322" y="338993"/>
                      <a:pt x="408871" y="340121"/>
                    </a:cubicBezTo>
                    <a:cubicBezTo>
                      <a:pt x="408419" y="341023"/>
                      <a:pt x="407517" y="341249"/>
                      <a:pt x="407066" y="341249"/>
                    </a:cubicBezTo>
                    <a:cubicBezTo>
                      <a:pt x="406614" y="341249"/>
                      <a:pt x="405937" y="341474"/>
                      <a:pt x="404809" y="343054"/>
                    </a:cubicBezTo>
                    <a:cubicBezTo>
                      <a:pt x="401876" y="346664"/>
                      <a:pt x="402327" y="359301"/>
                      <a:pt x="403681" y="360880"/>
                    </a:cubicBezTo>
                    <a:cubicBezTo>
                      <a:pt x="405712" y="362911"/>
                      <a:pt x="409999" y="364716"/>
                      <a:pt x="417220" y="367650"/>
                    </a:cubicBezTo>
                    <a:lnTo>
                      <a:pt x="418122" y="368101"/>
                    </a:lnTo>
                    <a:cubicBezTo>
                      <a:pt x="422184" y="369680"/>
                      <a:pt x="424892" y="372839"/>
                      <a:pt x="427148" y="375547"/>
                    </a:cubicBezTo>
                    <a:cubicBezTo>
                      <a:pt x="429856" y="378706"/>
                      <a:pt x="432112" y="381414"/>
                      <a:pt x="435948" y="382091"/>
                    </a:cubicBezTo>
                    <a:cubicBezTo>
                      <a:pt x="444072" y="383445"/>
                      <a:pt x="444974" y="389537"/>
                      <a:pt x="445651" y="393147"/>
                    </a:cubicBezTo>
                    <a:cubicBezTo>
                      <a:pt x="445651" y="393825"/>
                      <a:pt x="445877" y="394501"/>
                      <a:pt x="446102" y="395178"/>
                    </a:cubicBezTo>
                    <a:cubicBezTo>
                      <a:pt x="446328" y="395630"/>
                      <a:pt x="446328" y="396081"/>
                      <a:pt x="446554" y="396758"/>
                    </a:cubicBezTo>
                    <a:cubicBezTo>
                      <a:pt x="447456" y="399917"/>
                      <a:pt x="448584" y="404430"/>
                      <a:pt x="451969" y="405784"/>
                    </a:cubicBezTo>
                    <a:cubicBezTo>
                      <a:pt x="455805" y="407138"/>
                      <a:pt x="456482" y="411199"/>
                      <a:pt x="456933" y="414584"/>
                    </a:cubicBezTo>
                    <a:cubicBezTo>
                      <a:pt x="457159" y="416840"/>
                      <a:pt x="457610" y="419097"/>
                      <a:pt x="458739" y="420451"/>
                    </a:cubicBezTo>
                    <a:cubicBezTo>
                      <a:pt x="460092" y="421805"/>
                      <a:pt x="460092" y="422933"/>
                      <a:pt x="459867" y="423835"/>
                    </a:cubicBezTo>
                    <a:cubicBezTo>
                      <a:pt x="459416" y="426994"/>
                      <a:pt x="454903" y="429025"/>
                      <a:pt x="449938" y="431507"/>
                    </a:cubicBezTo>
                    <a:cubicBezTo>
                      <a:pt x="447908" y="432410"/>
                      <a:pt x="446102" y="433313"/>
                      <a:pt x="444749" y="434215"/>
                    </a:cubicBezTo>
                    <a:cubicBezTo>
                      <a:pt x="438656" y="438051"/>
                      <a:pt x="433917" y="434666"/>
                      <a:pt x="424440" y="427897"/>
                    </a:cubicBezTo>
                    <a:lnTo>
                      <a:pt x="423312" y="427220"/>
                    </a:lnTo>
                    <a:cubicBezTo>
                      <a:pt x="415414" y="421579"/>
                      <a:pt x="411353" y="421128"/>
                      <a:pt x="403455" y="419999"/>
                    </a:cubicBezTo>
                    <a:cubicBezTo>
                      <a:pt x="401876" y="419774"/>
                      <a:pt x="400071" y="419548"/>
                      <a:pt x="398265" y="419097"/>
                    </a:cubicBezTo>
                    <a:cubicBezTo>
                      <a:pt x="390819" y="417969"/>
                      <a:pt x="389465" y="415938"/>
                      <a:pt x="388337" y="413230"/>
                    </a:cubicBezTo>
                    <a:cubicBezTo>
                      <a:pt x="387886" y="412328"/>
                      <a:pt x="387660" y="411650"/>
                      <a:pt x="386306" y="410748"/>
                    </a:cubicBezTo>
                    <a:cubicBezTo>
                      <a:pt x="384501" y="409845"/>
                      <a:pt x="382470" y="409620"/>
                      <a:pt x="380214" y="409394"/>
                    </a:cubicBezTo>
                    <a:cubicBezTo>
                      <a:pt x="376603" y="409168"/>
                      <a:pt x="372090" y="408717"/>
                      <a:pt x="366901" y="405107"/>
                    </a:cubicBezTo>
                    <a:cubicBezTo>
                      <a:pt x="364193" y="403076"/>
                      <a:pt x="361936" y="401496"/>
                      <a:pt x="360131" y="399917"/>
                    </a:cubicBezTo>
                    <a:cubicBezTo>
                      <a:pt x="357198" y="397435"/>
                      <a:pt x="354941" y="395855"/>
                      <a:pt x="353587" y="396081"/>
                    </a:cubicBezTo>
                    <a:cubicBezTo>
                      <a:pt x="353136" y="396081"/>
                      <a:pt x="351782" y="396984"/>
                      <a:pt x="350203" y="399466"/>
                    </a:cubicBezTo>
                    <a:cubicBezTo>
                      <a:pt x="348398" y="402173"/>
                      <a:pt x="347721" y="404430"/>
                      <a:pt x="347946" y="405107"/>
                    </a:cubicBezTo>
                    <a:cubicBezTo>
                      <a:pt x="348172" y="405558"/>
                      <a:pt x="348623" y="406009"/>
                      <a:pt x="349075" y="406686"/>
                    </a:cubicBezTo>
                    <a:cubicBezTo>
                      <a:pt x="350654" y="408491"/>
                      <a:pt x="352685" y="410974"/>
                      <a:pt x="351782" y="415035"/>
                    </a:cubicBezTo>
                    <a:cubicBezTo>
                      <a:pt x="351557" y="415487"/>
                      <a:pt x="351557" y="416163"/>
                      <a:pt x="351331" y="416615"/>
                    </a:cubicBezTo>
                    <a:cubicBezTo>
                      <a:pt x="350428" y="420676"/>
                      <a:pt x="348849" y="426317"/>
                      <a:pt x="351557" y="433087"/>
                    </a:cubicBezTo>
                    <a:cubicBezTo>
                      <a:pt x="354941" y="441887"/>
                      <a:pt x="353136" y="447979"/>
                      <a:pt x="349752" y="457005"/>
                    </a:cubicBezTo>
                    <a:cubicBezTo>
                      <a:pt x="347946" y="460390"/>
                      <a:pt x="341854" y="474380"/>
                      <a:pt x="332828" y="474380"/>
                    </a:cubicBezTo>
                    <a:close/>
                    <a:moveTo>
                      <a:pt x="318838" y="457231"/>
                    </a:moveTo>
                    <a:cubicBezTo>
                      <a:pt x="320643" y="457231"/>
                      <a:pt x="322448" y="457682"/>
                      <a:pt x="323576" y="458811"/>
                    </a:cubicBezTo>
                    <a:cubicBezTo>
                      <a:pt x="324705" y="459939"/>
                      <a:pt x="325156" y="461518"/>
                      <a:pt x="324930" y="463549"/>
                    </a:cubicBezTo>
                    <a:cubicBezTo>
                      <a:pt x="324705" y="465806"/>
                      <a:pt x="324930" y="467611"/>
                      <a:pt x="326059" y="468739"/>
                    </a:cubicBezTo>
                    <a:cubicBezTo>
                      <a:pt x="327638" y="470544"/>
                      <a:pt x="330797" y="470995"/>
                      <a:pt x="333054" y="470995"/>
                    </a:cubicBezTo>
                    <a:cubicBezTo>
                      <a:pt x="338018" y="470995"/>
                      <a:pt x="343208" y="463098"/>
                      <a:pt x="346367" y="455200"/>
                    </a:cubicBezTo>
                    <a:cubicBezTo>
                      <a:pt x="349526" y="446851"/>
                      <a:pt x="351331" y="441887"/>
                      <a:pt x="348172" y="433990"/>
                    </a:cubicBezTo>
                    <a:cubicBezTo>
                      <a:pt x="345013" y="426092"/>
                      <a:pt x="346592" y="419548"/>
                      <a:pt x="347721" y="415261"/>
                    </a:cubicBezTo>
                    <a:lnTo>
                      <a:pt x="348172" y="413681"/>
                    </a:lnTo>
                    <a:cubicBezTo>
                      <a:pt x="348623" y="411650"/>
                      <a:pt x="347721" y="410522"/>
                      <a:pt x="346141" y="408717"/>
                    </a:cubicBezTo>
                    <a:cubicBezTo>
                      <a:pt x="345464" y="408040"/>
                      <a:pt x="345013" y="407363"/>
                      <a:pt x="344562" y="406686"/>
                    </a:cubicBezTo>
                    <a:cubicBezTo>
                      <a:pt x="343659" y="405107"/>
                      <a:pt x="343885" y="402850"/>
                      <a:pt x="345464" y="399917"/>
                    </a:cubicBezTo>
                    <a:cubicBezTo>
                      <a:pt x="346818" y="397209"/>
                      <a:pt x="349752" y="392471"/>
                      <a:pt x="353136" y="392019"/>
                    </a:cubicBezTo>
                    <a:cubicBezTo>
                      <a:pt x="356070" y="391568"/>
                      <a:pt x="358777" y="393599"/>
                      <a:pt x="362613" y="396758"/>
                    </a:cubicBezTo>
                    <a:cubicBezTo>
                      <a:pt x="364419" y="398337"/>
                      <a:pt x="366449" y="399917"/>
                      <a:pt x="369157" y="401722"/>
                    </a:cubicBezTo>
                    <a:cubicBezTo>
                      <a:pt x="373444" y="404655"/>
                      <a:pt x="377055" y="405107"/>
                      <a:pt x="380665" y="405332"/>
                    </a:cubicBezTo>
                    <a:cubicBezTo>
                      <a:pt x="383373" y="405558"/>
                      <a:pt x="385855" y="405784"/>
                      <a:pt x="388337" y="407138"/>
                    </a:cubicBezTo>
                    <a:cubicBezTo>
                      <a:pt x="390819" y="408491"/>
                      <a:pt x="391496" y="410297"/>
                      <a:pt x="392173" y="411425"/>
                    </a:cubicBezTo>
                    <a:cubicBezTo>
                      <a:pt x="392624" y="412779"/>
                      <a:pt x="393301" y="413907"/>
                      <a:pt x="399168" y="415035"/>
                    </a:cubicBezTo>
                    <a:cubicBezTo>
                      <a:pt x="400973" y="415261"/>
                      <a:pt x="402778" y="415712"/>
                      <a:pt x="404358" y="415938"/>
                    </a:cubicBezTo>
                    <a:cubicBezTo>
                      <a:pt x="412030" y="417066"/>
                      <a:pt x="417220" y="417743"/>
                      <a:pt x="425794" y="423835"/>
                    </a:cubicBezTo>
                    <a:lnTo>
                      <a:pt x="426922" y="424512"/>
                    </a:lnTo>
                    <a:cubicBezTo>
                      <a:pt x="436400" y="431282"/>
                      <a:pt x="439333" y="433087"/>
                      <a:pt x="442943" y="430830"/>
                    </a:cubicBezTo>
                    <a:cubicBezTo>
                      <a:pt x="444523" y="429928"/>
                      <a:pt x="446328" y="429025"/>
                      <a:pt x="448584" y="427897"/>
                    </a:cubicBezTo>
                    <a:cubicBezTo>
                      <a:pt x="451292" y="426543"/>
                      <a:pt x="456257" y="424287"/>
                      <a:pt x="456482" y="422933"/>
                    </a:cubicBezTo>
                    <a:cubicBezTo>
                      <a:pt x="454226" y="420676"/>
                      <a:pt x="453774" y="417517"/>
                      <a:pt x="453323" y="414809"/>
                    </a:cubicBezTo>
                    <a:cubicBezTo>
                      <a:pt x="452872" y="411650"/>
                      <a:pt x="452421" y="409620"/>
                      <a:pt x="450841" y="409168"/>
                    </a:cubicBezTo>
                    <a:cubicBezTo>
                      <a:pt x="445425" y="407138"/>
                      <a:pt x="443846" y="401271"/>
                      <a:pt x="442943" y="397660"/>
                    </a:cubicBezTo>
                    <a:cubicBezTo>
                      <a:pt x="442718" y="397209"/>
                      <a:pt x="442718" y="396758"/>
                      <a:pt x="442492" y="396306"/>
                    </a:cubicBezTo>
                    <a:cubicBezTo>
                      <a:pt x="442266" y="395630"/>
                      <a:pt x="442266" y="394727"/>
                      <a:pt x="442041" y="393825"/>
                    </a:cubicBezTo>
                    <a:cubicBezTo>
                      <a:pt x="441590" y="390440"/>
                      <a:pt x="441138" y="386829"/>
                      <a:pt x="435497" y="385927"/>
                    </a:cubicBezTo>
                    <a:cubicBezTo>
                      <a:pt x="430307" y="385024"/>
                      <a:pt x="427374" y="381640"/>
                      <a:pt x="424440" y="378255"/>
                    </a:cubicBezTo>
                    <a:cubicBezTo>
                      <a:pt x="422184" y="375547"/>
                      <a:pt x="420153" y="373065"/>
                      <a:pt x="416768" y="371711"/>
                    </a:cubicBezTo>
                    <a:lnTo>
                      <a:pt x="415866" y="371260"/>
                    </a:lnTo>
                    <a:cubicBezTo>
                      <a:pt x="408194" y="368101"/>
                      <a:pt x="403681" y="366296"/>
                      <a:pt x="401199" y="363588"/>
                    </a:cubicBezTo>
                    <a:cubicBezTo>
                      <a:pt x="397814" y="360203"/>
                      <a:pt x="398491" y="345536"/>
                      <a:pt x="401876" y="340798"/>
                    </a:cubicBezTo>
                    <a:cubicBezTo>
                      <a:pt x="403004" y="339444"/>
                      <a:pt x="403907" y="338541"/>
                      <a:pt x="404809" y="338090"/>
                    </a:cubicBezTo>
                    <a:cubicBezTo>
                      <a:pt x="403455" y="334931"/>
                      <a:pt x="401650" y="331546"/>
                      <a:pt x="392173" y="332449"/>
                    </a:cubicBezTo>
                    <a:cubicBezTo>
                      <a:pt x="388788" y="332674"/>
                      <a:pt x="385629" y="333351"/>
                      <a:pt x="382696" y="333803"/>
                    </a:cubicBezTo>
                    <a:cubicBezTo>
                      <a:pt x="375926" y="334931"/>
                      <a:pt x="370060" y="336059"/>
                      <a:pt x="365321" y="332674"/>
                    </a:cubicBezTo>
                    <a:cubicBezTo>
                      <a:pt x="363065" y="331095"/>
                      <a:pt x="361034" y="328838"/>
                      <a:pt x="359003" y="326582"/>
                    </a:cubicBezTo>
                    <a:cubicBezTo>
                      <a:pt x="355844" y="323197"/>
                      <a:pt x="352911" y="319812"/>
                      <a:pt x="349526" y="319361"/>
                    </a:cubicBezTo>
                    <a:cubicBezTo>
                      <a:pt x="346367" y="318910"/>
                      <a:pt x="343433" y="317782"/>
                      <a:pt x="340500" y="316428"/>
                    </a:cubicBezTo>
                    <a:cubicBezTo>
                      <a:pt x="337115" y="315074"/>
                      <a:pt x="333956" y="313946"/>
                      <a:pt x="331023" y="313720"/>
                    </a:cubicBezTo>
                    <a:cubicBezTo>
                      <a:pt x="326961" y="313494"/>
                      <a:pt x="323351" y="308756"/>
                      <a:pt x="321546" y="304243"/>
                    </a:cubicBezTo>
                    <a:cubicBezTo>
                      <a:pt x="319289" y="299279"/>
                      <a:pt x="318161" y="292735"/>
                      <a:pt x="321320" y="288448"/>
                    </a:cubicBezTo>
                    <a:cubicBezTo>
                      <a:pt x="325833" y="282581"/>
                      <a:pt x="325607" y="280776"/>
                      <a:pt x="325156" y="277617"/>
                    </a:cubicBezTo>
                    <a:cubicBezTo>
                      <a:pt x="324705" y="274458"/>
                      <a:pt x="326736" y="269268"/>
                      <a:pt x="329669" y="266109"/>
                    </a:cubicBezTo>
                    <a:cubicBezTo>
                      <a:pt x="331249" y="264304"/>
                      <a:pt x="332828" y="263401"/>
                      <a:pt x="334633" y="263401"/>
                    </a:cubicBezTo>
                    <a:cubicBezTo>
                      <a:pt x="335987" y="263401"/>
                      <a:pt x="337341" y="263627"/>
                      <a:pt x="338244" y="264078"/>
                    </a:cubicBezTo>
                    <a:cubicBezTo>
                      <a:pt x="340049" y="264529"/>
                      <a:pt x="340274" y="264755"/>
                      <a:pt x="341628" y="262950"/>
                    </a:cubicBezTo>
                    <a:cubicBezTo>
                      <a:pt x="342531" y="261596"/>
                      <a:pt x="342531" y="260016"/>
                      <a:pt x="342757" y="258211"/>
                    </a:cubicBezTo>
                    <a:cubicBezTo>
                      <a:pt x="342982" y="255278"/>
                      <a:pt x="343433" y="250765"/>
                      <a:pt x="348623" y="250314"/>
                    </a:cubicBezTo>
                    <a:lnTo>
                      <a:pt x="349300" y="250314"/>
                    </a:lnTo>
                    <a:cubicBezTo>
                      <a:pt x="354264" y="249862"/>
                      <a:pt x="360131" y="249411"/>
                      <a:pt x="363290" y="252344"/>
                    </a:cubicBezTo>
                    <a:cubicBezTo>
                      <a:pt x="364644" y="253473"/>
                      <a:pt x="365095" y="255052"/>
                      <a:pt x="365095" y="257083"/>
                    </a:cubicBezTo>
                    <a:cubicBezTo>
                      <a:pt x="365095" y="264078"/>
                      <a:pt x="368255" y="267463"/>
                      <a:pt x="375024" y="267463"/>
                    </a:cubicBezTo>
                    <a:cubicBezTo>
                      <a:pt x="383147" y="267463"/>
                      <a:pt x="387434" y="258662"/>
                      <a:pt x="387660" y="256406"/>
                    </a:cubicBezTo>
                    <a:cubicBezTo>
                      <a:pt x="388337" y="252570"/>
                      <a:pt x="393752" y="245349"/>
                      <a:pt x="400973" y="241739"/>
                    </a:cubicBezTo>
                    <a:cubicBezTo>
                      <a:pt x="403230" y="240611"/>
                      <a:pt x="404809" y="239483"/>
                      <a:pt x="406389" y="238354"/>
                    </a:cubicBezTo>
                    <a:cubicBezTo>
                      <a:pt x="409773" y="235872"/>
                      <a:pt x="413158" y="233164"/>
                      <a:pt x="421733" y="232262"/>
                    </a:cubicBezTo>
                    <a:cubicBezTo>
                      <a:pt x="431435" y="231134"/>
                      <a:pt x="437077" y="228651"/>
                      <a:pt x="439107" y="224815"/>
                    </a:cubicBezTo>
                    <a:cubicBezTo>
                      <a:pt x="440010" y="223010"/>
                      <a:pt x="440461" y="220754"/>
                      <a:pt x="440913" y="218723"/>
                    </a:cubicBezTo>
                    <a:cubicBezTo>
                      <a:pt x="441364" y="216692"/>
                      <a:pt x="441590" y="214887"/>
                      <a:pt x="442266" y="213308"/>
                    </a:cubicBezTo>
                    <a:cubicBezTo>
                      <a:pt x="444523" y="207892"/>
                      <a:pt x="449036" y="202702"/>
                      <a:pt x="454677" y="203830"/>
                    </a:cubicBezTo>
                    <a:cubicBezTo>
                      <a:pt x="458287" y="204507"/>
                      <a:pt x="462349" y="206989"/>
                      <a:pt x="465734" y="209246"/>
                    </a:cubicBezTo>
                    <a:cubicBezTo>
                      <a:pt x="467764" y="210600"/>
                      <a:pt x="469570" y="211728"/>
                      <a:pt x="470924" y="212405"/>
                    </a:cubicBezTo>
                    <a:cubicBezTo>
                      <a:pt x="472052" y="212856"/>
                      <a:pt x="476339" y="209923"/>
                      <a:pt x="479047" y="208118"/>
                    </a:cubicBezTo>
                    <a:cubicBezTo>
                      <a:pt x="483108" y="205184"/>
                      <a:pt x="487396" y="202251"/>
                      <a:pt x="491006" y="202251"/>
                    </a:cubicBezTo>
                    <a:cubicBezTo>
                      <a:pt x="492360" y="202251"/>
                      <a:pt x="493037" y="202251"/>
                      <a:pt x="493714" y="202477"/>
                    </a:cubicBezTo>
                    <a:cubicBezTo>
                      <a:pt x="493714" y="202477"/>
                      <a:pt x="493714" y="202251"/>
                      <a:pt x="493714" y="202251"/>
                    </a:cubicBezTo>
                    <a:cubicBezTo>
                      <a:pt x="494165" y="200897"/>
                      <a:pt x="495068" y="198641"/>
                      <a:pt x="497324" y="194579"/>
                    </a:cubicBezTo>
                    <a:cubicBezTo>
                      <a:pt x="502965" y="184425"/>
                      <a:pt x="506801" y="184199"/>
                      <a:pt x="511540" y="185102"/>
                    </a:cubicBezTo>
                    <a:cubicBezTo>
                      <a:pt x="511991" y="185102"/>
                      <a:pt x="512442" y="185327"/>
                      <a:pt x="513119" y="185327"/>
                    </a:cubicBezTo>
                    <a:cubicBezTo>
                      <a:pt x="513119" y="185327"/>
                      <a:pt x="513345" y="185327"/>
                      <a:pt x="513345" y="185327"/>
                    </a:cubicBezTo>
                    <a:cubicBezTo>
                      <a:pt x="513345" y="185102"/>
                      <a:pt x="513571" y="184876"/>
                      <a:pt x="513571" y="184651"/>
                    </a:cubicBezTo>
                    <a:cubicBezTo>
                      <a:pt x="514248" y="182394"/>
                      <a:pt x="515601" y="177881"/>
                      <a:pt x="523273" y="173143"/>
                    </a:cubicBezTo>
                    <a:cubicBezTo>
                      <a:pt x="529140" y="169532"/>
                      <a:pt x="531622" y="164117"/>
                      <a:pt x="533653" y="159153"/>
                    </a:cubicBezTo>
                    <a:cubicBezTo>
                      <a:pt x="535684" y="154640"/>
                      <a:pt x="537715" y="150127"/>
                      <a:pt x="542228" y="148321"/>
                    </a:cubicBezTo>
                    <a:cubicBezTo>
                      <a:pt x="547869" y="146065"/>
                      <a:pt x="550351" y="141101"/>
                      <a:pt x="553059" y="134557"/>
                    </a:cubicBezTo>
                    <a:cubicBezTo>
                      <a:pt x="553736" y="132752"/>
                      <a:pt x="554638" y="130947"/>
                      <a:pt x="555541" y="129142"/>
                    </a:cubicBezTo>
                    <a:cubicBezTo>
                      <a:pt x="557572" y="125306"/>
                      <a:pt x="556895" y="122372"/>
                      <a:pt x="556218" y="119664"/>
                    </a:cubicBezTo>
                    <a:cubicBezTo>
                      <a:pt x="555541" y="116957"/>
                      <a:pt x="554638" y="113798"/>
                      <a:pt x="557572" y="110639"/>
                    </a:cubicBezTo>
                    <a:cubicBezTo>
                      <a:pt x="558474" y="109510"/>
                      <a:pt x="559377" y="108608"/>
                      <a:pt x="560054" y="107931"/>
                    </a:cubicBezTo>
                    <a:cubicBezTo>
                      <a:pt x="562762" y="105223"/>
                      <a:pt x="563664" y="104095"/>
                      <a:pt x="563664" y="100033"/>
                    </a:cubicBezTo>
                    <a:cubicBezTo>
                      <a:pt x="563664" y="94618"/>
                      <a:pt x="562762" y="91007"/>
                      <a:pt x="560731" y="88751"/>
                    </a:cubicBezTo>
                    <a:lnTo>
                      <a:pt x="559828" y="87848"/>
                    </a:lnTo>
                    <a:cubicBezTo>
                      <a:pt x="557797" y="85592"/>
                      <a:pt x="555089" y="82659"/>
                      <a:pt x="555315" y="79500"/>
                    </a:cubicBezTo>
                    <a:cubicBezTo>
                      <a:pt x="555315" y="77920"/>
                      <a:pt x="556218" y="76566"/>
                      <a:pt x="557572" y="75438"/>
                    </a:cubicBezTo>
                    <a:cubicBezTo>
                      <a:pt x="560279" y="72956"/>
                      <a:pt x="560279" y="60319"/>
                      <a:pt x="560054" y="54227"/>
                    </a:cubicBezTo>
                    <a:cubicBezTo>
                      <a:pt x="560054" y="52873"/>
                      <a:pt x="560054" y="51745"/>
                      <a:pt x="560054" y="50842"/>
                    </a:cubicBezTo>
                    <a:cubicBezTo>
                      <a:pt x="560054" y="42945"/>
                      <a:pt x="558249" y="40914"/>
                      <a:pt x="556669" y="40011"/>
                    </a:cubicBezTo>
                    <a:cubicBezTo>
                      <a:pt x="553059" y="37755"/>
                      <a:pt x="548546" y="29857"/>
                      <a:pt x="548546" y="26473"/>
                    </a:cubicBezTo>
                    <a:cubicBezTo>
                      <a:pt x="548546" y="18575"/>
                      <a:pt x="547192" y="15867"/>
                      <a:pt x="546064" y="15190"/>
                    </a:cubicBezTo>
                    <a:cubicBezTo>
                      <a:pt x="542905" y="12708"/>
                      <a:pt x="536587" y="9098"/>
                      <a:pt x="532299" y="7970"/>
                    </a:cubicBezTo>
                    <a:cubicBezTo>
                      <a:pt x="530720" y="7518"/>
                      <a:pt x="529366" y="6841"/>
                      <a:pt x="528012" y="5939"/>
                    </a:cubicBezTo>
                    <a:cubicBezTo>
                      <a:pt x="527109" y="5262"/>
                      <a:pt x="525756" y="4585"/>
                      <a:pt x="525304" y="4811"/>
                    </a:cubicBezTo>
                    <a:cubicBezTo>
                      <a:pt x="525304" y="4811"/>
                      <a:pt x="524627" y="5036"/>
                      <a:pt x="523950" y="7293"/>
                    </a:cubicBezTo>
                    <a:cubicBezTo>
                      <a:pt x="521243" y="15190"/>
                      <a:pt x="519889" y="16544"/>
                      <a:pt x="515150" y="19929"/>
                    </a:cubicBezTo>
                    <a:cubicBezTo>
                      <a:pt x="512668" y="21734"/>
                      <a:pt x="509960" y="21734"/>
                      <a:pt x="507478" y="21734"/>
                    </a:cubicBezTo>
                    <a:cubicBezTo>
                      <a:pt x="504996" y="21734"/>
                      <a:pt x="502740" y="21734"/>
                      <a:pt x="500032" y="23314"/>
                    </a:cubicBezTo>
                    <a:cubicBezTo>
                      <a:pt x="496873" y="25344"/>
                      <a:pt x="496196" y="27150"/>
                      <a:pt x="495293" y="29406"/>
                    </a:cubicBezTo>
                    <a:cubicBezTo>
                      <a:pt x="494616" y="30986"/>
                      <a:pt x="493939" y="32791"/>
                      <a:pt x="492134" y="34370"/>
                    </a:cubicBezTo>
                    <a:cubicBezTo>
                      <a:pt x="491457" y="35047"/>
                      <a:pt x="490329" y="35950"/>
                      <a:pt x="488975" y="37078"/>
                    </a:cubicBezTo>
                    <a:cubicBezTo>
                      <a:pt x="484914" y="40463"/>
                      <a:pt x="478595" y="45878"/>
                      <a:pt x="477919" y="51745"/>
                    </a:cubicBezTo>
                    <a:cubicBezTo>
                      <a:pt x="477693" y="53324"/>
                      <a:pt x="477693" y="54678"/>
                      <a:pt x="477467" y="56258"/>
                    </a:cubicBezTo>
                    <a:cubicBezTo>
                      <a:pt x="477016" y="62350"/>
                      <a:pt x="476565" y="67315"/>
                      <a:pt x="472954" y="73633"/>
                    </a:cubicBezTo>
                    <a:lnTo>
                      <a:pt x="471600" y="75889"/>
                    </a:lnTo>
                    <a:cubicBezTo>
                      <a:pt x="468216" y="81756"/>
                      <a:pt x="466185" y="85141"/>
                      <a:pt x="466411" y="90556"/>
                    </a:cubicBezTo>
                    <a:cubicBezTo>
                      <a:pt x="466636" y="95295"/>
                      <a:pt x="467087" y="106577"/>
                      <a:pt x="458964" y="107028"/>
                    </a:cubicBezTo>
                    <a:cubicBezTo>
                      <a:pt x="457159" y="107028"/>
                      <a:pt x="455580" y="107028"/>
                      <a:pt x="454000" y="106803"/>
                    </a:cubicBezTo>
                    <a:cubicBezTo>
                      <a:pt x="450615" y="106351"/>
                      <a:pt x="449713" y="106351"/>
                      <a:pt x="448810" y="108382"/>
                    </a:cubicBezTo>
                    <a:cubicBezTo>
                      <a:pt x="446102" y="114249"/>
                      <a:pt x="437754" y="114249"/>
                      <a:pt x="432112" y="114249"/>
                    </a:cubicBezTo>
                    <a:cubicBezTo>
                      <a:pt x="429405" y="114249"/>
                      <a:pt x="425117" y="115151"/>
                      <a:pt x="421281" y="115828"/>
                    </a:cubicBezTo>
                    <a:cubicBezTo>
                      <a:pt x="418122" y="116505"/>
                      <a:pt x="415189" y="116957"/>
                      <a:pt x="413609" y="116957"/>
                    </a:cubicBezTo>
                    <a:cubicBezTo>
                      <a:pt x="411127" y="116957"/>
                      <a:pt x="410450" y="115151"/>
                      <a:pt x="410225" y="114023"/>
                    </a:cubicBezTo>
                    <a:cubicBezTo>
                      <a:pt x="409999" y="114249"/>
                      <a:pt x="409548" y="114475"/>
                      <a:pt x="408871" y="114926"/>
                    </a:cubicBezTo>
                    <a:cubicBezTo>
                      <a:pt x="406614" y="116731"/>
                      <a:pt x="404809" y="117859"/>
                      <a:pt x="403230" y="118536"/>
                    </a:cubicBezTo>
                    <a:cubicBezTo>
                      <a:pt x="400522" y="119890"/>
                      <a:pt x="399619" y="120567"/>
                      <a:pt x="399619" y="124177"/>
                    </a:cubicBezTo>
                    <a:cubicBezTo>
                      <a:pt x="399619" y="131849"/>
                      <a:pt x="396686" y="139973"/>
                      <a:pt x="394655" y="143132"/>
                    </a:cubicBezTo>
                    <a:cubicBezTo>
                      <a:pt x="393978" y="144034"/>
                      <a:pt x="392850" y="145162"/>
                      <a:pt x="390142" y="145162"/>
                    </a:cubicBezTo>
                    <a:cubicBezTo>
                      <a:pt x="386532" y="145388"/>
                      <a:pt x="380665" y="143357"/>
                      <a:pt x="378409" y="140650"/>
                    </a:cubicBezTo>
                    <a:cubicBezTo>
                      <a:pt x="377732" y="139747"/>
                      <a:pt x="376829" y="138167"/>
                      <a:pt x="375475" y="135911"/>
                    </a:cubicBezTo>
                    <a:cubicBezTo>
                      <a:pt x="372767" y="130947"/>
                      <a:pt x="367803" y="121921"/>
                      <a:pt x="363967" y="120341"/>
                    </a:cubicBezTo>
                    <a:cubicBezTo>
                      <a:pt x="362388" y="119664"/>
                      <a:pt x="360582" y="119213"/>
                      <a:pt x="358777" y="118762"/>
                    </a:cubicBezTo>
                    <a:cubicBezTo>
                      <a:pt x="354490" y="117634"/>
                      <a:pt x="349977" y="116505"/>
                      <a:pt x="348623" y="111992"/>
                    </a:cubicBezTo>
                    <a:cubicBezTo>
                      <a:pt x="347269" y="107480"/>
                      <a:pt x="345916" y="103192"/>
                      <a:pt x="342982" y="100710"/>
                    </a:cubicBezTo>
                    <a:cubicBezTo>
                      <a:pt x="336664" y="95295"/>
                      <a:pt x="333505" y="95069"/>
                      <a:pt x="331700" y="95746"/>
                    </a:cubicBezTo>
                    <a:cubicBezTo>
                      <a:pt x="326736" y="98002"/>
                      <a:pt x="317484" y="94843"/>
                      <a:pt x="315002" y="93264"/>
                    </a:cubicBezTo>
                    <a:cubicBezTo>
                      <a:pt x="313874" y="92587"/>
                      <a:pt x="306879" y="91233"/>
                      <a:pt x="302591" y="92361"/>
                    </a:cubicBezTo>
                    <a:cubicBezTo>
                      <a:pt x="301689" y="92587"/>
                      <a:pt x="300786" y="93038"/>
                      <a:pt x="300335" y="93715"/>
                    </a:cubicBezTo>
                    <a:cubicBezTo>
                      <a:pt x="299432" y="95520"/>
                      <a:pt x="298530" y="97551"/>
                      <a:pt x="297402" y="100033"/>
                    </a:cubicBezTo>
                    <a:cubicBezTo>
                      <a:pt x="295596" y="103869"/>
                      <a:pt x="293791" y="108156"/>
                      <a:pt x="291309" y="112669"/>
                    </a:cubicBezTo>
                    <a:cubicBezTo>
                      <a:pt x="288601" y="117859"/>
                      <a:pt x="281606" y="120116"/>
                      <a:pt x="275063" y="122372"/>
                    </a:cubicBezTo>
                    <a:cubicBezTo>
                      <a:pt x="271452" y="123500"/>
                      <a:pt x="268293" y="124629"/>
                      <a:pt x="265811" y="126208"/>
                    </a:cubicBezTo>
                    <a:cubicBezTo>
                      <a:pt x="262652" y="128013"/>
                      <a:pt x="258139" y="129818"/>
                      <a:pt x="253401" y="131398"/>
                    </a:cubicBezTo>
                    <a:cubicBezTo>
                      <a:pt x="247308" y="133654"/>
                      <a:pt x="241216" y="135911"/>
                      <a:pt x="237831" y="138619"/>
                    </a:cubicBezTo>
                    <a:cubicBezTo>
                      <a:pt x="235575" y="140650"/>
                      <a:pt x="233544" y="142906"/>
                      <a:pt x="231739" y="144937"/>
                    </a:cubicBezTo>
                    <a:cubicBezTo>
                      <a:pt x="228805" y="147645"/>
                      <a:pt x="226323" y="150352"/>
                      <a:pt x="223164" y="150352"/>
                    </a:cubicBezTo>
                    <a:lnTo>
                      <a:pt x="211882" y="150352"/>
                    </a:lnTo>
                    <a:cubicBezTo>
                      <a:pt x="208948" y="150352"/>
                      <a:pt x="206692" y="150578"/>
                      <a:pt x="204887" y="150804"/>
                    </a:cubicBezTo>
                    <a:cubicBezTo>
                      <a:pt x="200825" y="151255"/>
                      <a:pt x="197892" y="151481"/>
                      <a:pt x="195635" y="147645"/>
                    </a:cubicBezTo>
                    <a:lnTo>
                      <a:pt x="194733" y="146065"/>
                    </a:lnTo>
                    <a:cubicBezTo>
                      <a:pt x="192702" y="142229"/>
                      <a:pt x="190220" y="137716"/>
                      <a:pt x="186158" y="137265"/>
                    </a:cubicBezTo>
                    <a:cubicBezTo>
                      <a:pt x="182548" y="137039"/>
                      <a:pt x="175553" y="142229"/>
                      <a:pt x="171040" y="145614"/>
                    </a:cubicBezTo>
                    <a:cubicBezTo>
                      <a:pt x="169686" y="146516"/>
                      <a:pt x="168558" y="147419"/>
                      <a:pt x="167655" y="148321"/>
                    </a:cubicBezTo>
                    <a:cubicBezTo>
                      <a:pt x="165624" y="149901"/>
                      <a:pt x="163368" y="150127"/>
                      <a:pt x="161563" y="150578"/>
                    </a:cubicBezTo>
                    <a:cubicBezTo>
                      <a:pt x="158629" y="151029"/>
                      <a:pt x="156598" y="151481"/>
                      <a:pt x="154793" y="155316"/>
                    </a:cubicBezTo>
                    <a:cubicBezTo>
                      <a:pt x="153439" y="158250"/>
                      <a:pt x="151634" y="159829"/>
                      <a:pt x="149603" y="160506"/>
                    </a:cubicBezTo>
                    <a:cubicBezTo>
                      <a:pt x="146444" y="161409"/>
                      <a:pt x="143285" y="159378"/>
                      <a:pt x="139675" y="157122"/>
                    </a:cubicBezTo>
                    <a:lnTo>
                      <a:pt x="137870" y="155994"/>
                    </a:lnTo>
                    <a:cubicBezTo>
                      <a:pt x="135839" y="154640"/>
                      <a:pt x="133582" y="153737"/>
                      <a:pt x="131552" y="152834"/>
                    </a:cubicBezTo>
                    <a:cubicBezTo>
                      <a:pt x="127941" y="151255"/>
                      <a:pt x="124331" y="149901"/>
                      <a:pt x="122300" y="146291"/>
                    </a:cubicBezTo>
                    <a:cubicBezTo>
                      <a:pt x="120721" y="143809"/>
                      <a:pt x="121623" y="141326"/>
                      <a:pt x="122074" y="139521"/>
                    </a:cubicBezTo>
                    <a:cubicBezTo>
                      <a:pt x="122300" y="138619"/>
                      <a:pt x="122752" y="137491"/>
                      <a:pt x="122300" y="137039"/>
                    </a:cubicBezTo>
                    <a:cubicBezTo>
                      <a:pt x="122300" y="136813"/>
                      <a:pt x="121623" y="136137"/>
                      <a:pt x="118013" y="135911"/>
                    </a:cubicBezTo>
                    <a:cubicBezTo>
                      <a:pt x="112372" y="135460"/>
                      <a:pt x="110567" y="136137"/>
                      <a:pt x="109213" y="136813"/>
                    </a:cubicBezTo>
                    <a:cubicBezTo>
                      <a:pt x="107408" y="137491"/>
                      <a:pt x="106054" y="137942"/>
                      <a:pt x="103120" y="136813"/>
                    </a:cubicBezTo>
                    <a:cubicBezTo>
                      <a:pt x="99510" y="135685"/>
                      <a:pt x="98156" y="132301"/>
                      <a:pt x="97028" y="129367"/>
                    </a:cubicBezTo>
                    <a:cubicBezTo>
                      <a:pt x="95900" y="126208"/>
                      <a:pt x="94997" y="124403"/>
                      <a:pt x="92741" y="123726"/>
                    </a:cubicBezTo>
                    <a:cubicBezTo>
                      <a:pt x="86197" y="121695"/>
                      <a:pt x="83038" y="121018"/>
                      <a:pt x="79202" y="125080"/>
                    </a:cubicBezTo>
                    <a:cubicBezTo>
                      <a:pt x="73786" y="130947"/>
                      <a:pt x="50996" y="138393"/>
                      <a:pt x="43550" y="138393"/>
                    </a:cubicBezTo>
                    <a:cubicBezTo>
                      <a:pt x="40165" y="138393"/>
                      <a:pt x="37006" y="136813"/>
                      <a:pt x="33170" y="135008"/>
                    </a:cubicBezTo>
                    <a:cubicBezTo>
                      <a:pt x="30462" y="133654"/>
                      <a:pt x="27303" y="132075"/>
                      <a:pt x="23693" y="130947"/>
                    </a:cubicBezTo>
                    <a:cubicBezTo>
                      <a:pt x="23016" y="136588"/>
                      <a:pt x="17600" y="144937"/>
                      <a:pt x="9928" y="151706"/>
                    </a:cubicBezTo>
                    <a:cubicBezTo>
                      <a:pt x="6769" y="154414"/>
                      <a:pt x="7672" y="158250"/>
                      <a:pt x="9477" y="163891"/>
                    </a:cubicBezTo>
                    <a:cubicBezTo>
                      <a:pt x="11057" y="169081"/>
                      <a:pt x="13088" y="175173"/>
                      <a:pt x="7221" y="178784"/>
                    </a:cubicBezTo>
                    <a:cubicBezTo>
                      <a:pt x="3610" y="181040"/>
                      <a:pt x="3610" y="183974"/>
                      <a:pt x="3836" y="188035"/>
                    </a:cubicBezTo>
                    <a:cubicBezTo>
                      <a:pt x="3836" y="189615"/>
                      <a:pt x="4062" y="191194"/>
                      <a:pt x="3836" y="192999"/>
                    </a:cubicBezTo>
                    <a:cubicBezTo>
                      <a:pt x="14441" y="194579"/>
                      <a:pt x="17375" y="198415"/>
                      <a:pt x="20534" y="202702"/>
                    </a:cubicBezTo>
                    <a:cubicBezTo>
                      <a:pt x="21211" y="203605"/>
                      <a:pt x="21888" y="204507"/>
                      <a:pt x="22565" y="205636"/>
                    </a:cubicBezTo>
                    <a:cubicBezTo>
                      <a:pt x="26175" y="209923"/>
                      <a:pt x="30462" y="213082"/>
                      <a:pt x="34975" y="216241"/>
                    </a:cubicBezTo>
                    <a:cubicBezTo>
                      <a:pt x="37457" y="218046"/>
                      <a:pt x="39939" y="219626"/>
                      <a:pt x="42196" y="221656"/>
                    </a:cubicBezTo>
                    <a:lnTo>
                      <a:pt x="43550" y="222785"/>
                    </a:lnTo>
                    <a:cubicBezTo>
                      <a:pt x="49642" y="227749"/>
                      <a:pt x="53478" y="230908"/>
                      <a:pt x="57088" y="240611"/>
                    </a:cubicBezTo>
                    <a:cubicBezTo>
                      <a:pt x="60699" y="250088"/>
                      <a:pt x="60699" y="250088"/>
                      <a:pt x="70402" y="257985"/>
                    </a:cubicBezTo>
                    <a:cubicBezTo>
                      <a:pt x="75591" y="262273"/>
                      <a:pt x="80104" y="262724"/>
                      <a:pt x="83263" y="263175"/>
                    </a:cubicBezTo>
                    <a:cubicBezTo>
                      <a:pt x="85971" y="263627"/>
                      <a:pt x="88905" y="263852"/>
                      <a:pt x="89807" y="267011"/>
                    </a:cubicBezTo>
                    <a:cubicBezTo>
                      <a:pt x="90258" y="268591"/>
                      <a:pt x="90033" y="270396"/>
                      <a:pt x="90033" y="272427"/>
                    </a:cubicBezTo>
                    <a:cubicBezTo>
                      <a:pt x="89807" y="277165"/>
                      <a:pt x="89356" y="282807"/>
                      <a:pt x="95448" y="287996"/>
                    </a:cubicBezTo>
                    <a:cubicBezTo>
                      <a:pt x="101766" y="293638"/>
                      <a:pt x="100187" y="298150"/>
                      <a:pt x="98607" y="302212"/>
                    </a:cubicBezTo>
                    <a:cubicBezTo>
                      <a:pt x="97705" y="304920"/>
                      <a:pt x="96577" y="307402"/>
                      <a:pt x="97705" y="310787"/>
                    </a:cubicBezTo>
                    <a:cubicBezTo>
                      <a:pt x="100638" y="319361"/>
                      <a:pt x="107633" y="331772"/>
                      <a:pt x="118239" y="338541"/>
                    </a:cubicBezTo>
                    <a:cubicBezTo>
                      <a:pt x="119818" y="339669"/>
                      <a:pt x="121398" y="340572"/>
                      <a:pt x="122977" y="341474"/>
                    </a:cubicBezTo>
                    <a:cubicBezTo>
                      <a:pt x="131326" y="346664"/>
                      <a:pt x="137870" y="350726"/>
                      <a:pt x="135388" y="359526"/>
                    </a:cubicBezTo>
                    <a:cubicBezTo>
                      <a:pt x="132680" y="368778"/>
                      <a:pt x="113726" y="386152"/>
                      <a:pt x="101315" y="394501"/>
                    </a:cubicBezTo>
                    <a:cubicBezTo>
                      <a:pt x="97705" y="396984"/>
                      <a:pt x="95674" y="398789"/>
                      <a:pt x="95448" y="399917"/>
                    </a:cubicBezTo>
                    <a:cubicBezTo>
                      <a:pt x="95448" y="400594"/>
                      <a:pt x="95900" y="401271"/>
                      <a:pt x="96802" y="402850"/>
                    </a:cubicBezTo>
                    <a:lnTo>
                      <a:pt x="97028" y="403076"/>
                    </a:lnTo>
                    <a:cubicBezTo>
                      <a:pt x="103120" y="404881"/>
                      <a:pt x="107633" y="407363"/>
                      <a:pt x="111018" y="410297"/>
                    </a:cubicBezTo>
                    <a:cubicBezTo>
                      <a:pt x="113274" y="412328"/>
                      <a:pt x="115080" y="414358"/>
                      <a:pt x="116659" y="415938"/>
                    </a:cubicBezTo>
                    <a:cubicBezTo>
                      <a:pt x="123428" y="422707"/>
                      <a:pt x="124557" y="423835"/>
                      <a:pt x="135162" y="422030"/>
                    </a:cubicBezTo>
                    <a:cubicBezTo>
                      <a:pt x="140126" y="421128"/>
                      <a:pt x="143737" y="419999"/>
                      <a:pt x="146896" y="418871"/>
                    </a:cubicBezTo>
                    <a:cubicBezTo>
                      <a:pt x="152988" y="416840"/>
                      <a:pt x="158629" y="414809"/>
                      <a:pt x="171265" y="415487"/>
                    </a:cubicBezTo>
                    <a:cubicBezTo>
                      <a:pt x="180066" y="415938"/>
                      <a:pt x="188414" y="414358"/>
                      <a:pt x="195635" y="412779"/>
                    </a:cubicBezTo>
                    <a:cubicBezTo>
                      <a:pt x="204435" y="410974"/>
                      <a:pt x="212107" y="409620"/>
                      <a:pt x="217072" y="412328"/>
                    </a:cubicBezTo>
                    <a:cubicBezTo>
                      <a:pt x="224969" y="416615"/>
                      <a:pt x="235575" y="422482"/>
                      <a:pt x="230610" y="436246"/>
                    </a:cubicBezTo>
                    <a:cubicBezTo>
                      <a:pt x="225872" y="449333"/>
                      <a:pt x="226097" y="455877"/>
                      <a:pt x="231287" y="459487"/>
                    </a:cubicBezTo>
                    <a:cubicBezTo>
                      <a:pt x="237831" y="463775"/>
                      <a:pt x="251370" y="465580"/>
                      <a:pt x="255206" y="461293"/>
                    </a:cubicBezTo>
                    <a:cubicBezTo>
                      <a:pt x="255883" y="460616"/>
                      <a:pt x="256560" y="459713"/>
                      <a:pt x="257237" y="459036"/>
                    </a:cubicBezTo>
                    <a:cubicBezTo>
                      <a:pt x="261298" y="454072"/>
                      <a:pt x="266939" y="447077"/>
                      <a:pt x="279576" y="452944"/>
                    </a:cubicBezTo>
                    <a:cubicBezTo>
                      <a:pt x="292437" y="458811"/>
                      <a:pt x="298755" y="459713"/>
                      <a:pt x="305525" y="459262"/>
                    </a:cubicBezTo>
                    <a:cubicBezTo>
                      <a:pt x="307104" y="459036"/>
                      <a:pt x="309135" y="458811"/>
                      <a:pt x="311166" y="458359"/>
                    </a:cubicBezTo>
                    <a:cubicBezTo>
                      <a:pt x="314325" y="457457"/>
                      <a:pt x="316807" y="457231"/>
                      <a:pt x="318838" y="457231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xmlns="" id="{1F91D857-EE07-47BF-A4BA-FC933649B160}"/>
                  </a:ext>
                </a:extLst>
              </p:cNvPr>
              <p:cNvSpPr/>
              <p:nvPr/>
            </p:nvSpPr>
            <p:spPr>
              <a:xfrm>
                <a:off x="9732622" y="3128702"/>
                <a:ext cx="767197" cy="654374"/>
              </a:xfrm>
              <a:custGeom>
                <a:avLst/>
                <a:gdLst>
                  <a:gd name="connsiteX0" fmla="*/ 0 w 767196"/>
                  <a:gd name="connsiteY0" fmla="*/ 660303 h 654373"/>
                  <a:gd name="connsiteX1" fmla="*/ 1805 w 767196"/>
                  <a:gd name="connsiteY1" fmla="*/ 657144 h 654373"/>
                  <a:gd name="connsiteX2" fmla="*/ 7898 w 767196"/>
                  <a:gd name="connsiteY2" fmla="*/ 645411 h 654373"/>
                  <a:gd name="connsiteX3" fmla="*/ 12862 w 767196"/>
                  <a:gd name="connsiteY3" fmla="*/ 634580 h 654373"/>
                  <a:gd name="connsiteX4" fmla="*/ 24596 w 767196"/>
                  <a:gd name="connsiteY4" fmla="*/ 614497 h 654373"/>
                  <a:gd name="connsiteX5" fmla="*/ 28657 w 767196"/>
                  <a:gd name="connsiteY5" fmla="*/ 606825 h 654373"/>
                  <a:gd name="connsiteX6" fmla="*/ 43324 w 767196"/>
                  <a:gd name="connsiteY6" fmla="*/ 586291 h 654373"/>
                  <a:gd name="connsiteX7" fmla="*/ 64084 w 767196"/>
                  <a:gd name="connsiteY7" fmla="*/ 565758 h 654373"/>
                  <a:gd name="connsiteX8" fmla="*/ 69048 w 767196"/>
                  <a:gd name="connsiteY8" fmla="*/ 559439 h 654373"/>
                  <a:gd name="connsiteX9" fmla="*/ 77397 w 767196"/>
                  <a:gd name="connsiteY9" fmla="*/ 547029 h 654373"/>
                  <a:gd name="connsiteX10" fmla="*/ 89130 w 767196"/>
                  <a:gd name="connsiteY10" fmla="*/ 531911 h 654373"/>
                  <a:gd name="connsiteX11" fmla="*/ 93417 w 767196"/>
                  <a:gd name="connsiteY11" fmla="*/ 528977 h 654373"/>
                  <a:gd name="connsiteX12" fmla="*/ 103572 w 767196"/>
                  <a:gd name="connsiteY12" fmla="*/ 506864 h 654373"/>
                  <a:gd name="connsiteX13" fmla="*/ 106731 w 767196"/>
                  <a:gd name="connsiteY13" fmla="*/ 489038 h 654373"/>
                  <a:gd name="connsiteX14" fmla="*/ 107408 w 767196"/>
                  <a:gd name="connsiteY14" fmla="*/ 467150 h 654373"/>
                  <a:gd name="connsiteX15" fmla="*/ 101090 w 767196"/>
                  <a:gd name="connsiteY15" fmla="*/ 449775 h 654373"/>
                  <a:gd name="connsiteX16" fmla="*/ 94997 w 767196"/>
                  <a:gd name="connsiteY16" fmla="*/ 430144 h 654373"/>
                  <a:gd name="connsiteX17" fmla="*/ 88905 w 767196"/>
                  <a:gd name="connsiteY17" fmla="*/ 417508 h 654373"/>
                  <a:gd name="connsiteX18" fmla="*/ 83940 w 767196"/>
                  <a:gd name="connsiteY18" fmla="*/ 409385 h 654373"/>
                  <a:gd name="connsiteX19" fmla="*/ 79653 w 767196"/>
                  <a:gd name="connsiteY19" fmla="*/ 396748 h 654373"/>
                  <a:gd name="connsiteX20" fmla="*/ 74915 w 767196"/>
                  <a:gd name="connsiteY20" fmla="*/ 384338 h 654373"/>
                  <a:gd name="connsiteX21" fmla="*/ 74689 w 767196"/>
                  <a:gd name="connsiteY21" fmla="*/ 384112 h 654373"/>
                  <a:gd name="connsiteX22" fmla="*/ 69950 w 767196"/>
                  <a:gd name="connsiteY22" fmla="*/ 346655 h 654373"/>
                  <a:gd name="connsiteX23" fmla="*/ 78299 w 767196"/>
                  <a:gd name="connsiteY23" fmla="*/ 338757 h 654373"/>
                  <a:gd name="connsiteX24" fmla="*/ 94546 w 767196"/>
                  <a:gd name="connsiteY24" fmla="*/ 347332 h 654373"/>
                  <a:gd name="connsiteX25" fmla="*/ 104023 w 767196"/>
                  <a:gd name="connsiteY25" fmla="*/ 354101 h 654373"/>
                  <a:gd name="connsiteX26" fmla="*/ 125234 w 767196"/>
                  <a:gd name="connsiteY26" fmla="*/ 372379 h 654373"/>
                  <a:gd name="connsiteX27" fmla="*/ 138998 w 767196"/>
                  <a:gd name="connsiteY27" fmla="*/ 375538 h 654373"/>
                  <a:gd name="connsiteX28" fmla="*/ 159758 w 767196"/>
                  <a:gd name="connsiteY28" fmla="*/ 381179 h 654373"/>
                  <a:gd name="connsiteX29" fmla="*/ 163819 w 767196"/>
                  <a:gd name="connsiteY29" fmla="*/ 383435 h 654373"/>
                  <a:gd name="connsiteX30" fmla="*/ 171942 w 767196"/>
                  <a:gd name="connsiteY30" fmla="*/ 374184 h 654373"/>
                  <a:gd name="connsiteX31" fmla="*/ 171491 w 767196"/>
                  <a:gd name="connsiteY31" fmla="*/ 364481 h 654373"/>
                  <a:gd name="connsiteX32" fmla="*/ 168783 w 767196"/>
                  <a:gd name="connsiteY32" fmla="*/ 363353 h 654373"/>
                  <a:gd name="connsiteX33" fmla="*/ 145542 w 767196"/>
                  <a:gd name="connsiteY33" fmla="*/ 359066 h 654373"/>
                  <a:gd name="connsiteX34" fmla="*/ 127941 w 767196"/>
                  <a:gd name="connsiteY34" fmla="*/ 341465 h 654373"/>
                  <a:gd name="connsiteX35" fmla="*/ 127264 w 767196"/>
                  <a:gd name="connsiteY35" fmla="*/ 332439 h 654373"/>
                  <a:gd name="connsiteX36" fmla="*/ 125911 w 767196"/>
                  <a:gd name="connsiteY36" fmla="*/ 309875 h 654373"/>
                  <a:gd name="connsiteX37" fmla="*/ 122752 w 767196"/>
                  <a:gd name="connsiteY37" fmla="*/ 293854 h 654373"/>
                  <a:gd name="connsiteX38" fmla="*/ 120721 w 767196"/>
                  <a:gd name="connsiteY38" fmla="*/ 286859 h 654373"/>
                  <a:gd name="connsiteX39" fmla="*/ 121398 w 767196"/>
                  <a:gd name="connsiteY39" fmla="*/ 277156 h 654373"/>
                  <a:gd name="connsiteX40" fmla="*/ 122977 w 767196"/>
                  <a:gd name="connsiteY40" fmla="*/ 264520 h 654373"/>
                  <a:gd name="connsiteX41" fmla="*/ 133357 w 767196"/>
                  <a:gd name="connsiteY41" fmla="*/ 246243 h 654373"/>
                  <a:gd name="connsiteX42" fmla="*/ 145993 w 767196"/>
                  <a:gd name="connsiteY42" fmla="*/ 237217 h 654373"/>
                  <a:gd name="connsiteX43" fmla="*/ 148024 w 767196"/>
                  <a:gd name="connsiteY43" fmla="*/ 229545 h 654373"/>
                  <a:gd name="connsiteX44" fmla="*/ 151634 w 767196"/>
                  <a:gd name="connsiteY44" fmla="*/ 220745 h 654373"/>
                  <a:gd name="connsiteX45" fmla="*/ 155245 w 767196"/>
                  <a:gd name="connsiteY45" fmla="*/ 215329 h 654373"/>
                  <a:gd name="connsiteX46" fmla="*/ 172845 w 767196"/>
                  <a:gd name="connsiteY46" fmla="*/ 201113 h 654373"/>
                  <a:gd name="connsiteX47" fmla="*/ 211882 w 767196"/>
                  <a:gd name="connsiteY47" fmla="*/ 202467 h 654373"/>
                  <a:gd name="connsiteX48" fmla="*/ 233995 w 767196"/>
                  <a:gd name="connsiteY48" fmla="*/ 187123 h 654373"/>
                  <a:gd name="connsiteX49" fmla="*/ 238057 w 767196"/>
                  <a:gd name="connsiteY49" fmla="*/ 176969 h 654373"/>
                  <a:gd name="connsiteX50" fmla="*/ 245052 w 767196"/>
                  <a:gd name="connsiteY50" fmla="*/ 169297 h 654373"/>
                  <a:gd name="connsiteX51" fmla="*/ 247083 w 767196"/>
                  <a:gd name="connsiteY51" fmla="*/ 153276 h 654373"/>
                  <a:gd name="connsiteX52" fmla="*/ 246857 w 767196"/>
                  <a:gd name="connsiteY52" fmla="*/ 152148 h 654373"/>
                  <a:gd name="connsiteX53" fmla="*/ 254303 w 767196"/>
                  <a:gd name="connsiteY53" fmla="*/ 127778 h 654373"/>
                  <a:gd name="connsiteX54" fmla="*/ 257237 w 767196"/>
                  <a:gd name="connsiteY54" fmla="*/ 123266 h 654373"/>
                  <a:gd name="connsiteX55" fmla="*/ 269873 w 767196"/>
                  <a:gd name="connsiteY55" fmla="*/ 108598 h 654373"/>
                  <a:gd name="connsiteX56" fmla="*/ 276868 w 767196"/>
                  <a:gd name="connsiteY56" fmla="*/ 102732 h 654373"/>
                  <a:gd name="connsiteX57" fmla="*/ 277093 w 767196"/>
                  <a:gd name="connsiteY57" fmla="*/ 98670 h 654373"/>
                  <a:gd name="connsiteX58" fmla="*/ 275740 w 767196"/>
                  <a:gd name="connsiteY58" fmla="*/ 96188 h 654373"/>
                  <a:gd name="connsiteX59" fmla="*/ 275965 w 767196"/>
                  <a:gd name="connsiteY59" fmla="*/ 68208 h 654373"/>
                  <a:gd name="connsiteX60" fmla="*/ 296950 w 767196"/>
                  <a:gd name="connsiteY60" fmla="*/ 52864 h 654373"/>
                  <a:gd name="connsiteX61" fmla="*/ 306428 w 767196"/>
                  <a:gd name="connsiteY61" fmla="*/ 47674 h 654373"/>
                  <a:gd name="connsiteX62" fmla="*/ 328992 w 767196"/>
                  <a:gd name="connsiteY62" fmla="*/ 34812 h 654373"/>
                  <a:gd name="connsiteX63" fmla="*/ 333054 w 767196"/>
                  <a:gd name="connsiteY63" fmla="*/ 17889 h 654373"/>
                  <a:gd name="connsiteX64" fmla="*/ 330797 w 767196"/>
                  <a:gd name="connsiteY64" fmla="*/ 13601 h 654373"/>
                  <a:gd name="connsiteX65" fmla="*/ 327638 w 767196"/>
                  <a:gd name="connsiteY65" fmla="*/ 9088 h 654373"/>
                  <a:gd name="connsiteX66" fmla="*/ 332828 w 767196"/>
                  <a:gd name="connsiteY66" fmla="*/ 10668 h 654373"/>
                  <a:gd name="connsiteX67" fmla="*/ 347495 w 767196"/>
                  <a:gd name="connsiteY67" fmla="*/ 18114 h 654373"/>
                  <a:gd name="connsiteX68" fmla="*/ 353136 w 767196"/>
                  <a:gd name="connsiteY68" fmla="*/ 23755 h 654373"/>
                  <a:gd name="connsiteX69" fmla="*/ 371639 w 767196"/>
                  <a:gd name="connsiteY69" fmla="*/ 29848 h 654373"/>
                  <a:gd name="connsiteX70" fmla="*/ 383373 w 767196"/>
                  <a:gd name="connsiteY70" fmla="*/ 26689 h 654373"/>
                  <a:gd name="connsiteX71" fmla="*/ 407743 w 767196"/>
                  <a:gd name="connsiteY71" fmla="*/ 23304 h 654373"/>
                  <a:gd name="connsiteX72" fmla="*/ 432112 w 767196"/>
                  <a:gd name="connsiteY72" fmla="*/ 20596 h 654373"/>
                  <a:gd name="connsiteX73" fmla="*/ 453549 w 767196"/>
                  <a:gd name="connsiteY73" fmla="*/ 20145 h 654373"/>
                  <a:gd name="connsiteX74" fmla="*/ 467088 w 767196"/>
                  <a:gd name="connsiteY74" fmla="*/ 44064 h 654373"/>
                  <a:gd name="connsiteX75" fmla="*/ 467765 w 767196"/>
                  <a:gd name="connsiteY75" fmla="*/ 67305 h 654373"/>
                  <a:gd name="connsiteX76" fmla="*/ 491683 w 767196"/>
                  <a:gd name="connsiteY76" fmla="*/ 69110 h 654373"/>
                  <a:gd name="connsiteX77" fmla="*/ 493714 w 767196"/>
                  <a:gd name="connsiteY77" fmla="*/ 66854 h 654373"/>
                  <a:gd name="connsiteX78" fmla="*/ 516053 w 767196"/>
                  <a:gd name="connsiteY78" fmla="*/ 60761 h 654373"/>
                  <a:gd name="connsiteX79" fmla="*/ 542002 w 767196"/>
                  <a:gd name="connsiteY79" fmla="*/ 67079 h 654373"/>
                  <a:gd name="connsiteX80" fmla="*/ 547643 w 767196"/>
                  <a:gd name="connsiteY80" fmla="*/ 66177 h 654373"/>
                  <a:gd name="connsiteX81" fmla="*/ 559151 w 767196"/>
                  <a:gd name="connsiteY81" fmla="*/ 66854 h 654373"/>
                  <a:gd name="connsiteX82" fmla="*/ 560505 w 767196"/>
                  <a:gd name="connsiteY82" fmla="*/ 71593 h 654373"/>
                  <a:gd name="connsiteX83" fmla="*/ 561633 w 767196"/>
                  <a:gd name="connsiteY83" fmla="*/ 76782 h 654373"/>
                  <a:gd name="connsiteX84" fmla="*/ 568628 w 767196"/>
                  <a:gd name="connsiteY84" fmla="*/ 79039 h 654373"/>
                  <a:gd name="connsiteX85" fmla="*/ 581941 w 767196"/>
                  <a:gd name="connsiteY85" fmla="*/ 63244 h 654373"/>
                  <a:gd name="connsiteX86" fmla="*/ 583747 w 767196"/>
                  <a:gd name="connsiteY86" fmla="*/ 42033 h 654373"/>
                  <a:gd name="connsiteX87" fmla="*/ 583295 w 767196"/>
                  <a:gd name="connsiteY87" fmla="*/ 23304 h 654373"/>
                  <a:gd name="connsiteX88" fmla="*/ 583747 w 767196"/>
                  <a:gd name="connsiteY88" fmla="*/ 21725 h 654373"/>
                  <a:gd name="connsiteX89" fmla="*/ 581716 w 767196"/>
                  <a:gd name="connsiteY89" fmla="*/ 16761 h 654373"/>
                  <a:gd name="connsiteX90" fmla="*/ 580136 w 767196"/>
                  <a:gd name="connsiteY90" fmla="*/ 14730 h 654373"/>
                  <a:gd name="connsiteX91" fmla="*/ 581039 w 767196"/>
                  <a:gd name="connsiteY91" fmla="*/ 7960 h 654373"/>
                  <a:gd name="connsiteX92" fmla="*/ 588711 w 767196"/>
                  <a:gd name="connsiteY92" fmla="*/ 63 h 654373"/>
                  <a:gd name="connsiteX93" fmla="*/ 598188 w 767196"/>
                  <a:gd name="connsiteY93" fmla="*/ 4801 h 654373"/>
                  <a:gd name="connsiteX94" fmla="*/ 604732 w 767196"/>
                  <a:gd name="connsiteY94" fmla="*/ 9765 h 654373"/>
                  <a:gd name="connsiteX95" fmla="*/ 616240 w 767196"/>
                  <a:gd name="connsiteY95" fmla="*/ 13376 h 654373"/>
                  <a:gd name="connsiteX96" fmla="*/ 623912 w 767196"/>
                  <a:gd name="connsiteY96" fmla="*/ 15181 h 654373"/>
                  <a:gd name="connsiteX97" fmla="*/ 627748 w 767196"/>
                  <a:gd name="connsiteY97" fmla="*/ 19468 h 654373"/>
                  <a:gd name="connsiteX98" fmla="*/ 634743 w 767196"/>
                  <a:gd name="connsiteY98" fmla="*/ 23079 h 654373"/>
                  <a:gd name="connsiteX99" fmla="*/ 639932 w 767196"/>
                  <a:gd name="connsiteY99" fmla="*/ 23981 h 654373"/>
                  <a:gd name="connsiteX100" fmla="*/ 661369 w 767196"/>
                  <a:gd name="connsiteY100" fmla="*/ 31879 h 654373"/>
                  <a:gd name="connsiteX101" fmla="*/ 662046 w 767196"/>
                  <a:gd name="connsiteY101" fmla="*/ 32330 h 654373"/>
                  <a:gd name="connsiteX102" fmla="*/ 676487 w 767196"/>
                  <a:gd name="connsiteY102" fmla="*/ 39551 h 654373"/>
                  <a:gd name="connsiteX103" fmla="*/ 677841 w 767196"/>
                  <a:gd name="connsiteY103" fmla="*/ 39325 h 654373"/>
                  <a:gd name="connsiteX104" fmla="*/ 678518 w 767196"/>
                  <a:gd name="connsiteY104" fmla="*/ 40453 h 654373"/>
                  <a:gd name="connsiteX105" fmla="*/ 682128 w 767196"/>
                  <a:gd name="connsiteY105" fmla="*/ 47448 h 654373"/>
                  <a:gd name="connsiteX106" fmla="*/ 688672 w 767196"/>
                  <a:gd name="connsiteY106" fmla="*/ 48351 h 654373"/>
                  <a:gd name="connsiteX107" fmla="*/ 705596 w 767196"/>
                  <a:gd name="connsiteY107" fmla="*/ 55797 h 654373"/>
                  <a:gd name="connsiteX108" fmla="*/ 706949 w 767196"/>
                  <a:gd name="connsiteY108" fmla="*/ 59182 h 654373"/>
                  <a:gd name="connsiteX109" fmla="*/ 716652 w 767196"/>
                  <a:gd name="connsiteY109" fmla="*/ 79264 h 654373"/>
                  <a:gd name="connsiteX110" fmla="*/ 717329 w 767196"/>
                  <a:gd name="connsiteY110" fmla="*/ 79264 h 654373"/>
                  <a:gd name="connsiteX111" fmla="*/ 720488 w 767196"/>
                  <a:gd name="connsiteY111" fmla="*/ 77685 h 654373"/>
                  <a:gd name="connsiteX112" fmla="*/ 740571 w 767196"/>
                  <a:gd name="connsiteY112" fmla="*/ 75428 h 654373"/>
                  <a:gd name="connsiteX113" fmla="*/ 749822 w 767196"/>
                  <a:gd name="connsiteY113" fmla="*/ 86711 h 654373"/>
                  <a:gd name="connsiteX114" fmla="*/ 753207 w 767196"/>
                  <a:gd name="connsiteY114" fmla="*/ 91224 h 654373"/>
                  <a:gd name="connsiteX115" fmla="*/ 755238 w 767196"/>
                  <a:gd name="connsiteY115" fmla="*/ 91449 h 654373"/>
                  <a:gd name="connsiteX116" fmla="*/ 770582 w 767196"/>
                  <a:gd name="connsiteY116" fmla="*/ 99573 h 654373"/>
                  <a:gd name="connsiteX117" fmla="*/ 771259 w 767196"/>
                  <a:gd name="connsiteY117" fmla="*/ 105665 h 654373"/>
                  <a:gd name="connsiteX118" fmla="*/ 772387 w 767196"/>
                  <a:gd name="connsiteY118" fmla="*/ 118527 h 654373"/>
                  <a:gd name="connsiteX119" fmla="*/ 772387 w 767196"/>
                  <a:gd name="connsiteY119" fmla="*/ 119429 h 654373"/>
                  <a:gd name="connsiteX120" fmla="*/ 771710 w 767196"/>
                  <a:gd name="connsiteY120" fmla="*/ 120106 h 654373"/>
                  <a:gd name="connsiteX121" fmla="*/ 757720 w 767196"/>
                  <a:gd name="connsiteY121" fmla="*/ 128681 h 654373"/>
                  <a:gd name="connsiteX122" fmla="*/ 743278 w 767196"/>
                  <a:gd name="connsiteY122" fmla="*/ 130035 h 654373"/>
                  <a:gd name="connsiteX123" fmla="*/ 736058 w 767196"/>
                  <a:gd name="connsiteY123" fmla="*/ 130035 h 654373"/>
                  <a:gd name="connsiteX124" fmla="*/ 698826 w 767196"/>
                  <a:gd name="connsiteY124" fmla="*/ 167041 h 654373"/>
                  <a:gd name="connsiteX125" fmla="*/ 704242 w 767196"/>
                  <a:gd name="connsiteY125" fmla="*/ 203821 h 654373"/>
                  <a:gd name="connsiteX126" fmla="*/ 704919 w 767196"/>
                  <a:gd name="connsiteY126" fmla="*/ 204949 h 654373"/>
                  <a:gd name="connsiteX127" fmla="*/ 713944 w 767196"/>
                  <a:gd name="connsiteY127" fmla="*/ 217134 h 654373"/>
                  <a:gd name="connsiteX128" fmla="*/ 717555 w 767196"/>
                  <a:gd name="connsiteY128" fmla="*/ 224355 h 654373"/>
                  <a:gd name="connsiteX129" fmla="*/ 711914 w 767196"/>
                  <a:gd name="connsiteY129" fmla="*/ 232930 h 654373"/>
                  <a:gd name="connsiteX130" fmla="*/ 709432 w 767196"/>
                  <a:gd name="connsiteY130" fmla="*/ 234058 h 654373"/>
                  <a:gd name="connsiteX131" fmla="*/ 711011 w 767196"/>
                  <a:gd name="connsiteY131" fmla="*/ 233832 h 654373"/>
                  <a:gd name="connsiteX132" fmla="*/ 718006 w 767196"/>
                  <a:gd name="connsiteY132" fmla="*/ 235186 h 654373"/>
                  <a:gd name="connsiteX133" fmla="*/ 719360 w 767196"/>
                  <a:gd name="connsiteY133" fmla="*/ 247822 h 654373"/>
                  <a:gd name="connsiteX134" fmla="*/ 711688 w 767196"/>
                  <a:gd name="connsiteY134" fmla="*/ 254140 h 654373"/>
                  <a:gd name="connsiteX135" fmla="*/ 702211 w 767196"/>
                  <a:gd name="connsiteY135" fmla="*/ 261135 h 654373"/>
                  <a:gd name="connsiteX136" fmla="*/ 691154 w 767196"/>
                  <a:gd name="connsiteY136" fmla="*/ 274223 h 654373"/>
                  <a:gd name="connsiteX137" fmla="*/ 690929 w 767196"/>
                  <a:gd name="connsiteY137" fmla="*/ 274674 h 654373"/>
                  <a:gd name="connsiteX138" fmla="*/ 691154 w 767196"/>
                  <a:gd name="connsiteY138" fmla="*/ 283700 h 654373"/>
                  <a:gd name="connsiteX139" fmla="*/ 691831 w 767196"/>
                  <a:gd name="connsiteY139" fmla="*/ 299269 h 654373"/>
                  <a:gd name="connsiteX140" fmla="*/ 673103 w 767196"/>
                  <a:gd name="connsiteY140" fmla="*/ 311906 h 654373"/>
                  <a:gd name="connsiteX141" fmla="*/ 664754 w 767196"/>
                  <a:gd name="connsiteY141" fmla="*/ 317095 h 654373"/>
                  <a:gd name="connsiteX142" fmla="*/ 653246 w 767196"/>
                  <a:gd name="connsiteY142" fmla="*/ 333568 h 654373"/>
                  <a:gd name="connsiteX143" fmla="*/ 650312 w 767196"/>
                  <a:gd name="connsiteY143" fmla="*/ 338983 h 654373"/>
                  <a:gd name="connsiteX144" fmla="*/ 648281 w 767196"/>
                  <a:gd name="connsiteY144" fmla="*/ 342142 h 654373"/>
                  <a:gd name="connsiteX145" fmla="*/ 639932 w 767196"/>
                  <a:gd name="connsiteY145" fmla="*/ 352071 h 654373"/>
                  <a:gd name="connsiteX146" fmla="*/ 631584 w 767196"/>
                  <a:gd name="connsiteY146" fmla="*/ 355455 h 654373"/>
                  <a:gd name="connsiteX147" fmla="*/ 592096 w 767196"/>
                  <a:gd name="connsiteY147" fmla="*/ 371025 h 654373"/>
                  <a:gd name="connsiteX148" fmla="*/ 571787 w 767196"/>
                  <a:gd name="connsiteY148" fmla="*/ 377569 h 654373"/>
                  <a:gd name="connsiteX149" fmla="*/ 544484 w 767196"/>
                  <a:gd name="connsiteY149" fmla="*/ 389528 h 654373"/>
                  <a:gd name="connsiteX150" fmla="*/ 521017 w 767196"/>
                  <a:gd name="connsiteY150" fmla="*/ 401036 h 654373"/>
                  <a:gd name="connsiteX151" fmla="*/ 497098 w 767196"/>
                  <a:gd name="connsiteY151" fmla="*/ 415026 h 654373"/>
                  <a:gd name="connsiteX152" fmla="*/ 486268 w 767196"/>
                  <a:gd name="connsiteY152" fmla="*/ 426083 h 654373"/>
                  <a:gd name="connsiteX153" fmla="*/ 477693 w 767196"/>
                  <a:gd name="connsiteY153" fmla="*/ 433529 h 654373"/>
                  <a:gd name="connsiteX154" fmla="*/ 459641 w 767196"/>
                  <a:gd name="connsiteY154" fmla="*/ 453386 h 654373"/>
                  <a:gd name="connsiteX155" fmla="*/ 451518 w 767196"/>
                  <a:gd name="connsiteY155" fmla="*/ 461058 h 654373"/>
                  <a:gd name="connsiteX156" fmla="*/ 445200 w 767196"/>
                  <a:gd name="connsiteY156" fmla="*/ 466924 h 654373"/>
                  <a:gd name="connsiteX157" fmla="*/ 441138 w 767196"/>
                  <a:gd name="connsiteY157" fmla="*/ 471212 h 654373"/>
                  <a:gd name="connsiteX158" fmla="*/ 440687 w 767196"/>
                  <a:gd name="connsiteY158" fmla="*/ 472340 h 654373"/>
                  <a:gd name="connsiteX159" fmla="*/ 439559 w 767196"/>
                  <a:gd name="connsiteY159" fmla="*/ 472340 h 654373"/>
                  <a:gd name="connsiteX160" fmla="*/ 395106 w 767196"/>
                  <a:gd name="connsiteY160" fmla="*/ 506412 h 654373"/>
                  <a:gd name="connsiteX161" fmla="*/ 390594 w 767196"/>
                  <a:gd name="connsiteY161" fmla="*/ 514310 h 654373"/>
                  <a:gd name="connsiteX162" fmla="*/ 387886 w 767196"/>
                  <a:gd name="connsiteY162" fmla="*/ 521305 h 654373"/>
                  <a:gd name="connsiteX163" fmla="*/ 389014 w 767196"/>
                  <a:gd name="connsiteY163" fmla="*/ 521756 h 654373"/>
                  <a:gd name="connsiteX164" fmla="*/ 390594 w 767196"/>
                  <a:gd name="connsiteY164" fmla="*/ 521982 h 654373"/>
                  <a:gd name="connsiteX165" fmla="*/ 391045 w 767196"/>
                  <a:gd name="connsiteY165" fmla="*/ 525141 h 654373"/>
                  <a:gd name="connsiteX166" fmla="*/ 389014 w 767196"/>
                  <a:gd name="connsiteY166" fmla="*/ 525592 h 654373"/>
                  <a:gd name="connsiteX167" fmla="*/ 386306 w 767196"/>
                  <a:gd name="connsiteY167" fmla="*/ 526269 h 654373"/>
                  <a:gd name="connsiteX168" fmla="*/ 374573 w 767196"/>
                  <a:gd name="connsiteY168" fmla="*/ 526946 h 654373"/>
                  <a:gd name="connsiteX169" fmla="*/ 350428 w 767196"/>
                  <a:gd name="connsiteY169" fmla="*/ 528526 h 654373"/>
                  <a:gd name="connsiteX170" fmla="*/ 325382 w 767196"/>
                  <a:gd name="connsiteY170" fmla="*/ 517469 h 654373"/>
                  <a:gd name="connsiteX171" fmla="*/ 324254 w 767196"/>
                  <a:gd name="connsiteY171" fmla="*/ 514085 h 654373"/>
                  <a:gd name="connsiteX172" fmla="*/ 316582 w 767196"/>
                  <a:gd name="connsiteY172" fmla="*/ 508218 h 654373"/>
                  <a:gd name="connsiteX173" fmla="*/ 304622 w 767196"/>
                  <a:gd name="connsiteY173" fmla="*/ 499418 h 654373"/>
                  <a:gd name="connsiteX174" fmla="*/ 301463 w 767196"/>
                  <a:gd name="connsiteY174" fmla="*/ 495130 h 654373"/>
                  <a:gd name="connsiteX175" fmla="*/ 290858 w 767196"/>
                  <a:gd name="connsiteY175" fmla="*/ 484525 h 654373"/>
                  <a:gd name="connsiteX176" fmla="*/ 289053 w 767196"/>
                  <a:gd name="connsiteY176" fmla="*/ 485427 h 654373"/>
                  <a:gd name="connsiteX177" fmla="*/ 263780 w 767196"/>
                  <a:gd name="connsiteY177" fmla="*/ 495356 h 654373"/>
                  <a:gd name="connsiteX178" fmla="*/ 261749 w 767196"/>
                  <a:gd name="connsiteY178" fmla="*/ 495582 h 654373"/>
                  <a:gd name="connsiteX179" fmla="*/ 263780 w 767196"/>
                  <a:gd name="connsiteY179" fmla="*/ 498515 h 654373"/>
                  <a:gd name="connsiteX180" fmla="*/ 267391 w 767196"/>
                  <a:gd name="connsiteY180" fmla="*/ 512279 h 654373"/>
                  <a:gd name="connsiteX181" fmla="*/ 264683 w 767196"/>
                  <a:gd name="connsiteY181" fmla="*/ 517469 h 654373"/>
                  <a:gd name="connsiteX182" fmla="*/ 255883 w 767196"/>
                  <a:gd name="connsiteY182" fmla="*/ 530105 h 654373"/>
                  <a:gd name="connsiteX183" fmla="*/ 246180 w 767196"/>
                  <a:gd name="connsiteY183" fmla="*/ 528075 h 654373"/>
                  <a:gd name="connsiteX184" fmla="*/ 240764 w 767196"/>
                  <a:gd name="connsiteY184" fmla="*/ 525367 h 654373"/>
                  <a:gd name="connsiteX185" fmla="*/ 224518 w 767196"/>
                  <a:gd name="connsiteY185" fmla="*/ 544095 h 654373"/>
                  <a:gd name="connsiteX186" fmla="*/ 219779 w 767196"/>
                  <a:gd name="connsiteY186" fmla="*/ 563501 h 654373"/>
                  <a:gd name="connsiteX187" fmla="*/ 217974 w 767196"/>
                  <a:gd name="connsiteY187" fmla="*/ 571399 h 654373"/>
                  <a:gd name="connsiteX188" fmla="*/ 211205 w 767196"/>
                  <a:gd name="connsiteY188" fmla="*/ 580876 h 654373"/>
                  <a:gd name="connsiteX189" fmla="*/ 196763 w 767196"/>
                  <a:gd name="connsiteY189" fmla="*/ 576814 h 654373"/>
                  <a:gd name="connsiteX190" fmla="*/ 191574 w 767196"/>
                  <a:gd name="connsiteY190" fmla="*/ 574783 h 654373"/>
                  <a:gd name="connsiteX191" fmla="*/ 188640 w 767196"/>
                  <a:gd name="connsiteY191" fmla="*/ 579522 h 654373"/>
                  <a:gd name="connsiteX192" fmla="*/ 180517 w 767196"/>
                  <a:gd name="connsiteY192" fmla="*/ 587645 h 654373"/>
                  <a:gd name="connsiteX193" fmla="*/ 170363 w 767196"/>
                  <a:gd name="connsiteY193" fmla="*/ 590127 h 654373"/>
                  <a:gd name="connsiteX194" fmla="*/ 154342 w 767196"/>
                  <a:gd name="connsiteY194" fmla="*/ 590353 h 654373"/>
                  <a:gd name="connsiteX195" fmla="*/ 151409 w 767196"/>
                  <a:gd name="connsiteY195" fmla="*/ 579296 h 654373"/>
                  <a:gd name="connsiteX196" fmla="*/ 147347 w 767196"/>
                  <a:gd name="connsiteY196" fmla="*/ 566434 h 654373"/>
                  <a:gd name="connsiteX197" fmla="*/ 139449 w 767196"/>
                  <a:gd name="connsiteY197" fmla="*/ 564404 h 654373"/>
                  <a:gd name="connsiteX198" fmla="*/ 124557 w 767196"/>
                  <a:gd name="connsiteY198" fmla="*/ 574558 h 654373"/>
                  <a:gd name="connsiteX199" fmla="*/ 126362 w 767196"/>
                  <a:gd name="connsiteY199" fmla="*/ 597574 h 654373"/>
                  <a:gd name="connsiteX200" fmla="*/ 128618 w 767196"/>
                  <a:gd name="connsiteY200" fmla="*/ 613369 h 654373"/>
                  <a:gd name="connsiteX201" fmla="*/ 122300 w 767196"/>
                  <a:gd name="connsiteY201" fmla="*/ 623974 h 654373"/>
                  <a:gd name="connsiteX202" fmla="*/ 102443 w 767196"/>
                  <a:gd name="connsiteY202" fmla="*/ 624426 h 654373"/>
                  <a:gd name="connsiteX203" fmla="*/ 94094 w 767196"/>
                  <a:gd name="connsiteY203" fmla="*/ 628261 h 654373"/>
                  <a:gd name="connsiteX204" fmla="*/ 78525 w 767196"/>
                  <a:gd name="connsiteY204" fmla="*/ 637739 h 654373"/>
                  <a:gd name="connsiteX205" fmla="*/ 75366 w 767196"/>
                  <a:gd name="connsiteY205" fmla="*/ 637739 h 654373"/>
                  <a:gd name="connsiteX206" fmla="*/ 56186 w 767196"/>
                  <a:gd name="connsiteY206" fmla="*/ 643380 h 654373"/>
                  <a:gd name="connsiteX207" fmla="*/ 15795 w 767196"/>
                  <a:gd name="connsiteY207" fmla="*/ 657821 h 654373"/>
                  <a:gd name="connsiteX208" fmla="*/ 4964 w 767196"/>
                  <a:gd name="connsiteY208" fmla="*/ 659175 h 654373"/>
                  <a:gd name="connsiteX209" fmla="*/ 0 w 767196"/>
                  <a:gd name="connsiteY209" fmla="*/ 660303 h 654373"/>
                  <a:gd name="connsiteX210" fmla="*/ 79653 w 767196"/>
                  <a:gd name="connsiteY210" fmla="*/ 342368 h 654373"/>
                  <a:gd name="connsiteX211" fmla="*/ 78751 w 767196"/>
                  <a:gd name="connsiteY211" fmla="*/ 342368 h 654373"/>
                  <a:gd name="connsiteX212" fmla="*/ 73109 w 767196"/>
                  <a:gd name="connsiteY212" fmla="*/ 348235 h 654373"/>
                  <a:gd name="connsiteX213" fmla="*/ 77397 w 767196"/>
                  <a:gd name="connsiteY213" fmla="*/ 381630 h 654373"/>
                  <a:gd name="connsiteX214" fmla="*/ 77622 w 767196"/>
                  <a:gd name="connsiteY214" fmla="*/ 381856 h 654373"/>
                  <a:gd name="connsiteX215" fmla="*/ 83038 w 767196"/>
                  <a:gd name="connsiteY215" fmla="*/ 395620 h 654373"/>
                  <a:gd name="connsiteX216" fmla="*/ 87099 w 767196"/>
                  <a:gd name="connsiteY216" fmla="*/ 407580 h 654373"/>
                  <a:gd name="connsiteX217" fmla="*/ 91838 w 767196"/>
                  <a:gd name="connsiteY217" fmla="*/ 415251 h 654373"/>
                  <a:gd name="connsiteX218" fmla="*/ 98607 w 767196"/>
                  <a:gd name="connsiteY218" fmla="*/ 429918 h 654373"/>
                  <a:gd name="connsiteX219" fmla="*/ 104474 w 767196"/>
                  <a:gd name="connsiteY219" fmla="*/ 448196 h 654373"/>
                  <a:gd name="connsiteX220" fmla="*/ 110792 w 767196"/>
                  <a:gd name="connsiteY220" fmla="*/ 466022 h 654373"/>
                  <a:gd name="connsiteX221" fmla="*/ 110341 w 767196"/>
                  <a:gd name="connsiteY221" fmla="*/ 489715 h 654373"/>
                  <a:gd name="connsiteX222" fmla="*/ 107182 w 767196"/>
                  <a:gd name="connsiteY222" fmla="*/ 507315 h 654373"/>
                  <a:gd name="connsiteX223" fmla="*/ 95448 w 767196"/>
                  <a:gd name="connsiteY223" fmla="*/ 532136 h 654373"/>
                  <a:gd name="connsiteX224" fmla="*/ 91387 w 767196"/>
                  <a:gd name="connsiteY224" fmla="*/ 535070 h 654373"/>
                  <a:gd name="connsiteX225" fmla="*/ 80556 w 767196"/>
                  <a:gd name="connsiteY225" fmla="*/ 549060 h 654373"/>
                  <a:gd name="connsiteX226" fmla="*/ 71981 w 767196"/>
                  <a:gd name="connsiteY226" fmla="*/ 561921 h 654373"/>
                  <a:gd name="connsiteX227" fmla="*/ 67017 w 767196"/>
                  <a:gd name="connsiteY227" fmla="*/ 568239 h 654373"/>
                  <a:gd name="connsiteX228" fmla="*/ 45129 w 767196"/>
                  <a:gd name="connsiteY228" fmla="*/ 589676 h 654373"/>
                  <a:gd name="connsiteX229" fmla="*/ 32042 w 767196"/>
                  <a:gd name="connsiteY229" fmla="*/ 608630 h 654373"/>
                  <a:gd name="connsiteX230" fmla="*/ 26401 w 767196"/>
                  <a:gd name="connsiteY230" fmla="*/ 617882 h 654373"/>
                  <a:gd name="connsiteX231" fmla="*/ 16247 w 767196"/>
                  <a:gd name="connsiteY231" fmla="*/ 636159 h 654373"/>
                  <a:gd name="connsiteX232" fmla="*/ 11282 w 767196"/>
                  <a:gd name="connsiteY232" fmla="*/ 647216 h 654373"/>
                  <a:gd name="connsiteX233" fmla="*/ 6769 w 767196"/>
                  <a:gd name="connsiteY233" fmla="*/ 655790 h 654373"/>
                  <a:gd name="connsiteX234" fmla="*/ 14893 w 767196"/>
                  <a:gd name="connsiteY234" fmla="*/ 654888 h 654373"/>
                  <a:gd name="connsiteX235" fmla="*/ 53478 w 767196"/>
                  <a:gd name="connsiteY235" fmla="*/ 641123 h 654373"/>
                  <a:gd name="connsiteX236" fmla="*/ 74915 w 767196"/>
                  <a:gd name="connsiteY236" fmla="*/ 634805 h 654373"/>
                  <a:gd name="connsiteX237" fmla="*/ 78074 w 767196"/>
                  <a:gd name="connsiteY237" fmla="*/ 634805 h 654373"/>
                  <a:gd name="connsiteX238" fmla="*/ 90935 w 767196"/>
                  <a:gd name="connsiteY238" fmla="*/ 626682 h 654373"/>
                  <a:gd name="connsiteX239" fmla="*/ 103797 w 767196"/>
                  <a:gd name="connsiteY239" fmla="*/ 621718 h 654373"/>
                  <a:gd name="connsiteX240" fmla="*/ 120044 w 767196"/>
                  <a:gd name="connsiteY240" fmla="*/ 621266 h 654373"/>
                  <a:gd name="connsiteX241" fmla="*/ 124557 w 767196"/>
                  <a:gd name="connsiteY241" fmla="*/ 613820 h 654373"/>
                  <a:gd name="connsiteX242" fmla="*/ 122300 w 767196"/>
                  <a:gd name="connsiteY242" fmla="*/ 598702 h 654373"/>
                  <a:gd name="connsiteX243" fmla="*/ 121172 w 767196"/>
                  <a:gd name="connsiteY243" fmla="*/ 572753 h 654373"/>
                  <a:gd name="connsiteX244" fmla="*/ 138547 w 767196"/>
                  <a:gd name="connsiteY244" fmla="*/ 561019 h 654373"/>
                  <a:gd name="connsiteX245" fmla="*/ 149378 w 767196"/>
                  <a:gd name="connsiteY245" fmla="*/ 563727 h 654373"/>
                  <a:gd name="connsiteX246" fmla="*/ 155019 w 767196"/>
                  <a:gd name="connsiteY246" fmla="*/ 579747 h 654373"/>
                  <a:gd name="connsiteX247" fmla="*/ 156598 w 767196"/>
                  <a:gd name="connsiteY247" fmla="*/ 587645 h 654373"/>
                  <a:gd name="connsiteX248" fmla="*/ 168783 w 767196"/>
                  <a:gd name="connsiteY248" fmla="*/ 586742 h 654373"/>
                  <a:gd name="connsiteX249" fmla="*/ 180291 w 767196"/>
                  <a:gd name="connsiteY249" fmla="*/ 584035 h 654373"/>
                  <a:gd name="connsiteX250" fmla="*/ 185030 w 767196"/>
                  <a:gd name="connsiteY250" fmla="*/ 578394 h 654373"/>
                  <a:gd name="connsiteX251" fmla="*/ 190445 w 767196"/>
                  <a:gd name="connsiteY251" fmla="*/ 571399 h 654373"/>
                  <a:gd name="connsiteX252" fmla="*/ 199020 w 767196"/>
                  <a:gd name="connsiteY252" fmla="*/ 574106 h 654373"/>
                  <a:gd name="connsiteX253" fmla="*/ 210077 w 767196"/>
                  <a:gd name="connsiteY253" fmla="*/ 577717 h 654373"/>
                  <a:gd name="connsiteX254" fmla="*/ 214590 w 767196"/>
                  <a:gd name="connsiteY254" fmla="*/ 570947 h 654373"/>
                  <a:gd name="connsiteX255" fmla="*/ 216169 w 767196"/>
                  <a:gd name="connsiteY255" fmla="*/ 563050 h 654373"/>
                  <a:gd name="connsiteX256" fmla="*/ 221133 w 767196"/>
                  <a:gd name="connsiteY256" fmla="*/ 542967 h 654373"/>
                  <a:gd name="connsiteX257" fmla="*/ 239636 w 767196"/>
                  <a:gd name="connsiteY257" fmla="*/ 522208 h 654373"/>
                  <a:gd name="connsiteX258" fmla="*/ 248888 w 767196"/>
                  <a:gd name="connsiteY258" fmla="*/ 525818 h 654373"/>
                  <a:gd name="connsiteX259" fmla="*/ 253401 w 767196"/>
                  <a:gd name="connsiteY259" fmla="*/ 527623 h 654373"/>
                  <a:gd name="connsiteX260" fmla="*/ 261524 w 767196"/>
                  <a:gd name="connsiteY260" fmla="*/ 516115 h 654373"/>
                  <a:gd name="connsiteX261" fmla="*/ 264457 w 767196"/>
                  <a:gd name="connsiteY261" fmla="*/ 510700 h 654373"/>
                  <a:gd name="connsiteX262" fmla="*/ 261073 w 767196"/>
                  <a:gd name="connsiteY262" fmla="*/ 500997 h 654373"/>
                  <a:gd name="connsiteX263" fmla="*/ 258590 w 767196"/>
                  <a:gd name="connsiteY263" fmla="*/ 494228 h 654373"/>
                  <a:gd name="connsiteX264" fmla="*/ 264006 w 767196"/>
                  <a:gd name="connsiteY264" fmla="*/ 491971 h 654373"/>
                  <a:gd name="connsiteX265" fmla="*/ 286571 w 767196"/>
                  <a:gd name="connsiteY265" fmla="*/ 483171 h 654373"/>
                  <a:gd name="connsiteX266" fmla="*/ 291309 w 767196"/>
                  <a:gd name="connsiteY266" fmla="*/ 481140 h 654373"/>
                  <a:gd name="connsiteX267" fmla="*/ 304622 w 767196"/>
                  <a:gd name="connsiteY267" fmla="*/ 493325 h 654373"/>
                  <a:gd name="connsiteX268" fmla="*/ 307781 w 767196"/>
                  <a:gd name="connsiteY268" fmla="*/ 497387 h 654373"/>
                  <a:gd name="connsiteX269" fmla="*/ 318387 w 767196"/>
                  <a:gd name="connsiteY269" fmla="*/ 505059 h 654373"/>
                  <a:gd name="connsiteX270" fmla="*/ 327638 w 767196"/>
                  <a:gd name="connsiteY270" fmla="*/ 512731 h 654373"/>
                  <a:gd name="connsiteX271" fmla="*/ 328992 w 767196"/>
                  <a:gd name="connsiteY271" fmla="*/ 516567 h 654373"/>
                  <a:gd name="connsiteX272" fmla="*/ 349526 w 767196"/>
                  <a:gd name="connsiteY272" fmla="*/ 524915 h 654373"/>
                  <a:gd name="connsiteX273" fmla="*/ 374798 w 767196"/>
                  <a:gd name="connsiteY273" fmla="*/ 523110 h 654373"/>
                  <a:gd name="connsiteX274" fmla="*/ 384501 w 767196"/>
                  <a:gd name="connsiteY274" fmla="*/ 522659 h 654373"/>
                  <a:gd name="connsiteX275" fmla="*/ 387434 w 767196"/>
                  <a:gd name="connsiteY275" fmla="*/ 512054 h 654373"/>
                  <a:gd name="connsiteX276" fmla="*/ 391722 w 767196"/>
                  <a:gd name="connsiteY276" fmla="*/ 504382 h 654373"/>
                  <a:gd name="connsiteX277" fmla="*/ 438205 w 767196"/>
                  <a:gd name="connsiteY277" fmla="*/ 468278 h 654373"/>
                  <a:gd name="connsiteX278" fmla="*/ 442718 w 767196"/>
                  <a:gd name="connsiteY278" fmla="*/ 463765 h 654373"/>
                  <a:gd name="connsiteX279" fmla="*/ 448810 w 767196"/>
                  <a:gd name="connsiteY279" fmla="*/ 458124 h 654373"/>
                  <a:gd name="connsiteX280" fmla="*/ 456933 w 767196"/>
                  <a:gd name="connsiteY280" fmla="*/ 450227 h 654373"/>
                  <a:gd name="connsiteX281" fmla="*/ 474308 w 767196"/>
                  <a:gd name="connsiteY281" fmla="*/ 431047 h 654373"/>
                  <a:gd name="connsiteX282" fmla="*/ 484237 w 767196"/>
                  <a:gd name="connsiteY282" fmla="*/ 422247 h 654373"/>
                  <a:gd name="connsiteX283" fmla="*/ 493488 w 767196"/>
                  <a:gd name="connsiteY283" fmla="*/ 412995 h 654373"/>
                  <a:gd name="connsiteX284" fmla="*/ 519438 w 767196"/>
                  <a:gd name="connsiteY284" fmla="*/ 396974 h 654373"/>
                  <a:gd name="connsiteX285" fmla="*/ 542002 w 767196"/>
                  <a:gd name="connsiteY285" fmla="*/ 385918 h 654373"/>
                  <a:gd name="connsiteX286" fmla="*/ 570659 w 767196"/>
                  <a:gd name="connsiteY286" fmla="*/ 373281 h 654373"/>
                  <a:gd name="connsiteX287" fmla="*/ 590742 w 767196"/>
                  <a:gd name="connsiteY287" fmla="*/ 366738 h 654373"/>
                  <a:gd name="connsiteX288" fmla="*/ 630230 w 767196"/>
                  <a:gd name="connsiteY288" fmla="*/ 351168 h 654373"/>
                  <a:gd name="connsiteX289" fmla="*/ 638804 w 767196"/>
                  <a:gd name="connsiteY289" fmla="*/ 347783 h 654373"/>
                  <a:gd name="connsiteX290" fmla="*/ 645122 w 767196"/>
                  <a:gd name="connsiteY290" fmla="*/ 339209 h 654373"/>
                  <a:gd name="connsiteX291" fmla="*/ 647153 w 767196"/>
                  <a:gd name="connsiteY291" fmla="*/ 336050 h 654373"/>
                  <a:gd name="connsiteX292" fmla="*/ 649861 w 767196"/>
                  <a:gd name="connsiteY292" fmla="*/ 331086 h 654373"/>
                  <a:gd name="connsiteX293" fmla="*/ 662497 w 767196"/>
                  <a:gd name="connsiteY293" fmla="*/ 313259 h 654373"/>
                  <a:gd name="connsiteX294" fmla="*/ 671072 w 767196"/>
                  <a:gd name="connsiteY294" fmla="*/ 307844 h 654373"/>
                  <a:gd name="connsiteX295" fmla="*/ 689123 w 767196"/>
                  <a:gd name="connsiteY295" fmla="*/ 295885 h 654373"/>
                  <a:gd name="connsiteX296" fmla="*/ 687770 w 767196"/>
                  <a:gd name="connsiteY296" fmla="*/ 284602 h 654373"/>
                  <a:gd name="connsiteX297" fmla="*/ 687318 w 767196"/>
                  <a:gd name="connsiteY297" fmla="*/ 272643 h 654373"/>
                  <a:gd name="connsiteX298" fmla="*/ 687544 w 767196"/>
                  <a:gd name="connsiteY298" fmla="*/ 272192 h 654373"/>
                  <a:gd name="connsiteX299" fmla="*/ 699503 w 767196"/>
                  <a:gd name="connsiteY299" fmla="*/ 257525 h 654373"/>
                  <a:gd name="connsiteX300" fmla="*/ 709432 w 767196"/>
                  <a:gd name="connsiteY300" fmla="*/ 249853 h 654373"/>
                  <a:gd name="connsiteX301" fmla="*/ 716201 w 767196"/>
                  <a:gd name="connsiteY301" fmla="*/ 244437 h 654373"/>
                  <a:gd name="connsiteX302" fmla="*/ 715298 w 767196"/>
                  <a:gd name="connsiteY302" fmla="*/ 236765 h 654373"/>
                  <a:gd name="connsiteX303" fmla="*/ 711462 w 767196"/>
                  <a:gd name="connsiteY303" fmla="*/ 236540 h 654373"/>
                  <a:gd name="connsiteX304" fmla="*/ 704693 w 767196"/>
                  <a:gd name="connsiteY304" fmla="*/ 236765 h 654373"/>
                  <a:gd name="connsiteX305" fmla="*/ 700857 w 767196"/>
                  <a:gd name="connsiteY305" fmla="*/ 234509 h 654373"/>
                  <a:gd name="connsiteX306" fmla="*/ 705370 w 767196"/>
                  <a:gd name="connsiteY306" fmla="*/ 230673 h 654373"/>
                  <a:gd name="connsiteX307" fmla="*/ 709883 w 767196"/>
                  <a:gd name="connsiteY307" fmla="*/ 228642 h 654373"/>
                  <a:gd name="connsiteX308" fmla="*/ 713719 w 767196"/>
                  <a:gd name="connsiteY308" fmla="*/ 223227 h 654373"/>
                  <a:gd name="connsiteX309" fmla="*/ 711011 w 767196"/>
                  <a:gd name="connsiteY309" fmla="*/ 218488 h 654373"/>
                  <a:gd name="connsiteX310" fmla="*/ 701759 w 767196"/>
                  <a:gd name="connsiteY310" fmla="*/ 206078 h 654373"/>
                  <a:gd name="connsiteX311" fmla="*/ 701083 w 767196"/>
                  <a:gd name="connsiteY311" fmla="*/ 204949 h 654373"/>
                  <a:gd name="connsiteX312" fmla="*/ 695441 w 767196"/>
                  <a:gd name="connsiteY312" fmla="*/ 164333 h 654373"/>
                  <a:gd name="connsiteX313" fmla="*/ 735155 w 767196"/>
                  <a:gd name="connsiteY313" fmla="*/ 125522 h 654373"/>
                  <a:gd name="connsiteX314" fmla="*/ 743730 w 767196"/>
                  <a:gd name="connsiteY314" fmla="*/ 125522 h 654373"/>
                  <a:gd name="connsiteX315" fmla="*/ 756140 w 767196"/>
                  <a:gd name="connsiteY315" fmla="*/ 124394 h 654373"/>
                  <a:gd name="connsiteX316" fmla="*/ 768325 w 767196"/>
                  <a:gd name="connsiteY316" fmla="*/ 117173 h 654373"/>
                  <a:gd name="connsiteX317" fmla="*/ 767197 w 767196"/>
                  <a:gd name="connsiteY317" fmla="*/ 105439 h 654373"/>
                  <a:gd name="connsiteX318" fmla="*/ 766520 w 767196"/>
                  <a:gd name="connsiteY318" fmla="*/ 98896 h 654373"/>
                  <a:gd name="connsiteX319" fmla="*/ 754335 w 767196"/>
                  <a:gd name="connsiteY319" fmla="*/ 94608 h 654373"/>
                  <a:gd name="connsiteX320" fmla="*/ 752079 w 767196"/>
                  <a:gd name="connsiteY320" fmla="*/ 94157 h 654373"/>
                  <a:gd name="connsiteX321" fmla="*/ 745761 w 767196"/>
                  <a:gd name="connsiteY321" fmla="*/ 87388 h 654373"/>
                  <a:gd name="connsiteX322" fmla="*/ 738314 w 767196"/>
                  <a:gd name="connsiteY322" fmla="*/ 78136 h 654373"/>
                  <a:gd name="connsiteX323" fmla="*/ 721616 w 767196"/>
                  <a:gd name="connsiteY323" fmla="*/ 80167 h 654373"/>
                  <a:gd name="connsiteX324" fmla="*/ 718232 w 767196"/>
                  <a:gd name="connsiteY324" fmla="*/ 81972 h 654373"/>
                  <a:gd name="connsiteX325" fmla="*/ 714621 w 767196"/>
                  <a:gd name="connsiteY325" fmla="*/ 81972 h 654373"/>
                  <a:gd name="connsiteX326" fmla="*/ 702888 w 767196"/>
                  <a:gd name="connsiteY326" fmla="*/ 59859 h 654373"/>
                  <a:gd name="connsiteX327" fmla="*/ 701534 w 767196"/>
                  <a:gd name="connsiteY327" fmla="*/ 56474 h 654373"/>
                  <a:gd name="connsiteX328" fmla="*/ 688672 w 767196"/>
                  <a:gd name="connsiteY328" fmla="*/ 51284 h 654373"/>
                  <a:gd name="connsiteX329" fmla="*/ 677841 w 767196"/>
                  <a:gd name="connsiteY329" fmla="*/ 47900 h 654373"/>
                  <a:gd name="connsiteX330" fmla="*/ 675359 w 767196"/>
                  <a:gd name="connsiteY330" fmla="*/ 42935 h 654373"/>
                  <a:gd name="connsiteX331" fmla="*/ 659112 w 767196"/>
                  <a:gd name="connsiteY331" fmla="*/ 34812 h 654373"/>
                  <a:gd name="connsiteX332" fmla="*/ 658435 w 767196"/>
                  <a:gd name="connsiteY332" fmla="*/ 34361 h 654373"/>
                  <a:gd name="connsiteX333" fmla="*/ 638579 w 767196"/>
                  <a:gd name="connsiteY333" fmla="*/ 27140 h 654373"/>
                  <a:gd name="connsiteX334" fmla="*/ 633389 w 767196"/>
                  <a:gd name="connsiteY334" fmla="*/ 26238 h 654373"/>
                  <a:gd name="connsiteX335" fmla="*/ 623460 w 767196"/>
                  <a:gd name="connsiteY335" fmla="*/ 20371 h 654373"/>
                  <a:gd name="connsiteX336" fmla="*/ 621430 w 767196"/>
                  <a:gd name="connsiteY336" fmla="*/ 17889 h 654373"/>
                  <a:gd name="connsiteX337" fmla="*/ 615337 w 767196"/>
                  <a:gd name="connsiteY337" fmla="*/ 16535 h 654373"/>
                  <a:gd name="connsiteX338" fmla="*/ 602024 w 767196"/>
                  <a:gd name="connsiteY338" fmla="*/ 12247 h 654373"/>
                  <a:gd name="connsiteX339" fmla="*/ 595255 w 767196"/>
                  <a:gd name="connsiteY339" fmla="*/ 7058 h 654373"/>
                  <a:gd name="connsiteX340" fmla="*/ 588711 w 767196"/>
                  <a:gd name="connsiteY340" fmla="*/ 3222 h 654373"/>
                  <a:gd name="connsiteX341" fmla="*/ 585326 w 767196"/>
                  <a:gd name="connsiteY341" fmla="*/ 6606 h 654373"/>
                  <a:gd name="connsiteX342" fmla="*/ 583070 w 767196"/>
                  <a:gd name="connsiteY342" fmla="*/ 12247 h 654373"/>
                  <a:gd name="connsiteX343" fmla="*/ 584198 w 767196"/>
                  <a:gd name="connsiteY343" fmla="*/ 13827 h 654373"/>
                  <a:gd name="connsiteX344" fmla="*/ 586906 w 767196"/>
                  <a:gd name="connsiteY344" fmla="*/ 22176 h 654373"/>
                  <a:gd name="connsiteX345" fmla="*/ 586454 w 767196"/>
                  <a:gd name="connsiteY345" fmla="*/ 23755 h 654373"/>
                  <a:gd name="connsiteX346" fmla="*/ 586680 w 767196"/>
                  <a:gd name="connsiteY346" fmla="*/ 40228 h 654373"/>
                  <a:gd name="connsiteX347" fmla="*/ 584875 w 767196"/>
                  <a:gd name="connsiteY347" fmla="*/ 64146 h 654373"/>
                  <a:gd name="connsiteX348" fmla="*/ 568177 w 767196"/>
                  <a:gd name="connsiteY348" fmla="*/ 82198 h 654373"/>
                  <a:gd name="connsiteX349" fmla="*/ 558474 w 767196"/>
                  <a:gd name="connsiteY349" fmla="*/ 78813 h 654373"/>
                  <a:gd name="connsiteX350" fmla="*/ 556443 w 767196"/>
                  <a:gd name="connsiteY350" fmla="*/ 70690 h 654373"/>
                  <a:gd name="connsiteX351" fmla="*/ 556218 w 767196"/>
                  <a:gd name="connsiteY351" fmla="*/ 69110 h 654373"/>
                  <a:gd name="connsiteX352" fmla="*/ 547869 w 767196"/>
                  <a:gd name="connsiteY352" fmla="*/ 69562 h 654373"/>
                  <a:gd name="connsiteX353" fmla="*/ 541776 w 767196"/>
                  <a:gd name="connsiteY353" fmla="*/ 70464 h 654373"/>
                  <a:gd name="connsiteX354" fmla="*/ 514022 w 767196"/>
                  <a:gd name="connsiteY354" fmla="*/ 63695 h 654373"/>
                  <a:gd name="connsiteX355" fmla="*/ 496196 w 767196"/>
                  <a:gd name="connsiteY355" fmla="*/ 68885 h 654373"/>
                  <a:gd name="connsiteX356" fmla="*/ 494165 w 767196"/>
                  <a:gd name="connsiteY356" fmla="*/ 71367 h 654373"/>
                  <a:gd name="connsiteX357" fmla="*/ 465508 w 767196"/>
                  <a:gd name="connsiteY357" fmla="*/ 70239 h 654373"/>
                  <a:gd name="connsiteX358" fmla="*/ 463477 w 767196"/>
                  <a:gd name="connsiteY358" fmla="*/ 42710 h 654373"/>
                  <a:gd name="connsiteX359" fmla="*/ 451744 w 767196"/>
                  <a:gd name="connsiteY359" fmla="*/ 23304 h 654373"/>
                  <a:gd name="connsiteX360" fmla="*/ 432789 w 767196"/>
                  <a:gd name="connsiteY360" fmla="*/ 23981 h 654373"/>
                  <a:gd name="connsiteX361" fmla="*/ 407517 w 767196"/>
                  <a:gd name="connsiteY361" fmla="*/ 26689 h 654373"/>
                  <a:gd name="connsiteX362" fmla="*/ 384727 w 767196"/>
                  <a:gd name="connsiteY362" fmla="*/ 29848 h 654373"/>
                  <a:gd name="connsiteX363" fmla="*/ 372316 w 767196"/>
                  <a:gd name="connsiteY363" fmla="*/ 33233 h 654373"/>
                  <a:gd name="connsiteX364" fmla="*/ 350428 w 767196"/>
                  <a:gd name="connsiteY364" fmla="*/ 26012 h 654373"/>
                  <a:gd name="connsiteX365" fmla="*/ 344787 w 767196"/>
                  <a:gd name="connsiteY365" fmla="*/ 20596 h 654373"/>
                  <a:gd name="connsiteX366" fmla="*/ 336438 w 767196"/>
                  <a:gd name="connsiteY366" fmla="*/ 15632 h 654373"/>
                  <a:gd name="connsiteX367" fmla="*/ 336664 w 767196"/>
                  <a:gd name="connsiteY367" fmla="*/ 16084 h 654373"/>
                  <a:gd name="connsiteX368" fmla="*/ 330346 w 767196"/>
                  <a:gd name="connsiteY368" fmla="*/ 37971 h 654373"/>
                  <a:gd name="connsiteX369" fmla="*/ 308684 w 767196"/>
                  <a:gd name="connsiteY369" fmla="*/ 50382 h 654373"/>
                  <a:gd name="connsiteX370" fmla="*/ 298756 w 767196"/>
                  <a:gd name="connsiteY370" fmla="*/ 55797 h 654373"/>
                  <a:gd name="connsiteX371" fmla="*/ 278899 w 767196"/>
                  <a:gd name="connsiteY371" fmla="*/ 70239 h 654373"/>
                  <a:gd name="connsiteX372" fmla="*/ 279124 w 767196"/>
                  <a:gd name="connsiteY372" fmla="*/ 93706 h 654373"/>
                  <a:gd name="connsiteX373" fmla="*/ 280704 w 767196"/>
                  <a:gd name="connsiteY373" fmla="*/ 96188 h 654373"/>
                  <a:gd name="connsiteX374" fmla="*/ 280252 w 767196"/>
                  <a:gd name="connsiteY374" fmla="*/ 104311 h 654373"/>
                  <a:gd name="connsiteX375" fmla="*/ 270098 w 767196"/>
                  <a:gd name="connsiteY375" fmla="*/ 111758 h 654373"/>
                  <a:gd name="connsiteX376" fmla="*/ 260621 w 767196"/>
                  <a:gd name="connsiteY376" fmla="*/ 124845 h 654373"/>
                  <a:gd name="connsiteX377" fmla="*/ 257688 w 767196"/>
                  <a:gd name="connsiteY377" fmla="*/ 129358 h 654373"/>
                  <a:gd name="connsiteX378" fmla="*/ 250919 w 767196"/>
                  <a:gd name="connsiteY378" fmla="*/ 151020 h 654373"/>
                  <a:gd name="connsiteX379" fmla="*/ 251144 w 767196"/>
                  <a:gd name="connsiteY379" fmla="*/ 152148 h 654373"/>
                  <a:gd name="connsiteX380" fmla="*/ 246180 w 767196"/>
                  <a:gd name="connsiteY380" fmla="*/ 172456 h 654373"/>
                  <a:gd name="connsiteX381" fmla="*/ 241893 w 767196"/>
                  <a:gd name="connsiteY381" fmla="*/ 177646 h 654373"/>
                  <a:gd name="connsiteX382" fmla="*/ 237605 w 767196"/>
                  <a:gd name="connsiteY382" fmla="*/ 188477 h 654373"/>
                  <a:gd name="connsiteX383" fmla="*/ 211882 w 767196"/>
                  <a:gd name="connsiteY383" fmla="*/ 205852 h 654373"/>
                  <a:gd name="connsiteX384" fmla="*/ 173071 w 767196"/>
                  <a:gd name="connsiteY384" fmla="*/ 204498 h 654373"/>
                  <a:gd name="connsiteX385" fmla="*/ 158855 w 767196"/>
                  <a:gd name="connsiteY385" fmla="*/ 216683 h 654373"/>
                  <a:gd name="connsiteX386" fmla="*/ 153891 w 767196"/>
                  <a:gd name="connsiteY386" fmla="*/ 223678 h 654373"/>
                  <a:gd name="connsiteX387" fmla="*/ 152086 w 767196"/>
                  <a:gd name="connsiteY387" fmla="*/ 229545 h 654373"/>
                  <a:gd name="connsiteX388" fmla="*/ 149378 w 767196"/>
                  <a:gd name="connsiteY388" fmla="*/ 239248 h 654373"/>
                  <a:gd name="connsiteX389" fmla="*/ 133808 w 767196"/>
                  <a:gd name="connsiteY389" fmla="*/ 249853 h 654373"/>
                  <a:gd name="connsiteX390" fmla="*/ 127264 w 767196"/>
                  <a:gd name="connsiteY390" fmla="*/ 264520 h 654373"/>
                  <a:gd name="connsiteX391" fmla="*/ 125459 w 767196"/>
                  <a:gd name="connsiteY391" fmla="*/ 278059 h 654373"/>
                  <a:gd name="connsiteX392" fmla="*/ 124782 w 767196"/>
                  <a:gd name="connsiteY392" fmla="*/ 286182 h 654373"/>
                  <a:gd name="connsiteX393" fmla="*/ 126588 w 767196"/>
                  <a:gd name="connsiteY393" fmla="*/ 292951 h 654373"/>
                  <a:gd name="connsiteX394" fmla="*/ 129972 w 767196"/>
                  <a:gd name="connsiteY394" fmla="*/ 310100 h 654373"/>
                  <a:gd name="connsiteX395" fmla="*/ 131101 w 767196"/>
                  <a:gd name="connsiteY395" fmla="*/ 332439 h 654373"/>
                  <a:gd name="connsiteX396" fmla="*/ 131777 w 767196"/>
                  <a:gd name="connsiteY396" fmla="*/ 341465 h 654373"/>
                  <a:gd name="connsiteX397" fmla="*/ 147121 w 767196"/>
                  <a:gd name="connsiteY397" fmla="*/ 355907 h 654373"/>
                  <a:gd name="connsiteX398" fmla="*/ 169009 w 767196"/>
                  <a:gd name="connsiteY398" fmla="*/ 359968 h 654373"/>
                  <a:gd name="connsiteX399" fmla="*/ 174650 w 767196"/>
                  <a:gd name="connsiteY399" fmla="*/ 362450 h 654373"/>
                  <a:gd name="connsiteX400" fmla="*/ 176004 w 767196"/>
                  <a:gd name="connsiteY400" fmla="*/ 375312 h 654373"/>
                  <a:gd name="connsiteX401" fmla="*/ 164947 w 767196"/>
                  <a:gd name="connsiteY401" fmla="*/ 387271 h 654373"/>
                  <a:gd name="connsiteX402" fmla="*/ 157050 w 767196"/>
                  <a:gd name="connsiteY402" fmla="*/ 383435 h 654373"/>
                  <a:gd name="connsiteX403" fmla="*/ 139224 w 767196"/>
                  <a:gd name="connsiteY403" fmla="*/ 379374 h 654373"/>
                  <a:gd name="connsiteX404" fmla="*/ 121849 w 767196"/>
                  <a:gd name="connsiteY404" fmla="*/ 373281 h 654373"/>
                  <a:gd name="connsiteX405" fmla="*/ 103572 w 767196"/>
                  <a:gd name="connsiteY405" fmla="*/ 357712 h 654373"/>
                  <a:gd name="connsiteX406" fmla="*/ 92515 w 767196"/>
                  <a:gd name="connsiteY406" fmla="*/ 350040 h 654373"/>
                  <a:gd name="connsiteX407" fmla="*/ 79653 w 767196"/>
                  <a:gd name="connsiteY407" fmla="*/ 342368 h 654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</a:cxnLst>
                <a:rect l="l" t="t" r="r" b="b"/>
                <a:pathLst>
                  <a:path w="767196" h="654373">
                    <a:moveTo>
                      <a:pt x="0" y="660303"/>
                    </a:moveTo>
                    <a:lnTo>
                      <a:pt x="1805" y="657144"/>
                    </a:lnTo>
                    <a:cubicBezTo>
                      <a:pt x="4287" y="652631"/>
                      <a:pt x="6318" y="648344"/>
                      <a:pt x="7898" y="645411"/>
                    </a:cubicBezTo>
                    <a:cubicBezTo>
                      <a:pt x="9477" y="642026"/>
                      <a:pt x="11282" y="638190"/>
                      <a:pt x="12862" y="634580"/>
                    </a:cubicBezTo>
                    <a:cubicBezTo>
                      <a:pt x="17149" y="625102"/>
                      <a:pt x="20759" y="616753"/>
                      <a:pt x="24596" y="614497"/>
                    </a:cubicBezTo>
                    <a:cubicBezTo>
                      <a:pt x="25949" y="613820"/>
                      <a:pt x="27303" y="610210"/>
                      <a:pt x="28657" y="606825"/>
                    </a:cubicBezTo>
                    <a:cubicBezTo>
                      <a:pt x="31365" y="600281"/>
                      <a:pt x="35201" y="591255"/>
                      <a:pt x="43324" y="586291"/>
                    </a:cubicBezTo>
                    <a:cubicBezTo>
                      <a:pt x="52801" y="580424"/>
                      <a:pt x="57991" y="573655"/>
                      <a:pt x="64084" y="565758"/>
                    </a:cubicBezTo>
                    <a:cubicBezTo>
                      <a:pt x="65663" y="563727"/>
                      <a:pt x="67243" y="561696"/>
                      <a:pt x="69048" y="559439"/>
                    </a:cubicBezTo>
                    <a:cubicBezTo>
                      <a:pt x="72432" y="555152"/>
                      <a:pt x="74915" y="551091"/>
                      <a:pt x="77397" y="547029"/>
                    </a:cubicBezTo>
                    <a:cubicBezTo>
                      <a:pt x="80781" y="541388"/>
                      <a:pt x="83940" y="535972"/>
                      <a:pt x="89130" y="531911"/>
                    </a:cubicBezTo>
                    <a:cubicBezTo>
                      <a:pt x="90710" y="530782"/>
                      <a:pt x="92064" y="529654"/>
                      <a:pt x="93417" y="528977"/>
                    </a:cubicBezTo>
                    <a:cubicBezTo>
                      <a:pt x="98833" y="525367"/>
                      <a:pt x="101315" y="523787"/>
                      <a:pt x="103572" y="506864"/>
                    </a:cubicBezTo>
                    <a:cubicBezTo>
                      <a:pt x="104474" y="499418"/>
                      <a:pt x="105828" y="493551"/>
                      <a:pt x="106731" y="489038"/>
                    </a:cubicBezTo>
                    <a:cubicBezTo>
                      <a:pt x="108536" y="480463"/>
                      <a:pt x="109664" y="475273"/>
                      <a:pt x="107408" y="467150"/>
                    </a:cubicBezTo>
                    <a:cubicBezTo>
                      <a:pt x="105828" y="461735"/>
                      <a:pt x="103572" y="455642"/>
                      <a:pt x="101090" y="449775"/>
                    </a:cubicBezTo>
                    <a:cubicBezTo>
                      <a:pt x="97931" y="441426"/>
                      <a:pt x="94997" y="434206"/>
                      <a:pt x="94997" y="430144"/>
                    </a:cubicBezTo>
                    <a:cubicBezTo>
                      <a:pt x="94997" y="426534"/>
                      <a:pt x="92064" y="422021"/>
                      <a:pt x="88905" y="417508"/>
                    </a:cubicBezTo>
                    <a:cubicBezTo>
                      <a:pt x="87099" y="414800"/>
                      <a:pt x="85294" y="412092"/>
                      <a:pt x="83940" y="409385"/>
                    </a:cubicBezTo>
                    <a:cubicBezTo>
                      <a:pt x="82135" y="405774"/>
                      <a:pt x="80781" y="401262"/>
                      <a:pt x="79653" y="396748"/>
                    </a:cubicBezTo>
                    <a:cubicBezTo>
                      <a:pt x="78299" y="391784"/>
                      <a:pt x="76720" y="386594"/>
                      <a:pt x="74915" y="384338"/>
                    </a:cubicBezTo>
                    <a:lnTo>
                      <a:pt x="74689" y="384112"/>
                    </a:lnTo>
                    <a:cubicBezTo>
                      <a:pt x="70853" y="379148"/>
                      <a:pt x="60247" y="366061"/>
                      <a:pt x="69950" y="346655"/>
                    </a:cubicBezTo>
                    <a:cubicBezTo>
                      <a:pt x="72207" y="341916"/>
                      <a:pt x="74915" y="339434"/>
                      <a:pt x="78299" y="338757"/>
                    </a:cubicBezTo>
                    <a:cubicBezTo>
                      <a:pt x="83940" y="337629"/>
                      <a:pt x="89356" y="342593"/>
                      <a:pt x="94546" y="347332"/>
                    </a:cubicBezTo>
                    <a:cubicBezTo>
                      <a:pt x="97931" y="350265"/>
                      <a:pt x="101315" y="353424"/>
                      <a:pt x="104023" y="354101"/>
                    </a:cubicBezTo>
                    <a:cubicBezTo>
                      <a:pt x="114854" y="356358"/>
                      <a:pt x="123203" y="363578"/>
                      <a:pt x="125234" y="372379"/>
                    </a:cubicBezTo>
                    <a:cubicBezTo>
                      <a:pt x="125911" y="375086"/>
                      <a:pt x="132906" y="375312"/>
                      <a:pt x="138998" y="375538"/>
                    </a:cubicBezTo>
                    <a:cubicBezTo>
                      <a:pt x="147347" y="375763"/>
                      <a:pt x="156147" y="375989"/>
                      <a:pt x="159758" y="381179"/>
                    </a:cubicBezTo>
                    <a:cubicBezTo>
                      <a:pt x="161337" y="383661"/>
                      <a:pt x="162917" y="383661"/>
                      <a:pt x="163819" y="383435"/>
                    </a:cubicBezTo>
                    <a:cubicBezTo>
                      <a:pt x="167429" y="382759"/>
                      <a:pt x="171266" y="376666"/>
                      <a:pt x="171942" y="374184"/>
                    </a:cubicBezTo>
                    <a:cubicBezTo>
                      <a:pt x="172619" y="370799"/>
                      <a:pt x="172845" y="366286"/>
                      <a:pt x="171491" y="364481"/>
                    </a:cubicBezTo>
                    <a:cubicBezTo>
                      <a:pt x="171040" y="364030"/>
                      <a:pt x="170363" y="363353"/>
                      <a:pt x="168783" y="363353"/>
                    </a:cubicBezTo>
                    <a:cubicBezTo>
                      <a:pt x="161337" y="363353"/>
                      <a:pt x="152988" y="361773"/>
                      <a:pt x="145542" y="359066"/>
                    </a:cubicBezTo>
                    <a:cubicBezTo>
                      <a:pt x="139224" y="356584"/>
                      <a:pt x="128393" y="351168"/>
                      <a:pt x="127941" y="341465"/>
                    </a:cubicBezTo>
                    <a:cubicBezTo>
                      <a:pt x="127716" y="338983"/>
                      <a:pt x="127490" y="335824"/>
                      <a:pt x="127264" y="332439"/>
                    </a:cubicBezTo>
                    <a:cubicBezTo>
                      <a:pt x="126588" y="324542"/>
                      <a:pt x="125911" y="315742"/>
                      <a:pt x="125911" y="309875"/>
                    </a:cubicBezTo>
                    <a:cubicBezTo>
                      <a:pt x="125911" y="304459"/>
                      <a:pt x="124105" y="298818"/>
                      <a:pt x="122752" y="293854"/>
                    </a:cubicBezTo>
                    <a:cubicBezTo>
                      <a:pt x="122075" y="291372"/>
                      <a:pt x="121398" y="289115"/>
                      <a:pt x="120721" y="286859"/>
                    </a:cubicBezTo>
                    <a:cubicBezTo>
                      <a:pt x="119818" y="283023"/>
                      <a:pt x="120495" y="280315"/>
                      <a:pt x="121398" y="277156"/>
                    </a:cubicBezTo>
                    <a:cubicBezTo>
                      <a:pt x="122075" y="274223"/>
                      <a:pt x="122977" y="270387"/>
                      <a:pt x="122977" y="264520"/>
                    </a:cubicBezTo>
                    <a:cubicBezTo>
                      <a:pt x="122977" y="260007"/>
                      <a:pt x="122977" y="246243"/>
                      <a:pt x="133357" y="246243"/>
                    </a:cubicBezTo>
                    <a:cubicBezTo>
                      <a:pt x="137193" y="246243"/>
                      <a:pt x="141255" y="243309"/>
                      <a:pt x="145993" y="237217"/>
                    </a:cubicBezTo>
                    <a:cubicBezTo>
                      <a:pt x="147798" y="234960"/>
                      <a:pt x="147798" y="232252"/>
                      <a:pt x="148024" y="229545"/>
                    </a:cubicBezTo>
                    <a:cubicBezTo>
                      <a:pt x="148250" y="226386"/>
                      <a:pt x="148475" y="222775"/>
                      <a:pt x="151634" y="220745"/>
                    </a:cubicBezTo>
                    <a:cubicBezTo>
                      <a:pt x="152763" y="220068"/>
                      <a:pt x="154116" y="217586"/>
                      <a:pt x="155245" y="215329"/>
                    </a:cubicBezTo>
                    <a:cubicBezTo>
                      <a:pt x="158404" y="209462"/>
                      <a:pt x="162917" y="201113"/>
                      <a:pt x="172845" y="201113"/>
                    </a:cubicBezTo>
                    <a:cubicBezTo>
                      <a:pt x="185933" y="201113"/>
                      <a:pt x="204210" y="202016"/>
                      <a:pt x="211882" y="202467"/>
                    </a:cubicBezTo>
                    <a:cubicBezTo>
                      <a:pt x="218425" y="202919"/>
                      <a:pt x="228354" y="198180"/>
                      <a:pt x="233995" y="187123"/>
                    </a:cubicBezTo>
                    <a:cubicBezTo>
                      <a:pt x="236252" y="182610"/>
                      <a:pt x="237380" y="179451"/>
                      <a:pt x="238057" y="176969"/>
                    </a:cubicBezTo>
                    <a:cubicBezTo>
                      <a:pt x="239185" y="172908"/>
                      <a:pt x="240087" y="170200"/>
                      <a:pt x="245052" y="169297"/>
                    </a:cubicBezTo>
                    <a:cubicBezTo>
                      <a:pt x="249339" y="168395"/>
                      <a:pt x="248436" y="162076"/>
                      <a:pt x="247083" y="153276"/>
                    </a:cubicBezTo>
                    <a:lnTo>
                      <a:pt x="246857" y="152148"/>
                    </a:lnTo>
                    <a:cubicBezTo>
                      <a:pt x="245729" y="144702"/>
                      <a:pt x="248211" y="136579"/>
                      <a:pt x="254303" y="127778"/>
                    </a:cubicBezTo>
                    <a:cubicBezTo>
                      <a:pt x="255206" y="126425"/>
                      <a:pt x="256108" y="125071"/>
                      <a:pt x="257237" y="123266"/>
                    </a:cubicBezTo>
                    <a:cubicBezTo>
                      <a:pt x="264683" y="111983"/>
                      <a:pt x="267391" y="108598"/>
                      <a:pt x="269873" y="108598"/>
                    </a:cubicBezTo>
                    <a:cubicBezTo>
                      <a:pt x="270775" y="108598"/>
                      <a:pt x="275288" y="105891"/>
                      <a:pt x="276868" y="102732"/>
                    </a:cubicBezTo>
                    <a:cubicBezTo>
                      <a:pt x="277771" y="101152"/>
                      <a:pt x="277771" y="100024"/>
                      <a:pt x="277093" y="98670"/>
                    </a:cubicBezTo>
                    <a:cubicBezTo>
                      <a:pt x="276642" y="97993"/>
                      <a:pt x="276191" y="97090"/>
                      <a:pt x="275740" y="96188"/>
                    </a:cubicBezTo>
                    <a:cubicBezTo>
                      <a:pt x="272129" y="90095"/>
                      <a:pt x="266037" y="79941"/>
                      <a:pt x="275965" y="68208"/>
                    </a:cubicBezTo>
                    <a:cubicBezTo>
                      <a:pt x="283186" y="59633"/>
                      <a:pt x="290181" y="56249"/>
                      <a:pt x="296950" y="52864"/>
                    </a:cubicBezTo>
                    <a:cubicBezTo>
                      <a:pt x="300335" y="51284"/>
                      <a:pt x="303268" y="49705"/>
                      <a:pt x="306428" y="47674"/>
                    </a:cubicBezTo>
                    <a:cubicBezTo>
                      <a:pt x="316356" y="41130"/>
                      <a:pt x="322674" y="37294"/>
                      <a:pt x="328992" y="34812"/>
                    </a:cubicBezTo>
                    <a:cubicBezTo>
                      <a:pt x="333956" y="32781"/>
                      <a:pt x="335987" y="25109"/>
                      <a:pt x="333054" y="17889"/>
                    </a:cubicBezTo>
                    <a:cubicBezTo>
                      <a:pt x="332377" y="16084"/>
                      <a:pt x="331474" y="14955"/>
                      <a:pt x="330797" y="13601"/>
                    </a:cubicBezTo>
                    <a:lnTo>
                      <a:pt x="327638" y="9088"/>
                    </a:lnTo>
                    <a:lnTo>
                      <a:pt x="332828" y="10668"/>
                    </a:lnTo>
                    <a:cubicBezTo>
                      <a:pt x="339146" y="12473"/>
                      <a:pt x="344110" y="15181"/>
                      <a:pt x="347495" y="18114"/>
                    </a:cubicBezTo>
                    <a:cubicBezTo>
                      <a:pt x="349752" y="20145"/>
                      <a:pt x="351557" y="22176"/>
                      <a:pt x="353136" y="23755"/>
                    </a:cubicBezTo>
                    <a:cubicBezTo>
                      <a:pt x="359906" y="30525"/>
                      <a:pt x="361034" y="31653"/>
                      <a:pt x="371639" y="29848"/>
                    </a:cubicBezTo>
                    <a:cubicBezTo>
                      <a:pt x="376603" y="28945"/>
                      <a:pt x="380214" y="27817"/>
                      <a:pt x="383373" y="26689"/>
                    </a:cubicBezTo>
                    <a:cubicBezTo>
                      <a:pt x="389465" y="24658"/>
                      <a:pt x="395106" y="22627"/>
                      <a:pt x="407743" y="23304"/>
                    </a:cubicBezTo>
                    <a:cubicBezTo>
                      <a:pt x="416543" y="23755"/>
                      <a:pt x="424892" y="22176"/>
                      <a:pt x="432112" y="20596"/>
                    </a:cubicBezTo>
                    <a:cubicBezTo>
                      <a:pt x="440913" y="18791"/>
                      <a:pt x="448585" y="17437"/>
                      <a:pt x="453549" y="20145"/>
                    </a:cubicBezTo>
                    <a:cubicBezTo>
                      <a:pt x="461446" y="24432"/>
                      <a:pt x="472052" y="30299"/>
                      <a:pt x="467088" y="44064"/>
                    </a:cubicBezTo>
                    <a:cubicBezTo>
                      <a:pt x="462349" y="57151"/>
                      <a:pt x="462575" y="63695"/>
                      <a:pt x="467765" y="67305"/>
                    </a:cubicBezTo>
                    <a:cubicBezTo>
                      <a:pt x="474308" y="71593"/>
                      <a:pt x="487847" y="73398"/>
                      <a:pt x="491683" y="69110"/>
                    </a:cubicBezTo>
                    <a:cubicBezTo>
                      <a:pt x="492360" y="68433"/>
                      <a:pt x="493037" y="67531"/>
                      <a:pt x="493714" y="66854"/>
                    </a:cubicBezTo>
                    <a:cubicBezTo>
                      <a:pt x="497776" y="61890"/>
                      <a:pt x="503417" y="54895"/>
                      <a:pt x="516053" y="60761"/>
                    </a:cubicBezTo>
                    <a:cubicBezTo>
                      <a:pt x="528915" y="66628"/>
                      <a:pt x="535233" y="67531"/>
                      <a:pt x="542002" y="67079"/>
                    </a:cubicBezTo>
                    <a:cubicBezTo>
                      <a:pt x="543582" y="66854"/>
                      <a:pt x="545612" y="66628"/>
                      <a:pt x="547643" y="66177"/>
                    </a:cubicBezTo>
                    <a:cubicBezTo>
                      <a:pt x="552382" y="65274"/>
                      <a:pt x="556895" y="64597"/>
                      <a:pt x="559151" y="66854"/>
                    </a:cubicBezTo>
                    <a:cubicBezTo>
                      <a:pt x="560279" y="67982"/>
                      <a:pt x="560731" y="69562"/>
                      <a:pt x="560505" y="71593"/>
                    </a:cubicBezTo>
                    <a:cubicBezTo>
                      <a:pt x="560279" y="73849"/>
                      <a:pt x="560505" y="75654"/>
                      <a:pt x="561633" y="76782"/>
                    </a:cubicBezTo>
                    <a:cubicBezTo>
                      <a:pt x="563213" y="78587"/>
                      <a:pt x="566372" y="79039"/>
                      <a:pt x="568628" y="79039"/>
                    </a:cubicBezTo>
                    <a:cubicBezTo>
                      <a:pt x="573592" y="79039"/>
                      <a:pt x="578782" y="71141"/>
                      <a:pt x="581941" y="63244"/>
                    </a:cubicBezTo>
                    <a:cubicBezTo>
                      <a:pt x="585100" y="54895"/>
                      <a:pt x="586906" y="49931"/>
                      <a:pt x="583747" y="42033"/>
                    </a:cubicBezTo>
                    <a:cubicBezTo>
                      <a:pt x="580588" y="34135"/>
                      <a:pt x="582167" y="27591"/>
                      <a:pt x="583295" y="23304"/>
                    </a:cubicBezTo>
                    <a:lnTo>
                      <a:pt x="583747" y="21725"/>
                    </a:lnTo>
                    <a:cubicBezTo>
                      <a:pt x="584198" y="19694"/>
                      <a:pt x="583295" y="18566"/>
                      <a:pt x="581716" y="16761"/>
                    </a:cubicBezTo>
                    <a:cubicBezTo>
                      <a:pt x="581039" y="16084"/>
                      <a:pt x="580588" y="15407"/>
                      <a:pt x="580136" y="14730"/>
                    </a:cubicBezTo>
                    <a:cubicBezTo>
                      <a:pt x="579234" y="13150"/>
                      <a:pt x="579459" y="10894"/>
                      <a:pt x="581039" y="7960"/>
                    </a:cubicBezTo>
                    <a:cubicBezTo>
                      <a:pt x="582393" y="5253"/>
                      <a:pt x="585326" y="514"/>
                      <a:pt x="588711" y="63"/>
                    </a:cubicBezTo>
                    <a:cubicBezTo>
                      <a:pt x="591644" y="-389"/>
                      <a:pt x="594352" y="1642"/>
                      <a:pt x="598188" y="4801"/>
                    </a:cubicBezTo>
                    <a:cubicBezTo>
                      <a:pt x="599993" y="6381"/>
                      <a:pt x="602024" y="7960"/>
                      <a:pt x="604732" y="9765"/>
                    </a:cubicBezTo>
                    <a:cubicBezTo>
                      <a:pt x="609019" y="12699"/>
                      <a:pt x="612629" y="13150"/>
                      <a:pt x="616240" y="13376"/>
                    </a:cubicBezTo>
                    <a:cubicBezTo>
                      <a:pt x="618947" y="13601"/>
                      <a:pt x="621430" y="13827"/>
                      <a:pt x="623912" y="15181"/>
                    </a:cubicBezTo>
                    <a:cubicBezTo>
                      <a:pt x="626394" y="16535"/>
                      <a:pt x="627071" y="18340"/>
                      <a:pt x="627748" y="19468"/>
                    </a:cubicBezTo>
                    <a:cubicBezTo>
                      <a:pt x="628199" y="20822"/>
                      <a:pt x="628876" y="21950"/>
                      <a:pt x="634743" y="23079"/>
                    </a:cubicBezTo>
                    <a:cubicBezTo>
                      <a:pt x="636548" y="23304"/>
                      <a:pt x="638353" y="23755"/>
                      <a:pt x="639932" y="23981"/>
                    </a:cubicBezTo>
                    <a:cubicBezTo>
                      <a:pt x="647605" y="25109"/>
                      <a:pt x="652794" y="25786"/>
                      <a:pt x="661369" y="31879"/>
                    </a:cubicBezTo>
                    <a:lnTo>
                      <a:pt x="662046" y="32330"/>
                    </a:lnTo>
                    <a:cubicBezTo>
                      <a:pt x="669267" y="37520"/>
                      <a:pt x="673328" y="40453"/>
                      <a:pt x="676487" y="39551"/>
                    </a:cubicBezTo>
                    <a:lnTo>
                      <a:pt x="677841" y="39325"/>
                    </a:lnTo>
                    <a:lnTo>
                      <a:pt x="678518" y="40453"/>
                    </a:lnTo>
                    <a:cubicBezTo>
                      <a:pt x="680323" y="43612"/>
                      <a:pt x="681451" y="45869"/>
                      <a:pt x="682128" y="47448"/>
                    </a:cubicBezTo>
                    <a:cubicBezTo>
                      <a:pt x="682805" y="49253"/>
                      <a:pt x="683708" y="49253"/>
                      <a:pt x="688672" y="48351"/>
                    </a:cubicBezTo>
                    <a:cubicBezTo>
                      <a:pt x="693862" y="47223"/>
                      <a:pt x="701985" y="45643"/>
                      <a:pt x="705596" y="55797"/>
                    </a:cubicBezTo>
                    <a:lnTo>
                      <a:pt x="706949" y="59182"/>
                    </a:lnTo>
                    <a:cubicBezTo>
                      <a:pt x="710560" y="68885"/>
                      <a:pt x="713944" y="77911"/>
                      <a:pt x="716652" y="79264"/>
                    </a:cubicBezTo>
                    <a:cubicBezTo>
                      <a:pt x="716878" y="79264"/>
                      <a:pt x="717103" y="79264"/>
                      <a:pt x="717329" y="79264"/>
                    </a:cubicBezTo>
                    <a:cubicBezTo>
                      <a:pt x="718232" y="78813"/>
                      <a:pt x="719360" y="78362"/>
                      <a:pt x="720488" y="77685"/>
                    </a:cubicBezTo>
                    <a:cubicBezTo>
                      <a:pt x="725227" y="75203"/>
                      <a:pt x="732222" y="71367"/>
                      <a:pt x="740571" y="75428"/>
                    </a:cubicBezTo>
                    <a:cubicBezTo>
                      <a:pt x="746212" y="78362"/>
                      <a:pt x="748243" y="83100"/>
                      <a:pt x="749822" y="86711"/>
                    </a:cubicBezTo>
                    <a:cubicBezTo>
                      <a:pt x="750950" y="89644"/>
                      <a:pt x="751627" y="90998"/>
                      <a:pt x="753207" y="91224"/>
                    </a:cubicBezTo>
                    <a:lnTo>
                      <a:pt x="755238" y="91449"/>
                    </a:lnTo>
                    <a:cubicBezTo>
                      <a:pt x="761781" y="92352"/>
                      <a:pt x="770582" y="93706"/>
                      <a:pt x="770582" y="99573"/>
                    </a:cubicBezTo>
                    <a:cubicBezTo>
                      <a:pt x="770582" y="100926"/>
                      <a:pt x="770807" y="102957"/>
                      <a:pt x="771259" y="105665"/>
                    </a:cubicBezTo>
                    <a:cubicBezTo>
                      <a:pt x="771710" y="109050"/>
                      <a:pt x="772161" y="113337"/>
                      <a:pt x="772387" y="118527"/>
                    </a:cubicBezTo>
                    <a:lnTo>
                      <a:pt x="772387" y="119429"/>
                    </a:lnTo>
                    <a:lnTo>
                      <a:pt x="771710" y="120106"/>
                    </a:lnTo>
                    <a:cubicBezTo>
                      <a:pt x="769679" y="122137"/>
                      <a:pt x="764940" y="125748"/>
                      <a:pt x="757720" y="128681"/>
                    </a:cubicBezTo>
                    <a:cubicBezTo>
                      <a:pt x="751627" y="131163"/>
                      <a:pt x="747114" y="130486"/>
                      <a:pt x="743278" y="130035"/>
                    </a:cubicBezTo>
                    <a:cubicBezTo>
                      <a:pt x="740796" y="129809"/>
                      <a:pt x="738540" y="129358"/>
                      <a:pt x="736058" y="130035"/>
                    </a:cubicBezTo>
                    <a:cubicBezTo>
                      <a:pt x="730191" y="131389"/>
                      <a:pt x="708755" y="149666"/>
                      <a:pt x="698826" y="167041"/>
                    </a:cubicBezTo>
                    <a:cubicBezTo>
                      <a:pt x="690026" y="182610"/>
                      <a:pt x="694990" y="190057"/>
                      <a:pt x="704242" y="203821"/>
                    </a:cubicBezTo>
                    <a:lnTo>
                      <a:pt x="704919" y="204949"/>
                    </a:lnTo>
                    <a:cubicBezTo>
                      <a:pt x="709206" y="211267"/>
                      <a:pt x="712139" y="214878"/>
                      <a:pt x="713944" y="217134"/>
                    </a:cubicBezTo>
                    <a:cubicBezTo>
                      <a:pt x="716427" y="220068"/>
                      <a:pt x="717555" y="221422"/>
                      <a:pt x="717555" y="224355"/>
                    </a:cubicBezTo>
                    <a:cubicBezTo>
                      <a:pt x="717555" y="229093"/>
                      <a:pt x="716878" y="230222"/>
                      <a:pt x="711914" y="232930"/>
                    </a:cubicBezTo>
                    <a:cubicBezTo>
                      <a:pt x="711237" y="233381"/>
                      <a:pt x="710334" y="233832"/>
                      <a:pt x="709432" y="234058"/>
                    </a:cubicBezTo>
                    <a:cubicBezTo>
                      <a:pt x="710108" y="234058"/>
                      <a:pt x="710560" y="233832"/>
                      <a:pt x="711011" y="233832"/>
                    </a:cubicBezTo>
                    <a:cubicBezTo>
                      <a:pt x="713493" y="233606"/>
                      <a:pt x="715975" y="233155"/>
                      <a:pt x="718006" y="235186"/>
                    </a:cubicBezTo>
                    <a:cubicBezTo>
                      <a:pt x="720262" y="237442"/>
                      <a:pt x="724099" y="241278"/>
                      <a:pt x="719360" y="247822"/>
                    </a:cubicBezTo>
                    <a:cubicBezTo>
                      <a:pt x="717329" y="250530"/>
                      <a:pt x="714621" y="252109"/>
                      <a:pt x="711688" y="254140"/>
                    </a:cubicBezTo>
                    <a:cubicBezTo>
                      <a:pt x="708980" y="255945"/>
                      <a:pt x="705821" y="257976"/>
                      <a:pt x="702211" y="261135"/>
                    </a:cubicBezTo>
                    <a:cubicBezTo>
                      <a:pt x="695216" y="267905"/>
                      <a:pt x="692282" y="270838"/>
                      <a:pt x="691154" y="274223"/>
                    </a:cubicBezTo>
                    <a:lnTo>
                      <a:pt x="690929" y="274674"/>
                    </a:lnTo>
                    <a:cubicBezTo>
                      <a:pt x="689800" y="278059"/>
                      <a:pt x="689349" y="280089"/>
                      <a:pt x="691154" y="283700"/>
                    </a:cubicBezTo>
                    <a:cubicBezTo>
                      <a:pt x="693185" y="287310"/>
                      <a:pt x="696795" y="294305"/>
                      <a:pt x="691831" y="299269"/>
                    </a:cubicBezTo>
                    <a:cubicBezTo>
                      <a:pt x="689123" y="301977"/>
                      <a:pt x="680549" y="307167"/>
                      <a:pt x="673103" y="311906"/>
                    </a:cubicBezTo>
                    <a:cubicBezTo>
                      <a:pt x="669718" y="313936"/>
                      <a:pt x="666784" y="315742"/>
                      <a:pt x="664754" y="317095"/>
                    </a:cubicBezTo>
                    <a:cubicBezTo>
                      <a:pt x="660466" y="320029"/>
                      <a:pt x="656179" y="328152"/>
                      <a:pt x="653246" y="333568"/>
                    </a:cubicBezTo>
                    <a:cubicBezTo>
                      <a:pt x="652117" y="335824"/>
                      <a:pt x="650989" y="337629"/>
                      <a:pt x="650312" y="338983"/>
                    </a:cubicBezTo>
                    <a:cubicBezTo>
                      <a:pt x="649635" y="339886"/>
                      <a:pt x="648958" y="341014"/>
                      <a:pt x="648281" y="342142"/>
                    </a:cubicBezTo>
                    <a:cubicBezTo>
                      <a:pt x="644897" y="347558"/>
                      <a:pt x="642415" y="351394"/>
                      <a:pt x="639932" y="352071"/>
                    </a:cubicBezTo>
                    <a:cubicBezTo>
                      <a:pt x="639030" y="352296"/>
                      <a:pt x="636097" y="353650"/>
                      <a:pt x="631584" y="355455"/>
                    </a:cubicBezTo>
                    <a:cubicBezTo>
                      <a:pt x="622106" y="359291"/>
                      <a:pt x="606537" y="365609"/>
                      <a:pt x="592096" y="371025"/>
                    </a:cubicBezTo>
                    <a:cubicBezTo>
                      <a:pt x="584424" y="373958"/>
                      <a:pt x="577654" y="375989"/>
                      <a:pt x="571787" y="377569"/>
                    </a:cubicBezTo>
                    <a:cubicBezTo>
                      <a:pt x="561182" y="380728"/>
                      <a:pt x="552608" y="382984"/>
                      <a:pt x="544484" y="389528"/>
                    </a:cubicBezTo>
                    <a:cubicBezTo>
                      <a:pt x="538617" y="394041"/>
                      <a:pt x="529592" y="397651"/>
                      <a:pt x="521017" y="401036"/>
                    </a:cubicBezTo>
                    <a:cubicBezTo>
                      <a:pt x="510412" y="405323"/>
                      <a:pt x="499581" y="409610"/>
                      <a:pt x="497098" y="415026"/>
                    </a:cubicBezTo>
                    <a:cubicBezTo>
                      <a:pt x="494391" y="421344"/>
                      <a:pt x="490329" y="423826"/>
                      <a:pt x="486268" y="426083"/>
                    </a:cubicBezTo>
                    <a:cubicBezTo>
                      <a:pt x="483108" y="427888"/>
                      <a:pt x="479949" y="429693"/>
                      <a:pt x="477693" y="433529"/>
                    </a:cubicBezTo>
                    <a:cubicBezTo>
                      <a:pt x="473406" y="440524"/>
                      <a:pt x="466862" y="446842"/>
                      <a:pt x="459641" y="453386"/>
                    </a:cubicBezTo>
                    <a:cubicBezTo>
                      <a:pt x="456933" y="455868"/>
                      <a:pt x="454226" y="458576"/>
                      <a:pt x="451518" y="461058"/>
                    </a:cubicBezTo>
                    <a:cubicBezTo>
                      <a:pt x="448810" y="463765"/>
                      <a:pt x="446779" y="465571"/>
                      <a:pt x="445200" y="466924"/>
                    </a:cubicBezTo>
                    <a:cubicBezTo>
                      <a:pt x="442943" y="468730"/>
                      <a:pt x="441815" y="469858"/>
                      <a:pt x="441138" y="471212"/>
                    </a:cubicBezTo>
                    <a:lnTo>
                      <a:pt x="440687" y="472340"/>
                    </a:lnTo>
                    <a:lnTo>
                      <a:pt x="439559" y="472340"/>
                    </a:lnTo>
                    <a:cubicBezTo>
                      <a:pt x="413384" y="473017"/>
                      <a:pt x="402778" y="492423"/>
                      <a:pt x="395106" y="506412"/>
                    </a:cubicBezTo>
                    <a:cubicBezTo>
                      <a:pt x="393527" y="509346"/>
                      <a:pt x="392173" y="512054"/>
                      <a:pt x="390594" y="514310"/>
                    </a:cubicBezTo>
                    <a:cubicBezTo>
                      <a:pt x="387209" y="519500"/>
                      <a:pt x="387886" y="521080"/>
                      <a:pt x="387886" y="521305"/>
                    </a:cubicBezTo>
                    <a:cubicBezTo>
                      <a:pt x="388111" y="521756"/>
                      <a:pt x="388788" y="521756"/>
                      <a:pt x="389014" y="521756"/>
                    </a:cubicBezTo>
                    <a:lnTo>
                      <a:pt x="390594" y="521982"/>
                    </a:lnTo>
                    <a:lnTo>
                      <a:pt x="391045" y="525141"/>
                    </a:lnTo>
                    <a:lnTo>
                      <a:pt x="389014" y="525592"/>
                    </a:lnTo>
                    <a:cubicBezTo>
                      <a:pt x="388563" y="525818"/>
                      <a:pt x="387660" y="525818"/>
                      <a:pt x="386306" y="526269"/>
                    </a:cubicBezTo>
                    <a:cubicBezTo>
                      <a:pt x="381793" y="527623"/>
                      <a:pt x="378409" y="527398"/>
                      <a:pt x="374573" y="526946"/>
                    </a:cubicBezTo>
                    <a:cubicBezTo>
                      <a:pt x="369383" y="526495"/>
                      <a:pt x="363065" y="526044"/>
                      <a:pt x="350428" y="528526"/>
                    </a:cubicBezTo>
                    <a:cubicBezTo>
                      <a:pt x="329895" y="532813"/>
                      <a:pt x="327187" y="524013"/>
                      <a:pt x="325382" y="517469"/>
                    </a:cubicBezTo>
                    <a:cubicBezTo>
                      <a:pt x="325156" y="516341"/>
                      <a:pt x="324705" y="515213"/>
                      <a:pt x="324254" y="514085"/>
                    </a:cubicBezTo>
                    <a:cubicBezTo>
                      <a:pt x="323125" y="511377"/>
                      <a:pt x="320192" y="510023"/>
                      <a:pt x="316582" y="508218"/>
                    </a:cubicBezTo>
                    <a:cubicBezTo>
                      <a:pt x="312746" y="506187"/>
                      <a:pt x="308233" y="503930"/>
                      <a:pt x="304622" y="499418"/>
                    </a:cubicBezTo>
                    <a:cubicBezTo>
                      <a:pt x="303494" y="498064"/>
                      <a:pt x="302592" y="496710"/>
                      <a:pt x="301463" y="495130"/>
                    </a:cubicBezTo>
                    <a:cubicBezTo>
                      <a:pt x="297853" y="490166"/>
                      <a:pt x="293566" y="484525"/>
                      <a:pt x="290858" y="484525"/>
                    </a:cubicBezTo>
                    <a:cubicBezTo>
                      <a:pt x="290407" y="484525"/>
                      <a:pt x="289955" y="484525"/>
                      <a:pt x="289053" y="485427"/>
                    </a:cubicBezTo>
                    <a:cubicBezTo>
                      <a:pt x="283186" y="491971"/>
                      <a:pt x="275288" y="494904"/>
                      <a:pt x="263780" y="495356"/>
                    </a:cubicBezTo>
                    <a:cubicBezTo>
                      <a:pt x="262652" y="495356"/>
                      <a:pt x="261975" y="495582"/>
                      <a:pt x="261749" y="495582"/>
                    </a:cubicBezTo>
                    <a:cubicBezTo>
                      <a:pt x="261975" y="496258"/>
                      <a:pt x="263103" y="497612"/>
                      <a:pt x="263780" y="498515"/>
                    </a:cubicBezTo>
                    <a:cubicBezTo>
                      <a:pt x="266263" y="501900"/>
                      <a:pt x="270324" y="507089"/>
                      <a:pt x="267391" y="512279"/>
                    </a:cubicBezTo>
                    <a:cubicBezTo>
                      <a:pt x="266263" y="514310"/>
                      <a:pt x="265360" y="515890"/>
                      <a:pt x="264683" y="517469"/>
                    </a:cubicBezTo>
                    <a:cubicBezTo>
                      <a:pt x="261975" y="522885"/>
                      <a:pt x="259944" y="526269"/>
                      <a:pt x="255883" y="530105"/>
                    </a:cubicBezTo>
                    <a:cubicBezTo>
                      <a:pt x="251821" y="533716"/>
                      <a:pt x="248436" y="530331"/>
                      <a:pt x="246180" y="528075"/>
                    </a:cubicBezTo>
                    <a:cubicBezTo>
                      <a:pt x="243924" y="525818"/>
                      <a:pt x="242570" y="524690"/>
                      <a:pt x="240764" y="525367"/>
                    </a:cubicBezTo>
                    <a:cubicBezTo>
                      <a:pt x="235349" y="527398"/>
                      <a:pt x="226774" y="538454"/>
                      <a:pt x="224518" y="544095"/>
                    </a:cubicBezTo>
                    <a:cubicBezTo>
                      <a:pt x="222939" y="547706"/>
                      <a:pt x="221133" y="556957"/>
                      <a:pt x="219779" y="563501"/>
                    </a:cubicBezTo>
                    <a:cubicBezTo>
                      <a:pt x="219102" y="566886"/>
                      <a:pt x="218425" y="569593"/>
                      <a:pt x="217974" y="571399"/>
                    </a:cubicBezTo>
                    <a:cubicBezTo>
                      <a:pt x="216620" y="576588"/>
                      <a:pt x="214364" y="579747"/>
                      <a:pt x="211205" y="580876"/>
                    </a:cubicBezTo>
                    <a:cubicBezTo>
                      <a:pt x="207369" y="582230"/>
                      <a:pt x="202630" y="580876"/>
                      <a:pt x="196763" y="576814"/>
                    </a:cubicBezTo>
                    <a:cubicBezTo>
                      <a:pt x="193604" y="574558"/>
                      <a:pt x="192025" y="574558"/>
                      <a:pt x="191574" y="574783"/>
                    </a:cubicBezTo>
                    <a:cubicBezTo>
                      <a:pt x="190445" y="575235"/>
                      <a:pt x="189543" y="577265"/>
                      <a:pt x="188640" y="579522"/>
                    </a:cubicBezTo>
                    <a:cubicBezTo>
                      <a:pt x="187286" y="582907"/>
                      <a:pt x="185481" y="587645"/>
                      <a:pt x="180517" y="587645"/>
                    </a:cubicBezTo>
                    <a:cubicBezTo>
                      <a:pt x="177358" y="587645"/>
                      <a:pt x="173748" y="588999"/>
                      <a:pt x="170363" y="590127"/>
                    </a:cubicBezTo>
                    <a:cubicBezTo>
                      <a:pt x="164722" y="592158"/>
                      <a:pt x="158855" y="594189"/>
                      <a:pt x="154342" y="590353"/>
                    </a:cubicBezTo>
                    <a:cubicBezTo>
                      <a:pt x="150957" y="587420"/>
                      <a:pt x="151183" y="583358"/>
                      <a:pt x="151409" y="579296"/>
                    </a:cubicBezTo>
                    <a:cubicBezTo>
                      <a:pt x="151634" y="574558"/>
                      <a:pt x="152086" y="570045"/>
                      <a:pt x="147347" y="566434"/>
                    </a:cubicBezTo>
                    <a:cubicBezTo>
                      <a:pt x="144865" y="564629"/>
                      <a:pt x="142383" y="563952"/>
                      <a:pt x="139449" y="564404"/>
                    </a:cubicBezTo>
                    <a:cubicBezTo>
                      <a:pt x="133357" y="565306"/>
                      <a:pt x="127264" y="570947"/>
                      <a:pt x="124557" y="574558"/>
                    </a:cubicBezTo>
                    <a:cubicBezTo>
                      <a:pt x="122752" y="577040"/>
                      <a:pt x="125008" y="589450"/>
                      <a:pt x="126362" y="597574"/>
                    </a:cubicBezTo>
                    <a:cubicBezTo>
                      <a:pt x="127490" y="603892"/>
                      <a:pt x="128618" y="609758"/>
                      <a:pt x="128618" y="613369"/>
                    </a:cubicBezTo>
                    <a:cubicBezTo>
                      <a:pt x="128618" y="617656"/>
                      <a:pt x="126362" y="621492"/>
                      <a:pt x="122300" y="623974"/>
                    </a:cubicBezTo>
                    <a:cubicBezTo>
                      <a:pt x="116659" y="627585"/>
                      <a:pt x="108761" y="627810"/>
                      <a:pt x="102443" y="624426"/>
                    </a:cubicBezTo>
                    <a:cubicBezTo>
                      <a:pt x="98833" y="622620"/>
                      <a:pt x="97254" y="624200"/>
                      <a:pt x="94094" y="628261"/>
                    </a:cubicBezTo>
                    <a:cubicBezTo>
                      <a:pt x="90935" y="632097"/>
                      <a:pt x="86874" y="637513"/>
                      <a:pt x="78525" y="637739"/>
                    </a:cubicBezTo>
                    <a:lnTo>
                      <a:pt x="75366" y="637739"/>
                    </a:lnTo>
                    <a:cubicBezTo>
                      <a:pt x="63407" y="638190"/>
                      <a:pt x="62955" y="638190"/>
                      <a:pt x="56186" y="643380"/>
                    </a:cubicBezTo>
                    <a:cubicBezTo>
                      <a:pt x="46258" y="650826"/>
                      <a:pt x="31590" y="656242"/>
                      <a:pt x="15795" y="657821"/>
                    </a:cubicBezTo>
                    <a:cubicBezTo>
                      <a:pt x="11057" y="658272"/>
                      <a:pt x="7672" y="658724"/>
                      <a:pt x="4964" y="659175"/>
                    </a:cubicBezTo>
                    <a:lnTo>
                      <a:pt x="0" y="660303"/>
                    </a:lnTo>
                    <a:close/>
                    <a:moveTo>
                      <a:pt x="79653" y="342368"/>
                    </a:moveTo>
                    <a:cubicBezTo>
                      <a:pt x="79428" y="342368"/>
                      <a:pt x="79202" y="342368"/>
                      <a:pt x="78751" y="342368"/>
                    </a:cubicBezTo>
                    <a:cubicBezTo>
                      <a:pt x="76720" y="342819"/>
                      <a:pt x="74689" y="344624"/>
                      <a:pt x="73109" y="348235"/>
                    </a:cubicBezTo>
                    <a:cubicBezTo>
                      <a:pt x="64535" y="365609"/>
                      <a:pt x="73561" y="376892"/>
                      <a:pt x="77397" y="381630"/>
                    </a:cubicBezTo>
                    <a:lnTo>
                      <a:pt x="77622" y="381856"/>
                    </a:lnTo>
                    <a:cubicBezTo>
                      <a:pt x="79879" y="384789"/>
                      <a:pt x="81458" y="389979"/>
                      <a:pt x="83038" y="395620"/>
                    </a:cubicBezTo>
                    <a:cubicBezTo>
                      <a:pt x="84392" y="399908"/>
                      <a:pt x="85520" y="404421"/>
                      <a:pt x="87099" y="407580"/>
                    </a:cubicBezTo>
                    <a:cubicBezTo>
                      <a:pt x="88453" y="410062"/>
                      <a:pt x="90258" y="412769"/>
                      <a:pt x="91838" y="415251"/>
                    </a:cubicBezTo>
                    <a:cubicBezTo>
                      <a:pt x="95223" y="420441"/>
                      <a:pt x="98607" y="425180"/>
                      <a:pt x="98607" y="429918"/>
                    </a:cubicBezTo>
                    <a:cubicBezTo>
                      <a:pt x="98607" y="433303"/>
                      <a:pt x="101541" y="440524"/>
                      <a:pt x="104474" y="448196"/>
                    </a:cubicBezTo>
                    <a:cubicBezTo>
                      <a:pt x="106731" y="454063"/>
                      <a:pt x="109213" y="460381"/>
                      <a:pt x="110792" y="466022"/>
                    </a:cubicBezTo>
                    <a:cubicBezTo>
                      <a:pt x="113274" y="475048"/>
                      <a:pt x="112146" y="480915"/>
                      <a:pt x="110341" y="489715"/>
                    </a:cubicBezTo>
                    <a:cubicBezTo>
                      <a:pt x="109438" y="494228"/>
                      <a:pt x="108085" y="499869"/>
                      <a:pt x="107182" y="507315"/>
                    </a:cubicBezTo>
                    <a:cubicBezTo>
                      <a:pt x="104925" y="525141"/>
                      <a:pt x="101992" y="527849"/>
                      <a:pt x="95448" y="532136"/>
                    </a:cubicBezTo>
                    <a:cubicBezTo>
                      <a:pt x="94320" y="533039"/>
                      <a:pt x="92966" y="533941"/>
                      <a:pt x="91387" y="535070"/>
                    </a:cubicBezTo>
                    <a:cubicBezTo>
                      <a:pt x="86648" y="538680"/>
                      <a:pt x="83940" y="543418"/>
                      <a:pt x="80556" y="549060"/>
                    </a:cubicBezTo>
                    <a:cubicBezTo>
                      <a:pt x="78074" y="553347"/>
                      <a:pt x="75591" y="557634"/>
                      <a:pt x="71981" y="561921"/>
                    </a:cubicBezTo>
                    <a:cubicBezTo>
                      <a:pt x="70176" y="563952"/>
                      <a:pt x="68596" y="566209"/>
                      <a:pt x="67017" y="568239"/>
                    </a:cubicBezTo>
                    <a:cubicBezTo>
                      <a:pt x="60925" y="576137"/>
                      <a:pt x="55058" y="583583"/>
                      <a:pt x="45129" y="589676"/>
                    </a:cubicBezTo>
                    <a:cubicBezTo>
                      <a:pt x="38134" y="593963"/>
                      <a:pt x="34750" y="602086"/>
                      <a:pt x="32042" y="608630"/>
                    </a:cubicBezTo>
                    <a:cubicBezTo>
                      <a:pt x="30237" y="613143"/>
                      <a:pt x="28657" y="616528"/>
                      <a:pt x="26401" y="617882"/>
                    </a:cubicBezTo>
                    <a:cubicBezTo>
                      <a:pt x="23693" y="619461"/>
                      <a:pt x="19631" y="628487"/>
                      <a:pt x="16247" y="636159"/>
                    </a:cubicBezTo>
                    <a:cubicBezTo>
                      <a:pt x="14667" y="639769"/>
                      <a:pt x="12862" y="643831"/>
                      <a:pt x="11282" y="647216"/>
                    </a:cubicBezTo>
                    <a:cubicBezTo>
                      <a:pt x="10154" y="649472"/>
                      <a:pt x="8575" y="652631"/>
                      <a:pt x="6769" y="655790"/>
                    </a:cubicBezTo>
                    <a:cubicBezTo>
                      <a:pt x="9026" y="655565"/>
                      <a:pt x="11734" y="655113"/>
                      <a:pt x="14893" y="654888"/>
                    </a:cubicBezTo>
                    <a:cubicBezTo>
                      <a:pt x="36555" y="652631"/>
                      <a:pt x="48965" y="644508"/>
                      <a:pt x="53478" y="641123"/>
                    </a:cubicBezTo>
                    <a:cubicBezTo>
                      <a:pt x="61376" y="635031"/>
                      <a:pt x="62955" y="635031"/>
                      <a:pt x="74915" y="634805"/>
                    </a:cubicBezTo>
                    <a:lnTo>
                      <a:pt x="78074" y="634805"/>
                    </a:lnTo>
                    <a:cubicBezTo>
                      <a:pt x="84843" y="634580"/>
                      <a:pt x="87776" y="630518"/>
                      <a:pt x="90935" y="626682"/>
                    </a:cubicBezTo>
                    <a:cubicBezTo>
                      <a:pt x="93869" y="622846"/>
                      <a:pt x="97479" y="618559"/>
                      <a:pt x="103797" y="621718"/>
                    </a:cubicBezTo>
                    <a:cubicBezTo>
                      <a:pt x="108987" y="624200"/>
                      <a:pt x="115531" y="624200"/>
                      <a:pt x="120044" y="621266"/>
                    </a:cubicBezTo>
                    <a:cubicBezTo>
                      <a:pt x="122977" y="619461"/>
                      <a:pt x="124557" y="616753"/>
                      <a:pt x="124557" y="613820"/>
                    </a:cubicBezTo>
                    <a:cubicBezTo>
                      <a:pt x="124557" y="610435"/>
                      <a:pt x="123428" y="604794"/>
                      <a:pt x="122300" y="598702"/>
                    </a:cubicBezTo>
                    <a:cubicBezTo>
                      <a:pt x="119818" y="585389"/>
                      <a:pt x="118464" y="576363"/>
                      <a:pt x="121172" y="572753"/>
                    </a:cubicBezTo>
                    <a:cubicBezTo>
                      <a:pt x="123654" y="569142"/>
                      <a:pt x="130649" y="562147"/>
                      <a:pt x="138547" y="561019"/>
                    </a:cubicBezTo>
                    <a:cubicBezTo>
                      <a:pt x="142383" y="560342"/>
                      <a:pt x="145993" y="561470"/>
                      <a:pt x="149378" y="563727"/>
                    </a:cubicBezTo>
                    <a:cubicBezTo>
                      <a:pt x="155696" y="568465"/>
                      <a:pt x="155245" y="574783"/>
                      <a:pt x="155019" y="579747"/>
                    </a:cubicBezTo>
                    <a:cubicBezTo>
                      <a:pt x="154793" y="583583"/>
                      <a:pt x="154793" y="586066"/>
                      <a:pt x="156598" y="587645"/>
                    </a:cubicBezTo>
                    <a:cubicBezTo>
                      <a:pt x="159532" y="590127"/>
                      <a:pt x="163819" y="588548"/>
                      <a:pt x="168783" y="586742"/>
                    </a:cubicBezTo>
                    <a:cubicBezTo>
                      <a:pt x="172619" y="585389"/>
                      <a:pt x="176455" y="584035"/>
                      <a:pt x="180291" y="584035"/>
                    </a:cubicBezTo>
                    <a:cubicBezTo>
                      <a:pt x="182548" y="584035"/>
                      <a:pt x="183450" y="582230"/>
                      <a:pt x="185030" y="578394"/>
                    </a:cubicBezTo>
                    <a:cubicBezTo>
                      <a:pt x="186158" y="575460"/>
                      <a:pt x="187286" y="572301"/>
                      <a:pt x="190445" y="571399"/>
                    </a:cubicBezTo>
                    <a:cubicBezTo>
                      <a:pt x="192702" y="570722"/>
                      <a:pt x="195410" y="571624"/>
                      <a:pt x="199020" y="574106"/>
                    </a:cubicBezTo>
                    <a:cubicBezTo>
                      <a:pt x="203758" y="577491"/>
                      <a:pt x="207369" y="578619"/>
                      <a:pt x="210077" y="577717"/>
                    </a:cubicBezTo>
                    <a:cubicBezTo>
                      <a:pt x="212107" y="577040"/>
                      <a:pt x="213461" y="574783"/>
                      <a:pt x="214590" y="570947"/>
                    </a:cubicBezTo>
                    <a:cubicBezTo>
                      <a:pt x="215041" y="569142"/>
                      <a:pt x="215718" y="566434"/>
                      <a:pt x="216169" y="563050"/>
                    </a:cubicBezTo>
                    <a:cubicBezTo>
                      <a:pt x="217749" y="555829"/>
                      <a:pt x="219554" y="546803"/>
                      <a:pt x="221133" y="542967"/>
                    </a:cubicBezTo>
                    <a:cubicBezTo>
                      <a:pt x="223615" y="537326"/>
                      <a:pt x="232641" y="524915"/>
                      <a:pt x="239636" y="522208"/>
                    </a:cubicBezTo>
                    <a:cubicBezTo>
                      <a:pt x="243698" y="520628"/>
                      <a:pt x="246857" y="523562"/>
                      <a:pt x="248888" y="525818"/>
                    </a:cubicBezTo>
                    <a:cubicBezTo>
                      <a:pt x="251821" y="528751"/>
                      <a:pt x="252498" y="528751"/>
                      <a:pt x="253401" y="527623"/>
                    </a:cubicBezTo>
                    <a:cubicBezTo>
                      <a:pt x="257237" y="524239"/>
                      <a:pt x="258816" y="521080"/>
                      <a:pt x="261524" y="516115"/>
                    </a:cubicBezTo>
                    <a:cubicBezTo>
                      <a:pt x="262427" y="514536"/>
                      <a:pt x="263329" y="512731"/>
                      <a:pt x="264457" y="510700"/>
                    </a:cubicBezTo>
                    <a:cubicBezTo>
                      <a:pt x="266037" y="507766"/>
                      <a:pt x="264006" y="504833"/>
                      <a:pt x="261073" y="500997"/>
                    </a:cubicBezTo>
                    <a:cubicBezTo>
                      <a:pt x="259268" y="498515"/>
                      <a:pt x="257462" y="496258"/>
                      <a:pt x="258590" y="494228"/>
                    </a:cubicBezTo>
                    <a:cubicBezTo>
                      <a:pt x="259493" y="492197"/>
                      <a:pt x="261975" y="491971"/>
                      <a:pt x="264006" y="491971"/>
                    </a:cubicBezTo>
                    <a:cubicBezTo>
                      <a:pt x="274386" y="491520"/>
                      <a:pt x="281381" y="488812"/>
                      <a:pt x="286571" y="483171"/>
                    </a:cubicBezTo>
                    <a:cubicBezTo>
                      <a:pt x="287925" y="481591"/>
                      <a:pt x="289504" y="480915"/>
                      <a:pt x="291309" y="481140"/>
                    </a:cubicBezTo>
                    <a:cubicBezTo>
                      <a:pt x="295822" y="481366"/>
                      <a:pt x="300109" y="487233"/>
                      <a:pt x="304622" y="493325"/>
                    </a:cubicBezTo>
                    <a:cubicBezTo>
                      <a:pt x="305751" y="494679"/>
                      <a:pt x="306653" y="496033"/>
                      <a:pt x="307781" y="497387"/>
                    </a:cubicBezTo>
                    <a:cubicBezTo>
                      <a:pt x="310715" y="501223"/>
                      <a:pt x="314776" y="503253"/>
                      <a:pt x="318387" y="505059"/>
                    </a:cubicBezTo>
                    <a:cubicBezTo>
                      <a:pt x="322223" y="507089"/>
                      <a:pt x="326059" y="508895"/>
                      <a:pt x="327638" y="512731"/>
                    </a:cubicBezTo>
                    <a:cubicBezTo>
                      <a:pt x="328090" y="513859"/>
                      <a:pt x="328541" y="515213"/>
                      <a:pt x="328992" y="516567"/>
                    </a:cubicBezTo>
                    <a:cubicBezTo>
                      <a:pt x="330797" y="522659"/>
                      <a:pt x="332377" y="528526"/>
                      <a:pt x="349526" y="524915"/>
                    </a:cubicBezTo>
                    <a:cubicBezTo>
                      <a:pt x="362839" y="522208"/>
                      <a:pt x="369609" y="522659"/>
                      <a:pt x="374798" y="523110"/>
                    </a:cubicBezTo>
                    <a:cubicBezTo>
                      <a:pt x="378409" y="523336"/>
                      <a:pt x="380891" y="523562"/>
                      <a:pt x="384501" y="522659"/>
                    </a:cubicBezTo>
                    <a:cubicBezTo>
                      <a:pt x="383373" y="520177"/>
                      <a:pt x="384275" y="516792"/>
                      <a:pt x="387434" y="512054"/>
                    </a:cubicBezTo>
                    <a:cubicBezTo>
                      <a:pt x="388788" y="510023"/>
                      <a:pt x="390142" y="507315"/>
                      <a:pt x="391722" y="504382"/>
                    </a:cubicBezTo>
                    <a:cubicBezTo>
                      <a:pt x="399168" y="490392"/>
                      <a:pt x="410676" y="469407"/>
                      <a:pt x="438205" y="468278"/>
                    </a:cubicBezTo>
                    <a:cubicBezTo>
                      <a:pt x="439107" y="466699"/>
                      <a:pt x="440687" y="465345"/>
                      <a:pt x="442718" y="463765"/>
                    </a:cubicBezTo>
                    <a:cubicBezTo>
                      <a:pt x="444297" y="462412"/>
                      <a:pt x="446328" y="460606"/>
                      <a:pt x="448810" y="458124"/>
                    </a:cubicBezTo>
                    <a:cubicBezTo>
                      <a:pt x="451518" y="455416"/>
                      <a:pt x="454226" y="452934"/>
                      <a:pt x="456933" y="450227"/>
                    </a:cubicBezTo>
                    <a:cubicBezTo>
                      <a:pt x="463929" y="443683"/>
                      <a:pt x="470472" y="437591"/>
                      <a:pt x="474308" y="431047"/>
                    </a:cubicBezTo>
                    <a:cubicBezTo>
                      <a:pt x="477242" y="426308"/>
                      <a:pt x="480852" y="424052"/>
                      <a:pt x="484237" y="422247"/>
                    </a:cubicBezTo>
                    <a:cubicBezTo>
                      <a:pt x="488073" y="419990"/>
                      <a:pt x="491232" y="418185"/>
                      <a:pt x="493488" y="412995"/>
                    </a:cubicBezTo>
                    <a:cubicBezTo>
                      <a:pt x="496422" y="406226"/>
                      <a:pt x="507704" y="401713"/>
                      <a:pt x="519438" y="396974"/>
                    </a:cubicBezTo>
                    <a:cubicBezTo>
                      <a:pt x="527786" y="393589"/>
                      <a:pt x="536587" y="390205"/>
                      <a:pt x="542002" y="385918"/>
                    </a:cubicBezTo>
                    <a:cubicBezTo>
                      <a:pt x="550802" y="378922"/>
                      <a:pt x="559603" y="376440"/>
                      <a:pt x="570659" y="373281"/>
                    </a:cubicBezTo>
                    <a:cubicBezTo>
                      <a:pt x="576526" y="371702"/>
                      <a:pt x="583070" y="369671"/>
                      <a:pt x="590742" y="366738"/>
                    </a:cubicBezTo>
                    <a:cubicBezTo>
                      <a:pt x="605183" y="361322"/>
                      <a:pt x="620753" y="354778"/>
                      <a:pt x="630230" y="351168"/>
                    </a:cubicBezTo>
                    <a:cubicBezTo>
                      <a:pt x="634743" y="349363"/>
                      <a:pt x="637902" y="348009"/>
                      <a:pt x="638804" y="347783"/>
                    </a:cubicBezTo>
                    <a:cubicBezTo>
                      <a:pt x="640158" y="347332"/>
                      <a:pt x="643543" y="342142"/>
                      <a:pt x="645122" y="339209"/>
                    </a:cubicBezTo>
                    <a:cubicBezTo>
                      <a:pt x="645799" y="338081"/>
                      <a:pt x="646476" y="336952"/>
                      <a:pt x="647153" y="336050"/>
                    </a:cubicBezTo>
                    <a:cubicBezTo>
                      <a:pt x="647830" y="334921"/>
                      <a:pt x="648733" y="333116"/>
                      <a:pt x="649861" y="331086"/>
                    </a:cubicBezTo>
                    <a:cubicBezTo>
                      <a:pt x="653020" y="324993"/>
                      <a:pt x="657533" y="316644"/>
                      <a:pt x="662497" y="313259"/>
                    </a:cubicBezTo>
                    <a:cubicBezTo>
                      <a:pt x="664528" y="311906"/>
                      <a:pt x="667687" y="310100"/>
                      <a:pt x="671072" y="307844"/>
                    </a:cubicBezTo>
                    <a:cubicBezTo>
                      <a:pt x="678067" y="303557"/>
                      <a:pt x="686641" y="298141"/>
                      <a:pt x="689123" y="295885"/>
                    </a:cubicBezTo>
                    <a:cubicBezTo>
                      <a:pt x="691605" y="293403"/>
                      <a:pt x="690477" y="289792"/>
                      <a:pt x="687770" y="284602"/>
                    </a:cubicBezTo>
                    <a:cubicBezTo>
                      <a:pt x="685062" y="279638"/>
                      <a:pt x="686190" y="276479"/>
                      <a:pt x="687318" y="272643"/>
                    </a:cubicBezTo>
                    <a:lnTo>
                      <a:pt x="687544" y="272192"/>
                    </a:lnTo>
                    <a:cubicBezTo>
                      <a:pt x="688898" y="267905"/>
                      <a:pt x="692057" y="264971"/>
                      <a:pt x="699503" y="257525"/>
                    </a:cubicBezTo>
                    <a:cubicBezTo>
                      <a:pt x="703339" y="253914"/>
                      <a:pt x="706498" y="251884"/>
                      <a:pt x="709432" y="249853"/>
                    </a:cubicBezTo>
                    <a:cubicBezTo>
                      <a:pt x="712139" y="248048"/>
                      <a:pt x="714396" y="246694"/>
                      <a:pt x="716201" y="244437"/>
                    </a:cubicBezTo>
                    <a:cubicBezTo>
                      <a:pt x="718909" y="240827"/>
                      <a:pt x="717555" y="239248"/>
                      <a:pt x="715298" y="236765"/>
                    </a:cubicBezTo>
                    <a:cubicBezTo>
                      <a:pt x="714621" y="236089"/>
                      <a:pt x="713719" y="236089"/>
                      <a:pt x="711462" y="236540"/>
                    </a:cubicBezTo>
                    <a:cubicBezTo>
                      <a:pt x="709657" y="236765"/>
                      <a:pt x="707401" y="236991"/>
                      <a:pt x="704693" y="236765"/>
                    </a:cubicBezTo>
                    <a:cubicBezTo>
                      <a:pt x="703339" y="236540"/>
                      <a:pt x="701083" y="236314"/>
                      <a:pt x="700857" y="234509"/>
                    </a:cubicBezTo>
                    <a:cubicBezTo>
                      <a:pt x="700631" y="232704"/>
                      <a:pt x="702437" y="231801"/>
                      <a:pt x="705370" y="230673"/>
                    </a:cubicBezTo>
                    <a:cubicBezTo>
                      <a:pt x="706949" y="229996"/>
                      <a:pt x="708529" y="229319"/>
                      <a:pt x="709883" y="228642"/>
                    </a:cubicBezTo>
                    <a:cubicBezTo>
                      <a:pt x="713719" y="226386"/>
                      <a:pt x="713719" y="226386"/>
                      <a:pt x="713719" y="223227"/>
                    </a:cubicBezTo>
                    <a:cubicBezTo>
                      <a:pt x="713719" y="221647"/>
                      <a:pt x="713267" y="221196"/>
                      <a:pt x="711011" y="218488"/>
                    </a:cubicBezTo>
                    <a:cubicBezTo>
                      <a:pt x="708980" y="216232"/>
                      <a:pt x="706047" y="212621"/>
                      <a:pt x="701759" y="206078"/>
                    </a:cubicBezTo>
                    <a:lnTo>
                      <a:pt x="701083" y="204949"/>
                    </a:lnTo>
                    <a:cubicBezTo>
                      <a:pt x="691605" y="190959"/>
                      <a:pt x="685513" y="181708"/>
                      <a:pt x="695441" y="164333"/>
                    </a:cubicBezTo>
                    <a:cubicBezTo>
                      <a:pt x="705370" y="146958"/>
                      <a:pt x="727709" y="127101"/>
                      <a:pt x="735155" y="125522"/>
                    </a:cubicBezTo>
                    <a:cubicBezTo>
                      <a:pt x="738314" y="124845"/>
                      <a:pt x="741022" y="125071"/>
                      <a:pt x="743730" y="125522"/>
                    </a:cubicBezTo>
                    <a:cubicBezTo>
                      <a:pt x="747340" y="125973"/>
                      <a:pt x="750950" y="126425"/>
                      <a:pt x="756140" y="124394"/>
                    </a:cubicBezTo>
                    <a:cubicBezTo>
                      <a:pt x="762233" y="122137"/>
                      <a:pt x="766294" y="119204"/>
                      <a:pt x="768325" y="117173"/>
                    </a:cubicBezTo>
                    <a:cubicBezTo>
                      <a:pt x="768100" y="112434"/>
                      <a:pt x="767648" y="108598"/>
                      <a:pt x="767197" y="105439"/>
                    </a:cubicBezTo>
                    <a:cubicBezTo>
                      <a:pt x="766971" y="102732"/>
                      <a:pt x="766520" y="100475"/>
                      <a:pt x="766520" y="98896"/>
                    </a:cubicBezTo>
                    <a:cubicBezTo>
                      <a:pt x="766520" y="96414"/>
                      <a:pt x="758171" y="95060"/>
                      <a:pt x="754335" y="94608"/>
                    </a:cubicBezTo>
                    <a:lnTo>
                      <a:pt x="752079" y="94157"/>
                    </a:lnTo>
                    <a:cubicBezTo>
                      <a:pt x="748468" y="93480"/>
                      <a:pt x="747114" y="90321"/>
                      <a:pt x="745761" y="87388"/>
                    </a:cubicBezTo>
                    <a:cubicBezTo>
                      <a:pt x="744407" y="84003"/>
                      <a:pt x="742827" y="80393"/>
                      <a:pt x="738314" y="78136"/>
                    </a:cubicBezTo>
                    <a:cubicBezTo>
                      <a:pt x="731770" y="74752"/>
                      <a:pt x="726129" y="77911"/>
                      <a:pt x="721616" y="80167"/>
                    </a:cubicBezTo>
                    <a:cubicBezTo>
                      <a:pt x="720262" y="80844"/>
                      <a:pt x="719134" y="81521"/>
                      <a:pt x="718232" y="81972"/>
                    </a:cubicBezTo>
                    <a:cubicBezTo>
                      <a:pt x="717103" y="82423"/>
                      <a:pt x="715750" y="82423"/>
                      <a:pt x="714621" y="81972"/>
                    </a:cubicBezTo>
                    <a:cubicBezTo>
                      <a:pt x="710560" y="80167"/>
                      <a:pt x="707401" y="72044"/>
                      <a:pt x="702888" y="59859"/>
                    </a:cubicBezTo>
                    <a:lnTo>
                      <a:pt x="701534" y="56474"/>
                    </a:lnTo>
                    <a:cubicBezTo>
                      <a:pt x="698826" y="49253"/>
                      <a:pt x="694088" y="50382"/>
                      <a:pt x="688672" y="51284"/>
                    </a:cubicBezTo>
                    <a:cubicBezTo>
                      <a:pt x="684611" y="52187"/>
                      <a:pt x="679646" y="53090"/>
                      <a:pt x="677841" y="47900"/>
                    </a:cubicBezTo>
                    <a:cubicBezTo>
                      <a:pt x="677615" y="47223"/>
                      <a:pt x="676938" y="45643"/>
                      <a:pt x="675359" y="42935"/>
                    </a:cubicBezTo>
                    <a:cubicBezTo>
                      <a:pt x="670846" y="43387"/>
                      <a:pt x="666559" y="40228"/>
                      <a:pt x="659112" y="34812"/>
                    </a:cubicBezTo>
                    <a:lnTo>
                      <a:pt x="658435" y="34361"/>
                    </a:lnTo>
                    <a:cubicBezTo>
                      <a:pt x="650538" y="28720"/>
                      <a:pt x="646476" y="28268"/>
                      <a:pt x="638579" y="27140"/>
                    </a:cubicBezTo>
                    <a:cubicBezTo>
                      <a:pt x="636999" y="26915"/>
                      <a:pt x="635194" y="26689"/>
                      <a:pt x="633389" y="26238"/>
                    </a:cubicBezTo>
                    <a:cubicBezTo>
                      <a:pt x="625943" y="25109"/>
                      <a:pt x="624589" y="23079"/>
                      <a:pt x="623460" y="20371"/>
                    </a:cubicBezTo>
                    <a:cubicBezTo>
                      <a:pt x="623009" y="19468"/>
                      <a:pt x="622783" y="18791"/>
                      <a:pt x="621430" y="17889"/>
                    </a:cubicBezTo>
                    <a:cubicBezTo>
                      <a:pt x="619624" y="16986"/>
                      <a:pt x="617594" y="16761"/>
                      <a:pt x="615337" y="16535"/>
                    </a:cubicBezTo>
                    <a:cubicBezTo>
                      <a:pt x="611727" y="16309"/>
                      <a:pt x="607214" y="15858"/>
                      <a:pt x="602024" y="12247"/>
                    </a:cubicBezTo>
                    <a:cubicBezTo>
                      <a:pt x="599316" y="10217"/>
                      <a:pt x="597060" y="8637"/>
                      <a:pt x="595255" y="7058"/>
                    </a:cubicBezTo>
                    <a:cubicBezTo>
                      <a:pt x="592321" y="4576"/>
                      <a:pt x="590065" y="2996"/>
                      <a:pt x="588711" y="3222"/>
                    </a:cubicBezTo>
                    <a:cubicBezTo>
                      <a:pt x="588260" y="3222"/>
                      <a:pt x="586906" y="4124"/>
                      <a:pt x="585326" y="6606"/>
                    </a:cubicBezTo>
                    <a:cubicBezTo>
                      <a:pt x="583521" y="9314"/>
                      <a:pt x="582844" y="11571"/>
                      <a:pt x="583070" y="12247"/>
                    </a:cubicBezTo>
                    <a:cubicBezTo>
                      <a:pt x="583295" y="12699"/>
                      <a:pt x="583747" y="13150"/>
                      <a:pt x="584198" y="13827"/>
                    </a:cubicBezTo>
                    <a:cubicBezTo>
                      <a:pt x="585777" y="15632"/>
                      <a:pt x="587808" y="18114"/>
                      <a:pt x="586906" y="22176"/>
                    </a:cubicBezTo>
                    <a:cubicBezTo>
                      <a:pt x="586680" y="22627"/>
                      <a:pt x="586680" y="23304"/>
                      <a:pt x="586454" y="23755"/>
                    </a:cubicBezTo>
                    <a:cubicBezTo>
                      <a:pt x="585552" y="27817"/>
                      <a:pt x="583972" y="33458"/>
                      <a:pt x="586680" y="40228"/>
                    </a:cubicBezTo>
                    <a:cubicBezTo>
                      <a:pt x="590065" y="49028"/>
                      <a:pt x="588260" y="55120"/>
                      <a:pt x="584875" y="64146"/>
                    </a:cubicBezTo>
                    <a:cubicBezTo>
                      <a:pt x="583295" y="68433"/>
                      <a:pt x="577203" y="82198"/>
                      <a:pt x="568177" y="82198"/>
                    </a:cubicBezTo>
                    <a:cubicBezTo>
                      <a:pt x="563664" y="82198"/>
                      <a:pt x="560505" y="81070"/>
                      <a:pt x="558474" y="78813"/>
                    </a:cubicBezTo>
                    <a:cubicBezTo>
                      <a:pt x="556669" y="76782"/>
                      <a:pt x="555992" y="74075"/>
                      <a:pt x="556443" y="70690"/>
                    </a:cubicBezTo>
                    <a:cubicBezTo>
                      <a:pt x="556443" y="70239"/>
                      <a:pt x="556669" y="69562"/>
                      <a:pt x="556218" y="69110"/>
                    </a:cubicBezTo>
                    <a:cubicBezTo>
                      <a:pt x="555315" y="68208"/>
                      <a:pt x="550802" y="68885"/>
                      <a:pt x="547869" y="69562"/>
                    </a:cubicBezTo>
                    <a:cubicBezTo>
                      <a:pt x="545838" y="70013"/>
                      <a:pt x="543807" y="70239"/>
                      <a:pt x="541776" y="70464"/>
                    </a:cubicBezTo>
                    <a:cubicBezTo>
                      <a:pt x="534556" y="70916"/>
                      <a:pt x="527561" y="70013"/>
                      <a:pt x="514022" y="63695"/>
                    </a:cubicBezTo>
                    <a:cubicBezTo>
                      <a:pt x="504094" y="59182"/>
                      <a:pt x="500257" y="63695"/>
                      <a:pt x="496196" y="68885"/>
                    </a:cubicBezTo>
                    <a:cubicBezTo>
                      <a:pt x="495519" y="69787"/>
                      <a:pt x="494842" y="70690"/>
                      <a:pt x="494165" y="71367"/>
                    </a:cubicBezTo>
                    <a:cubicBezTo>
                      <a:pt x="488524" y="77685"/>
                      <a:pt x="472729" y="75203"/>
                      <a:pt x="465508" y="70239"/>
                    </a:cubicBezTo>
                    <a:cubicBezTo>
                      <a:pt x="456933" y="64597"/>
                      <a:pt x="459416" y="53541"/>
                      <a:pt x="463477" y="42710"/>
                    </a:cubicBezTo>
                    <a:cubicBezTo>
                      <a:pt x="467088" y="32781"/>
                      <a:pt x="460769" y="28494"/>
                      <a:pt x="451744" y="23304"/>
                    </a:cubicBezTo>
                    <a:cubicBezTo>
                      <a:pt x="447908" y="21048"/>
                      <a:pt x="440913" y="22402"/>
                      <a:pt x="432789" y="23981"/>
                    </a:cubicBezTo>
                    <a:cubicBezTo>
                      <a:pt x="425117" y="25561"/>
                      <a:pt x="416768" y="27140"/>
                      <a:pt x="407517" y="26689"/>
                    </a:cubicBezTo>
                    <a:cubicBezTo>
                      <a:pt x="395558" y="26238"/>
                      <a:pt x="390594" y="27817"/>
                      <a:pt x="384727" y="29848"/>
                    </a:cubicBezTo>
                    <a:cubicBezTo>
                      <a:pt x="381116" y="30976"/>
                      <a:pt x="377506" y="32330"/>
                      <a:pt x="372316" y="33233"/>
                    </a:cubicBezTo>
                    <a:cubicBezTo>
                      <a:pt x="359906" y="35263"/>
                      <a:pt x="357424" y="33007"/>
                      <a:pt x="350428" y="26012"/>
                    </a:cubicBezTo>
                    <a:cubicBezTo>
                      <a:pt x="348849" y="24432"/>
                      <a:pt x="347044" y="22627"/>
                      <a:pt x="344787" y="20596"/>
                    </a:cubicBezTo>
                    <a:cubicBezTo>
                      <a:pt x="342757" y="18566"/>
                      <a:pt x="339823" y="16986"/>
                      <a:pt x="336438" y="15632"/>
                    </a:cubicBezTo>
                    <a:cubicBezTo>
                      <a:pt x="336438" y="15858"/>
                      <a:pt x="336664" y="15858"/>
                      <a:pt x="336664" y="16084"/>
                    </a:cubicBezTo>
                    <a:cubicBezTo>
                      <a:pt x="340274" y="25335"/>
                      <a:pt x="337567" y="35263"/>
                      <a:pt x="330346" y="37971"/>
                    </a:cubicBezTo>
                    <a:cubicBezTo>
                      <a:pt x="324479" y="40228"/>
                      <a:pt x="318387" y="44064"/>
                      <a:pt x="308684" y="50382"/>
                    </a:cubicBezTo>
                    <a:cubicBezTo>
                      <a:pt x="305299" y="52638"/>
                      <a:pt x="301915" y="54218"/>
                      <a:pt x="298756" y="55797"/>
                    </a:cubicBezTo>
                    <a:cubicBezTo>
                      <a:pt x="291986" y="59182"/>
                      <a:pt x="285668" y="62341"/>
                      <a:pt x="278899" y="70239"/>
                    </a:cubicBezTo>
                    <a:cubicBezTo>
                      <a:pt x="270775" y="79941"/>
                      <a:pt x="275288" y="87613"/>
                      <a:pt x="279124" y="93706"/>
                    </a:cubicBezTo>
                    <a:cubicBezTo>
                      <a:pt x="279576" y="94608"/>
                      <a:pt x="280252" y="95511"/>
                      <a:pt x="280704" y="96188"/>
                    </a:cubicBezTo>
                    <a:cubicBezTo>
                      <a:pt x="282058" y="98670"/>
                      <a:pt x="281832" y="101378"/>
                      <a:pt x="280252" y="104311"/>
                    </a:cubicBezTo>
                    <a:cubicBezTo>
                      <a:pt x="277996" y="108147"/>
                      <a:pt x="272581" y="111758"/>
                      <a:pt x="270098" y="111758"/>
                    </a:cubicBezTo>
                    <a:cubicBezTo>
                      <a:pt x="268745" y="112434"/>
                      <a:pt x="263329" y="120558"/>
                      <a:pt x="260621" y="124845"/>
                    </a:cubicBezTo>
                    <a:cubicBezTo>
                      <a:pt x="259493" y="126425"/>
                      <a:pt x="258590" y="128004"/>
                      <a:pt x="257688" y="129358"/>
                    </a:cubicBezTo>
                    <a:cubicBezTo>
                      <a:pt x="252047" y="137255"/>
                      <a:pt x="249790" y="144702"/>
                      <a:pt x="250919" y="151020"/>
                    </a:cubicBezTo>
                    <a:lnTo>
                      <a:pt x="251144" y="152148"/>
                    </a:lnTo>
                    <a:cubicBezTo>
                      <a:pt x="252498" y="160497"/>
                      <a:pt x="254303" y="170877"/>
                      <a:pt x="246180" y="172456"/>
                    </a:cubicBezTo>
                    <a:cubicBezTo>
                      <a:pt x="243247" y="173133"/>
                      <a:pt x="243021" y="173810"/>
                      <a:pt x="241893" y="177646"/>
                    </a:cubicBezTo>
                    <a:cubicBezTo>
                      <a:pt x="241216" y="180128"/>
                      <a:pt x="240087" y="183739"/>
                      <a:pt x="237605" y="188477"/>
                    </a:cubicBezTo>
                    <a:cubicBezTo>
                      <a:pt x="231062" y="201339"/>
                      <a:pt x="219779" y="206529"/>
                      <a:pt x="211882" y="205852"/>
                    </a:cubicBezTo>
                    <a:cubicBezTo>
                      <a:pt x="204210" y="205401"/>
                      <a:pt x="185933" y="204498"/>
                      <a:pt x="173071" y="204498"/>
                    </a:cubicBezTo>
                    <a:cubicBezTo>
                      <a:pt x="165399" y="204498"/>
                      <a:pt x="162014" y="211042"/>
                      <a:pt x="158855" y="216683"/>
                    </a:cubicBezTo>
                    <a:cubicBezTo>
                      <a:pt x="157275" y="219842"/>
                      <a:pt x="155696" y="222324"/>
                      <a:pt x="153891" y="223678"/>
                    </a:cubicBezTo>
                    <a:cubicBezTo>
                      <a:pt x="152311" y="224581"/>
                      <a:pt x="152311" y="226386"/>
                      <a:pt x="152086" y="229545"/>
                    </a:cubicBezTo>
                    <a:cubicBezTo>
                      <a:pt x="151860" y="232478"/>
                      <a:pt x="151634" y="236089"/>
                      <a:pt x="149378" y="239248"/>
                    </a:cubicBezTo>
                    <a:cubicBezTo>
                      <a:pt x="143962" y="246468"/>
                      <a:pt x="138998" y="249853"/>
                      <a:pt x="133808" y="249853"/>
                    </a:cubicBezTo>
                    <a:cubicBezTo>
                      <a:pt x="132003" y="249853"/>
                      <a:pt x="127264" y="249853"/>
                      <a:pt x="127264" y="264520"/>
                    </a:cubicBezTo>
                    <a:cubicBezTo>
                      <a:pt x="127264" y="270838"/>
                      <a:pt x="126362" y="274900"/>
                      <a:pt x="125459" y="278059"/>
                    </a:cubicBezTo>
                    <a:cubicBezTo>
                      <a:pt x="124782" y="281218"/>
                      <a:pt x="124105" y="283249"/>
                      <a:pt x="124782" y="286182"/>
                    </a:cubicBezTo>
                    <a:cubicBezTo>
                      <a:pt x="125234" y="288213"/>
                      <a:pt x="125911" y="290469"/>
                      <a:pt x="126588" y="292951"/>
                    </a:cubicBezTo>
                    <a:cubicBezTo>
                      <a:pt x="128167" y="298141"/>
                      <a:pt x="129972" y="304008"/>
                      <a:pt x="129972" y="310100"/>
                    </a:cubicBezTo>
                    <a:cubicBezTo>
                      <a:pt x="129972" y="315967"/>
                      <a:pt x="130649" y="324542"/>
                      <a:pt x="131101" y="332439"/>
                    </a:cubicBezTo>
                    <a:cubicBezTo>
                      <a:pt x="131326" y="335824"/>
                      <a:pt x="131552" y="338983"/>
                      <a:pt x="131777" y="341465"/>
                    </a:cubicBezTo>
                    <a:cubicBezTo>
                      <a:pt x="132229" y="349137"/>
                      <a:pt x="141480" y="353650"/>
                      <a:pt x="147121" y="355907"/>
                    </a:cubicBezTo>
                    <a:cubicBezTo>
                      <a:pt x="154116" y="358614"/>
                      <a:pt x="162014" y="359968"/>
                      <a:pt x="169009" y="359968"/>
                    </a:cubicBezTo>
                    <a:cubicBezTo>
                      <a:pt x="171942" y="359968"/>
                      <a:pt x="173748" y="361322"/>
                      <a:pt x="174650" y="362450"/>
                    </a:cubicBezTo>
                    <a:cubicBezTo>
                      <a:pt x="177584" y="366061"/>
                      <a:pt x="176681" y="372153"/>
                      <a:pt x="176004" y="375312"/>
                    </a:cubicBezTo>
                    <a:cubicBezTo>
                      <a:pt x="175101" y="378922"/>
                      <a:pt x="170363" y="386369"/>
                      <a:pt x="164947" y="387271"/>
                    </a:cubicBezTo>
                    <a:cubicBezTo>
                      <a:pt x="162917" y="387723"/>
                      <a:pt x="159758" y="387271"/>
                      <a:pt x="157050" y="383435"/>
                    </a:cubicBezTo>
                    <a:cubicBezTo>
                      <a:pt x="154568" y="379825"/>
                      <a:pt x="146444" y="379599"/>
                      <a:pt x="139224" y="379374"/>
                    </a:cubicBezTo>
                    <a:cubicBezTo>
                      <a:pt x="130875" y="379148"/>
                      <a:pt x="123203" y="378922"/>
                      <a:pt x="121849" y="373281"/>
                    </a:cubicBezTo>
                    <a:cubicBezTo>
                      <a:pt x="120269" y="366061"/>
                      <a:pt x="112823" y="359517"/>
                      <a:pt x="103572" y="357712"/>
                    </a:cubicBezTo>
                    <a:cubicBezTo>
                      <a:pt x="99961" y="357035"/>
                      <a:pt x="96351" y="353650"/>
                      <a:pt x="92515" y="350040"/>
                    </a:cubicBezTo>
                    <a:cubicBezTo>
                      <a:pt x="87776" y="346429"/>
                      <a:pt x="83263" y="342368"/>
                      <a:pt x="79653" y="342368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xmlns="" id="{E38AB86C-813B-4355-98DB-BBBA5FA1756A}"/>
                  </a:ext>
                </a:extLst>
              </p:cNvPr>
              <p:cNvSpPr/>
              <p:nvPr/>
            </p:nvSpPr>
            <p:spPr>
              <a:xfrm>
                <a:off x="9965307" y="2460418"/>
                <a:ext cx="586680" cy="428728"/>
              </a:xfrm>
              <a:custGeom>
                <a:avLst/>
                <a:gdLst>
                  <a:gd name="connsiteX0" fmla="*/ 150913 w 586679"/>
                  <a:gd name="connsiteY0" fmla="*/ 436608 h 428727"/>
                  <a:gd name="connsiteX1" fmla="*/ 142790 w 586679"/>
                  <a:gd name="connsiteY1" fmla="*/ 432998 h 428727"/>
                  <a:gd name="connsiteX2" fmla="*/ 140985 w 586679"/>
                  <a:gd name="connsiteY2" fmla="*/ 431869 h 428727"/>
                  <a:gd name="connsiteX3" fmla="*/ 134667 w 586679"/>
                  <a:gd name="connsiteY3" fmla="*/ 428710 h 428727"/>
                  <a:gd name="connsiteX4" fmla="*/ 125415 w 586679"/>
                  <a:gd name="connsiteY4" fmla="*/ 422167 h 428727"/>
                  <a:gd name="connsiteX5" fmla="*/ 125190 w 586679"/>
                  <a:gd name="connsiteY5" fmla="*/ 415397 h 428727"/>
                  <a:gd name="connsiteX6" fmla="*/ 125415 w 586679"/>
                  <a:gd name="connsiteY6" fmla="*/ 412915 h 428727"/>
                  <a:gd name="connsiteX7" fmla="*/ 121128 w 586679"/>
                  <a:gd name="connsiteY7" fmla="*/ 411787 h 428727"/>
                  <a:gd name="connsiteX8" fmla="*/ 112328 w 586679"/>
                  <a:gd name="connsiteY8" fmla="*/ 412690 h 428727"/>
                  <a:gd name="connsiteX9" fmla="*/ 106235 w 586679"/>
                  <a:gd name="connsiteY9" fmla="*/ 412690 h 428727"/>
                  <a:gd name="connsiteX10" fmla="*/ 100143 w 586679"/>
                  <a:gd name="connsiteY10" fmla="*/ 405243 h 428727"/>
                  <a:gd name="connsiteX11" fmla="*/ 95856 w 586679"/>
                  <a:gd name="connsiteY11" fmla="*/ 399602 h 428727"/>
                  <a:gd name="connsiteX12" fmla="*/ 82317 w 586679"/>
                  <a:gd name="connsiteY12" fmla="*/ 400956 h 428727"/>
                  <a:gd name="connsiteX13" fmla="*/ 46665 w 586679"/>
                  <a:gd name="connsiteY13" fmla="*/ 414269 h 428727"/>
                  <a:gd name="connsiteX14" fmla="*/ 36285 w 586679"/>
                  <a:gd name="connsiteY14" fmla="*/ 410884 h 428727"/>
                  <a:gd name="connsiteX15" fmla="*/ 24326 w 586679"/>
                  <a:gd name="connsiteY15" fmla="*/ 406146 h 428727"/>
                  <a:gd name="connsiteX16" fmla="*/ 23198 w 586679"/>
                  <a:gd name="connsiteY16" fmla="*/ 405920 h 428727"/>
                  <a:gd name="connsiteX17" fmla="*/ 22972 w 586679"/>
                  <a:gd name="connsiteY17" fmla="*/ 404792 h 428727"/>
                  <a:gd name="connsiteX18" fmla="*/ 17782 w 586679"/>
                  <a:gd name="connsiteY18" fmla="*/ 394638 h 428727"/>
                  <a:gd name="connsiteX19" fmla="*/ 10110 w 586679"/>
                  <a:gd name="connsiteY19" fmla="*/ 379294 h 428727"/>
                  <a:gd name="connsiteX20" fmla="*/ 7402 w 586679"/>
                  <a:gd name="connsiteY20" fmla="*/ 371847 h 428727"/>
                  <a:gd name="connsiteX21" fmla="*/ 1987 w 586679"/>
                  <a:gd name="connsiteY21" fmla="*/ 339129 h 428727"/>
                  <a:gd name="connsiteX22" fmla="*/ 6500 w 586679"/>
                  <a:gd name="connsiteY22" fmla="*/ 327170 h 428727"/>
                  <a:gd name="connsiteX23" fmla="*/ 10110 w 586679"/>
                  <a:gd name="connsiteY23" fmla="*/ 316339 h 428727"/>
                  <a:gd name="connsiteX24" fmla="*/ 36285 w 586679"/>
                  <a:gd name="connsiteY24" fmla="*/ 298964 h 428727"/>
                  <a:gd name="connsiteX25" fmla="*/ 51629 w 586679"/>
                  <a:gd name="connsiteY25" fmla="*/ 284748 h 428727"/>
                  <a:gd name="connsiteX26" fmla="*/ 71035 w 586679"/>
                  <a:gd name="connsiteY26" fmla="*/ 266471 h 428727"/>
                  <a:gd name="connsiteX27" fmla="*/ 82994 w 586679"/>
                  <a:gd name="connsiteY27" fmla="*/ 256317 h 428727"/>
                  <a:gd name="connsiteX28" fmla="*/ 95179 w 586679"/>
                  <a:gd name="connsiteY28" fmla="*/ 246614 h 428727"/>
                  <a:gd name="connsiteX29" fmla="*/ 124062 w 586679"/>
                  <a:gd name="connsiteY29" fmla="*/ 242552 h 428727"/>
                  <a:gd name="connsiteX30" fmla="*/ 129477 w 586679"/>
                  <a:gd name="connsiteY30" fmla="*/ 242552 h 428727"/>
                  <a:gd name="connsiteX31" fmla="*/ 143918 w 586679"/>
                  <a:gd name="connsiteY31" fmla="*/ 235106 h 428727"/>
                  <a:gd name="connsiteX32" fmla="*/ 144821 w 586679"/>
                  <a:gd name="connsiteY32" fmla="*/ 233526 h 428727"/>
                  <a:gd name="connsiteX33" fmla="*/ 144595 w 586679"/>
                  <a:gd name="connsiteY33" fmla="*/ 229239 h 428727"/>
                  <a:gd name="connsiteX34" fmla="*/ 132185 w 586679"/>
                  <a:gd name="connsiteY34" fmla="*/ 219762 h 428727"/>
                  <a:gd name="connsiteX35" fmla="*/ 103302 w 586679"/>
                  <a:gd name="connsiteY35" fmla="*/ 204869 h 428727"/>
                  <a:gd name="connsiteX36" fmla="*/ 87281 w 586679"/>
                  <a:gd name="connsiteY36" fmla="*/ 193587 h 428727"/>
                  <a:gd name="connsiteX37" fmla="*/ 86604 w 586679"/>
                  <a:gd name="connsiteY37" fmla="*/ 193361 h 428727"/>
                  <a:gd name="connsiteX38" fmla="*/ 82768 w 586679"/>
                  <a:gd name="connsiteY38" fmla="*/ 182079 h 428727"/>
                  <a:gd name="connsiteX39" fmla="*/ 89763 w 586679"/>
                  <a:gd name="connsiteY39" fmla="*/ 172602 h 428727"/>
                  <a:gd name="connsiteX40" fmla="*/ 94727 w 586679"/>
                  <a:gd name="connsiteY40" fmla="*/ 171474 h 428727"/>
                  <a:gd name="connsiteX41" fmla="*/ 103302 w 586679"/>
                  <a:gd name="connsiteY41" fmla="*/ 168315 h 428727"/>
                  <a:gd name="connsiteX42" fmla="*/ 83219 w 586679"/>
                  <a:gd name="connsiteY42" fmla="*/ 152294 h 428727"/>
                  <a:gd name="connsiteX43" fmla="*/ 75548 w 586679"/>
                  <a:gd name="connsiteY43" fmla="*/ 137176 h 428727"/>
                  <a:gd name="connsiteX44" fmla="*/ 90215 w 586679"/>
                  <a:gd name="connsiteY44" fmla="*/ 127021 h 428727"/>
                  <a:gd name="connsiteX45" fmla="*/ 91117 w 586679"/>
                  <a:gd name="connsiteY45" fmla="*/ 125442 h 428727"/>
                  <a:gd name="connsiteX46" fmla="*/ 100820 w 586679"/>
                  <a:gd name="connsiteY46" fmla="*/ 118898 h 428727"/>
                  <a:gd name="connsiteX47" fmla="*/ 113907 w 586679"/>
                  <a:gd name="connsiteY47" fmla="*/ 110324 h 428727"/>
                  <a:gd name="connsiteX48" fmla="*/ 110974 w 586679"/>
                  <a:gd name="connsiteY48" fmla="*/ 108518 h 428727"/>
                  <a:gd name="connsiteX49" fmla="*/ 101271 w 586679"/>
                  <a:gd name="connsiteY49" fmla="*/ 100395 h 428727"/>
                  <a:gd name="connsiteX50" fmla="*/ 87732 w 586679"/>
                  <a:gd name="connsiteY50" fmla="*/ 87082 h 428727"/>
                  <a:gd name="connsiteX51" fmla="*/ 76224 w 586679"/>
                  <a:gd name="connsiteY51" fmla="*/ 70384 h 428727"/>
                  <a:gd name="connsiteX52" fmla="*/ 71486 w 586679"/>
                  <a:gd name="connsiteY52" fmla="*/ 59553 h 428727"/>
                  <a:gd name="connsiteX53" fmla="*/ 62234 w 586679"/>
                  <a:gd name="connsiteY53" fmla="*/ 43758 h 428727"/>
                  <a:gd name="connsiteX54" fmla="*/ 61332 w 586679"/>
                  <a:gd name="connsiteY54" fmla="*/ 41727 h 428727"/>
                  <a:gd name="connsiteX55" fmla="*/ 59752 w 586679"/>
                  <a:gd name="connsiteY55" fmla="*/ 38794 h 428727"/>
                  <a:gd name="connsiteX56" fmla="*/ 54562 w 586679"/>
                  <a:gd name="connsiteY56" fmla="*/ 24578 h 428727"/>
                  <a:gd name="connsiteX57" fmla="*/ 46439 w 586679"/>
                  <a:gd name="connsiteY57" fmla="*/ 18260 h 428727"/>
                  <a:gd name="connsiteX58" fmla="*/ 41926 w 586679"/>
                  <a:gd name="connsiteY58" fmla="*/ 15101 h 428727"/>
                  <a:gd name="connsiteX59" fmla="*/ 44183 w 586679"/>
                  <a:gd name="connsiteY59" fmla="*/ 11942 h 428727"/>
                  <a:gd name="connsiteX60" fmla="*/ 44183 w 586679"/>
                  <a:gd name="connsiteY60" fmla="*/ 11942 h 428727"/>
                  <a:gd name="connsiteX61" fmla="*/ 44183 w 586679"/>
                  <a:gd name="connsiteY61" fmla="*/ 11942 h 428727"/>
                  <a:gd name="connsiteX62" fmla="*/ 44183 w 586679"/>
                  <a:gd name="connsiteY62" fmla="*/ 11942 h 428727"/>
                  <a:gd name="connsiteX63" fmla="*/ 48696 w 586679"/>
                  <a:gd name="connsiteY63" fmla="*/ 14875 h 428727"/>
                  <a:gd name="connsiteX64" fmla="*/ 58624 w 586679"/>
                  <a:gd name="connsiteY64" fmla="*/ 22999 h 428727"/>
                  <a:gd name="connsiteX65" fmla="*/ 58850 w 586679"/>
                  <a:gd name="connsiteY65" fmla="*/ 22547 h 428727"/>
                  <a:gd name="connsiteX66" fmla="*/ 73065 w 586679"/>
                  <a:gd name="connsiteY66" fmla="*/ 8557 h 428727"/>
                  <a:gd name="connsiteX67" fmla="*/ 75548 w 586679"/>
                  <a:gd name="connsiteY67" fmla="*/ 9009 h 428727"/>
                  <a:gd name="connsiteX68" fmla="*/ 86378 w 586679"/>
                  <a:gd name="connsiteY68" fmla="*/ 6075 h 428727"/>
                  <a:gd name="connsiteX69" fmla="*/ 87055 w 586679"/>
                  <a:gd name="connsiteY69" fmla="*/ 5398 h 428727"/>
                  <a:gd name="connsiteX70" fmla="*/ 108492 w 586679"/>
                  <a:gd name="connsiteY70" fmla="*/ 3819 h 428727"/>
                  <a:gd name="connsiteX71" fmla="*/ 113456 w 586679"/>
                  <a:gd name="connsiteY71" fmla="*/ 12619 h 428727"/>
                  <a:gd name="connsiteX72" fmla="*/ 118646 w 586679"/>
                  <a:gd name="connsiteY72" fmla="*/ 18937 h 428727"/>
                  <a:gd name="connsiteX73" fmla="*/ 125867 w 586679"/>
                  <a:gd name="connsiteY73" fmla="*/ 17583 h 428727"/>
                  <a:gd name="connsiteX74" fmla="*/ 136923 w 586679"/>
                  <a:gd name="connsiteY74" fmla="*/ 15778 h 428727"/>
                  <a:gd name="connsiteX75" fmla="*/ 156780 w 586679"/>
                  <a:gd name="connsiteY75" fmla="*/ 27060 h 428727"/>
                  <a:gd name="connsiteX76" fmla="*/ 161744 w 586679"/>
                  <a:gd name="connsiteY76" fmla="*/ 48271 h 428727"/>
                  <a:gd name="connsiteX77" fmla="*/ 160165 w 586679"/>
                  <a:gd name="connsiteY77" fmla="*/ 52558 h 428727"/>
                  <a:gd name="connsiteX78" fmla="*/ 157908 w 586679"/>
                  <a:gd name="connsiteY78" fmla="*/ 62487 h 428727"/>
                  <a:gd name="connsiteX79" fmla="*/ 159037 w 586679"/>
                  <a:gd name="connsiteY79" fmla="*/ 62938 h 428727"/>
                  <a:gd name="connsiteX80" fmla="*/ 206874 w 586679"/>
                  <a:gd name="connsiteY80" fmla="*/ 77379 h 428727"/>
                  <a:gd name="connsiteX81" fmla="*/ 213192 w 586679"/>
                  <a:gd name="connsiteY81" fmla="*/ 82118 h 428727"/>
                  <a:gd name="connsiteX82" fmla="*/ 255388 w 586679"/>
                  <a:gd name="connsiteY82" fmla="*/ 91369 h 428727"/>
                  <a:gd name="connsiteX83" fmla="*/ 259900 w 586679"/>
                  <a:gd name="connsiteY83" fmla="*/ 88436 h 428727"/>
                  <a:gd name="connsiteX84" fmla="*/ 284721 w 586679"/>
                  <a:gd name="connsiteY84" fmla="*/ 83472 h 428727"/>
                  <a:gd name="connsiteX85" fmla="*/ 289911 w 586679"/>
                  <a:gd name="connsiteY85" fmla="*/ 98816 h 428727"/>
                  <a:gd name="connsiteX86" fmla="*/ 291942 w 586679"/>
                  <a:gd name="connsiteY86" fmla="*/ 109647 h 428727"/>
                  <a:gd name="connsiteX87" fmla="*/ 310671 w 586679"/>
                  <a:gd name="connsiteY87" fmla="*/ 116642 h 428727"/>
                  <a:gd name="connsiteX88" fmla="*/ 322404 w 586679"/>
                  <a:gd name="connsiteY88" fmla="*/ 113708 h 428727"/>
                  <a:gd name="connsiteX89" fmla="*/ 333461 w 586679"/>
                  <a:gd name="connsiteY89" fmla="*/ 110775 h 428727"/>
                  <a:gd name="connsiteX90" fmla="*/ 380170 w 586679"/>
                  <a:gd name="connsiteY90" fmla="*/ 120703 h 428727"/>
                  <a:gd name="connsiteX91" fmla="*/ 384006 w 586679"/>
                  <a:gd name="connsiteY91" fmla="*/ 122283 h 428727"/>
                  <a:gd name="connsiteX92" fmla="*/ 432294 w 586679"/>
                  <a:gd name="connsiteY92" fmla="*/ 126796 h 428727"/>
                  <a:gd name="connsiteX93" fmla="*/ 466592 w 586679"/>
                  <a:gd name="connsiteY93" fmla="*/ 128601 h 428727"/>
                  <a:gd name="connsiteX94" fmla="*/ 470880 w 586679"/>
                  <a:gd name="connsiteY94" fmla="*/ 131534 h 428727"/>
                  <a:gd name="connsiteX95" fmla="*/ 489834 w 586679"/>
                  <a:gd name="connsiteY95" fmla="*/ 133791 h 428727"/>
                  <a:gd name="connsiteX96" fmla="*/ 507885 w 586679"/>
                  <a:gd name="connsiteY96" fmla="*/ 127698 h 428727"/>
                  <a:gd name="connsiteX97" fmla="*/ 516009 w 586679"/>
                  <a:gd name="connsiteY97" fmla="*/ 131986 h 428727"/>
                  <a:gd name="connsiteX98" fmla="*/ 520070 w 586679"/>
                  <a:gd name="connsiteY98" fmla="*/ 134468 h 428727"/>
                  <a:gd name="connsiteX99" fmla="*/ 525937 w 586679"/>
                  <a:gd name="connsiteY99" fmla="*/ 133565 h 428727"/>
                  <a:gd name="connsiteX100" fmla="*/ 529322 w 586679"/>
                  <a:gd name="connsiteY100" fmla="*/ 132211 h 428727"/>
                  <a:gd name="connsiteX101" fmla="*/ 536091 w 586679"/>
                  <a:gd name="connsiteY101" fmla="*/ 127247 h 428727"/>
                  <a:gd name="connsiteX102" fmla="*/ 535866 w 586679"/>
                  <a:gd name="connsiteY102" fmla="*/ 125216 h 428727"/>
                  <a:gd name="connsiteX103" fmla="*/ 536091 w 586679"/>
                  <a:gd name="connsiteY103" fmla="*/ 121832 h 428727"/>
                  <a:gd name="connsiteX104" fmla="*/ 542184 w 586679"/>
                  <a:gd name="connsiteY104" fmla="*/ 119575 h 428727"/>
                  <a:gd name="connsiteX105" fmla="*/ 546471 w 586679"/>
                  <a:gd name="connsiteY105" fmla="*/ 118898 h 428727"/>
                  <a:gd name="connsiteX106" fmla="*/ 559107 w 586679"/>
                  <a:gd name="connsiteY106" fmla="*/ 122734 h 428727"/>
                  <a:gd name="connsiteX107" fmla="*/ 565877 w 586679"/>
                  <a:gd name="connsiteY107" fmla="*/ 129955 h 428727"/>
                  <a:gd name="connsiteX108" fmla="*/ 568133 w 586679"/>
                  <a:gd name="connsiteY108" fmla="*/ 131309 h 428727"/>
                  <a:gd name="connsiteX109" fmla="*/ 570615 w 586679"/>
                  <a:gd name="connsiteY109" fmla="*/ 132663 h 428727"/>
                  <a:gd name="connsiteX110" fmla="*/ 573323 w 586679"/>
                  <a:gd name="connsiteY110" fmla="*/ 124765 h 428727"/>
                  <a:gd name="connsiteX111" fmla="*/ 576708 w 586679"/>
                  <a:gd name="connsiteY111" fmla="*/ 114385 h 428727"/>
                  <a:gd name="connsiteX112" fmla="*/ 577385 w 586679"/>
                  <a:gd name="connsiteY112" fmla="*/ 113031 h 428727"/>
                  <a:gd name="connsiteX113" fmla="*/ 578964 w 586679"/>
                  <a:gd name="connsiteY113" fmla="*/ 113257 h 428727"/>
                  <a:gd name="connsiteX114" fmla="*/ 584831 w 586679"/>
                  <a:gd name="connsiteY114" fmla="*/ 113483 h 428727"/>
                  <a:gd name="connsiteX115" fmla="*/ 599949 w 586679"/>
                  <a:gd name="connsiteY115" fmla="*/ 125442 h 428727"/>
                  <a:gd name="connsiteX116" fmla="*/ 589795 w 586679"/>
                  <a:gd name="connsiteY116" fmla="*/ 156130 h 428727"/>
                  <a:gd name="connsiteX117" fmla="*/ 581897 w 586679"/>
                  <a:gd name="connsiteY117" fmla="*/ 160417 h 428727"/>
                  <a:gd name="connsiteX118" fmla="*/ 570841 w 586679"/>
                  <a:gd name="connsiteY118" fmla="*/ 169894 h 428727"/>
                  <a:gd name="connsiteX119" fmla="*/ 559558 w 586679"/>
                  <a:gd name="connsiteY119" fmla="*/ 180500 h 428727"/>
                  <a:gd name="connsiteX120" fmla="*/ 554820 w 586679"/>
                  <a:gd name="connsiteY120" fmla="*/ 183207 h 428727"/>
                  <a:gd name="connsiteX121" fmla="*/ 560912 w 586679"/>
                  <a:gd name="connsiteY121" fmla="*/ 206449 h 428727"/>
                  <a:gd name="connsiteX122" fmla="*/ 565425 w 586679"/>
                  <a:gd name="connsiteY122" fmla="*/ 210962 h 428727"/>
                  <a:gd name="connsiteX123" fmla="*/ 578287 w 586679"/>
                  <a:gd name="connsiteY123" fmla="*/ 228562 h 428727"/>
                  <a:gd name="connsiteX124" fmla="*/ 580544 w 586679"/>
                  <a:gd name="connsiteY124" fmla="*/ 245937 h 428727"/>
                  <a:gd name="connsiteX125" fmla="*/ 576031 w 586679"/>
                  <a:gd name="connsiteY125" fmla="*/ 249547 h 428727"/>
                  <a:gd name="connsiteX126" fmla="*/ 570164 w 586679"/>
                  <a:gd name="connsiteY126" fmla="*/ 254286 h 428727"/>
                  <a:gd name="connsiteX127" fmla="*/ 563620 w 586679"/>
                  <a:gd name="connsiteY127" fmla="*/ 260378 h 428727"/>
                  <a:gd name="connsiteX128" fmla="*/ 557302 w 586679"/>
                  <a:gd name="connsiteY128" fmla="*/ 275722 h 428727"/>
                  <a:gd name="connsiteX129" fmla="*/ 559333 w 586679"/>
                  <a:gd name="connsiteY129" fmla="*/ 280010 h 428727"/>
                  <a:gd name="connsiteX130" fmla="*/ 556174 w 586679"/>
                  <a:gd name="connsiteY130" fmla="*/ 307313 h 428727"/>
                  <a:gd name="connsiteX131" fmla="*/ 554369 w 586679"/>
                  <a:gd name="connsiteY131" fmla="*/ 308667 h 428727"/>
                  <a:gd name="connsiteX132" fmla="*/ 553466 w 586679"/>
                  <a:gd name="connsiteY132" fmla="*/ 306636 h 428727"/>
                  <a:gd name="connsiteX133" fmla="*/ 551887 w 586679"/>
                  <a:gd name="connsiteY133" fmla="*/ 301897 h 428727"/>
                  <a:gd name="connsiteX134" fmla="*/ 549404 w 586679"/>
                  <a:gd name="connsiteY134" fmla="*/ 290615 h 428727"/>
                  <a:gd name="connsiteX135" fmla="*/ 535640 w 586679"/>
                  <a:gd name="connsiteY135" fmla="*/ 283394 h 428727"/>
                  <a:gd name="connsiteX136" fmla="*/ 531353 w 586679"/>
                  <a:gd name="connsiteY136" fmla="*/ 281364 h 428727"/>
                  <a:gd name="connsiteX137" fmla="*/ 528645 w 586679"/>
                  <a:gd name="connsiteY137" fmla="*/ 280235 h 428727"/>
                  <a:gd name="connsiteX138" fmla="*/ 527291 w 586679"/>
                  <a:gd name="connsiteY138" fmla="*/ 282717 h 428727"/>
                  <a:gd name="connsiteX139" fmla="*/ 518491 w 586679"/>
                  <a:gd name="connsiteY139" fmla="*/ 295353 h 428727"/>
                  <a:gd name="connsiteX140" fmla="*/ 510819 w 586679"/>
                  <a:gd name="connsiteY140" fmla="*/ 297159 h 428727"/>
                  <a:gd name="connsiteX141" fmla="*/ 503373 w 586679"/>
                  <a:gd name="connsiteY141" fmla="*/ 298738 h 428727"/>
                  <a:gd name="connsiteX142" fmla="*/ 498634 w 586679"/>
                  <a:gd name="connsiteY142" fmla="*/ 304831 h 428727"/>
                  <a:gd name="connsiteX143" fmla="*/ 495475 w 586679"/>
                  <a:gd name="connsiteY143" fmla="*/ 309795 h 428727"/>
                  <a:gd name="connsiteX144" fmla="*/ 492316 w 586679"/>
                  <a:gd name="connsiteY144" fmla="*/ 312503 h 428727"/>
                  <a:gd name="connsiteX145" fmla="*/ 481259 w 586679"/>
                  <a:gd name="connsiteY145" fmla="*/ 327170 h 428727"/>
                  <a:gd name="connsiteX146" fmla="*/ 480808 w 586679"/>
                  <a:gd name="connsiteY146" fmla="*/ 331682 h 428727"/>
                  <a:gd name="connsiteX147" fmla="*/ 476295 w 586679"/>
                  <a:gd name="connsiteY147" fmla="*/ 349057 h 428727"/>
                  <a:gd name="connsiteX148" fmla="*/ 474941 w 586679"/>
                  <a:gd name="connsiteY148" fmla="*/ 351314 h 428727"/>
                  <a:gd name="connsiteX149" fmla="*/ 469751 w 586679"/>
                  <a:gd name="connsiteY149" fmla="*/ 365981 h 428727"/>
                  <a:gd name="connsiteX150" fmla="*/ 462305 w 586679"/>
                  <a:gd name="connsiteY150" fmla="*/ 382453 h 428727"/>
                  <a:gd name="connsiteX151" fmla="*/ 457341 w 586679"/>
                  <a:gd name="connsiteY151" fmla="*/ 382227 h 428727"/>
                  <a:gd name="connsiteX152" fmla="*/ 452151 w 586679"/>
                  <a:gd name="connsiteY152" fmla="*/ 383807 h 428727"/>
                  <a:gd name="connsiteX153" fmla="*/ 435453 w 586679"/>
                  <a:gd name="connsiteY153" fmla="*/ 389674 h 428727"/>
                  <a:gd name="connsiteX154" fmla="*/ 424622 w 586679"/>
                  <a:gd name="connsiteY154" fmla="*/ 391253 h 428727"/>
                  <a:gd name="connsiteX155" fmla="*/ 416950 w 586679"/>
                  <a:gd name="connsiteY155" fmla="*/ 392381 h 428727"/>
                  <a:gd name="connsiteX156" fmla="*/ 413565 w 586679"/>
                  <a:gd name="connsiteY156" fmla="*/ 389448 h 428727"/>
                  <a:gd name="connsiteX157" fmla="*/ 412212 w 586679"/>
                  <a:gd name="connsiteY157" fmla="*/ 390350 h 428727"/>
                  <a:gd name="connsiteX158" fmla="*/ 406570 w 586679"/>
                  <a:gd name="connsiteY158" fmla="*/ 393961 h 428727"/>
                  <a:gd name="connsiteX159" fmla="*/ 402960 w 586679"/>
                  <a:gd name="connsiteY159" fmla="*/ 399602 h 428727"/>
                  <a:gd name="connsiteX160" fmla="*/ 397996 w 586679"/>
                  <a:gd name="connsiteY160" fmla="*/ 418556 h 428727"/>
                  <a:gd name="connsiteX161" fmla="*/ 393483 w 586679"/>
                  <a:gd name="connsiteY161" fmla="*/ 420587 h 428727"/>
                  <a:gd name="connsiteX162" fmla="*/ 381749 w 586679"/>
                  <a:gd name="connsiteY162" fmla="*/ 416074 h 428727"/>
                  <a:gd name="connsiteX163" fmla="*/ 378816 w 586679"/>
                  <a:gd name="connsiteY163" fmla="*/ 411336 h 428727"/>
                  <a:gd name="connsiteX164" fmla="*/ 367308 w 586679"/>
                  <a:gd name="connsiteY164" fmla="*/ 395766 h 428727"/>
                  <a:gd name="connsiteX165" fmla="*/ 362118 w 586679"/>
                  <a:gd name="connsiteY165" fmla="*/ 394187 h 428727"/>
                  <a:gd name="connsiteX166" fmla="*/ 351964 w 586679"/>
                  <a:gd name="connsiteY166" fmla="*/ 387417 h 428727"/>
                  <a:gd name="connsiteX167" fmla="*/ 346323 w 586679"/>
                  <a:gd name="connsiteY167" fmla="*/ 376135 h 428727"/>
                  <a:gd name="connsiteX168" fmla="*/ 335041 w 586679"/>
                  <a:gd name="connsiteY168" fmla="*/ 371171 h 428727"/>
                  <a:gd name="connsiteX169" fmla="*/ 318343 w 586679"/>
                  <a:gd name="connsiteY169" fmla="*/ 368688 h 428727"/>
                  <a:gd name="connsiteX170" fmla="*/ 305932 w 586679"/>
                  <a:gd name="connsiteY170" fmla="*/ 367786 h 428727"/>
                  <a:gd name="connsiteX171" fmla="*/ 303676 w 586679"/>
                  <a:gd name="connsiteY171" fmla="*/ 369140 h 428727"/>
                  <a:gd name="connsiteX172" fmla="*/ 300742 w 586679"/>
                  <a:gd name="connsiteY172" fmla="*/ 375458 h 428727"/>
                  <a:gd name="connsiteX173" fmla="*/ 294650 w 586679"/>
                  <a:gd name="connsiteY173" fmla="*/ 388094 h 428727"/>
                  <a:gd name="connsiteX174" fmla="*/ 278403 w 586679"/>
                  <a:gd name="connsiteY174" fmla="*/ 397797 h 428727"/>
                  <a:gd name="connsiteX175" fmla="*/ 269152 w 586679"/>
                  <a:gd name="connsiteY175" fmla="*/ 401633 h 428727"/>
                  <a:gd name="connsiteX176" fmla="*/ 256741 w 586679"/>
                  <a:gd name="connsiteY176" fmla="*/ 406823 h 428727"/>
                  <a:gd name="connsiteX177" fmla="*/ 241172 w 586679"/>
                  <a:gd name="connsiteY177" fmla="*/ 414043 h 428727"/>
                  <a:gd name="connsiteX178" fmla="*/ 235079 w 586679"/>
                  <a:gd name="connsiteY178" fmla="*/ 420361 h 428727"/>
                  <a:gd name="connsiteX179" fmla="*/ 226053 w 586679"/>
                  <a:gd name="connsiteY179" fmla="*/ 426454 h 428727"/>
                  <a:gd name="connsiteX180" fmla="*/ 214771 w 586679"/>
                  <a:gd name="connsiteY180" fmla="*/ 426454 h 428727"/>
                  <a:gd name="connsiteX181" fmla="*/ 207776 w 586679"/>
                  <a:gd name="connsiteY181" fmla="*/ 426905 h 428727"/>
                  <a:gd name="connsiteX182" fmla="*/ 198525 w 586679"/>
                  <a:gd name="connsiteY182" fmla="*/ 423746 h 428727"/>
                  <a:gd name="connsiteX183" fmla="*/ 197622 w 586679"/>
                  <a:gd name="connsiteY183" fmla="*/ 422167 h 428727"/>
                  <a:gd name="connsiteX184" fmla="*/ 189048 w 586679"/>
                  <a:gd name="connsiteY184" fmla="*/ 413366 h 428727"/>
                  <a:gd name="connsiteX185" fmla="*/ 173929 w 586679"/>
                  <a:gd name="connsiteY185" fmla="*/ 421715 h 428727"/>
                  <a:gd name="connsiteX186" fmla="*/ 170545 w 586679"/>
                  <a:gd name="connsiteY186" fmla="*/ 424423 h 428727"/>
                  <a:gd name="connsiteX187" fmla="*/ 164452 w 586679"/>
                  <a:gd name="connsiteY187" fmla="*/ 426679 h 428727"/>
                  <a:gd name="connsiteX188" fmla="*/ 157683 w 586679"/>
                  <a:gd name="connsiteY188" fmla="*/ 431418 h 428727"/>
                  <a:gd name="connsiteX189" fmla="*/ 152493 w 586679"/>
                  <a:gd name="connsiteY189" fmla="*/ 436608 h 428727"/>
                  <a:gd name="connsiteX190" fmla="*/ 150913 w 586679"/>
                  <a:gd name="connsiteY190" fmla="*/ 436608 h 428727"/>
                  <a:gd name="connsiteX191" fmla="*/ 117969 w 586679"/>
                  <a:gd name="connsiteY191" fmla="*/ 407951 h 428727"/>
                  <a:gd name="connsiteX192" fmla="*/ 121354 w 586679"/>
                  <a:gd name="connsiteY192" fmla="*/ 408177 h 428727"/>
                  <a:gd name="connsiteX193" fmla="*/ 128349 w 586679"/>
                  <a:gd name="connsiteY193" fmla="*/ 410884 h 428727"/>
                  <a:gd name="connsiteX194" fmla="*/ 128574 w 586679"/>
                  <a:gd name="connsiteY194" fmla="*/ 416525 h 428727"/>
                  <a:gd name="connsiteX195" fmla="*/ 128349 w 586679"/>
                  <a:gd name="connsiteY195" fmla="*/ 420361 h 428727"/>
                  <a:gd name="connsiteX196" fmla="*/ 135795 w 586679"/>
                  <a:gd name="connsiteY196" fmla="*/ 425326 h 428727"/>
                  <a:gd name="connsiteX197" fmla="*/ 142790 w 586679"/>
                  <a:gd name="connsiteY197" fmla="*/ 428710 h 428727"/>
                  <a:gd name="connsiteX198" fmla="*/ 144595 w 586679"/>
                  <a:gd name="connsiteY198" fmla="*/ 429839 h 428727"/>
                  <a:gd name="connsiteX199" fmla="*/ 151365 w 586679"/>
                  <a:gd name="connsiteY199" fmla="*/ 432772 h 428727"/>
                  <a:gd name="connsiteX200" fmla="*/ 154298 w 586679"/>
                  <a:gd name="connsiteY200" fmla="*/ 429613 h 428727"/>
                  <a:gd name="connsiteX201" fmla="*/ 164001 w 586679"/>
                  <a:gd name="connsiteY201" fmla="*/ 422844 h 428727"/>
                  <a:gd name="connsiteX202" fmla="*/ 168739 w 586679"/>
                  <a:gd name="connsiteY202" fmla="*/ 421264 h 428727"/>
                  <a:gd name="connsiteX203" fmla="*/ 172124 w 586679"/>
                  <a:gd name="connsiteY203" fmla="*/ 418782 h 428727"/>
                  <a:gd name="connsiteX204" fmla="*/ 189724 w 586679"/>
                  <a:gd name="connsiteY204" fmla="*/ 409756 h 428727"/>
                  <a:gd name="connsiteX205" fmla="*/ 201232 w 586679"/>
                  <a:gd name="connsiteY205" fmla="*/ 420587 h 428727"/>
                  <a:gd name="connsiteX206" fmla="*/ 202135 w 586679"/>
                  <a:gd name="connsiteY206" fmla="*/ 422167 h 428727"/>
                  <a:gd name="connsiteX207" fmla="*/ 207776 w 586679"/>
                  <a:gd name="connsiteY207" fmla="*/ 423520 h 428727"/>
                  <a:gd name="connsiteX208" fmla="*/ 214997 w 586679"/>
                  <a:gd name="connsiteY208" fmla="*/ 423069 h 428727"/>
                  <a:gd name="connsiteX209" fmla="*/ 226279 w 586679"/>
                  <a:gd name="connsiteY209" fmla="*/ 423069 h 428727"/>
                  <a:gd name="connsiteX210" fmla="*/ 232146 w 586679"/>
                  <a:gd name="connsiteY210" fmla="*/ 417879 h 428727"/>
                  <a:gd name="connsiteX211" fmla="*/ 238690 w 586679"/>
                  <a:gd name="connsiteY211" fmla="*/ 411336 h 428727"/>
                  <a:gd name="connsiteX212" fmla="*/ 255388 w 586679"/>
                  <a:gd name="connsiteY212" fmla="*/ 403438 h 428727"/>
                  <a:gd name="connsiteX213" fmla="*/ 267121 w 586679"/>
                  <a:gd name="connsiteY213" fmla="*/ 398474 h 428727"/>
                  <a:gd name="connsiteX214" fmla="*/ 277050 w 586679"/>
                  <a:gd name="connsiteY214" fmla="*/ 394412 h 428727"/>
                  <a:gd name="connsiteX215" fmla="*/ 291265 w 586679"/>
                  <a:gd name="connsiteY215" fmla="*/ 386514 h 428727"/>
                  <a:gd name="connsiteX216" fmla="*/ 297132 w 586679"/>
                  <a:gd name="connsiteY216" fmla="*/ 374104 h 428727"/>
                  <a:gd name="connsiteX217" fmla="*/ 300065 w 586679"/>
                  <a:gd name="connsiteY217" fmla="*/ 367786 h 428727"/>
                  <a:gd name="connsiteX218" fmla="*/ 304578 w 586679"/>
                  <a:gd name="connsiteY218" fmla="*/ 364401 h 428727"/>
                  <a:gd name="connsiteX219" fmla="*/ 319922 w 586679"/>
                  <a:gd name="connsiteY219" fmla="*/ 365529 h 428727"/>
                  <a:gd name="connsiteX220" fmla="*/ 333235 w 586679"/>
                  <a:gd name="connsiteY220" fmla="*/ 367786 h 428727"/>
                  <a:gd name="connsiteX221" fmla="*/ 348354 w 586679"/>
                  <a:gd name="connsiteY221" fmla="*/ 373201 h 428727"/>
                  <a:gd name="connsiteX222" fmla="*/ 355123 w 586679"/>
                  <a:gd name="connsiteY222" fmla="*/ 386289 h 428727"/>
                  <a:gd name="connsiteX223" fmla="*/ 362569 w 586679"/>
                  <a:gd name="connsiteY223" fmla="*/ 390350 h 428727"/>
                  <a:gd name="connsiteX224" fmla="*/ 367985 w 586679"/>
                  <a:gd name="connsiteY224" fmla="*/ 391930 h 428727"/>
                  <a:gd name="connsiteX225" fmla="*/ 381524 w 586679"/>
                  <a:gd name="connsiteY225" fmla="*/ 409079 h 428727"/>
                  <a:gd name="connsiteX226" fmla="*/ 384006 w 586679"/>
                  <a:gd name="connsiteY226" fmla="*/ 413366 h 428727"/>
                  <a:gd name="connsiteX227" fmla="*/ 392580 w 586679"/>
                  <a:gd name="connsiteY227" fmla="*/ 416300 h 428727"/>
                  <a:gd name="connsiteX228" fmla="*/ 394160 w 586679"/>
                  <a:gd name="connsiteY228" fmla="*/ 415849 h 428727"/>
                  <a:gd name="connsiteX229" fmla="*/ 398447 w 586679"/>
                  <a:gd name="connsiteY229" fmla="*/ 398925 h 428727"/>
                  <a:gd name="connsiteX230" fmla="*/ 404088 w 586679"/>
                  <a:gd name="connsiteY230" fmla="*/ 390125 h 428727"/>
                  <a:gd name="connsiteX231" fmla="*/ 409053 w 586679"/>
                  <a:gd name="connsiteY231" fmla="*/ 386966 h 428727"/>
                  <a:gd name="connsiteX232" fmla="*/ 414242 w 586679"/>
                  <a:gd name="connsiteY232" fmla="*/ 384709 h 428727"/>
                  <a:gd name="connsiteX233" fmla="*/ 416273 w 586679"/>
                  <a:gd name="connsiteY233" fmla="*/ 387417 h 428727"/>
                  <a:gd name="connsiteX234" fmla="*/ 416499 w 586679"/>
                  <a:gd name="connsiteY234" fmla="*/ 387868 h 428727"/>
                  <a:gd name="connsiteX235" fmla="*/ 423268 w 586679"/>
                  <a:gd name="connsiteY235" fmla="*/ 386740 h 428727"/>
                  <a:gd name="connsiteX236" fmla="*/ 434776 w 586679"/>
                  <a:gd name="connsiteY236" fmla="*/ 385161 h 428727"/>
                  <a:gd name="connsiteX237" fmla="*/ 448089 w 586679"/>
                  <a:gd name="connsiteY237" fmla="*/ 381550 h 428727"/>
                  <a:gd name="connsiteX238" fmla="*/ 457115 w 586679"/>
                  <a:gd name="connsiteY238" fmla="*/ 377714 h 428727"/>
                  <a:gd name="connsiteX239" fmla="*/ 461402 w 586679"/>
                  <a:gd name="connsiteY239" fmla="*/ 377940 h 428727"/>
                  <a:gd name="connsiteX240" fmla="*/ 465238 w 586679"/>
                  <a:gd name="connsiteY240" fmla="*/ 365529 h 428727"/>
                  <a:gd name="connsiteX241" fmla="*/ 470880 w 586679"/>
                  <a:gd name="connsiteY241" fmla="*/ 348832 h 428727"/>
                  <a:gd name="connsiteX242" fmla="*/ 472234 w 586679"/>
                  <a:gd name="connsiteY242" fmla="*/ 346575 h 428727"/>
                  <a:gd name="connsiteX243" fmla="*/ 476295 w 586679"/>
                  <a:gd name="connsiteY243" fmla="*/ 330780 h 428727"/>
                  <a:gd name="connsiteX244" fmla="*/ 476746 w 586679"/>
                  <a:gd name="connsiteY244" fmla="*/ 326267 h 428727"/>
                  <a:gd name="connsiteX245" fmla="*/ 489157 w 586679"/>
                  <a:gd name="connsiteY245" fmla="*/ 309118 h 428727"/>
                  <a:gd name="connsiteX246" fmla="*/ 492090 w 586679"/>
                  <a:gd name="connsiteY246" fmla="*/ 306636 h 428727"/>
                  <a:gd name="connsiteX247" fmla="*/ 494347 w 586679"/>
                  <a:gd name="connsiteY247" fmla="*/ 302800 h 428727"/>
                  <a:gd name="connsiteX248" fmla="*/ 500665 w 586679"/>
                  <a:gd name="connsiteY248" fmla="*/ 295128 h 428727"/>
                  <a:gd name="connsiteX249" fmla="*/ 510142 w 586679"/>
                  <a:gd name="connsiteY249" fmla="*/ 292871 h 428727"/>
                  <a:gd name="connsiteX250" fmla="*/ 515558 w 586679"/>
                  <a:gd name="connsiteY250" fmla="*/ 291743 h 428727"/>
                  <a:gd name="connsiteX251" fmla="*/ 523004 w 586679"/>
                  <a:gd name="connsiteY251" fmla="*/ 281138 h 428727"/>
                  <a:gd name="connsiteX252" fmla="*/ 526614 w 586679"/>
                  <a:gd name="connsiteY252" fmla="*/ 276174 h 428727"/>
                  <a:gd name="connsiteX253" fmla="*/ 532481 w 586679"/>
                  <a:gd name="connsiteY253" fmla="*/ 277527 h 428727"/>
                  <a:gd name="connsiteX254" fmla="*/ 535866 w 586679"/>
                  <a:gd name="connsiteY254" fmla="*/ 279107 h 428727"/>
                  <a:gd name="connsiteX255" fmla="*/ 550984 w 586679"/>
                  <a:gd name="connsiteY255" fmla="*/ 287005 h 428727"/>
                  <a:gd name="connsiteX256" fmla="*/ 554820 w 586679"/>
                  <a:gd name="connsiteY256" fmla="*/ 301220 h 428727"/>
                  <a:gd name="connsiteX257" fmla="*/ 555046 w 586679"/>
                  <a:gd name="connsiteY257" fmla="*/ 302123 h 428727"/>
                  <a:gd name="connsiteX258" fmla="*/ 555271 w 586679"/>
                  <a:gd name="connsiteY258" fmla="*/ 281138 h 428727"/>
                  <a:gd name="connsiteX259" fmla="*/ 553015 w 586679"/>
                  <a:gd name="connsiteY259" fmla="*/ 276174 h 428727"/>
                  <a:gd name="connsiteX260" fmla="*/ 560687 w 586679"/>
                  <a:gd name="connsiteY260" fmla="*/ 256768 h 428727"/>
                  <a:gd name="connsiteX261" fmla="*/ 566779 w 586679"/>
                  <a:gd name="connsiteY261" fmla="*/ 250901 h 428727"/>
                  <a:gd name="connsiteX262" fmla="*/ 574677 w 586679"/>
                  <a:gd name="connsiteY262" fmla="*/ 245034 h 428727"/>
                  <a:gd name="connsiteX263" fmla="*/ 576708 w 586679"/>
                  <a:gd name="connsiteY263" fmla="*/ 243455 h 428727"/>
                  <a:gd name="connsiteX264" fmla="*/ 574226 w 586679"/>
                  <a:gd name="connsiteY264" fmla="*/ 229239 h 428727"/>
                  <a:gd name="connsiteX265" fmla="*/ 562266 w 586679"/>
                  <a:gd name="connsiteY265" fmla="*/ 212767 h 428727"/>
                  <a:gd name="connsiteX266" fmla="*/ 557528 w 586679"/>
                  <a:gd name="connsiteY266" fmla="*/ 208029 h 428727"/>
                  <a:gd name="connsiteX267" fmla="*/ 550533 w 586679"/>
                  <a:gd name="connsiteY267" fmla="*/ 181402 h 428727"/>
                  <a:gd name="connsiteX268" fmla="*/ 557753 w 586679"/>
                  <a:gd name="connsiteY268" fmla="*/ 175987 h 428727"/>
                  <a:gd name="connsiteX269" fmla="*/ 566553 w 586679"/>
                  <a:gd name="connsiteY269" fmla="*/ 168315 h 428727"/>
                  <a:gd name="connsiteX270" fmla="*/ 579867 w 586679"/>
                  <a:gd name="connsiteY270" fmla="*/ 155679 h 428727"/>
                  <a:gd name="connsiteX271" fmla="*/ 586862 w 586679"/>
                  <a:gd name="connsiteY271" fmla="*/ 152068 h 428727"/>
                  <a:gd name="connsiteX272" fmla="*/ 595662 w 586679"/>
                  <a:gd name="connsiteY272" fmla="*/ 124539 h 428727"/>
                  <a:gd name="connsiteX273" fmla="*/ 584605 w 586679"/>
                  <a:gd name="connsiteY273" fmla="*/ 115965 h 428727"/>
                  <a:gd name="connsiteX274" fmla="*/ 579415 w 586679"/>
                  <a:gd name="connsiteY274" fmla="*/ 115965 h 428727"/>
                  <a:gd name="connsiteX275" fmla="*/ 576708 w 586679"/>
                  <a:gd name="connsiteY275" fmla="*/ 124765 h 428727"/>
                  <a:gd name="connsiteX276" fmla="*/ 571743 w 586679"/>
                  <a:gd name="connsiteY276" fmla="*/ 135370 h 428727"/>
                  <a:gd name="connsiteX277" fmla="*/ 565877 w 586679"/>
                  <a:gd name="connsiteY277" fmla="*/ 133565 h 428727"/>
                  <a:gd name="connsiteX278" fmla="*/ 563846 w 586679"/>
                  <a:gd name="connsiteY278" fmla="*/ 132437 h 428727"/>
                  <a:gd name="connsiteX279" fmla="*/ 555723 w 586679"/>
                  <a:gd name="connsiteY279" fmla="*/ 123637 h 428727"/>
                  <a:gd name="connsiteX280" fmla="*/ 546922 w 586679"/>
                  <a:gd name="connsiteY280" fmla="*/ 121606 h 428727"/>
                  <a:gd name="connsiteX281" fmla="*/ 542409 w 586679"/>
                  <a:gd name="connsiteY281" fmla="*/ 122283 h 428727"/>
                  <a:gd name="connsiteX282" fmla="*/ 539250 w 586679"/>
                  <a:gd name="connsiteY282" fmla="*/ 122960 h 428727"/>
                  <a:gd name="connsiteX283" fmla="*/ 539250 w 586679"/>
                  <a:gd name="connsiteY283" fmla="*/ 123186 h 428727"/>
                  <a:gd name="connsiteX284" fmla="*/ 539250 w 586679"/>
                  <a:gd name="connsiteY284" fmla="*/ 127698 h 428727"/>
                  <a:gd name="connsiteX285" fmla="*/ 529999 w 586679"/>
                  <a:gd name="connsiteY285" fmla="*/ 134919 h 428727"/>
                  <a:gd name="connsiteX286" fmla="*/ 527517 w 586679"/>
                  <a:gd name="connsiteY286" fmla="*/ 136047 h 428727"/>
                  <a:gd name="connsiteX287" fmla="*/ 519619 w 586679"/>
                  <a:gd name="connsiteY287" fmla="*/ 137401 h 428727"/>
                  <a:gd name="connsiteX288" fmla="*/ 513075 w 586679"/>
                  <a:gd name="connsiteY288" fmla="*/ 133791 h 428727"/>
                  <a:gd name="connsiteX289" fmla="*/ 507434 w 586679"/>
                  <a:gd name="connsiteY289" fmla="*/ 130857 h 428727"/>
                  <a:gd name="connsiteX290" fmla="*/ 492090 w 586679"/>
                  <a:gd name="connsiteY290" fmla="*/ 136047 h 428727"/>
                  <a:gd name="connsiteX291" fmla="*/ 468623 w 586679"/>
                  <a:gd name="connsiteY291" fmla="*/ 134017 h 428727"/>
                  <a:gd name="connsiteX292" fmla="*/ 464336 w 586679"/>
                  <a:gd name="connsiteY292" fmla="*/ 131083 h 428727"/>
                  <a:gd name="connsiteX293" fmla="*/ 433874 w 586679"/>
                  <a:gd name="connsiteY293" fmla="*/ 129729 h 428727"/>
                  <a:gd name="connsiteX294" fmla="*/ 382652 w 586679"/>
                  <a:gd name="connsiteY294" fmla="*/ 125216 h 428727"/>
                  <a:gd name="connsiteX295" fmla="*/ 378816 w 586679"/>
                  <a:gd name="connsiteY295" fmla="*/ 123637 h 428727"/>
                  <a:gd name="connsiteX296" fmla="*/ 334138 w 586679"/>
                  <a:gd name="connsiteY296" fmla="*/ 113934 h 428727"/>
                  <a:gd name="connsiteX297" fmla="*/ 323533 w 586679"/>
                  <a:gd name="connsiteY297" fmla="*/ 116867 h 428727"/>
                  <a:gd name="connsiteX298" fmla="*/ 311348 w 586679"/>
                  <a:gd name="connsiteY298" fmla="*/ 120026 h 428727"/>
                  <a:gd name="connsiteX299" fmla="*/ 288783 w 586679"/>
                  <a:gd name="connsiteY299" fmla="*/ 111001 h 428727"/>
                  <a:gd name="connsiteX300" fmla="*/ 286301 w 586679"/>
                  <a:gd name="connsiteY300" fmla="*/ 98590 h 428727"/>
                  <a:gd name="connsiteX301" fmla="*/ 282465 w 586679"/>
                  <a:gd name="connsiteY301" fmla="*/ 85954 h 428727"/>
                  <a:gd name="connsiteX302" fmla="*/ 262157 w 586679"/>
                  <a:gd name="connsiteY302" fmla="*/ 91144 h 428727"/>
                  <a:gd name="connsiteX303" fmla="*/ 257418 w 586679"/>
                  <a:gd name="connsiteY303" fmla="*/ 94077 h 428727"/>
                  <a:gd name="connsiteX304" fmla="*/ 210935 w 586679"/>
                  <a:gd name="connsiteY304" fmla="*/ 84600 h 428727"/>
                  <a:gd name="connsiteX305" fmla="*/ 204617 w 586679"/>
                  <a:gd name="connsiteY305" fmla="*/ 79861 h 428727"/>
                  <a:gd name="connsiteX306" fmla="*/ 158811 w 586679"/>
                  <a:gd name="connsiteY306" fmla="*/ 66097 h 428727"/>
                  <a:gd name="connsiteX307" fmla="*/ 154975 w 586679"/>
                  <a:gd name="connsiteY307" fmla="*/ 64066 h 428727"/>
                  <a:gd name="connsiteX308" fmla="*/ 156780 w 586679"/>
                  <a:gd name="connsiteY308" fmla="*/ 50753 h 428727"/>
                  <a:gd name="connsiteX309" fmla="*/ 158134 w 586679"/>
                  <a:gd name="connsiteY309" fmla="*/ 46917 h 428727"/>
                  <a:gd name="connsiteX310" fmla="*/ 153621 w 586679"/>
                  <a:gd name="connsiteY310" fmla="*/ 28640 h 428727"/>
                  <a:gd name="connsiteX311" fmla="*/ 136923 w 586679"/>
                  <a:gd name="connsiteY311" fmla="*/ 19163 h 428727"/>
                  <a:gd name="connsiteX312" fmla="*/ 126995 w 586679"/>
                  <a:gd name="connsiteY312" fmla="*/ 20968 h 428727"/>
                  <a:gd name="connsiteX313" fmla="*/ 118646 w 586679"/>
                  <a:gd name="connsiteY313" fmla="*/ 22547 h 428727"/>
                  <a:gd name="connsiteX314" fmla="*/ 110071 w 586679"/>
                  <a:gd name="connsiteY314" fmla="*/ 13747 h 428727"/>
                  <a:gd name="connsiteX315" fmla="*/ 106235 w 586679"/>
                  <a:gd name="connsiteY315" fmla="*/ 6526 h 428727"/>
                  <a:gd name="connsiteX316" fmla="*/ 89989 w 586679"/>
                  <a:gd name="connsiteY316" fmla="*/ 7880 h 428727"/>
                  <a:gd name="connsiteX317" fmla="*/ 89312 w 586679"/>
                  <a:gd name="connsiteY317" fmla="*/ 8557 h 428727"/>
                  <a:gd name="connsiteX318" fmla="*/ 75096 w 586679"/>
                  <a:gd name="connsiteY318" fmla="*/ 12619 h 428727"/>
                  <a:gd name="connsiteX319" fmla="*/ 72614 w 586679"/>
                  <a:gd name="connsiteY319" fmla="*/ 12168 h 428727"/>
                  <a:gd name="connsiteX320" fmla="*/ 62686 w 586679"/>
                  <a:gd name="connsiteY320" fmla="*/ 23676 h 428727"/>
                  <a:gd name="connsiteX321" fmla="*/ 59978 w 586679"/>
                  <a:gd name="connsiteY321" fmla="*/ 28414 h 428727"/>
                  <a:gd name="connsiteX322" fmla="*/ 63588 w 586679"/>
                  <a:gd name="connsiteY322" fmla="*/ 36312 h 428727"/>
                  <a:gd name="connsiteX323" fmla="*/ 65393 w 586679"/>
                  <a:gd name="connsiteY323" fmla="*/ 39471 h 428727"/>
                  <a:gd name="connsiteX324" fmla="*/ 66296 w 586679"/>
                  <a:gd name="connsiteY324" fmla="*/ 41502 h 428727"/>
                  <a:gd name="connsiteX325" fmla="*/ 74871 w 586679"/>
                  <a:gd name="connsiteY325" fmla="*/ 56394 h 428727"/>
                  <a:gd name="connsiteX326" fmla="*/ 80286 w 586679"/>
                  <a:gd name="connsiteY326" fmla="*/ 68354 h 428727"/>
                  <a:gd name="connsiteX327" fmla="*/ 88635 w 586679"/>
                  <a:gd name="connsiteY327" fmla="*/ 82569 h 428727"/>
                  <a:gd name="connsiteX328" fmla="*/ 105107 w 586679"/>
                  <a:gd name="connsiteY328" fmla="*/ 98364 h 428727"/>
                  <a:gd name="connsiteX329" fmla="*/ 112554 w 586679"/>
                  <a:gd name="connsiteY329" fmla="*/ 104457 h 428727"/>
                  <a:gd name="connsiteX330" fmla="*/ 117969 w 586679"/>
                  <a:gd name="connsiteY330" fmla="*/ 110098 h 428727"/>
                  <a:gd name="connsiteX331" fmla="*/ 101046 w 586679"/>
                  <a:gd name="connsiteY331" fmla="*/ 122057 h 428727"/>
                  <a:gd name="connsiteX332" fmla="*/ 94727 w 586679"/>
                  <a:gd name="connsiteY332" fmla="*/ 126119 h 428727"/>
                  <a:gd name="connsiteX333" fmla="*/ 90892 w 586679"/>
                  <a:gd name="connsiteY333" fmla="*/ 130181 h 428727"/>
                  <a:gd name="connsiteX334" fmla="*/ 79383 w 586679"/>
                  <a:gd name="connsiteY334" fmla="*/ 137853 h 428727"/>
                  <a:gd name="connsiteX335" fmla="*/ 84799 w 586679"/>
                  <a:gd name="connsiteY335" fmla="*/ 148232 h 428727"/>
                  <a:gd name="connsiteX336" fmla="*/ 107138 w 586679"/>
                  <a:gd name="connsiteY336" fmla="*/ 168766 h 428727"/>
                  <a:gd name="connsiteX337" fmla="*/ 95630 w 586679"/>
                  <a:gd name="connsiteY337" fmla="*/ 174633 h 428727"/>
                  <a:gd name="connsiteX338" fmla="*/ 90666 w 586679"/>
                  <a:gd name="connsiteY338" fmla="*/ 175761 h 428727"/>
                  <a:gd name="connsiteX339" fmla="*/ 86604 w 586679"/>
                  <a:gd name="connsiteY339" fmla="*/ 182079 h 428727"/>
                  <a:gd name="connsiteX340" fmla="*/ 88409 w 586679"/>
                  <a:gd name="connsiteY340" fmla="*/ 189751 h 428727"/>
                  <a:gd name="connsiteX341" fmla="*/ 89086 w 586679"/>
                  <a:gd name="connsiteY341" fmla="*/ 189977 h 428727"/>
                  <a:gd name="connsiteX342" fmla="*/ 106461 w 586679"/>
                  <a:gd name="connsiteY342" fmla="*/ 202387 h 428727"/>
                  <a:gd name="connsiteX343" fmla="*/ 133087 w 586679"/>
                  <a:gd name="connsiteY343" fmla="*/ 215700 h 428727"/>
                  <a:gd name="connsiteX344" fmla="*/ 148431 w 586679"/>
                  <a:gd name="connsiteY344" fmla="*/ 227208 h 428727"/>
                  <a:gd name="connsiteX345" fmla="*/ 148657 w 586679"/>
                  <a:gd name="connsiteY345" fmla="*/ 234880 h 428727"/>
                  <a:gd name="connsiteX346" fmla="*/ 147754 w 586679"/>
                  <a:gd name="connsiteY346" fmla="*/ 236234 h 428727"/>
                  <a:gd name="connsiteX347" fmla="*/ 130154 w 586679"/>
                  <a:gd name="connsiteY347" fmla="*/ 245486 h 428727"/>
                  <a:gd name="connsiteX348" fmla="*/ 124738 w 586679"/>
                  <a:gd name="connsiteY348" fmla="*/ 245486 h 428727"/>
                  <a:gd name="connsiteX349" fmla="*/ 97661 w 586679"/>
                  <a:gd name="connsiteY349" fmla="*/ 249096 h 428727"/>
                  <a:gd name="connsiteX350" fmla="*/ 86378 w 586679"/>
                  <a:gd name="connsiteY350" fmla="*/ 258122 h 428727"/>
                  <a:gd name="connsiteX351" fmla="*/ 73742 w 586679"/>
                  <a:gd name="connsiteY351" fmla="*/ 268727 h 428727"/>
                  <a:gd name="connsiteX352" fmla="*/ 55239 w 586679"/>
                  <a:gd name="connsiteY352" fmla="*/ 286553 h 428727"/>
                  <a:gd name="connsiteX353" fmla="*/ 37865 w 586679"/>
                  <a:gd name="connsiteY353" fmla="*/ 301897 h 428727"/>
                  <a:gd name="connsiteX354" fmla="*/ 14172 w 586679"/>
                  <a:gd name="connsiteY354" fmla="*/ 317467 h 428727"/>
                  <a:gd name="connsiteX355" fmla="*/ 11013 w 586679"/>
                  <a:gd name="connsiteY355" fmla="*/ 327170 h 428727"/>
                  <a:gd name="connsiteX356" fmla="*/ 5597 w 586679"/>
                  <a:gd name="connsiteY356" fmla="*/ 340708 h 428727"/>
                  <a:gd name="connsiteX357" fmla="*/ 11464 w 586679"/>
                  <a:gd name="connsiteY357" fmla="*/ 369817 h 428727"/>
                  <a:gd name="connsiteX358" fmla="*/ 14397 w 586679"/>
                  <a:gd name="connsiteY358" fmla="*/ 377489 h 428727"/>
                  <a:gd name="connsiteX359" fmla="*/ 21844 w 586679"/>
                  <a:gd name="connsiteY359" fmla="*/ 392156 h 428727"/>
                  <a:gd name="connsiteX360" fmla="*/ 27259 w 586679"/>
                  <a:gd name="connsiteY360" fmla="*/ 402310 h 428727"/>
                  <a:gd name="connsiteX361" fmla="*/ 38767 w 586679"/>
                  <a:gd name="connsiteY361" fmla="*/ 407048 h 428727"/>
                  <a:gd name="connsiteX362" fmla="*/ 47567 w 586679"/>
                  <a:gd name="connsiteY362" fmla="*/ 410207 h 428727"/>
                  <a:gd name="connsiteX363" fmla="*/ 80512 w 586679"/>
                  <a:gd name="connsiteY363" fmla="*/ 398022 h 428727"/>
                  <a:gd name="connsiteX364" fmla="*/ 97886 w 586679"/>
                  <a:gd name="connsiteY364" fmla="*/ 395540 h 428727"/>
                  <a:gd name="connsiteX365" fmla="*/ 104430 w 586679"/>
                  <a:gd name="connsiteY365" fmla="*/ 403438 h 428727"/>
                  <a:gd name="connsiteX366" fmla="*/ 108266 w 586679"/>
                  <a:gd name="connsiteY366" fmla="*/ 408628 h 428727"/>
                  <a:gd name="connsiteX367" fmla="*/ 111877 w 586679"/>
                  <a:gd name="connsiteY367" fmla="*/ 408628 h 428727"/>
                  <a:gd name="connsiteX368" fmla="*/ 117969 w 586679"/>
                  <a:gd name="connsiteY368" fmla="*/ 407951 h 428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586679" h="428727">
                    <a:moveTo>
                      <a:pt x="150913" y="436608"/>
                    </a:moveTo>
                    <a:cubicBezTo>
                      <a:pt x="148206" y="436608"/>
                      <a:pt x="145724" y="435028"/>
                      <a:pt x="142790" y="432998"/>
                    </a:cubicBezTo>
                    <a:lnTo>
                      <a:pt x="140985" y="431869"/>
                    </a:lnTo>
                    <a:cubicBezTo>
                      <a:pt x="138954" y="430516"/>
                      <a:pt x="136698" y="429613"/>
                      <a:pt x="134667" y="428710"/>
                    </a:cubicBezTo>
                    <a:cubicBezTo>
                      <a:pt x="131056" y="427131"/>
                      <a:pt x="127446" y="425777"/>
                      <a:pt x="125415" y="422167"/>
                    </a:cubicBezTo>
                    <a:cubicBezTo>
                      <a:pt x="123836" y="419685"/>
                      <a:pt x="124738" y="417202"/>
                      <a:pt x="125190" y="415397"/>
                    </a:cubicBezTo>
                    <a:cubicBezTo>
                      <a:pt x="125415" y="414495"/>
                      <a:pt x="125867" y="413366"/>
                      <a:pt x="125415" y="412915"/>
                    </a:cubicBezTo>
                    <a:cubicBezTo>
                      <a:pt x="125415" y="412690"/>
                      <a:pt x="124738" y="412013"/>
                      <a:pt x="121128" y="411787"/>
                    </a:cubicBezTo>
                    <a:cubicBezTo>
                      <a:pt x="115487" y="411336"/>
                      <a:pt x="113682" y="412013"/>
                      <a:pt x="112328" y="412690"/>
                    </a:cubicBezTo>
                    <a:cubicBezTo>
                      <a:pt x="110523" y="413366"/>
                      <a:pt x="109169" y="413818"/>
                      <a:pt x="106235" y="412690"/>
                    </a:cubicBezTo>
                    <a:cubicBezTo>
                      <a:pt x="102625" y="411561"/>
                      <a:pt x="101271" y="408177"/>
                      <a:pt x="100143" y="405243"/>
                    </a:cubicBezTo>
                    <a:cubicBezTo>
                      <a:pt x="99015" y="402084"/>
                      <a:pt x="98112" y="400279"/>
                      <a:pt x="95856" y="399602"/>
                    </a:cubicBezTo>
                    <a:cubicBezTo>
                      <a:pt x="89312" y="397571"/>
                      <a:pt x="86153" y="396894"/>
                      <a:pt x="82317" y="400956"/>
                    </a:cubicBezTo>
                    <a:cubicBezTo>
                      <a:pt x="76901" y="406823"/>
                      <a:pt x="54111" y="414269"/>
                      <a:pt x="46665" y="414269"/>
                    </a:cubicBezTo>
                    <a:cubicBezTo>
                      <a:pt x="43280" y="414269"/>
                      <a:pt x="40121" y="412690"/>
                      <a:pt x="36285" y="410884"/>
                    </a:cubicBezTo>
                    <a:cubicBezTo>
                      <a:pt x="32900" y="409305"/>
                      <a:pt x="29064" y="407500"/>
                      <a:pt x="24326" y="406146"/>
                    </a:cubicBezTo>
                    <a:lnTo>
                      <a:pt x="23198" y="405920"/>
                    </a:lnTo>
                    <a:lnTo>
                      <a:pt x="22972" y="404792"/>
                    </a:lnTo>
                    <a:cubicBezTo>
                      <a:pt x="22521" y="402761"/>
                      <a:pt x="20264" y="398699"/>
                      <a:pt x="17782" y="394638"/>
                    </a:cubicBezTo>
                    <a:cubicBezTo>
                      <a:pt x="14849" y="389674"/>
                      <a:pt x="11464" y="384032"/>
                      <a:pt x="10110" y="379294"/>
                    </a:cubicBezTo>
                    <a:cubicBezTo>
                      <a:pt x="9433" y="377489"/>
                      <a:pt x="8531" y="374781"/>
                      <a:pt x="7402" y="371847"/>
                    </a:cubicBezTo>
                    <a:cubicBezTo>
                      <a:pt x="1761" y="357181"/>
                      <a:pt x="-2752" y="344544"/>
                      <a:pt x="1987" y="339129"/>
                    </a:cubicBezTo>
                    <a:cubicBezTo>
                      <a:pt x="4695" y="335970"/>
                      <a:pt x="5597" y="331682"/>
                      <a:pt x="6500" y="327170"/>
                    </a:cubicBezTo>
                    <a:cubicBezTo>
                      <a:pt x="7177" y="323334"/>
                      <a:pt x="8079" y="319498"/>
                      <a:pt x="10110" y="316339"/>
                    </a:cubicBezTo>
                    <a:cubicBezTo>
                      <a:pt x="14623" y="309118"/>
                      <a:pt x="30193" y="300092"/>
                      <a:pt x="36285" y="298964"/>
                    </a:cubicBezTo>
                    <a:cubicBezTo>
                      <a:pt x="38542" y="298512"/>
                      <a:pt x="45762" y="290841"/>
                      <a:pt x="51629" y="284748"/>
                    </a:cubicBezTo>
                    <a:cubicBezTo>
                      <a:pt x="58398" y="277527"/>
                      <a:pt x="65393" y="269856"/>
                      <a:pt x="71035" y="266471"/>
                    </a:cubicBezTo>
                    <a:cubicBezTo>
                      <a:pt x="75999" y="263086"/>
                      <a:pt x="79609" y="259701"/>
                      <a:pt x="82994" y="256317"/>
                    </a:cubicBezTo>
                    <a:cubicBezTo>
                      <a:pt x="86604" y="252706"/>
                      <a:pt x="90215" y="249322"/>
                      <a:pt x="95179" y="246614"/>
                    </a:cubicBezTo>
                    <a:cubicBezTo>
                      <a:pt x="103302" y="242327"/>
                      <a:pt x="113230" y="242552"/>
                      <a:pt x="124062" y="242552"/>
                    </a:cubicBezTo>
                    <a:cubicBezTo>
                      <a:pt x="125867" y="242552"/>
                      <a:pt x="127672" y="242552"/>
                      <a:pt x="129477" y="242552"/>
                    </a:cubicBezTo>
                    <a:cubicBezTo>
                      <a:pt x="139631" y="242552"/>
                      <a:pt x="141662" y="239168"/>
                      <a:pt x="143918" y="235106"/>
                    </a:cubicBezTo>
                    <a:cubicBezTo>
                      <a:pt x="144144" y="234655"/>
                      <a:pt x="144595" y="233978"/>
                      <a:pt x="144821" y="233526"/>
                    </a:cubicBezTo>
                    <a:cubicBezTo>
                      <a:pt x="145498" y="232624"/>
                      <a:pt x="145272" y="231044"/>
                      <a:pt x="144595" y="229239"/>
                    </a:cubicBezTo>
                    <a:cubicBezTo>
                      <a:pt x="143016" y="225629"/>
                      <a:pt x="138277" y="221116"/>
                      <a:pt x="132185" y="219762"/>
                    </a:cubicBezTo>
                    <a:cubicBezTo>
                      <a:pt x="122256" y="217957"/>
                      <a:pt x="108492" y="211639"/>
                      <a:pt x="103302" y="204869"/>
                    </a:cubicBezTo>
                    <a:cubicBezTo>
                      <a:pt x="99015" y="199454"/>
                      <a:pt x="91117" y="195392"/>
                      <a:pt x="87281" y="193587"/>
                    </a:cubicBezTo>
                    <a:lnTo>
                      <a:pt x="86604" y="193361"/>
                    </a:lnTo>
                    <a:cubicBezTo>
                      <a:pt x="83445" y="191782"/>
                      <a:pt x="82317" y="186367"/>
                      <a:pt x="82768" y="182079"/>
                    </a:cubicBezTo>
                    <a:cubicBezTo>
                      <a:pt x="83219" y="176889"/>
                      <a:pt x="85927" y="173505"/>
                      <a:pt x="89763" y="172602"/>
                    </a:cubicBezTo>
                    <a:cubicBezTo>
                      <a:pt x="91568" y="172151"/>
                      <a:pt x="93148" y="171699"/>
                      <a:pt x="94727" y="171474"/>
                    </a:cubicBezTo>
                    <a:cubicBezTo>
                      <a:pt x="98789" y="170571"/>
                      <a:pt x="102851" y="169669"/>
                      <a:pt x="103302" y="168315"/>
                    </a:cubicBezTo>
                    <a:cubicBezTo>
                      <a:pt x="102625" y="165607"/>
                      <a:pt x="87055" y="153648"/>
                      <a:pt x="83219" y="152294"/>
                    </a:cubicBezTo>
                    <a:cubicBezTo>
                      <a:pt x="78481" y="150489"/>
                      <a:pt x="73291" y="143945"/>
                      <a:pt x="75548" y="137176"/>
                    </a:cubicBezTo>
                    <a:cubicBezTo>
                      <a:pt x="77578" y="130857"/>
                      <a:pt x="85702" y="127473"/>
                      <a:pt x="90215" y="127021"/>
                    </a:cubicBezTo>
                    <a:cubicBezTo>
                      <a:pt x="90440" y="127021"/>
                      <a:pt x="90666" y="126796"/>
                      <a:pt x="91117" y="125442"/>
                    </a:cubicBezTo>
                    <a:cubicBezTo>
                      <a:pt x="92020" y="122960"/>
                      <a:pt x="93374" y="118898"/>
                      <a:pt x="100820" y="118898"/>
                    </a:cubicBezTo>
                    <a:cubicBezTo>
                      <a:pt x="109169" y="118898"/>
                      <a:pt x="113682" y="114385"/>
                      <a:pt x="113907" y="110324"/>
                    </a:cubicBezTo>
                    <a:cubicBezTo>
                      <a:pt x="113907" y="109872"/>
                      <a:pt x="113682" y="109421"/>
                      <a:pt x="110974" y="108518"/>
                    </a:cubicBezTo>
                    <a:cubicBezTo>
                      <a:pt x="108040" y="107390"/>
                      <a:pt x="103302" y="105811"/>
                      <a:pt x="101271" y="100395"/>
                    </a:cubicBezTo>
                    <a:cubicBezTo>
                      <a:pt x="97661" y="91369"/>
                      <a:pt x="94051" y="87759"/>
                      <a:pt x="87732" y="87082"/>
                    </a:cubicBezTo>
                    <a:cubicBezTo>
                      <a:pt x="81640" y="86405"/>
                      <a:pt x="78932" y="78282"/>
                      <a:pt x="76224" y="70384"/>
                    </a:cubicBezTo>
                    <a:cubicBezTo>
                      <a:pt x="74871" y="66097"/>
                      <a:pt x="73291" y="61810"/>
                      <a:pt x="71486" y="59553"/>
                    </a:cubicBezTo>
                    <a:cubicBezTo>
                      <a:pt x="66747" y="54138"/>
                      <a:pt x="64491" y="48497"/>
                      <a:pt x="62234" y="43758"/>
                    </a:cubicBezTo>
                    <a:lnTo>
                      <a:pt x="61332" y="41727"/>
                    </a:lnTo>
                    <a:cubicBezTo>
                      <a:pt x="60881" y="40825"/>
                      <a:pt x="60429" y="39922"/>
                      <a:pt x="59752" y="38794"/>
                    </a:cubicBezTo>
                    <a:cubicBezTo>
                      <a:pt x="57947" y="35635"/>
                      <a:pt x="55465" y="31348"/>
                      <a:pt x="54562" y="24578"/>
                    </a:cubicBezTo>
                    <a:cubicBezTo>
                      <a:pt x="52757" y="22547"/>
                      <a:pt x="49598" y="20517"/>
                      <a:pt x="46439" y="18260"/>
                    </a:cubicBezTo>
                    <a:cubicBezTo>
                      <a:pt x="44860" y="17358"/>
                      <a:pt x="43280" y="16229"/>
                      <a:pt x="41926" y="15101"/>
                    </a:cubicBezTo>
                    <a:lnTo>
                      <a:pt x="44183" y="11942"/>
                    </a:lnTo>
                    <a:lnTo>
                      <a:pt x="44183" y="11942"/>
                    </a:lnTo>
                    <a:lnTo>
                      <a:pt x="44183" y="11942"/>
                    </a:lnTo>
                    <a:cubicBezTo>
                      <a:pt x="44183" y="11942"/>
                      <a:pt x="44183" y="11942"/>
                      <a:pt x="44183" y="11942"/>
                    </a:cubicBezTo>
                    <a:cubicBezTo>
                      <a:pt x="45537" y="13070"/>
                      <a:pt x="47116" y="13973"/>
                      <a:pt x="48696" y="14875"/>
                    </a:cubicBezTo>
                    <a:cubicBezTo>
                      <a:pt x="52757" y="17583"/>
                      <a:pt x="56368" y="20065"/>
                      <a:pt x="58624" y="22999"/>
                    </a:cubicBezTo>
                    <a:cubicBezTo>
                      <a:pt x="58624" y="22773"/>
                      <a:pt x="58850" y="22547"/>
                      <a:pt x="58850" y="22547"/>
                    </a:cubicBezTo>
                    <a:cubicBezTo>
                      <a:pt x="60881" y="17132"/>
                      <a:pt x="64491" y="7203"/>
                      <a:pt x="73065" y="8557"/>
                    </a:cubicBezTo>
                    <a:lnTo>
                      <a:pt x="75548" y="9009"/>
                    </a:lnTo>
                    <a:cubicBezTo>
                      <a:pt x="82543" y="10137"/>
                      <a:pt x="82543" y="10137"/>
                      <a:pt x="86378" y="6075"/>
                    </a:cubicBezTo>
                    <a:lnTo>
                      <a:pt x="87055" y="5398"/>
                    </a:lnTo>
                    <a:cubicBezTo>
                      <a:pt x="93148" y="-1146"/>
                      <a:pt x="101722" y="-1822"/>
                      <a:pt x="108492" y="3819"/>
                    </a:cubicBezTo>
                    <a:cubicBezTo>
                      <a:pt x="111200" y="6075"/>
                      <a:pt x="112554" y="9686"/>
                      <a:pt x="113456" y="12619"/>
                    </a:cubicBezTo>
                    <a:cubicBezTo>
                      <a:pt x="115036" y="17132"/>
                      <a:pt x="115938" y="18937"/>
                      <a:pt x="118646" y="18937"/>
                    </a:cubicBezTo>
                    <a:cubicBezTo>
                      <a:pt x="121805" y="18937"/>
                      <a:pt x="123610" y="18260"/>
                      <a:pt x="125867" y="17583"/>
                    </a:cubicBezTo>
                    <a:cubicBezTo>
                      <a:pt x="128574" y="16681"/>
                      <a:pt x="131508" y="15778"/>
                      <a:pt x="136923" y="15778"/>
                    </a:cubicBezTo>
                    <a:cubicBezTo>
                      <a:pt x="148431" y="15778"/>
                      <a:pt x="154298" y="22773"/>
                      <a:pt x="156780" y="27060"/>
                    </a:cubicBezTo>
                    <a:cubicBezTo>
                      <a:pt x="159713" y="32024"/>
                      <a:pt x="163324" y="42404"/>
                      <a:pt x="161744" y="48271"/>
                    </a:cubicBezTo>
                    <a:cubicBezTo>
                      <a:pt x="161519" y="49399"/>
                      <a:pt x="160842" y="50979"/>
                      <a:pt x="160165" y="52558"/>
                    </a:cubicBezTo>
                    <a:cubicBezTo>
                      <a:pt x="159037" y="55717"/>
                      <a:pt x="157006" y="60907"/>
                      <a:pt x="157908" y="62487"/>
                    </a:cubicBezTo>
                    <a:cubicBezTo>
                      <a:pt x="157908" y="62487"/>
                      <a:pt x="158134" y="62938"/>
                      <a:pt x="159037" y="62938"/>
                    </a:cubicBezTo>
                    <a:cubicBezTo>
                      <a:pt x="177765" y="64292"/>
                      <a:pt x="191304" y="66097"/>
                      <a:pt x="206874" y="77379"/>
                    </a:cubicBezTo>
                    <a:cubicBezTo>
                      <a:pt x="208904" y="78959"/>
                      <a:pt x="211161" y="80538"/>
                      <a:pt x="213192" y="82118"/>
                    </a:cubicBezTo>
                    <a:cubicBezTo>
                      <a:pt x="226053" y="92046"/>
                      <a:pt x="238238" y="101524"/>
                      <a:pt x="255388" y="91369"/>
                    </a:cubicBezTo>
                    <a:cubicBezTo>
                      <a:pt x="256967" y="90467"/>
                      <a:pt x="258321" y="89564"/>
                      <a:pt x="259900" y="88436"/>
                    </a:cubicBezTo>
                    <a:cubicBezTo>
                      <a:pt x="268024" y="83246"/>
                      <a:pt x="277050" y="77379"/>
                      <a:pt x="284721" y="83472"/>
                    </a:cubicBezTo>
                    <a:cubicBezTo>
                      <a:pt x="289460" y="87308"/>
                      <a:pt x="289686" y="93175"/>
                      <a:pt x="289911" y="98816"/>
                    </a:cubicBezTo>
                    <a:cubicBezTo>
                      <a:pt x="290137" y="102652"/>
                      <a:pt x="290363" y="106488"/>
                      <a:pt x="291942" y="109647"/>
                    </a:cubicBezTo>
                    <a:cubicBezTo>
                      <a:pt x="295101" y="115965"/>
                      <a:pt x="303676" y="117770"/>
                      <a:pt x="310671" y="116642"/>
                    </a:cubicBezTo>
                    <a:cubicBezTo>
                      <a:pt x="314507" y="116190"/>
                      <a:pt x="318343" y="114837"/>
                      <a:pt x="322404" y="113708"/>
                    </a:cubicBezTo>
                    <a:cubicBezTo>
                      <a:pt x="326015" y="112580"/>
                      <a:pt x="329625" y="111452"/>
                      <a:pt x="333461" y="110775"/>
                    </a:cubicBezTo>
                    <a:cubicBezTo>
                      <a:pt x="349482" y="108067"/>
                      <a:pt x="365277" y="114385"/>
                      <a:pt x="380170" y="120703"/>
                    </a:cubicBezTo>
                    <a:lnTo>
                      <a:pt x="384006" y="122283"/>
                    </a:lnTo>
                    <a:cubicBezTo>
                      <a:pt x="398447" y="128150"/>
                      <a:pt x="416950" y="134017"/>
                      <a:pt x="432294" y="126796"/>
                    </a:cubicBezTo>
                    <a:cubicBezTo>
                      <a:pt x="450571" y="118221"/>
                      <a:pt x="453505" y="119575"/>
                      <a:pt x="466592" y="128601"/>
                    </a:cubicBezTo>
                    <a:cubicBezTo>
                      <a:pt x="467946" y="129504"/>
                      <a:pt x="469300" y="130406"/>
                      <a:pt x="470880" y="131534"/>
                    </a:cubicBezTo>
                    <a:cubicBezTo>
                      <a:pt x="483064" y="139658"/>
                      <a:pt x="485547" y="137401"/>
                      <a:pt x="489834" y="133791"/>
                    </a:cubicBezTo>
                    <a:cubicBezTo>
                      <a:pt x="493444" y="130857"/>
                      <a:pt x="497731" y="127021"/>
                      <a:pt x="507885" y="127698"/>
                    </a:cubicBezTo>
                    <a:cubicBezTo>
                      <a:pt x="512624" y="127924"/>
                      <a:pt x="514429" y="130181"/>
                      <a:pt x="516009" y="131986"/>
                    </a:cubicBezTo>
                    <a:cubicBezTo>
                      <a:pt x="517137" y="133340"/>
                      <a:pt x="518040" y="134242"/>
                      <a:pt x="520070" y="134468"/>
                    </a:cubicBezTo>
                    <a:cubicBezTo>
                      <a:pt x="523455" y="134694"/>
                      <a:pt x="524583" y="134242"/>
                      <a:pt x="525937" y="133565"/>
                    </a:cubicBezTo>
                    <a:cubicBezTo>
                      <a:pt x="526840" y="133114"/>
                      <a:pt x="527742" y="132663"/>
                      <a:pt x="529322" y="132211"/>
                    </a:cubicBezTo>
                    <a:cubicBezTo>
                      <a:pt x="533158" y="131309"/>
                      <a:pt x="534963" y="129955"/>
                      <a:pt x="536091" y="127247"/>
                    </a:cubicBezTo>
                    <a:cubicBezTo>
                      <a:pt x="536317" y="126570"/>
                      <a:pt x="536317" y="125893"/>
                      <a:pt x="535866" y="125216"/>
                    </a:cubicBezTo>
                    <a:cubicBezTo>
                      <a:pt x="535640" y="124314"/>
                      <a:pt x="535189" y="122960"/>
                      <a:pt x="536091" y="121832"/>
                    </a:cubicBezTo>
                    <a:cubicBezTo>
                      <a:pt x="536994" y="120478"/>
                      <a:pt x="538573" y="120026"/>
                      <a:pt x="542184" y="119575"/>
                    </a:cubicBezTo>
                    <a:cubicBezTo>
                      <a:pt x="543763" y="119349"/>
                      <a:pt x="545117" y="119124"/>
                      <a:pt x="546471" y="118898"/>
                    </a:cubicBezTo>
                    <a:cubicBezTo>
                      <a:pt x="552112" y="117996"/>
                      <a:pt x="556174" y="117544"/>
                      <a:pt x="559107" y="122734"/>
                    </a:cubicBezTo>
                    <a:cubicBezTo>
                      <a:pt x="561815" y="127698"/>
                      <a:pt x="562943" y="128375"/>
                      <a:pt x="565877" y="129955"/>
                    </a:cubicBezTo>
                    <a:cubicBezTo>
                      <a:pt x="566779" y="130406"/>
                      <a:pt x="567456" y="130857"/>
                      <a:pt x="568133" y="131309"/>
                    </a:cubicBezTo>
                    <a:cubicBezTo>
                      <a:pt x="569487" y="132211"/>
                      <a:pt x="570164" y="132663"/>
                      <a:pt x="570615" y="132663"/>
                    </a:cubicBezTo>
                    <a:cubicBezTo>
                      <a:pt x="571292" y="131309"/>
                      <a:pt x="572420" y="127473"/>
                      <a:pt x="573323" y="124765"/>
                    </a:cubicBezTo>
                    <a:cubicBezTo>
                      <a:pt x="574451" y="121155"/>
                      <a:pt x="575579" y="117319"/>
                      <a:pt x="576708" y="114385"/>
                    </a:cubicBezTo>
                    <a:lnTo>
                      <a:pt x="577385" y="113031"/>
                    </a:lnTo>
                    <a:lnTo>
                      <a:pt x="578964" y="113257"/>
                    </a:lnTo>
                    <a:cubicBezTo>
                      <a:pt x="580995" y="113483"/>
                      <a:pt x="582800" y="113708"/>
                      <a:pt x="584831" y="113483"/>
                    </a:cubicBezTo>
                    <a:cubicBezTo>
                      <a:pt x="594985" y="112580"/>
                      <a:pt x="599047" y="115514"/>
                      <a:pt x="599949" y="125442"/>
                    </a:cubicBezTo>
                    <a:cubicBezTo>
                      <a:pt x="600852" y="134242"/>
                      <a:pt x="596113" y="150940"/>
                      <a:pt x="589795" y="156130"/>
                    </a:cubicBezTo>
                    <a:cubicBezTo>
                      <a:pt x="587764" y="157935"/>
                      <a:pt x="584831" y="159063"/>
                      <a:pt x="581897" y="160417"/>
                    </a:cubicBezTo>
                    <a:cubicBezTo>
                      <a:pt x="576482" y="162674"/>
                      <a:pt x="571292" y="164930"/>
                      <a:pt x="570841" y="169894"/>
                    </a:cubicBezTo>
                    <a:cubicBezTo>
                      <a:pt x="570164" y="176664"/>
                      <a:pt x="564072" y="178920"/>
                      <a:pt x="559558" y="180500"/>
                    </a:cubicBezTo>
                    <a:cubicBezTo>
                      <a:pt x="557528" y="181177"/>
                      <a:pt x="555046" y="182305"/>
                      <a:pt x="554820" y="183207"/>
                    </a:cubicBezTo>
                    <a:cubicBezTo>
                      <a:pt x="554143" y="187043"/>
                      <a:pt x="554594" y="199905"/>
                      <a:pt x="560912" y="206449"/>
                    </a:cubicBezTo>
                    <a:cubicBezTo>
                      <a:pt x="562492" y="208029"/>
                      <a:pt x="564072" y="209608"/>
                      <a:pt x="565425" y="210962"/>
                    </a:cubicBezTo>
                    <a:cubicBezTo>
                      <a:pt x="570164" y="215475"/>
                      <a:pt x="574226" y="219311"/>
                      <a:pt x="578287" y="228562"/>
                    </a:cubicBezTo>
                    <a:cubicBezTo>
                      <a:pt x="581672" y="236234"/>
                      <a:pt x="582349" y="242327"/>
                      <a:pt x="580544" y="245937"/>
                    </a:cubicBezTo>
                    <a:cubicBezTo>
                      <a:pt x="579641" y="247742"/>
                      <a:pt x="578061" y="249096"/>
                      <a:pt x="576031" y="249547"/>
                    </a:cubicBezTo>
                    <a:cubicBezTo>
                      <a:pt x="574226" y="249999"/>
                      <a:pt x="572420" y="251804"/>
                      <a:pt x="570164" y="254286"/>
                    </a:cubicBezTo>
                    <a:cubicBezTo>
                      <a:pt x="568359" y="256317"/>
                      <a:pt x="566328" y="258347"/>
                      <a:pt x="563620" y="260378"/>
                    </a:cubicBezTo>
                    <a:cubicBezTo>
                      <a:pt x="559558" y="263537"/>
                      <a:pt x="555271" y="268727"/>
                      <a:pt x="557302" y="275722"/>
                    </a:cubicBezTo>
                    <a:cubicBezTo>
                      <a:pt x="557528" y="276850"/>
                      <a:pt x="558430" y="278204"/>
                      <a:pt x="559333" y="280010"/>
                    </a:cubicBezTo>
                    <a:cubicBezTo>
                      <a:pt x="562943" y="286779"/>
                      <a:pt x="569036" y="297836"/>
                      <a:pt x="556174" y="307313"/>
                    </a:cubicBezTo>
                    <a:lnTo>
                      <a:pt x="554369" y="308667"/>
                    </a:lnTo>
                    <a:lnTo>
                      <a:pt x="553466" y="306636"/>
                    </a:lnTo>
                    <a:cubicBezTo>
                      <a:pt x="552564" y="304605"/>
                      <a:pt x="551887" y="303026"/>
                      <a:pt x="551887" y="301897"/>
                    </a:cubicBezTo>
                    <a:cubicBezTo>
                      <a:pt x="551887" y="294000"/>
                      <a:pt x="550533" y="291292"/>
                      <a:pt x="549404" y="290615"/>
                    </a:cubicBezTo>
                    <a:cubicBezTo>
                      <a:pt x="546245" y="288133"/>
                      <a:pt x="539927" y="284523"/>
                      <a:pt x="535640" y="283394"/>
                    </a:cubicBezTo>
                    <a:cubicBezTo>
                      <a:pt x="534061" y="282943"/>
                      <a:pt x="532707" y="282266"/>
                      <a:pt x="531353" y="281364"/>
                    </a:cubicBezTo>
                    <a:cubicBezTo>
                      <a:pt x="530450" y="280687"/>
                      <a:pt x="529096" y="280010"/>
                      <a:pt x="528645" y="280235"/>
                    </a:cubicBezTo>
                    <a:cubicBezTo>
                      <a:pt x="528645" y="280235"/>
                      <a:pt x="527968" y="280461"/>
                      <a:pt x="527291" y="282717"/>
                    </a:cubicBezTo>
                    <a:cubicBezTo>
                      <a:pt x="524583" y="290615"/>
                      <a:pt x="523229" y="291969"/>
                      <a:pt x="518491" y="295353"/>
                    </a:cubicBezTo>
                    <a:cubicBezTo>
                      <a:pt x="516009" y="297159"/>
                      <a:pt x="513301" y="297159"/>
                      <a:pt x="510819" y="297159"/>
                    </a:cubicBezTo>
                    <a:cubicBezTo>
                      <a:pt x="508562" y="297159"/>
                      <a:pt x="506080" y="297159"/>
                      <a:pt x="503373" y="298738"/>
                    </a:cubicBezTo>
                    <a:cubicBezTo>
                      <a:pt x="500214" y="300769"/>
                      <a:pt x="499537" y="302574"/>
                      <a:pt x="498634" y="304831"/>
                    </a:cubicBezTo>
                    <a:cubicBezTo>
                      <a:pt x="497957" y="306410"/>
                      <a:pt x="497280" y="308215"/>
                      <a:pt x="495475" y="309795"/>
                    </a:cubicBezTo>
                    <a:cubicBezTo>
                      <a:pt x="494798" y="310472"/>
                      <a:pt x="493670" y="311374"/>
                      <a:pt x="492316" y="312503"/>
                    </a:cubicBezTo>
                    <a:cubicBezTo>
                      <a:pt x="488254" y="315887"/>
                      <a:pt x="481936" y="321303"/>
                      <a:pt x="481259" y="327170"/>
                    </a:cubicBezTo>
                    <a:cubicBezTo>
                      <a:pt x="481034" y="328749"/>
                      <a:pt x="481034" y="330103"/>
                      <a:pt x="480808" y="331682"/>
                    </a:cubicBezTo>
                    <a:cubicBezTo>
                      <a:pt x="480357" y="337775"/>
                      <a:pt x="479905" y="342739"/>
                      <a:pt x="476295" y="349057"/>
                    </a:cubicBezTo>
                    <a:lnTo>
                      <a:pt x="474941" y="351314"/>
                    </a:lnTo>
                    <a:cubicBezTo>
                      <a:pt x="471556" y="357181"/>
                      <a:pt x="469526" y="360565"/>
                      <a:pt x="469751" y="365981"/>
                    </a:cubicBezTo>
                    <a:cubicBezTo>
                      <a:pt x="469977" y="370719"/>
                      <a:pt x="470428" y="382002"/>
                      <a:pt x="462305" y="382453"/>
                    </a:cubicBezTo>
                    <a:cubicBezTo>
                      <a:pt x="460500" y="382453"/>
                      <a:pt x="458920" y="382453"/>
                      <a:pt x="457341" y="382227"/>
                    </a:cubicBezTo>
                    <a:cubicBezTo>
                      <a:pt x="453956" y="381776"/>
                      <a:pt x="453053" y="381776"/>
                      <a:pt x="452151" y="383807"/>
                    </a:cubicBezTo>
                    <a:cubicBezTo>
                      <a:pt x="449443" y="389674"/>
                      <a:pt x="441094" y="389674"/>
                      <a:pt x="435453" y="389674"/>
                    </a:cubicBezTo>
                    <a:cubicBezTo>
                      <a:pt x="432745" y="389674"/>
                      <a:pt x="428458" y="390576"/>
                      <a:pt x="424622" y="391253"/>
                    </a:cubicBezTo>
                    <a:cubicBezTo>
                      <a:pt x="421463" y="391930"/>
                      <a:pt x="418530" y="392381"/>
                      <a:pt x="416950" y="392381"/>
                    </a:cubicBezTo>
                    <a:cubicBezTo>
                      <a:pt x="414468" y="392381"/>
                      <a:pt x="413791" y="390576"/>
                      <a:pt x="413565" y="389448"/>
                    </a:cubicBezTo>
                    <a:cubicBezTo>
                      <a:pt x="413340" y="389674"/>
                      <a:pt x="412888" y="389899"/>
                      <a:pt x="412212" y="390350"/>
                    </a:cubicBezTo>
                    <a:cubicBezTo>
                      <a:pt x="409955" y="392156"/>
                      <a:pt x="408150" y="393284"/>
                      <a:pt x="406570" y="393961"/>
                    </a:cubicBezTo>
                    <a:cubicBezTo>
                      <a:pt x="403863" y="395315"/>
                      <a:pt x="402960" y="395992"/>
                      <a:pt x="402960" y="399602"/>
                    </a:cubicBezTo>
                    <a:cubicBezTo>
                      <a:pt x="402960" y="407274"/>
                      <a:pt x="400027" y="415397"/>
                      <a:pt x="397996" y="418556"/>
                    </a:cubicBezTo>
                    <a:cubicBezTo>
                      <a:pt x="397319" y="419459"/>
                      <a:pt x="396191" y="420587"/>
                      <a:pt x="393483" y="420587"/>
                    </a:cubicBezTo>
                    <a:cubicBezTo>
                      <a:pt x="389873" y="420813"/>
                      <a:pt x="384006" y="418782"/>
                      <a:pt x="381749" y="416074"/>
                    </a:cubicBezTo>
                    <a:cubicBezTo>
                      <a:pt x="381072" y="415172"/>
                      <a:pt x="380170" y="413592"/>
                      <a:pt x="378816" y="411336"/>
                    </a:cubicBezTo>
                    <a:cubicBezTo>
                      <a:pt x="376108" y="406371"/>
                      <a:pt x="371144" y="397346"/>
                      <a:pt x="367308" y="395766"/>
                    </a:cubicBezTo>
                    <a:cubicBezTo>
                      <a:pt x="365729" y="395089"/>
                      <a:pt x="363923" y="394638"/>
                      <a:pt x="362118" y="394187"/>
                    </a:cubicBezTo>
                    <a:cubicBezTo>
                      <a:pt x="357831" y="393058"/>
                      <a:pt x="353318" y="391930"/>
                      <a:pt x="351964" y="387417"/>
                    </a:cubicBezTo>
                    <a:cubicBezTo>
                      <a:pt x="350610" y="382904"/>
                      <a:pt x="349256" y="378617"/>
                      <a:pt x="346323" y="376135"/>
                    </a:cubicBezTo>
                    <a:cubicBezTo>
                      <a:pt x="340005" y="370719"/>
                      <a:pt x="336846" y="370494"/>
                      <a:pt x="335041" y="371171"/>
                    </a:cubicBezTo>
                    <a:cubicBezTo>
                      <a:pt x="330076" y="373427"/>
                      <a:pt x="320825" y="370268"/>
                      <a:pt x="318343" y="368688"/>
                    </a:cubicBezTo>
                    <a:cubicBezTo>
                      <a:pt x="317215" y="368012"/>
                      <a:pt x="310220" y="366658"/>
                      <a:pt x="305932" y="367786"/>
                    </a:cubicBezTo>
                    <a:cubicBezTo>
                      <a:pt x="305030" y="368012"/>
                      <a:pt x="304127" y="368463"/>
                      <a:pt x="303676" y="369140"/>
                    </a:cubicBezTo>
                    <a:cubicBezTo>
                      <a:pt x="302773" y="370945"/>
                      <a:pt x="301871" y="372976"/>
                      <a:pt x="300742" y="375458"/>
                    </a:cubicBezTo>
                    <a:cubicBezTo>
                      <a:pt x="298937" y="379294"/>
                      <a:pt x="297132" y="383581"/>
                      <a:pt x="294650" y="388094"/>
                    </a:cubicBezTo>
                    <a:cubicBezTo>
                      <a:pt x="291942" y="393284"/>
                      <a:pt x="284947" y="395540"/>
                      <a:pt x="278403" y="397797"/>
                    </a:cubicBezTo>
                    <a:cubicBezTo>
                      <a:pt x="274793" y="398925"/>
                      <a:pt x="271634" y="400053"/>
                      <a:pt x="269152" y="401633"/>
                    </a:cubicBezTo>
                    <a:cubicBezTo>
                      <a:pt x="265993" y="403438"/>
                      <a:pt x="261480" y="405243"/>
                      <a:pt x="256741" y="406823"/>
                    </a:cubicBezTo>
                    <a:cubicBezTo>
                      <a:pt x="250649" y="409079"/>
                      <a:pt x="244556" y="411336"/>
                      <a:pt x="241172" y="414043"/>
                    </a:cubicBezTo>
                    <a:cubicBezTo>
                      <a:pt x="238915" y="416074"/>
                      <a:pt x="236885" y="418331"/>
                      <a:pt x="235079" y="420361"/>
                    </a:cubicBezTo>
                    <a:cubicBezTo>
                      <a:pt x="231695" y="423746"/>
                      <a:pt x="229213" y="426454"/>
                      <a:pt x="226053" y="426454"/>
                    </a:cubicBezTo>
                    <a:lnTo>
                      <a:pt x="214771" y="426454"/>
                    </a:lnTo>
                    <a:cubicBezTo>
                      <a:pt x="211838" y="426454"/>
                      <a:pt x="209581" y="426679"/>
                      <a:pt x="207776" y="426905"/>
                    </a:cubicBezTo>
                    <a:cubicBezTo>
                      <a:pt x="203715" y="427357"/>
                      <a:pt x="200781" y="427582"/>
                      <a:pt x="198525" y="423746"/>
                    </a:cubicBezTo>
                    <a:lnTo>
                      <a:pt x="197622" y="422167"/>
                    </a:lnTo>
                    <a:cubicBezTo>
                      <a:pt x="195591" y="418331"/>
                      <a:pt x="193109" y="413818"/>
                      <a:pt x="189048" y="413366"/>
                    </a:cubicBezTo>
                    <a:cubicBezTo>
                      <a:pt x="185437" y="413141"/>
                      <a:pt x="178442" y="418331"/>
                      <a:pt x="173929" y="421715"/>
                    </a:cubicBezTo>
                    <a:cubicBezTo>
                      <a:pt x="172575" y="422618"/>
                      <a:pt x="171447" y="423520"/>
                      <a:pt x="170545" y="424423"/>
                    </a:cubicBezTo>
                    <a:cubicBezTo>
                      <a:pt x="168514" y="426003"/>
                      <a:pt x="166257" y="426228"/>
                      <a:pt x="164452" y="426679"/>
                    </a:cubicBezTo>
                    <a:cubicBezTo>
                      <a:pt x="161519" y="427131"/>
                      <a:pt x="159488" y="427582"/>
                      <a:pt x="157683" y="431418"/>
                    </a:cubicBezTo>
                    <a:cubicBezTo>
                      <a:pt x="156329" y="434352"/>
                      <a:pt x="154524" y="435931"/>
                      <a:pt x="152493" y="436608"/>
                    </a:cubicBezTo>
                    <a:cubicBezTo>
                      <a:pt x="152042" y="436382"/>
                      <a:pt x="151590" y="436608"/>
                      <a:pt x="150913" y="436608"/>
                    </a:cubicBezTo>
                    <a:close/>
                    <a:moveTo>
                      <a:pt x="117969" y="407951"/>
                    </a:moveTo>
                    <a:cubicBezTo>
                      <a:pt x="118872" y="407951"/>
                      <a:pt x="120225" y="407951"/>
                      <a:pt x="121354" y="408177"/>
                    </a:cubicBezTo>
                    <a:cubicBezTo>
                      <a:pt x="125190" y="408402"/>
                      <a:pt x="127221" y="409305"/>
                      <a:pt x="128349" y="410884"/>
                    </a:cubicBezTo>
                    <a:cubicBezTo>
                      <a:pt x="129703" y="412690"/>
                      <a:pt x="129026" y="414720"/>
                      <a:pt x="128574" y="416525"/>
                    </a:cubicBezTo>
                    <a:cubicBezTo>
                      <a:pt x="128123" y="418331"/>
                      <a:pt x="127897" y="419459"/>
                      <a:pt x="128349" y="420361"/>
                    </a:cubicBezTo>
                    <a:cubicBezTo>
                      <a:pt x="129703" y="422844"/>
                      <a:pt x="132410" y="423972"/>
                      <a:pt x="135795" y="425326"/>
                    </a:cubicBezTo>
                    <a:cubicBezTo>
                      <a:pt x="137826" y="426228"/>
                      <a:pt x="140308" y="427131"/>
                      <a:pt x="142790" y="428710"/>
                    </a:cubicBezTo>
                    <a:lnTo>
                      <a:pt x="144595" y="429839"/>
                    </a:lnTo>
                    <a:cubicBezTo>
                      <a:pt x="147303" y="431644"/>
                      <a:pt x="149785" y="433223"/>
                      <a:pt x="151365" y="432772"/>
                    </a:cubicBezTo>
                    <a:cubicBezTo>
                      <a:pt x="152267" y="432546"/>
                      <a:pt x="153170" y="431418"/>
                      <a:pt x="154298" y="429613"/>
                    </a:cubicBezTo>
                    <a:cubicBezTo>
                      <a:pt x="157006" y="423972"/>
                      <a:pt x="160842" y="423520"/>
                      <a:pt x="164001" y="422844"/>
                    </a:cubicBezTo>
                    <a:cubicBezTo>
                      <a:pt x="165806" y="422618"/>
                      <a:pt x="167160" y="422392"/>
                      <a:pt x="168739" y="421264"/>
                    </a:cubicBezTo>
                    <a:cubicBezTo>
                      <a:pt x="169642" y="420587"/>
                      <a:pt x="170770" y="419685"/>
                      <a:pt x="172124" y="418782"/>
                    </a:cubicBezTo>
                    <a:cubicBezTo>
                      <a:pt x="177765" y="414495"/>
                      <a:pt x="184535" y="409305"/>
                      <a:pt x="189724" y="409756"/>
                    </a:cubicBezTo>
                    <a:cubicBezTo>
                      <a:pt x="195817" y="410207"/>
                      <a:pt x="198976" y="416074"/>
                      <a:pt x="201232" y="420587"/>
                    </a:cubicBezTo>
                    <a:lnTo>
                      <a:pt x="202135" y="422167"/>
                    </a:lnTo>
                    <a:cubicBezTo>
                      <a:pt x="203038" y="423746"/>
                      <a:pt x="203489" y="423972"/>
                      <a:pt x="207776" y="423520"/>
                    </a:cubicBezTo>
                    <a:cubicBezTo>
                      <a:pt x="209581" y="423295"/>
                      <a:pt x="212063" y="423069"/>
                      <a:pt x="214997" y="423069"/>
                    </a:cubicBezTo>
                    <a:lnTo>
                      <a:pt x="226279" y="423069"/>
                    </a:lnTo>
                    <a:cubicBezTo>
                      <a:pt x="227633" y="423069"/>
                      <a:pt x="230115" y="420361"/>
                      <a:pt x="232146" y="417879"/>
                    </a:cubicBezTo>
                    <a:cubicBezTo>
                      <a:pt x="233951" y="415849"/>
                      <a:pt x="235982" y="413366"/>
                      <a:pt x="238690" y="411336"/>
                    </a:cubicBezTo>
                    <a:cubicBezTo>
                      <a:pt x="242526" y="408177"/>
                      <a:pt x="249069" y="405694"/>
                      <a:pt x="255388" y="403438"/>
                    </a:cubicBezTo>
                    <a:cubicBezTo>
                      <a:pt x="259900" y="401858"/>
                      <a:pt x="264413" y="400279"/>
                      <a:pt x="267121" y="398474"/>
                    </a:cubicBezTo>
                    <a:cubicBezTo>
                      <a:pt x="269829" y="396894"/>
                      <a:pt x="273439" y="395766"/>
                      <a:pt x="277050" y="394412"/>
                    </a:cubicBezTo>
                    <a:cubicBezTo>
                      <a:pt x="283142" y="392381"/>
                      <a:pt x="289234" y="390350"/>
                      <a:pt x="291265" y="386514"/>
                    </a:cubicBezTo>
                    <a:cubicBezTo>
                      <a:pt x="293522" y="382227"/>
                      <a:pt x="295553" y="377940"/>
                      <a:pt x="297132" y="374104"/>
                    </a:cubicBezTo>
                    <a:cubicBezTo>
                      <a:pt x="298260" y="371622"/>
                      <a:pt x="299163" y="369591"/>
                      <a:pt x="300065" y="367786"/>
                    </a:cubicBezTo>
                    <a:cubicBezTo>
                      <a:pt x="300968" y="366206"/>
                      <a:pt x="302322" y="365078"/>
                      <a:pt x="304578" y="364401"/>
                    </a:cubicBezTo>
                    <a:cubicBezTo>
                      <a:pt x="309768" y="362822"/>
                      <a:pt x="317891" y="364401"/>
                      <a:pt x="319922" y="365529"/>
                    </a:cubicBezTo>
                    <a:cubicBezTo>
                      <a:pt x="322179" y="366883"/>
                      <a:pt x="329851" y="369140"/>
                      <a:pt x="333235" y="367786"/>
                    </a:cubicBezTo>
                    <a:cubicBezTo>
                      <a:pt x="337071" y="365981"/>
                      <a:pt x="342036" y="367786"/>
                      <a:pt x="348354" y="373201"/>
                    </a:cubicBezTo>
                    <a:cubicBezTo>
                      <a:pt x="351964" y="376360"/>
                      <a:pt x="353544" y="381325"/>
                      <a:pt x="355123" y="386289"/>
                    </a:cubicBezTo>
                    <a:cubicBezTo>
                      <a:pt x="355800" y="388545"/>
                      <a:pt x="358508" y="389222"/>
                      <a:pt x="362569" y="390350"/>
                    </a:cubicBezTo>
                    <a:cubicBezTo>
                      <a:pt x="364375" y="390802"/>
                      <a:pt x="366180" y="391253"/>
                      <a:pt x="367985" y="391930"/>
                    </a:cubicBezTo>
                    <a:cubicBezTo>
                      <a:pt x="372723" y="393735"/>
                      <a:pt x="377011" y="401182"/>
                      <a:pt x="381524" y="409079"/>
                    </a:cubicBezTo>
                    <a:cubicBezTo>
                      <a:pt x="382652" y="410884"/>
                      <a:pt x="383555" y="412690"/>
                      <a:pt x="384006" y="413366"/>
                    </a:cubicBezTo>
                    <a:cubicBezTo>
                      <a:pt x="385134" y="414720"/>
                      <a:pt x="389647" y="416525"/>
                      <a:pt x="392580" y="416300"/>
                    </a:cubicBezTo>
                    <a:cubicBezTo>
                      <a:pt x="393709" y="416300"/>
                      <a:pt x="394160" y="416074"/>
                      <a:pt x="394160" y="415849"/>
                    </a:cubicBezTo>
                    <a:cubicBezTo>
                      <a:pt x="395965" y="413141"/>
                      <a:pt x="398447" y="405694"/>
                      <a:pt x="398447" y="398925"/>
                    </a:cubicBezTo>
                    <a:cubicBezTo>
                      <a:pt x="398447" y="393058"/>
                      <a:pt x="401155" y="391704"/>
                      <a:pt x="404088" y="390125"/>
                    </a:cubicBezTo>
                    <a:cubicBezTo>
                      <a:pt x="405668" y="389448"/>
                      <a:pt x="407247" y="388545"/>
                      <a:pt x="409053" y="386966"/>
                    </a:cubicBezTo>
                    <a:cubicBezTo>
                      <a:pt x="411083" y="385386"/>
                      <a:pt x="412663" y="384258"/>
                      <a:pt x="414242" y="384709"/>
                    </a:cubicBezTo>
                    <a:cubicBezTo>
                      <a:pt x="415822" y="385161"/>
                      <a:pt x="416048" y="386514"/>
                      <a:pt x="416273" y="387417"/>
                    </a:cubicBezTo>
                    <a:cubicBezTo>
                      <a:pt x="416273" y="387643"/>
                      <a:pt x="416273" y="387868"/>
                      <a:pt x="416499" y="387868"/>
                    </a:cubicBezTo>
                    <a:cubicBezTo>
                      <a:pt x="417853" y="387868"/>
                      <a:pt x="420561" y="387191"/>
                      <a:pt x="423268" y="386740"/>
                    </a:cubicBezTo>
                    <a:cubicBezTo>
                      <a:pt x="427330" y="385838"/>
                      <a:pt x="431843" y="385161"/>
                      <a:pt x="434776" y="385161"/>
                    </a:cubicBezTo>
                    <a:cubicBezTo>
                      <a:pt x="439064" y="385161"/>
                      <a:pt x="446510" y="385161"/>
                      <a:pt x="448089" y="381550"/>
                    </a:cubicBezTo>
                    <a:cubicBezTo>
                      <a:pt x="450120" y="377037"/>
                      <a:pt x="453730" y="377489"/>
                      <a:pt x="457115" y="377714"/>
                    </a:cubicBezTo>
                    <a:cubicBezTo>
                      <a:pt x="458469" y="377940"/>
                      <a:pt x="459823" y="377940"/>
                      <a:pt x="461402" y="377940"/>
                    </a:cubicBezTo>
                    <a:cubicBezTo>
                      <a:pt x="464561" y="377714"/>
                      <a:pt x="465690" y="373878"/>
                      <a:pt x="465238" y="365529"/>
                    </a:cubicBezTo>
                    <a:cubicBezTo>
                      <a:pt x="465013" y="358986"/>
                      <a:pt x="467495" y="354698"/>
                      <a:pt x="470880" y="348832"/>
                    </a:cubicBezTo>
                    <a:lnTo>
                      <a:pt x="472234" y="346575"/>
                    </a:lnTo>
                    <a:cubicBezTo>
                      <a:pt x="475393" y="341160"/>
                      <a:pt x="475618" y="336872"/>
                      <a:pt x="476295" y="330780"/>
                    </a:cubicBezTo>
                    <a:cubicBezTo>
                      <a:pt x="476521" y="329426"/>
                      <a:pt x="476521" y="327847"/>
                      <a:pt x="476746" y="326267"/>
                    </a:cubicBezTo>
                    <a:cubicBezTo>
                      <a:pt x="477649" y="318821"/>
                      <a:pt x="484644" y="312954"/>
                      <a:pt x="489157" y="309118"/>
                    </a:cubicBezTo>
                    <a:cubicBezTo>
                      <a:pt x="490285" y="308215"/>
                      <a:pt x="491413" y="307313"/>
                      <a:pt x="492090" y="306636"/>
                    </a:cubicBezTo>
                    <a:cubicBezTo>
                      <a:pt x="493218" y="305508"/>
                      <a:pt x="493670" y="304154"/>
                      <a:pt x="494347" y="302800"/>
                    </a:cubicBezTo>
                    <a:cubicBezTo>
                      <a:pt x="495475" y="300318"/>
                      <a:pt x="496603" y="297610"/>
                      <a:pt x="500665" y="295128"/>
                    </a:cubicBezTo>
                    <a:cubicBezTo>
                      <a:pt x="504275" y="292871"/>
                      <a:pt x="507660" y="292871"/>
                      <a:pt x="510142" y="292871"/>
                    </a:cubicBezTo>
                    <a:cubicBezTo>
                      <a:pt x="512399" y="292871"/>
                      <a:pt x="513978" y="292871"/>
                      <a:pt x="515558" y="291743"/>
                    </a:cubicBezTo>
                    <a:cubicBezTo>
                      <a:pt x="519619" y="288810"/>
                      <a:pt x="520747" y="288133"/>
                      <a:pt x="523004" y="281138"/>
                    </a:cubicBezTo>
                    <a:cubicBezTo>
                      <a:pt x="523681" y="279333"/>
                      <a:pt x="524583" y="277076"/>
                      <a:pt x="526614" y="276174"/>
                    </a:cubicBezTo>
                    <a:cubicBezTo>
                      <a:pt x="528645" y="275271"/>
                      <a:pt x="530676" y="276625"/>
                      <a:pt x="532481" y="277527"/>
                    </a:cubicBezTo>
                    <a:cubicBezTo>
                      <a:pt x="533609" y="278204"/>
                      <a:pt x="534737" y="278881"/>
                      <a:pt x="535866" y="279107"/>
                    </a:cubicBezTo>
                    <a:cubicBezTo>
                      <a:pt x="540830" y="280461"/>
                      <a:pt x="547599" y="284297"/>
                      <a:pt x="550984" y="287005"/>
                    </a:cubicBezTo>
                    <a:cubicBezTo>
                      <a:pt x="554369" y="289712"/>
                      <a:pt x="554820" y="296482"/>
                      <a:pt x="554820" y="301220"/>
                    </a:cubicBezTo>
                    <a:cubicBezTo>
                      <a:pt x="554820" y="301446"/>
                      <a:pt x="554820" y="301672"/>
                      <a:pt x="555046" y="302123"/>
                    </a:cubicBezTo>
                    <a:cubicBezTo>
                      <a:pt x="562718" y="295128"/>
                      <a:pt x="558656" y="287456"/>
                      <a:pt x="555271" y="281138"/>
                    </a:cubicBezTo>
                    <a:cubicBezTo>
                      <a:pt x="554143" y="279333"/>
                      <a:pt x="553466" y="277527"/>
                      <a:pt x="553015" y="276174"/>
                    </a:cubicBezTo>
                    <a:cubicBezTo>
                      <a:pt x="550984" y="268953"/>
                      <a:pt x="553692" y="262183"/>
                      <a:pt x="560687" y="256768"/>
                    </a:cubicBezTo>
                    <a:cubicBezTo>
                      <a:pt x="563169" y="254963"/>
                      <a:pt x="564974" y="252932"/>
                      <a:pt x="566779" y="250901"/>
                    </a:cubicBezTo>
                    <a:cubicBezTo>
                      <a:pt x="569261" y="248193"/>
                      <a:pt x="571518" y="245711"/>
                      <a:pt x="574677" y="245034"/>
                    </a:cubicBezTo>
                    <a:cubicBezTo>
                      <a:pt x="575579" y="244809"/>
                      <a:pt x="576256" y="244358"/>
                      <a:pt x="576708" y="243455"/>
                    </a:cubicBezTo>
                    <a:cubicBezTo>
                      <a:pt x="577385" y="242327"/>
                      <a:pt x="578287" y="238491"/>
                      <a:pt x="574226" y="229239"/>
                    </a:cubicBezTo>
                    <a:cubicBezTo>
                      <a:pt x="570390" y="220665"/>
                      <a:pt x="566779" y="217054"/>
                      <a:pt x="562266" y="212767"/>
                    </a:cubicBezTo>
                    <a:cubicBezTo>
                      <a:pt x="560687" y="211413"/>
                      <a:pt x="559333" y="209834"/>
                      <a:pt x="557528" y="208029"/>
                    </a:cubicBezTo>
                    <a:cubicBezTo>
                      <a:pt x="550307" y="200356"/>
                      <a:pt x="549404" y="186818"/>
                      <a:pt x="550533" y="181402"/>
                    </a:cubicBezTo>
                    <a:cubicBezTo>
                      <a:pt x="551210" y="178469"/>
                      <a:pt x="554369" y="177341"/>
                      <a:pt x="557753" y="175987"/>
                    </a:cubicBezTo>
                    <a:cubicBezTo>
                      <a:pt x="562718" y="174182"/>
                      <a:pt x="566102" y="172602"/>
                      <a:pt x="566553" y="168315"/>
                    </a:cubicBezTo>
                    <a:cubicBezTo>
                      <a:pt x="567231" y="160868"/>
                      <a:pt x="574000" y="158161"/>
                      <a:pt x="579867" y="155679"/>
                    </a:cubicBezTo>
                    <a:cubicBezTo>
                      <a:pt x="582574" y="154550"/>
                      <a:pt x="585282" y="153422"/>
                      <a:pt x="586862" y="152068"/>
                    </a:cubicBezTo>
                    <a:cubicBezTo>
                      <a:pt x="591600" y="148007"/>
                      <a:pt x="596564" y="132888"/>
                      <a:pt x="595662" y="124539"/>
                    </a:cubicBezTo>
                    <a:cubicBezTo>
                      <a:pt x="594759" y="117319"/>
                      <a:pt x="593180" y="115062"/>
                      <a:pt x="584605" y="115965"/>
                    </a:cubicBezTo>
                    <a:cubicBezTo>
                      <a:pt x="582800" y="116190"/>
                      <a:pt x="581220" y="116190"/>
                      <a:pt x="579415" y="115965"/>
                    </a:cubicBezTo>
                    <a:cubicBezTo>
                      <a:pt x="578513" y="118447"/>
                      <a:pt x="577610" y="121832"/>
                      <a:pt x="576708" y="124765"/>
                    </a:cubicBezTo>
                    <a:cubicBezTo>
                      <a:pt x="574451" y="132663"/>
                      <a:pt x="573549" y="134919"/>
                      <a:pt x="571743" y="135370"/>
                    </a:cubicBezTo>
                    <a:cubicBezTo>
                      <a:pt x="569487" y="135822"/>
                      <a:pt x="567907" y="134919"/>
                      <a:pt x="565877" y="133565"/>
                    </a:cubicBezTo>
                    <a:cubicBezTo>
                      <a:pt x="565200" y="133114"/>
                      <a:pt x="564523" y="132663"/>
                      <a:pt x="563846" y="132437"/>
                    </a:cubicBezTo>
                    <a:cubicBezTo>
                      <a:pt x="560235" y="130406"/>
                      <a:pt x="558656" y="129278"/>
                      <a:pt x="555723" y="123637"/>
                    </a:cubicBezTo>
                    <a:cubicBezTo>
                      <a:pt x="554143" y="120703"/>
                      <a:pt x="552789" y="120703"/>
                      <a:pt x="546922" y="121606"/>
                    </a:cubicBezTo>
                    <a:cubicBezTo>
                      <a:pt x="545569" y="121832"/>
                      <a:pt x="544215" y="122057"/>
                      <a:pt x="542409" y="122283"/>
                    </a:cubicBezTo>
                    <a:cubicBezTo>
                      <a:pt x="540379" y="122509"/>
                      <a:pt x="539476" y="122734"/>
                      <a:pt x="539250" y="122960"/>
                    </a:cubicBezTo>
                    <a:cubicBezTo>
                      <a:pt x="539250" y="122960"/>
                      <a:pt x="539250" y="123186"/>
                      <a:pt x="539250" y="123186"/>
                    </a:cubicBezTo>
                    <a:cubicBezTo>
                      <a:pt x="539476" y="124314"/>
                      <a:pt x="539927" y="125668"/>
                      <a:pt x="539250" y="127698"/>
                    </a:cubicBezTo>
                    <a:cubicBezTo>
                      <a:pt x="537445" y="132437"/>
                      <a:pt x="533609" y="134017"/>
                      <a:pt x="529999" y="134919"/>
                    </a:cubicBezTo>
                    <a:cubicBezTo>
                      <a:pt x="528871" y="135145"/>
                      <a:pt x="528194" y="135596"/>
                      <a:pt x="527517" y="136047"/>
                    </a:cubicBezTo>
                    <a:cubicBezTo>
                      <a:pt x="525937" y="136950"/>
                      <a:pt x="524132" y="137853"/>
                      <a:pt x="519619" y="137401"/>
                    </a:cubicBezTo>
                    <a:cubicBezTo>
                      <a:pt x="516009" y="137176"/>
                      <a:pt x="514204" y="135145"/>
                      <a:pt x="513075" y="133791"/>
                    </a:cubicBezTo>
                    <a:cubicBezTo>
                      <a:pt x="511722" y="132211"/>
                      <a:pt x="510593" y="131083"/>
                      <a:pt x="507434" y="130857"/>
                    </a:cubicBezTo>
                    <a:cubicBezTo>
                      <a:pt x="498860" y="130406"/>
                      <a:pt x="495475" y="133340"/>
                      <a:pt x="492090" y="136047"/>
                    </a:cubicBezTo>
                    <a:cubicBezTo>
                      <a:pt x="486449" y="140786"/>
                      <a:pt x="482162" y="143042"/>
                      <a:pt x="468623" y="134017"/>
                    </a:cubicBezTo>
                    <a:cubicBezTo>
                      <a:pt x="467044" y="132888"/>
                      <a:pt x="465464" y="131986"/>
                      <a:pt x="464336" y="131083"/>
                    </a:cubicBezTo>
                    <a:cubicBezTo>
                      <a:pt x="452151" y="122734"/>
                      <a:pt x="450571" y="121832"/>
                      <a:pt x="433874" y="129729"/>
                    </a:cubicBezTo>
                    <a:cubicBezTo>
                      <a:pt x="417176" y="137627"/>
                      <a:pt x="397770" y="131534"/>
                      <a:pt x="382652" y="125216"/>
                    </a:cubicBezTo>
                    <a:lnTo>
                      <a:pt x="378816" y="123637"/>
                    </a:lnTo>
                    <a:cubicBezTo>
                      <a:pt x="364149" y="117544"/>
                      <a:pt x="349256" y="111452"/>
                      <a:pt x="334138" y="113934"/>
                    </a:cubicBezTo>
                    <a:cubicBezTo>
                      <a:pt x="330528" y="114611"/>
                      <a:pt x="326917" y="115739"/>
                      <a:pt x="323533" y="116867"/>
                    </a:cubicBezTo>
                    <a:cubicBezTo>
                      <a:pt x="319697" y="118221"/>
                      <a:pt x="315409" y="119349"/>
                      <a:pt x="311348" y="120026"/>
                    </a:cubicBezTo>
                    <a:cubicBezTo>
                      <a:pt x="302999" y="121155"/>
                      <a:pt x="292845" y="118898"/>
                      <a:pt x="288783" y="111001"/>
                    </a:cubicBezTo>
                    <a:cubicBezTo>
                      <a:pt x="286752" y="107165"/>
                      <a:pt x="286527" y="102877"/>
                      <a:pt x="286301" y="98590"/>
                    </a:cubicBezTo>
                    <a:cubicBezTo>
                      <a:pt x="286075" y="93400"/>
                      <a:pt x="285850" y="88662"/>
                      <a:pt x="282465" y="85954"/>
                    </a:cubicBezTo>
                    <a:cubicBezTo>
                      <a:pt x="277050" y="81441"/>
                      <a:pt x="269378" y="86405"/>
                      <a:pt x="262157" y="91144"/>
                    </a:cubicBezTo>
                    <a:cubicBezTo>
                      <a:pt x="260577" y="92272"/>
                      <a:pt x="258998" y="93175"/>
                      <a:pt x="257418" y="94077"/>
                    </a:cubicBezTo>
                    <a:cubicBezTo>
                      <a:pt x="238013" y="105585"/>
                      <a:pt x="224248" y="94754"/>
                      <a:pt x="210935" y="84600"/>
                    </a:cubicBezTo>
                    <a:cubicBezTo>
                      <a:pt x="208904" y="83021"/>
                      <a:pt x="206874" y="81441"/>
                      <a:pt x="204617" y="79861"/>
                    </a:cubicBezTo>
                    <a:cubicBezTo>
                      <a:pt x="189724" y="69030"/>
                      <a:pt x="177314" y="67451"/>
                      <a:pt x="158811" y="66097"/>
                    </a:cubicBezTo>
                    <a:cubicBezTo>
                      <a:pt x="156554" y="65871"/>
                      <a:pt x="155426" y="64969"/>
                      <a:pt x="154975" y="64066"/>
                    </a:cubicBezTo>
                    <a:cubicBezTo>
                      <a:pt x="152944" y="60907"/>
                      <a:pt x="154975" y="55492"/>
                      <a:pt x="156780" y="50753"/>
                    </a:cubicBezTo>
                    <a:cubicBezTo>
                      <a:pt x="157231" y="49174"/>
                      <a:pt x="157908" y="47820"/>
                      <a:pt x="158134" y="46917"/>
                    </a:cubicBezTo>
                    <a:cubicBezTo>
                      <a:pt x="159262" y="42404"/>
                      <a:pt x="156329" y="33153"/>
                      <a:pt x="153621" y="28640"/>
                    </a:cubicBezTo>
                    <a:cubicBezTo>
                      <a:pt x="151590" y="25030"/>
                      <a:pt x="146626" y="19163"/>
                      <a:pt x="136923" y="19163"/>
                    </a:cubicBezTo>
                    <a:cubicBezTo>
                      <a:pt x="131959" y="19163"/>
                      <a:pt x="129477" y="20065"/>
                      <a:pt x="126995" y="20968"/>
                    </a:cubicBezTo>
                    <a:cubicBezTo>
                      <a:pt x="124738" y="21645"/>
                      <a:pt x="122482" y="22547"/>
                      <a:pt x="118646" y="22547"/>
                    </a:cubicBezTo>
                    <a:cubicBezTo>
                      <a:pt x="113005" y="22547"/>
                      <a:pt x="111425" y="17809"/>
                      <a:pt x="110071" y="13747"/>
                    </a:cubicBezTo>
                    <a:cubicBezTo>
                      <a:pt x="109169" y="11039"/>
                      <a:pt x="108266" y="8332"/>
                      <a:pt x="106235" y="6526"/>
                    </a:cubicBezTo>
                    <a:cubicBezTo>
                      <a:pt x="101046" y="2239"/>
                      <a:pt x="94727" y="2690"/>
                      <a:pt x="89989" y="7880"/>
                    </a:cubicBezTo>
                    <a:lnTo>
                      <a:pt x="89312" y="8557"/>
                    </a:lnTo>
                    <a:cubicBezTo>
                      <a:pt x="84122" y="14198"/>
                      <a:pt x="83445" y="14198"/>
                      <a:pt x="75096" y="12619"/>
                    </a:cubicBezTo>
                    <a:lnTo>
                      <a:pt x="72614" y="12168"/>
                    </a:lnTo>
                    <a:cubicBezTo>
                      <a:pt x="67650" y="11265"/>
                      <a:pt x="64942" y="17583"/>
                      <a:pt x="62686" y="23676"/>
                    </a:cubicBezTo>
                    <a:cubicBezTo>
                      <a:pt x="61783" y="26383"/>
                      <a:pt x="61106" y="27963"/>
                      <a:pt x="59978" y="28414"/>
                    </a:cubicBezTo>
                    <a:cubicBezTo>
                      <a:pt x="61106" y="31799"/>
                      <a:pt x="62460" y="34281"/>
                      <a:pt x="63588" y="36312"/>
                    </a:cubicBezTo>
                    <a:cubicBezTo>
                      <a:pt x="64265" y="37440"/>
                      <a:pt x="64942" y="38568"/>
                      <a:pt x="65393" y="39471"/>
                    </a:cubicBezTo>
                    <a:lnTo>
                      <a:pt x="66296" y="41502"/>
                    </a:lnTo>
                    <a:cubicBezTo>
                      <a:pt x="68327" y="46015"/>
                      <a:pt x="70583" y="51204"/>
                      <a:pt x="74871" y="56394"/>
                    </a:cubicBezTo>
                    <a:cubicBezTo>
                      <a:pt x="77127" y="59102"/>
                      <a:pt x="78707" y="63615"/>
                      <a:pt x="80286" y="68354"/>
                    </a:cubicBezTo>
                    <a:cubicBezTo>
                      <a:pt x="82543" y="74897"/>
                      <a:pt x="85025" y="82118"/>
                      <a:pt x="88635" y="82569"/>
                    </a:cubicBezTo>
                    <a:cubicBezTo>
                      <a:pt x="97661" y="83697"/>
                      <a:pt x="101722" y="89564"/>
                      <a:pt x="105107" y="98364"/>
                    </a:cubicBezTo>
                    <a:cubicBezTo>
                      <a:pt x="106687" y="102200"/>
                      <a:pt x="109846" y="103329"/>
                      <a:pt x="112554" y="104457"/>
                    </a:cubicBezTo>
                    <a:cubicBezTo>
                      <a:pt x="115036" y="105359"/>
                      <a:pt x="118195" y="106488"/>
                      <a:pt x="117969" y="110098"/>
                    </a:cubicBezTo>
                    <a:cubicBezTo>
                      <a:pt x="117292" y="115965"/>
                      <a:pt x="111877" y="122057"/>
                      <a:pt x="101046" y="122057"/>
                    </a:cubicBezTo>
                    <a:cubicBezTo>
                      <a:pt x="96307" y="122057"/>
                      <a:pt x="95630" y="123862"/>
                      <a:pt x="94727" y="126119"/>
                    </a:cubicBezTo>
                    <a:cubicBezTo>
                      <a:pt x="94276" y="127698"/>
                      <a:pt x="93374" y="129729"/>
                      <a:pt x="90892" y="130181"/>
                    </a:cubicBezTo>
                    <a:cubicBezTo>
                      <a:pt x="87958" y="130632"/>
                      <a:pt x="80963" y="132888"/>
                      <a:pt x="79383" y="137853"/>
                    </a:cubicBezTo>
                    <a:cubicBezTo>
                      <a:pt x="77804" y="142591"/>
                      <a:pt x="82091" y="147104"/>
                      <a:pt x="84799" y="148232"/>
                    </a:cubicBezTo>
                    <a:cubicBezTo>
                      <a:pt x="87732" y="149360"/>
                      <a:pt x="108718" y="163351"/>
                      <a:pt x="107138" y="168766"/>
                    </a:cubicBezTo>
                    <a:cubicBezTo>
                      <a:pt x="106010" y="172376"/>
                      <a:pt x="101497" y="173279"/>
                      <a:pt x="95630" y="174633"/>
                    </a:cubicBezTo>
                    <a:cubicBezTo>
                      <a:pt x="94051" y="174859"/>
                      <a:pt x="92471" y="175310"/>
                      <a:pt x="90666" y="175761"/>
                    </a:cubicBezTo>
                    <a:cubicBezTo>
                      <a:pt x="87507" y="176664"/>
                      <a:pt x="86604" y="180500"/>
                      <a:pt x="86604" y="182079"/>
                    </a:cubicBezTo>
                    <a:cubicBezTo>
                      <a:pt x="86153" y="186141"/>
                      <a:pt x="87507" y="189300"/>
                      <a:pt x="88409" y="189751"/>
                    </a:cubicBezTo>
                    <a:lnTo>
                      <a:pt x="89086" y="189977"/>
                    </a:lnTo>
                    <a:cubicBezTo>
                      <a:pt x="93148" y="192008"/>
                      <a:pt x="101722" y="196295"/>
                      <a:pt x="106461" y="202387"/>
                    </a:cubicBezTo>
                    <a:cubicBezTo>
                      <a:pt x="110974" y="208254"/>
                      <a:pt x="123836" y="214121"/>
                      <a:pt x="133087" y="215700"/>
                    </a:cubicBezTo>
                    <a:cubicBezTo>
                      <a:pt x="140534" y="217054"/>
                      <a:pt x="146400" y="222695"/>
                      <a:pt x="148431" y="227208"/>
                    </a:cubicBezTo>
                    <a:cubicBezTo>
                      <a:pt x="149785" y="230142"/>
                      <a:pt x="149785" y="232850"/>
                      <a:pt x="148657" y="234880"/>
                    </a:cubicBezTo>
                    <a:cubicBezTo>
                      <a:pt x="148431" y="235332"/>
                      <a:pt x="148206" y="235783"/>
                      <a:pt x="147754" y="236234"/>
                    </a:cubicBezTo>
                    <a:cubicBezTo>
                      <a:pt x="145272" y="240521"/>
                      <a:pt x="142564" y="245486"/>
                      <a:pt x="130154" y="245486"/>
                    </a:cubicBezTo>
                    <a:cubicBezTo>
                      <a:pt x="128349" y="245486"/>
                      <a:pt x="126543" y="245486"/>
                      <a:pt x="124738" y="245486"/>
                    </a:cubicBezTo>
                    <a:cubicBezTo>
                      <a:pt x="114584" y="245260"/>
                      <a:pt x="104881" y="245260"/>
                      <a:pt x="97661" y="249096"/>
                    </a:cubicBezTo>
                    <a:cubicBezTo>
                      <a:pt x="93374" y="251353"/>
                      <a:pt x="90215" y="254512"/>
                      <a:pt x="86378" y="258122"/>
                    </a:cubicBezTo>
                    <a:cubicBezTo>
                      <a:pt x="82994" y="261507"/>
                      <a:pt x="79158" y="265343"/>
                      <a:pt x="73742" y="268727"/>
                    </a:cubicBezTo>
                    <a:cubicBezTo>
                      <a:pt x="68778" y="272112"/>
                      <a:pt x="61557" y="279784"/>
                      <a:pt x="55239" y="286553"/>
                    </a:cubicBezTo>
                    <a:cubicBezTo>
                      <a:pt x="46439" y="296030"/>
                      <a:pt x="41249" y="301446"/>
                      <a:pt x="37865" y="301897"/>
                    </a:cubicBezTo>
                    <a:cubicBezTo>
                      <a:pt x="32675" y="302800"/>
                      <a:pt x="18008" y="311600"/>
                      <a:pt x="14172" y="317467"/>
                    </a:cubicBezTo>
                    <a:cubicBezTo>
                      <a:pt x="12367" y="320175"/>
                      <a:pt x="11690" y="323559"/>
                      <a:pt x="11013" y="327170"/>
                    </a:cubicBezTo>
                    <a:cubicBezTo>
                      <a:pt x="10110" y="331908"/>
                      <a:pt x="8982" y="336872"/>
                      <a:pt x="5597" y="340708"/>
                    </a:cubicBezTo>
                    <a:cubicBezTo>
                      <a:pt x="1987" y="344996"/>
                      <a:pt x="7854" y="360565"/>
                      <a:pt x="11464" y="369817"/>
                    </a:cubicBezTo>
                    <a:cubicBezTo>
                      <a:pt x="12592" y="372976"/>
                      <a:pt x="13720" y="375458"/>
                      <a:pt x="14397" y="377489"/>
                    </a:cubicBezTo>
                    <a:cubicBezTo>
                      <a:pt x="15751" y="381776"/>
                      <a:pt x="18910" y="387191"/>
                      <a:pt x="21844" y="392156"/>
                    </a:cubicBezTo>
                    <a:cubicBezTo>
                      <a:pt x="24100" y="396217"/>
                      <a:pt x="26357" y="399602"/>
                      <a:pt x="27259" y="402310"/>
                    </a:cubicBezTo>
                    <a:cubicBezTo>
                      <a:pt x="31998" y="403664"/>
                      <a:pt x="35834" y="405469"/>
                      <a:pt x="38767" y="407048"/>
                    </a:cubicBezTo>
                    <a:cubicBezTo>
                      <a:pt x="42152" y="408853"/>
                      <a:pt x="45085" y="410207"/>
                      <a:pt x="47567" y="410207"/>
                    </a:cubicBezTo>
                    <a:cubicBezTo>
                      <a:pt x="54788" y="410207"/>
                      <a:pt x="76224" y="402761"/>
                      <a:pt x="80512" y="398022"/>
                    </a:cubicBezTo>
                    <a:cubicBezTo>
                      <a:pt x="85927" y="391930"/>
                      <a:pt x="91794" y="393735"/>
                      <a:pt x="97886" y="395540"/>
                    </a:cubicBezTo>
                    <a:cubicBezTo>
                      <a:pt x="101948" y="396669"/>
                      <a:pt x="103302" y="400279"/>
                      <a:pt x="104430" y="403438"/>
                    </a:cubicBezTo>
                    <a:cubicBezTo>
                      <a:pt x="105333" y="405920"/>
                      <a:pt x="106235" y="408177"/>
                      <a:pt x="108266" y="408628"/>
                    </a:cubicBezTo>
                    <a:cubicBezTo>
                      <a:pt x="110297" y="409305"/>
                      <a:pt x="110748" y="409079"/>
                      <a:pt x="111877" y="408628"/>
                    </a:cubicBezTo>
                    <a:cubicBezTo>
                      <a:pt x="112328" y="408853"/>
                      <a:pt x="114133" y="407951"/>
                      <a:pt x="117969" y="407951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xmlns="" id="{8165003A-6055-4399-A7E2-D267E6566DE1}"/>
                  </a:ext>
                </a:extLst>
              </p:cNvPr>
              <p:cNvSpPr/>
              <p:nvPr/>
            </p:nvSpPr>
            <p:spPr>
              <a:xfrm>
                <a:off x="10528884" y="2354241"/>
                <a:ext cx="90258" cy="135388"/>
              </a:xfrm>
              <a:custGeom>
                <a:avLst/>
                <a:gdLst>
                  <a:gd name="connsiteX0" fmla="*/ 50362 w 90258"/>
                  <a:gd name="connsiteY0" fmla="*/ 144519 h 135387"/>
                  <a:gd name="connsiteX1" fmla="*/ 41787 w 90258"/>
                  <a:gd name="connsiteY1" fmla="*/ 142940 h 135387"/>
                  <a:gd name="connsiteX2" fmla="*/ 31859 w 90258"/>
                  <a:gd name="connsiteY2" fmla="*/ 142037 h 135387"/>
                  <a:gd name="connsiteX3" fmla="*/ 23510 w 90258"/>
                  <a:gd name="connsiteY3" fmla="*/ 143842 h 135387"/>
                  <a:gd name="connsiteX4" fmla="*/ 7263 w 90258"/>
                  <a:gd name="connsiteY4" fmla="*/ 128273 h 135387"/>
                  <a:gd name="connsiteX5" fmla="*/ 5007 w 90258"/>
                  <a:gd name="connsiteY5" fmla="*/ 122632 h 135387"/>
                  <a:gd name="connsiteX6" fmla="*/ 4781 w 90258"/>
                  <a:gd name="connsiteY6" fmla="*/ 122180 h 135387"/>
                  <a:gd name="connsiteX7" fmla="*/ 2976 w 90258"/>
                  <a:gd name="connsiteY7" fmla="*/ 122857 h 135387"/>
                  <a:gd name="connsiteX8" fmla="*/ 2525 w 90258"/>
                  <a:gd name="connsiteY8" fmla="*/ 121729 h 135387"/>
                  <a:gd name="connsiteX9" fmla="*/ 2074 w 90258"/>
                  <a:gd name="connsiteY9" fmla="*/ 120601 h 135387"/>
                  <a:gd name="connsiteX10" fmla="*/ 2074 w 90258"/>
                  <a:gd name="connsiteY10" fmla="*/ 120601 h 135387"/>
                  <a:gd name="connsiteX11" fmla="*/ 1848 w 90258"/>
                  <a:gd name="connsiteY11" fmla="*/ 119698 h 135387"/>
                  <a:gd name="connsiteX12" fmla="*/ 43 w 90258"/>
                  <a:gd name="connsiteY12" fmla="*/ 104580 h 135387"/>
                  <a:gd name="connsiteX13" fmla="*/ 4556 w 90258"/>
                  <a:gd name="connsiteY13" fmla="*/ 84497 h 135387"/>
                  <a:gd name="connsiteX14" fmla="*/ 5910 w 90258"/>
                  <a:gd name="connsiteY14" fmla="*/ 81790 h 135387"/>
                  <a:gd name="connsiteX15" fmla="*/ 6812 w 90258"/>
                  <a:gd name="connsiteY15" fmla="*/ 73892 h 135387"/>
                  <a:gd name="connsiteX16" fmla="*/ 9746 w 90258"/>
                  <a:gd name="connsiteY16" fmla="*/ 63287 h 135387"/>
                  <a:gd name="connsiteX17" fmla="*/ 13807 w 90258"/>
                  <a:gd name="connsiteY17" fmla="*/ 57194 h 135387"/>
                  <a:gd name="connsiteX18" fmla="*/ 16515 w 90258"/>
                  <a:gd name="connsiteY18" fmla="*/ 52004 h 135387"/>
                  <a:gd name="connsiteX19" fmla="*/ 14935 w 90258"/>
                  <a:gd name="connsiteY19" fmla="*/ 46138 h 135387"/>
                  <a:gd name="connsiteX20" fmla="*/ 11776 w 90258"/>
                  <a:gd name="connsiteY20" fmla="*/ 41173 h 135387"/>
                  <a:gd name="connsiteX21" fmla="*/ 8843 w 90258"/>
                  <a:gd name="connsiteY21" fmla="*/ 36435 h 135387"/>
                  <a:gd name="connsiteX22" fmla="*/ 6135 w 90258"/>
                  <a:gd name="connsiteY22" fmla="*/ 28086 h 135387"/>
                  <a:gd name="connsiteX23" fmla="*/ 21930 w 90258"/>
                  <a:gd name="connsiteY23" fmla="*/ 23122 h 135387"/>
                  <a:gd name="connsiteX24" fmla="*/ 28925 w 90258"/>
                  <a:gd name="connsiteY24" fmla="*/ 24250 h 135387"/>
                  <a:gd name="connsiteX25" fmla="*/ 36823 w 90258"/>
                  <a:gd name="connsiteY25" fmla="*/ 23573 h 135387"/>
                  <a:gd name="connsiteX26" fmla="*/ 48782 w 90258"/>
                  <a:gd name="connsiteY26" fmla="*/ 12968 h 135387"/>
                  <a:gd name="connsiteX27" fmla="*/ 51490 w 90258"/>
                  <a:gd name="connsiteY27" fmla="*/ 9132 h 135387"/>
                  <a:gd name="connsiteX28" fmla="*/ 60742 w 90258"/>
                  <a:gd name="connsiteY28" fmla="*/ 2814 h 135387"/>
                  <a:gd name="connsiteX29" fmla="*/ 63449 w 90258"/>
                  <a:gd name="connsiteY29" fmla="*/ 1685 h 135387"/>
                  <a:gd name="connsiteX30" fmla="*/ 75634 w 90258"/>
                  <a:gd name="connsiteY30" fmla="*/ 2588 h 135387"/>
                  <a:gd name="connsiteX31" fmla="*/ 99553 w 90258"/>
                  <a:gd name="connsiteY31" fmla="*/ 16804 h 135387"/>
                  <a:gd name="connsiteX32" fmla="*/ 100004 w 90258"/>
                  <a:gd name="connsiteY32" fmla="*/ 17255 h 135387"/>
                  <a:gd name="connsiteX33" fmla="*/ 104968 w 90258"/>
                  <a:gd name="connsiteY33" fmla="*/ 39594 h 135387"/>
                  <a:gd name="connsiteX34" fmla="*/ 100907 w 90258"/>
                  <a:gd name="connsiteY34" fmla="*/ 60805 h 135387"/>
                  <a:gd name="connsiteX35" fmla="*/ 100681 w 90258"/>
                  <a:gd name="connsiteY35" fmla="*/ 63061 h 135387"/>
                  <a:gd name="connsiteX36" fmla="*/ 96619 w 90258"/>
                  <a:gd name="connsiteY36" fmla="*/ 71636 h 135387"/>
                  <a:gd name="connsiteX37" fmla="*/ 93460 w 90258"/>
                  <a:gd name="connsiteY37" fmla="*/ 76374 h 135387"/>
                  <a:gd name="connsiteX38" fmla="*/ 94137 w 90258"/>
                  <a:gd name="connsiteY38" fmla="*/ 89236 h 135387"/>
                  <a:gd name="connsiteX39" fmla="*/ 96168 w 90258"/>
                  <a:gd name="connsiteY39" fmla="*/ 92621 h 135387"/>
                  <a:gd name="connsiteX40" fmla="*/ 101132 w 90258"/>
                  <a:gd name="connsiteY40" fmla="*/ 97134 h 135387"/>
                  <a:gd name="connsiteX41" fmla="*/ 106097 w 90258"/>
                  <a:gd name="connsiteY41" fmla="*/ 102323 h 135387"/>
                  <a:gd name="connsiteX42" fmla="*/ 102712 w 90258"/>
                  <a:gd name="connsiteY42" fmla="*/ 110898 h 135387"/>
                  <a:gd name="connsiteX43" fmla="*/ 98650 w 90258"/>
                  <a:gd name="connsiteY43" fmla="*/ 115862 h 135387"/>
                  <a:gd name="connsiteX44" fmla="*/ 90753 w 90258"/>
                  <a:gd name="connsiteY44" fmla="*/ 126242 h 135387"/>
                  <a:gd name="connsiteX45" fmla="*/ 88947 w 90258"/>
                  <a:gd name="connsiteY45" fmla="*/ 125565 h 135387"/>
                  <a:gd name="connsiteX46" fmla="*/ 90753 w 90258"/>
                  <a:gd name="connsiteY46" fmla="*/ 126242 h 135387"/>
                  <a:gd name="connsiteX47" fmla="*/ 88947 w 90258"/>
                  <a:gd name="connsiteY47" fmla="*/ 125565 h 135387"/>
                  <a:gd name="connsiteX48" fmla="*/ 90753 w 90258"/>
                  <a:gd name="connsiteY48" fmla="*/ 126242 h 135387"/>
                  <a:gd name="connsiteX49" fmla="*/ 92106 w 90258"/>
                  <a:gd name="connsiteY49" fmla="*/ 128498 h 135387"/>
                  <a:gd name="connsiteX50" fmla="*/ 89624 w 90258"/>
                  <a:gd name="connsiteY50" fmla="*/ 128950 h 135387"/>
                  <a:gd name="connsiteX51" fmla="*/ 70896 w 90258"/>
                  <a:gd name="connsiteY51" fmla="*/ 135945 h 135387"/>
                  <a:gd name="connsiteX52" fmla="*/ 67285 w 90258"/>
                  <a:gd name="connsiteY52" fmla="*/ 137750 h 135387"/>
                  <a:gd name="connsiteX53" fmla="*/ 62095 w 90258"/>
                  <a:gd name="connsiteY53" fmla="*/ 140909 h 135387"/>
                  <a:gd name="connsiteX54" fmla="*/ 50362 w 90258"/>
                  <a:gd name="connsiteY54" fmla="*/ 144519 h 135387"/>
                  <a:gd name="connsiteX55" fmla="*/ 34567 w 90258"/>
                  <a:gd name="connsiteY55" fmla="*/ 137524 h 135387"/>
                  <a:gd name="connsiteX56" fmla="*/ 43141 w 90258"/>
                  <a:gd name="connsiteY56" fmla="*/ 139329 h 135387"/>
                  <a:gd name="connsiteX57" fmla="*/ 59839 w 90258"/>
                  <a:gd name="connsiteY57" fmla="*/ 137073 h 135387"/>
                  <a:gd name="connsiteX58" fmla="*/ 65480 w 90258"/>
                  <a:gd name="connsiteY58" fmla="*/ 133688 h 135387"/>
                  <a:gd name="connsiteX59" fmla="*/ 69090 w 90258"/>
                  <a:gd name="connsiteY59" fmla="*/ 131883 h 135387"/>
                  <a:gd name="connsiteX60" fmla="*/ 87142 w 90258"/>
                  <a:gd name="connsiteY60" fmla="*/ 124888 h 135387"/>
                  <a:gd name="connsiteX61" fmla="*/ 87368 w 90258"/>
                  <a:gd name="connsiteY61" fmla="*/ 124211 h 135387"/>
                  <a:gd name="connsiteX62" fmla="*/ 87368 w 90258"/>
                  <a:gd name="connsiteY62" fmla="*/ 124211 h 135387"/>
                  <a:gd name="connsiteX63" fmla="*/ 95942 w 90258"/>
                  <a:gd name="connsiteY63" fmla="*/ 112478 h 135387"/>
                  <a:gd name="connsiteX64" fmla="*/ 99778 w 90258"/>
                  <a:gd name="connsiteY64" fmla="*/ 107739 h 135387"/>
                  <a:gd name="connsiteX65" fmla="*/ 102486 w 90258"/>
                  <a:gd name="connsiteY65" fmla="*/ 102323 h 135387"/>
                  <a:gd name="connsiteX66" fmla="*/ 99553 w 90258"/>
                  <a:gd name="connsiteY66" fmla="*/ 99616 h 135387"/>
                  <a:gd name="connsiteX67" fmla="*/ 92783 w 90258"/>
                  <a:gd name="connsiteY67" fmla="*/ 93298 h 135387"/>
                  <a:gd name="connsiteX68" fmla="*/ 91204 w 90258"/>
                  <a:gd name="connsiteY68" fmla="*/ 90590 h 135387"/>
                  <a:gd name="connsiteX69" fmla="*/ 90076 w 90258"/>
                  <a:gd name="connsiteY69" fmla="*/ 74343 h 135387"/>
                  <a:gd name="connsiteX70" fmla="*/ 93912 w 90258"/>
                  <a:gd name="connsiteY70" fmla="*/ 68251 h 135387"/>
                  <a:gd name="connsiteX71" fmla="*/ 97071 w 90258"/>
                  <a:gd name="connsiteY71" fmla="*/ 62158 h 135387"/>
                  <a:gd name="connsiteX72" fmla="*/ 97296 w 90258"/>
                  <a:gd name="connsiteY72" fmla="*/ 59902 h 135387"/>
                  <a:gd name="connsiteX73" fmla="*/ 101584 w 90258"/>
                  <a:gd name="connsiteY73" fmla="*/ 37789 h 135387"/>
                  <a:gd name="connsiteX74" fmla="*/ 97071 w 90258"/>
                  <a:gd name="connsiteY74" fmla="*/ 19060 h 135387"/>
                  <a:gd name="connsiteX75" fmla="*/ 96619 w 90258"/>
                  <a:gd name="connsiteY75" fmla="*/ 18609 h 135387"/>
                  <a:gd name="connsiteX76" fmla="*/ 74280 w 90258"/>
                  <a:gd name="connsiteY76" fmla="*/ 5521 h 135387"/>
                  <a:gd name="connsiteX77" fmla="*/ 66383 w 90258"/>
                  <a:gd name="connsiteY77" fmla="*/ 3265 h 135387"/>
                  <a:gd name="connsiteX78" fmla="*/ 60967 w 90258"/>
                  <a:gd name="connsiteY78" fmla="*/ 6198 h 135387"/>
                  <a:gd name="connsiteX79" fmla="*/ 54424 w 90258"/>
                  <a:gd name="connsiteY79" fmla="*/ 10711 h 135387"/>
                  <a:gd name="connsiteX80" fmla="*/ 51265 w 90258"/>
                  <a:gd name="connsiteY80" fmla="*/ 14998 h 135387"/>
                  <a:gd name="connsiteX81" fmla="*/ 38854 w 90258"/>
                  <a:gd name="connsiteY81" fmla="*/ 26055 h 135387"/>
                  <a:gd name="connsiteX82" fmla="*/ 27797 w 90258"/>
                  <a:gd name="connsiteY82" fmla="*/ 27409 h 135387"/>
                  <a:gd name="connsiteX83" fmla="*/ 21705 w 90258"/>
                  <a:gd name="connsiteY83" fmla="*/ 26506 h 135387"/>
                  <a:gd name="connsiteX84" fmla="*/ 9294 w 90258"/>
                  <a:gd name="connsiteY84" fmla="*/ 29214 h 135387"/>
                  <a:gd name="connsiteX85" fmla="*/ 11551 w 90258"/>
                  <a:gd name="connsiteY85" fmla="*/ 33953 h 135387"/>
                  <a:gd name="connsiteX86" fmla="*/ 14935 w 90258"/>
                  <a:gd name="connsiteY86" fmla="*/ 39368 h 135387"/>
                  <a:gd name="connsiteX87" fmla="*/ 17643 w 90258"/>
                  <a:gd name="connsiteY87" fmla="*/ 43430 h 135387"/>
                  <a:gd name="connsiteX88" fmla="*/ 19448 w 90258"/>
                  <a:gd name="connsiteY88" fmla="*/ 53810 h 135387"/>
                  <a:gd name="connsiteX89" fmla="*/ 17192 w 90258"/>
                  <a:gd name="connsiteY89" fmla="*/ 58322 h 135387"/>
                  <a:gd name="connsiteX90" fmla="*/ 12002 w 90258"/>
                  <a:gd name="connsiteY90" fmla="*/ 65994 h 135387"/>
                  <a:gd name="connsiteX91" fmla="*/ 10422 w 90258"/>
                  <a:gd name="connsiteY91" fmla="*/ 73441 h 135387"/>
                  <a:gd name="connsiteX92" fmla="*/ 9294 w 90258"/>
                  <a:gd name="connsiteY92" fmla="*/ 83144 h 135387"/>
                  <a:gd name="connsiteX93" fmla="*/ 7715 w 90258"/>
                  <a:gd name="connsiteY93" fmla="*/ 85851 h 135387"/>
                  <a:gd name="connsiteX94" fmla="*/ 3653 w 90258"/>
                  <a:gd name="connsiteY94" fmla="*/ 104354 h 135387"/>
                  <a:gd name="connsiteX95" fmla="*/ 5007 w 90258"/>
                  <a:gd name="connsiteY95" fmla="*/ 117442 h 135387"/>
                  <a:gd name="connsiteX96" fmla="*/ 8166 w 90258"/>
                  <a:gd name="connsiteY96" fmla="*/ 120826 h 135387"/>
                  <a:gd name="connsiteX97" fmla="*/ 10648 w 90258"/>
                  <a:gd name="connsiteY97" fmla="*/ 126468 h 135387"/>
                  <a:gd name="connsiteX98" fmla="*/ 23510 w 90258"/>
                  <a:gd name="connsiteY98" fmla="*/ 139781 h 135387"/>
                  <a:gd name="connsiteX99" fmla="*/ 30279 w 90258"/>
                  <a:gd name="connsiteY99" fmla="*/ 138427 h 135387"/>
                  <a:gd name="connsiteX100" fmla="*/ 34567 w 90258"/>
                  <a:gd name="connsiteY100" fmla="*/ 137524 h 135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90258" h="135387">
                    <a:moveTo>
                      <a:pt x="50362" y="144519"/>
                    </a:moveTo>
                    <a:cubicBezTo>
                      <a:pt x="48105" y="144519"/>
                      <a:pt x="45172" y="144068"/>
                      <a:pt x="41787" y="142940"/>
                    </a:cubicBezTo>
                    <a:cubicBezTo>
                      <a:pt x="34792" y="140683"/>
                      <a:pt x="33664" y="141135"/>
                      <a:pt x="31859" y="142037"/>
                    </a:cubicBezTo>
                    <a:cubicBezTo>
                      <a:pt x="30279" y="142714"/>
                      <a:pt x="28249" y="143842"/>
                      <a:pt x="23510" y="143842"/>
                    </a:cubicBezTo>
                    <a:cubicBezTo>
                      <a:pt x="13356" y="143842"/>
                      <a:pt x="10648" y="136622"/>
                      <a:pt x="7263" y="128273"/>
                    </a:cubicBezTo>
                    <a:cubicBezTo>
                      <a:pt x="6587" y="126468"/>
                      <a:pt x="5910" y="124662"/>
                      <a:pt x="5007" y="122632"/>
                    </a:cubicBezTo>
                    <a:cubicBezTo>
                      <a:pt x="5007" y="122406"/>
                      <a:pt x="4781" y="122180"/>
                      <a:pt x="4781" y="122180"/>
                    </a:cubicBezTo>
                    <a:lnTo>
                      <a:pt x="2976" y="122857"/>
                    </a:lnTo>
                    <a:cubicBezTo>
                      <a:pt x="2751" y="122632"/>
                      <a:pt x="2751" y="122180"/>
                      <a:pt x="2525" y="121729"/>
                    </a:cubicBezTo>
                    <a:cubicBezTo>
                      <a:pt x="2299" y="121278"/>
                      <a:pt x="2299" y="121052"/>
                      <a:pt x="2074" y="120601"/>
                    </a:cubicBezTo>
                    <a:lnTo>
                      <a:pt x="2074" y="120601"/>
                    </a:lnTo>
                    <a:lnTo>
                      <a:pt x="1848" y="119698"/>
                    </a:lnTo>
                    <a:cubicBezTo>
                      <a:pt x="494" y="115185"/>
                      <a:pt x="-183" y="110447"/>
                      <a:pt x="43" y="104580"/>
                    </a:cubicBezTo>
                    <a:cubicBezTo>
                      <a:pt x="494" y="91944"/>
                      <a:pt x="2074" y="89010"/>
                      <a:pt x="4556" y="84497"/>
                    </a:cubicBezTo>
                    <a:cubicBezTo>
                      <a:pt x="5007" y="83595"/>
                      <a:pt x="5458" y="82692"/>
                      <a:pt x="5910" y="81790"/>
                    </a:cubicBezTo>
                    <a:cubicBezTo>
                      <a:pt x="7263" y="79308"/>
                      <a:pt x="7038" y="76825"/>
                      <a:pt x="6812" y="73892"/>
                    </a:cubicBezTo>
                    <a:cubicBezTo>
                      <a:pt x="6587" y="70507"/>
                      <a:pt x="6135" y="66446"/>
                      <a:pt x="9746" y="63287"/>
                    </a:cubicBezTo>
                    <a:cubicBezTo>
                      <a:pt x="12453" y="60805"/>
                      <a:pt x="13130" y="59225"/>
                      <a:pt x="13807" y="57194"/>
                    </a:cubicBezTo>
                    <a:cubicBezTo>
                      <a:pt x="14258" y="55615"/>
                      <a:pt x="14935" y="54035"/>
                      <a:pt x="16515" y="52004"/>
                    </a:cubicBezTo>
                    <a:cubicBezTo>
                      <a:pt x="17869" y="50199"/>
                      <a:pt x="17192" y="49071"/>
                      <a:pt x="14935" y="46138"/>
                    </a:cubicBezTo>
                    <a:cubicBezTo>
                      <a:pt x="13807" y="44784"/>
                      <a:pt x="12679" y="43204"/>
                      <a:pt x="11776" y="41173"/>
                    </a:cubicBezTo>
                    <a:cubicBezTo>
                      <a:pt x="10874" y="39368"/>
                      <a:pt x="9746" y="37789"/>
                      <a:pt x="8843" y="36435"/>
                    </a:cubicBezTo>
                    <a:cubicBezTo>
                      <a:pt x="6812" y="33727"/>
                      <a:pt x="5007" y="31019"/>
                      <a:pt x="6135" y="28086"/>
                    </a:cubicBezTo>
                    <a:cubicBezTo>
                      <a:pt x="8166" y="23573"/>
                      <a:pt x="14710" y="23122"/>
                      <a:pt x="21930" y="23122"/>
                    </a:cubicBezTo>
                    <a:cubicBezTo>
                      <a:pt x="24864" y="23122"/>
                      <a:pt x="26895" y="23799"/>
                      <a:pt x="28925" y="24250"/>
                    </a:cubicBezTo>
                    <a:cubicBezTo>
                      <a:pt x="32084" y="25153"/>
                      <a:pt x="33890" y="25604"/>
                      <a:pt x="36823" y="23573"/>
                    </a:cubicBezTo>
                    <a:cubicBezTo>
                      <a:pt x="42464" y="19286"/>
                      <a:pt x="44721" y="17481"/>
                      <a:pt x="48782" y="12968"/>
                    </a:cubicBezTo>
                    <a:cubicBezTo>
                      <a:pt x="49911" y="11614"/>
                      <a:pt x="50813" y="10485"/>
                      <a:pt x="51490" y="9132"/>
                    </a:cubicBezTo>
                    <a:cubicBezTo>
                      <a:pt x="53070" y="6424"/>
                      <a:pt x="54649" y="3716"/>
                      <a:pt x="60742" y="2814"/>
                    </a:cubicBezTo>
                    <a:cubicBezTo>
                      <a:pt x="62772" y="2588"/>
                      <a:pt x="63224" y="2137"/>
                      <a:pt x="63449" y="1685"/>
                    </a:cubicBezTo>
                    <a:cubicBezTo>
                      <a:pt x="65254" y="-797"/>
                      <a:pt x="67285" y="-571"/>
                      <a:pt x="75634" y="2588"/>
                    </a:cubicBezTo>
                    <a:cubicBezTo>
                      <a:pt x="90527" y="8003"/>
                      <a:pt x="95040" y="11614"/>
                      <a:pt x="99553" y="16804"/>
                    </a:cubicBezTo>
                    <a:lnTo>
                      <a:pt x="100004" y="17255"/>
                    </a:lnTo>
                    <a:cubicBezTo>
                      <a:pt x="104291" y="22445"/>
                      <a:pt x="109030" y="28312"/>
                      <a:pt x="104968" y="39594"/>
                    </a:cubicBezTo>
                    <a:cubicBezTo>
                      <a:pt x="101809" y="48845"/>
                      <a:pt x="101358" y="54938"/>
                      <a:pt x="100907" y="60805"/>
                    </a:cubicBezTo>
                    <a:lnTo>
                      <a:pt x="100681" y="63061"/>
                    </a:lnTo>
                    <a:cubicBezTo>
                      <a:pt x="100455" y="67348"/>
                      <a:pt x="98425" y="69605"/>
                      <a:pt x="96619" y="71636"/>
                    </a:cubicBezTo>
                    <a:cubicBezTo>
                      <a:pt x="95491" y="72989"/>
                      <a:pt x="94137" y="74343"/>
                      <a:pt x="93460" y="76374"/>
                    </a:cubicBezTo>
                    <a:cubicBezTo>
                      <a:pt x="92106" y="80210"/>
                      <a:pt x="91204" y="85400"/>
                      <a:pt x="94137" y="89236"/>
                    </a:cubicBezTo>
                    <a:cubicBezTo>
                      <a:pt x="95265" y="90590"/>
                      <a:pt x="95717" y="91718"/>
                      <a:pt x="96168" y="92621"/>
                    </a:cubicBezTo>
                    <a:cubicBezTo>
                      <a:pt x="96845" y="94200"/>
                      <a:pt x="97296" y="95103"/>
                      <a:pt x="101132" y="97134"/>
                    </a:cubicBezTo>
                    <a:cubicBezTo>
                      <a:pt x="104066" y="98488"/>
                      <a:pt x="105645" y="100293"/>
                      <a:pt x="106097" y="102323"/>
                    </a:cubicBezTo>
                    <a:cubicBezTo>
                      <a:pt x="106773" y="105482"/>
                      <a:pt x="104743" y="108190"/>
                      <a:pt x="102712" y="110898"/>
                    </a:cubicBezTo>
                    <a:cubicBezTo>
                      <a:pt x="101809" y="112026"/>
                      <a:pt x="100230" y="113831"/>
                      <a:pt x="98650" y="115862"/>
                    </a:cubicBezTo>
                    <a:cubicBezTo>
                      <a:pt x="95717" y="119473"/>
                      <a:pt x="91204" y="124662"/>
                      <a:pt x="90753" y="126242"/>
                    </a:cubicBezTo>
                    <a:lnTo>
                      <a:pt x="88947" y="125565"/>
                    </a:lnTo>
                    <a:lnTo>
                      <a:pt x="90753" y="126242"/>
                    </a:lnTo>
                    <a:lnTo>
                      <a:pt x="88947" y="125565"/>
                    </a:lnTo>
                    <a:lnTo>
                      <a:pt x="90753" y="126242"/>
                    </a:lnTo>
                    <a:lnTo>
                      <a:pt x="92106" y="128498"/>
                    </a:lnTo>
                    <a:lnTo>
                      <a:pt x="89624" y="128950"/>
                    </a:lnTo>
                    <a:cubicBezTo>
                      <a:pt x="81952" y="130529"/>
                      <a:pt x="76086" y="133463"/>
                      <a:pt x="70896" y="135945"/>
                    </a:cubicBezTo>
                    <a:cubicBezTo>
                      <a:pt x="69542" y="136622"/>
                      <a:pt x="68414" y="137073"/>
                      <a:pt x="67285" y="137750"/>
                    </a:cubicBezTo>
                    <a:cubicBezTo>
                      <a:pt x="65254" y="138652"/>
                      <a:pt x="63675" y="139781"/>
                      <a:pt x="62095" y="140909"/>
                    </a:cubicBezTo>
                    <a:cubicBezTo>
                      <a:pt x="58485" y="142489"/>
                      <a:pt x="55326" y="144519"/>
                      <a:pt x="50362" y="144519"/>
                    </a:cubicBezTo>
                    <a:close/>
                    <a:moveTo>
                      <a:pt x="34567" y="137524"/>
                    </a:moveTo>
                    <a:cubicBezTo>
                      <a:pt x="36372" y="137524"/>
                      <a:pt x="38854" y="137976"/>
                      <a:pt x="43141" y="139329"/>
                    </a:cubicBezTo>
                    <a:cubicBezTo>
                      <a:pt x="51941" y="142263"/>
                      <a:pt x="55326" y="140232"/>
                      <a:pt x="59839" y="137073"/>
                    </a:cubicBezTo>
                    <a:cubicBezTo>
                      <a:pt x="61419" y="135945"/>
                      <a:pt x="63449" y="134817"/>
                      <a:pt x="65480" y="133688"/>
                    </a:cubicBezTo>
                    <a:cubicBezTo>
                      <a:pt x="66608" y="133237"/>
                      <a:pt x="67737" y="132560"/>
                      <a:pt x="69090" y="131883"/>
                    </a:cubicBezTo>
                    <a:cubicBezTo>
                      <a:pt x="73829" y="129627"/>
                      <a:pt x="79696" y="126693"/>
                      <a:pt x="87142" y="124888"/>
                    </a:cubicBezTo>
                    <a:cubicBezTo>
                      <a:pt x="87142" y="124662"/>
                      <a:pt x="87142" y="124437"/>
                      <a:pt x="87368" y="124211"/>
                    </a:cubicBezTo>
                    <a:lnTo>
                      <a:pt x="87368" y="124211"/>
                    </a:lnTo>
                    <a:cubicBezTo>
                      <a:pt x="88045" y="122180"/>
                      <a:pt x="91430" y="118119"/>
                      <a:pt x="95942" y="112478"/>
                    </a:cubicBezTo>
                    <a:cubicBezTo>
                      <a:pt x="97522" y="110672"/>
                      <a:pt x="98876" y="108867"/>
                      <a:pt x="99778" y="107739"/>
                    </a:cubicBezTo>
                    <a:cubicBezTo>
                      <a:pt x="101358" y="105708"/>
                      <a:pt x="102712" y="103677"/>
                      <a:pt x="102486" y="102323"/>
                    </a:cubicBezTo>
                    <a:cubicBezTo>
                      <a:pt x="102260" y="101195"/>
                      <a:pt x="100681" y="100293"/>
                      <a:pt x="99553" y="99616"/>
                    </a:cubicBezTo>
                    <a:cubicBezTo>
                      <a:pt x="94814" y="97359"/>
                      <a:pt x="93912" y="95554"/>
                      <a:pt x="92783" y="93298"/>
                    </a:cubicBezTo>
                    <a:cubicBezTo>
                      <a:pt x="92332" y="92395"/>
                      <a:pt x="92106" y="91718"/>
                      <a:pt x="91204" y="90590"/>
                    </a:cubicBezTo>
                    <a:cubicBezTo>
                      <a:pt x="88270" y="86528"/>
                      <a:pt x="87819" y="80887"/>
                      <a:pt x="90076" y="74343"/>
                    </a:cubicBezTo>
                    <a:cubicBezTo>
                      <a:pt x="90978" y="71410"/>
                      <a:pt x="92558" y="69830"/>
                      <a:pt x="93912" y="68251"/>
                    </a:cubicBezTo>
                    <a:cubicBezTo>
                      <a:pt x="95491" y="66446"/>
                      <a:pt x="96845" y="65092"/>
                      <a:pt x="97071" y="62158"/>
                    </a:cubicBezTo>
                    <a:lnTo>
                      <a:pt x="97296" y="59902"/>
                    </a:lnTo>
                    <a:cubicBezTo>
                      <a:pt x="97748" y="54035"/>
                      <a:pt x="97973" y="47491"/>
                      <a:pt x="101584" y="37789"/>
                    </a:cubicBezTo>
                    <a:cubicBezTo>
                      <a:pt x="104968" y="28312"/>
                      <a:pt x="101132" y="23799"/>
                      <a:pt x="97071" y="19060"/>
                    </a:cubicBezTo>
                    <a:lnTo>
                      <a:pt x="96619" y="18609"/>
                    </a:lnTo>
                    <a:cubicBezTo>
                      <a:pt x="92783" y="13870"/>
                      <a:pt x="88496" y="10711"/>
                      <a:pt x="74280" y="5521"/>
                    </a:cubicBezTo>
                    <a:cubicBezTo>
                      <a:pt x="68639" y="3490"/>
                      <a:pt x="66834" y="3265"/>
                      <a:pt x="66383" y="3265"/>
                    </a:cubicBezTo>
                    <a:cubicBezTo>
                      <a:pt x="65480" y="4393"/>
                      <a:pt x="64352" y="5747"/>
                      <a:pt x="60967" y="6198"/>
                    </a:cubicBezTo>
                    <a:cubicBezTo>
                      <a:pt x="56680" y="6650"/>
                      <a:pt x="56003" y="8003"/>
                      <a:pt x="54424" y="10711"/>
                    </a:cubicBezTo>
                    <a:cubicBezTo>
                      <a:pt x="53746" y="12065"/>
                      <a:pt x="52844" y="13419"/>
                      <a:pt x="51265" y="14998"/>
                    </a:cubicBezTo>
                    <a:cubicBezTo>
                      <a:pt x="46977" y="19737"/>
                      <a:pt x="44495" y="21768"/>
                      <a:pt x="38854" y="26055"/>
                    </a:cubicBezTo>
                    <a:cubicBezTo>
                      <a:pt x="34567" y="29214"/>
                      <a:pt x="31182" y="28312"/>
                      <a:pt x="27797" y="27409"/>
                    </a:cubicBezTo>
                    <a:cubicBezTo>
                      <a:pt x="25992" y="26958"/>
                      <a:pt x="24187" y="26506"/>
                      <a:pt x="21705" y="26506"/>
                    </a:cubicBezTo>
                    <a:cubicBezTo>
                      <a:pt x="18095" y="26506"/>
                      <a:pt x="10422" y="26506"/>
                      <a:pt x="9294" y="29214"/>
                    </a:cubicBezTo>
                    <a:cubicBezTo>
                      <a:pt x="8843" y="30117"/>
                      <a:pt x="9746" y="31696"/>
                      <a:pt x="11551" y="33953"/>
                    </a:cubicBezTo>
                    <a:cubicBezTo>
                      <a:pt x="12679" y="35532"/>
                      <a:pt x="14033" y="37337"/>
                      <a:pt x="14935" y="39368"/>
                    </a:cubicBezTo>
                    <a:cubicBezTo>
                      <a:pt x="15612" y="40948"/>
                      <a:pt x="16741" y="42302"/>
                      <a:pt x="17643" y="43430"/>
                    </a:cubicBezTo>
                    <a:cubicBezTo>
                      <a:pt x="19674" y="46138"/>
                      <a:pt x="22382" y="49522"/>
                      <a:pt x="19448" y="53810"/>
                    </a:cubicBezTo>
                    <a:cubicBezTo>
                      <a:pt x="18320" y="55389"/>
                      <a:pt x="17869" y="56743"/>
                      <a:pt x="17192" y="58322"/>
                    </a:cubicBezTo>
                    <a:cubicBezTo>
                      <a:pt x="16289" y="60579"/>
                      <a:pt x="15387" y="62835"/>
                      <a:pt x="12002" y="65994"/>
                    </a:cubicBezTo>
                    <a:cubicBezTo>
                      <a:pt x="9971" y="67800"/>
                      <a:pt x="9971" y="70056"/>
                      <a:pt x="10422" y="73441"/>
                    </a:cubicBezTo>
                    <a:cubicBezTo>
                      <a:pt x="10648" y="76374"/>
                      <a:pt x="10874" y="79759"/>
                      <a:pt x="9294" y="83144"/>
                    </a:cubicBezTo>
                    <a:cubicBezTo>
                      <a:pt x="8843" y="84272"/>
                      <a:pt x="8166" y="85174"/>
                      <a:pt x="7715" y="85851"/>
                    </a:cubicBezTo>
                    <a:cubicBezTo>
                      <a:pt x="5458" y="90139"/>
                      <a:pt x="4104" y="92621"/>
                      <a:pt x="3653" y="104354"/>
                    </a:cubicBezTo>
                    <a:cubicBezTo>
                      <a:pt x="3427" y="110672"/>
                      <a:pt x="4330" y="114734"/>
                      <a:pt x="5007" y="117442"/>
                    </a:cubicBezTo>
                    <a:cubicBezTo>
                      <a:pt x="6361" y="118119"/>
                      <a:pt x="7489" y="119247"/>
                      <a:pt x="8166" y="120826"/>
                    </a:cubicBezTo>
                    <a:cubicBezTo>
                      <a:pt x="9069" y="122857"/>
                      <a:pt x="9746" y="124662"/>
                      <a:pt x="10648" y="126468"/>
                    </a:cubicBezTo>
                    <a:cubicBezTo>
                      <a:pt x="14258" y="135493"/>
                      <a:pt x="16289" y="139781"/>
                      <a:pt x="23510" y="139781"/>
                    </a:cubicBezTo>
                    <a:cubicBezTo>
                      <a:pt x="27346" y="139781"/>
                      <a:pt x="28925" y="139104"/>
                      <a:pt x="30279" y="138427"/>
                    </a:cubicBezTo>
                    <a:cubicBezTo>
                      <a:pt x="31633" y="137976"/>
                      <a:pt x="32762" y="137524"/>
                      <a:pt x="34567" y="137524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xmlns="" id="{DBE92332-41E4-42B5-9E46-053DAAC3A4ED}"/>
                  </a:ext>
                </a:extLst>
              </p:cNvPr>
              <p:cNvSpPr/>
              <p:nvPr/>
            </p:nvSpPr>
            <p:spPr>
              <a:xfrm>
                <a:off x="10286439" y="2471006"/>
                <a:ext cx="451292" cy="767197"/>
              </a:xfrm>
              <a:custGeom>
                <a:avLst/>
                <a:gdLst>
                  <a:gd name="connsiteX0" fmla="*/ 214508 w 451292"/>
                  <a:gd name="connsiteY0" fmla="*/ 780059 h 767196"/>
                  <a:gd name="connsiteX1" fmla="*/ 214282 w 451292"/>
                  <a:gd name="connsiteY1" fmla="*/ 775997 h 767196"/>
                  <a:gd name="connsiteX2" fmla="*/ 213154 w 451292"/>
                  <a:gd name="connsiteY2" fmla="*/ 763361 h 767196"/>
                  <a:gd name="connsiteX3" fmla="*/ 212477 w 451292"/>
                  <a:gd name="connsiteY3" fmla="*/ 756817 h 767196"/>
                  <a:gd name="connsiteX4" fmla="*/ 200292 w 451292"/>
                  <a:gd name="connsiteY4" fmla="*/ 752530 h 767196"/>
                  <a:gd name="connsiteX5" fmla="*/ 198035 w 451292"/>
                  <a:gd name="connsiteY5" fmla="*/ 752078 h 767196"/>
                  <a:gd name="connsiteX6" fmla="*/ 191717 w 451292"/>
                  <a:gd name="connsiteY6" fmla="*/ 745309 h 767196"/>
                  <a:gd name="connsiteX7" fmla="*/ 184271 w 451292"/>
                  <a:gd name="connsiteY7" fmla="*/ 736058 h 767196"/>
                  <a:gd name="connsiteX8" fmla="*/ 167573 w 451292"/>
                  <a:gd name="connsiteY8" fmla="*/ 738088 h 767196"/>
                  <a:gd name="connsiteX9" fmla="*/ 164188 w 451292"/>
                  <a:gd name="connsiteY9" fmla="*/ 739894 h 767196"/>
                  <a:gd name="connsiteX10" fmla="*/ 160578 w 451292"/>
                  <a:gd name="connsiteY10" fmla="*/ 739894 h 767196"/>
                  <a:gd name="connsiteX11" fmla="*/ 148845 w 451292"/>
                  <a:gd name="connsiteY11" fmla="*/ 717780 h 767196"/>
                  <a:gd name="connsiteX12" fmla="*/ 147491 w 451292"/>
                  <a:gd name="connsiteY12" fmla="*/ 714396 h 767196"/>
                  <a:gd name="connsiteX13" fmla="*/ 134629 w 451292"/>
                  <a:gd name="connsiteY13" fmla="*/ 709206 h 767196"/>
                  <a:gd name="connsiteX14" fmla="*/ 123798 w 451292"/>
                  <a:gd name="connsiteY14" fmla="*/ 705821 h 767196"/>
                  <a:gd name="connsiteX15" fmla="*/ 120639 w 451292"/>
                  <a:gd name="connsiteY15" fmla="*/ 699729 h 767196"/>
                  <a:gd name="connsiteX16" fmla="*/ 119285 w 451292"/>
                  <a:gd name="connsiteY16" fmla="*/ 697472 h 767196"/>
                  <a:gd name="connsiteX17" fmla="*/ 121767 w 451292"/>
                  <a:gd name="connsiteY17" fmla="*/ 696795 h 767196"/>
                  <a:gd name="connsiteX18" fmla="*/ 123572 w 451292"/>
                  <a:gd name="connsiteY18" fmla="*/ 696118 h 767196"/>
                  <a:gd name="connsiteX19" fmla="*/ 129213 w 451292"/>
                  <a:gd name="connsiteY19" fmla="*/ 693185 h 767196"/>
                  <a:gd name="connsiteX20" fmla="*/ 137111 w 451292"/>
                  <a:gd name="connsiteY20" fmla="*/ 688221 h 767196"/>
                  <a:gd name="connsiteX21" fmla="*/ 133952 w 451292"/>
                  <a:gd name="connsiteY21" fmla="*/ 680097 h 767196"/>
                  <a:gd name="connsiteX22" fmla="*/ 131470 w 451292"/>
                  <a:gd name="connsiteY22" fmla="*/ 674456 h 767196"/>
                  <a:gd name="connsiteX23" fmla="*/ 123572 w 451292"/>
                  <a:gd name="connsiteY23" fmla="*/ 662948 h 767196"/>
                  <a:gd name="connsiteX24" fmla="*/ 123121 w 451292"/>
                  <a:gd name="connsiteY24" fmla="*/ 661594 h 767196"/>
                  <a:gd name="connsiteX25" fmla="*/ 122670 w 451292"/>
                  <a:gd name="connsiteY25" fmla="*/ 659112 h 767196"/>
                  <a:gd name="connsiteX26" fmla="*/ 116126 w 451292"/>
                  <a:gd name="connsiteY26" fmla="*/ 651215 h 767196"/>
                  <a:gd name="connsiteX27" fmla="*/ 105069 w 451292"/>
                  <a:gd name="connsiteY27" fmla="*/ 643543 h 767196"/>
                  <a:gd name="connsiteX28" fmla="*/ 97397 w 451292"/>
                  <a:gd name="connsiteY28" fmla="*/ 636999 h 767196"/>
                  <a:gd name="connsiteX29" fmla="*/ 96495 w 451292"/>
                  <a:gd name="connsiteY29" fmla="*/ 636548 h 767196"/>
                  <a:gd name="connsiteX30" fmla="*/ 81828 w 451292"/>
                  <a:gd name="connsiteY30" fmla="*/ 628876 h 767196"/>
                  <a:gd name="connsiteX31" fmla="*/ 82505 w 451292"/>
                  <a:gd name="connsiteY31" fmla="*/ 606086 h 767196"/>
                  <a:gd name="connsiteX32" fmla="*/ 85438 w 451292"/>
                  <a:gd name="connsiteY32" fmla="*/ 603378 h 767196"/>
                  <a:gd name="connsiteX33" fmla="*/ 72802 w 451292"/>
                  <a:gd name="connsiteY33" fmla="*/ 597737 h 767196"/>
                  <a:gd name="connsiteX34" fmla="*/ 63325 w 451292"/>
                  <a:gd name="connsiteY34" fmla="*/ 599090 h 767196"/>
                  <a:gd name="connsiteX35" fmla="*/ 45950 w 451292"/>
                  <a:gd name="connsiteY35" fmla="*/ 597962 h 767196"/>
                  <a:gd name="connsiteX36" fmla="*/ 39632 w 451292"/>
                  <a:gd name="connsiteY36" fmla="*/ 591870 h 767196"/>
                  <a:gd name="connsiteX37" fmla="*/ 30155 w 451292"/>
                  <a:gd name="connsiteY37" fmla="*/ 584649 h 767196"/>
                  <a:gd name="connsiteX38" fmla="*/ 21129 w 451292"/>
                  <a:gd name="connsiteY38" fmla="*/ 581716 h 767196"/>
                  <a:gd name="connsiteX39" fmla="*/ 11652 w 451292"/>
                  <a:gd name="connsiteY39" fmla="*/ 579008 h 767196"/>
                  <a:gd name="connsiteX40" fmla="*/ 2175 w 451292"/>
                  <a:gd name="connsiteY40" fmla="*/ 569531 h 767196"/>
                  <a:gd name="connsiteX41" fmla="*/ 1949 w 451292"/>
                  <a:gd name="connsiteY41" fmla="*/ 553736 h 767196"/>
                  <a:gd name="connsiteX42" fmla="*/ 5785 w 451292"/>
                  <a:gd name="connsiteY42" fmla="*/ 542905 h 767196"/>
                  <a:gd name="connsiteX43" fmla="*/ 10298 w 451292"/>
                  <a:gd name="connsiteY43" fmla="*/ 531397 h 767196"/>
                  <a:gd name="connsiteX44" fmla="*/ 15262 w 451292"/>
                  <a:gd name="connsiteY44" fmla="*/ 528689 h 767196"/>
                  <a:gd name="connsiteX45" fmla="*/ 18872 w 451292"/>
                  <a:gd name="connsiteY45" fmla="*/ 529366 h 767196"/>
                  <a:gd name="connsiteX46" fmla="*/ 22257 w 451292"/>
                  <a:gd name="connsiteY46" fmla="*/ 528238 h 767196"/>
                  <a:gd name="connsiteX47" fmla="*/ 23385 w 451292"/>
                  <a:gd name="connsiteY47" fmla="*/ 523499 h 767196"/>
                  <a:gd name="connsiteX48" fmla="*/ 29252 w 451292"/>
                  <a:gd name="connsiteY48" fmla="*/ 515601 h 767196"/>
                  <a:gd name="connsiteX49" fmla="*/ 29929 w 451292"/>
                  <a:gd name="connsiteY49" fmla="*/ 515601 h 767196"/>
                  <a:gd name="connsiteX50" fmla="*/ 43919 w 451292"/>
                  <a:gd name="connsiteY50" fmla="*/ 517632 h 767196"/>
                  <a:gd name="connsiteX51" fmla="*/ 45724 w 451292"/>
                  <a:gd name="connsiteY51" fmla="*/ 522371 h 767196"/>
                  <a:gd name="connsiteX52" fmla="*/ 55653 w 451292"/>
                  <a:gd name="connsiteY52" fmla="*/ 532751 h 767196"/>
                  <a:gd name="connsiteX53" fmla="*/ 68289 w 451292"/>
                  <a:gd name="connsiteY53" fmla="*/ 521694 h 767196"/>
                  <a:gd name="connsiteX54" fmla="*/ 81602 w 451292"/>
                  <a:gd name="connsiteY54" fmla="*/ 507027 h 767196"/>
                  <a:gd name="connsiteX55" fmla="*/ 87018 w 451292"/>
                  <a:gd name="connsiteY55" fmla="*/ 503642 h 767196"/>
                  <a:gd name="connsiteX56" fmla="*/ 102361 w 451292"/>
                  <a:gd name="connsiteY56" fmla="*/ 497550 h 767196"/>
                  <a:gd name="connsiteX57" fmla="*/ 119736 w 451292"/>
                  <a:gd name="connsiteY57" fmla="*/ 490103 h 767196"/>
                  <a:gd name="connsiteX58" fmla="*/ 121541 w 451292"/>
                  <a:gd name="connsiteY58" fmla="*/ 484011 h 767196"/>
                  <a:gd name="connsiteX59" fmla="*/ 122895 w 451292"/>
                  <a:gd name="connsiteY59" fmla="*/ 478595 h 767196"/>
                  <a:gd name="connsiteX60" fmla="*/ 135306 w 451292"/>
                  <a:gd name="connsiteY60" fmla="*/ 469118 h 767196"/>
                  <a:gd name="connsiteX61" fmla="*/ 146362 w 451292"/>
                  <a:gd name="connsiteY61" fmla="*/ 474534 h 767196"/>
                  <a:gd name="connsiteX62" fmla="*/ 151552 w 451292"/>
                  <a:gd name="connsiteY62" fmla="*/ 477693 h 767196"/>
                  <a:gd name="connsiteX63" fmla="*/ 159676 w 451292"/>
                  <a:gd name="connsiteY63" fmla="*/ 473406 h 767196"/>
                  <a:gd name="connsiteX64" fmla="*/ 171635 w 451292"/>
                  <a:gd name="connsiteY64" fmla="*/ 467539 h 767196"/>
                  <a:gd name="connsiteX65" fmla="*/ 174343 w 451292"/>
                  <a:gd name="connsiteY65" fmla="*/ 467764 h 767196"/>
                  <a:gd name="connsiteX66" fmla="*/ 174343 w 451292"/>
                  <a:gd name="connsiteY66" fmla="*/ 467539 h 767196"/>
                  <a:gd name="connsiteX67" fmla="*/ 177953 w 451292"/>
                  <a:gd name="connsiteY67" fmla="*/ 459867 h 767196"/>
                  <a:gd name="connsiteX68" fmla="*/ 192169 w 451292"/>
                  <a:gd name="connsiteY68" fmla="*/ 450390 h 767196"/>
                  <a:gd name="connsiteX69" fmla="*/ 193748 w 451292"/>
                  <a:gd name="connsiteY69" fmla="*/ 450615 h 767196"/>
                  <a:gd name="connsiteX70" fmla="*/ 193974 w 451292"/>
                  <a:gd name="connsiteY70" fmla="*/ 450615 h 767196"/>
                  <a:gd name="connsiteX71" fmla="*/ 194199 w 451292"/>
                  <a:gd name="connsiteY71" fmla="*/ 449938 h 767196"/>
                  <a:gd name="connsiteX72" fmla="*/ 203902 w 451292"/>
                  <a:gd name="connsiteY72" fmla="*/ 438430 h 767196"/>
                  <a:gd name="connsiteX73" fmla="*/ 214282 w 451292"/>
                  <a:gd name="connsiteY73" fmla="*/ 424440 h 767196"/>
                  <a:gd name="connsiteX74" fmla="*/ 222856 w 451292"/>
                  <a:gd name="connsiteY74" fmla="*/ 413609 h 767196"/>
                  <a:gd name="connsiteX75" fmla="*/ 233688 w 451292"/>
                  <a:gd name="connsiteY75" fmla="*/ 399845 h 767196"/>
                  <a:gd name="connsiteX76" fmla="*/ 236170 w 451292"/>
                  <a:gd name="connsiteY76" fmla="*/ 394429 h 767196"/>
                  <a:gd name="connsiteX77" fmla="*/ 236847 w 451292"/>
                  <a:gd name="connsiteY77" fmla="*/ 384952 h 767196"/>
                  <a:gd name="connsiteX78" fmla="*/ 238200 w 451292"/>
                  <a:gd name="connsiteY78" fmla="*/ 375926 h 767196"/>
                  <a:gd name="connsiteX79" fmla="*/ 240683 w 451292"/>
                  <a:gd name="connsiteY79" fmla="*/ 373219 h 767196"/>
                  <a:gd name="connsiteX80" fmla="*/ 244293 w 451292"/>
                  <a:gd name="connsiteY80" fmla="*/ 365321 h 767196"/>
                  <a:gd name="connsiteX81" fmla="*/ 241360 w 451292"/>
                  <a:gd name="connsiteY81" fmla="*/ 354039 h 767196"/>
                  <a:gd name="connsiteX82" fmla="*/ 240457 w 451292"/>
                  <a:gd name="connsiteY82" fmla="*/ 353136 h 767196"/>
                  <a:gd name="connsiteX83" fmla="*/ 235944 w 451292"/>
                  <a:gd name="connsiteY83" fmla="*/ 344787 h 767196"/>
                  <a:gd name="connsiteX84" fmla="*/ 238200 w 451292"/>
                  <a:gd name="connsiteY84" fmla="*/ 340726 h 767196"/>
                  <a:gd name="connsiteX85" fmla="*/ 240683 w 451292"/>
                  <a:gd name="connsiteY85" fmla="*/ 319515 h 767196"/>
                  <a:gd name="connsiteX86" fmla="*/ 240683 w 451292"/>
                  <a:gd name="connsiteY86" fmla="*/ 316130 h 767196"/>
                  <a:gd name="connsiteX87" fmla="*/ 237298 w 451292"/>
                  <a:gd name="connsiteY87" fmla="*/ 305299 h 767196"/>
                  <a:gd name="connsiteX88" fmla="*/ 230754 w 451292"/>
                  <a:gd name="connsiteY88" fmla="*/ 296499 h 767196"/>
                  <a:gd name="connsiteX89" fmla="*/ 230077 w 451292"/>
                  <a:gd name="connsiteY89" fmla="*/ 295145 h 767196"/>
                  <a:gd name="connsiteX90" fmla="*/ 231431 w 451292"/>
                  <a:gd name="connsiteY90" fmla="*/ 294243 h 767196"/>
                  <a:gd name="connsiteX91" fmla="*/ 233462 w 451292"/>
                  <a:gd name="connsiteY91" fmla="*/ 271678 h 767196"/>
                  <a:gd name="connsiteX92" fmla="*/ 231205 w 451292"/>
                  <a:gd name="connsiteY92" fmla="*/ 266714 h 767196"/>
                  <a:gd name="connsiteX93" fmla="*/ 238877 w 451292"/>
                  <a:gd name="connsiteY93" fmla="*/ 247308 h 767196"/>
                  <a:gd name="connsiteX94" fmla="*/ 244970 w 451292"/>
                  <a:gd name="connsiteY94" fmla="*/ 241441 h 767196"/>
                  <a:gd name="connsiteX95" fmla="*/ 252867 w 451292"/>
                  <a:gd name="connsiteY95" fmla="*/ 235575 h 767196"/>
                  <a:gd name="connsiteX96" fmla="*/ 254898 w 451292"/>
                  <a:gd name="connsiteY96" fmla="*/ 233995 h 767196"/>
                  <a:gd name="connsiteX97" fmla="*/ 252416 w 451292"/>
                  <a:gd name="connsiteY97" fmla="*/ 219779 h 767196"/>
                  <a:gd name="connsiteX98" fmla="*/ 240457 w 451292"/>
                  <a:gd name="connsiteY98" fmla="*/ 203307 h 767196"/>
                  <a:gd name="connsiteX99" fmla="*/ 235718 w 451292"/>
                  <a:gd name="connsiteY99" fmla="*/ 198569 h 767196"/>
                  <a:gd name="connsiteX100" fmla="*/ 228723 w 451292"/>
                  <a:gd name="connsiteY100" fmla="*/ 171942 h 767196"/>
                  <a:gd name="connsiteX101" fmla="*/ 235944 w 451292"/>
                  <a:gd name="connsiteY101" fmla="*/ 166527 h 767196"/>
                  <a:gd name="connsiteX102" fmla="*/ 244744 w 451292"/>
                  <a:gd name="connsiteY102" fmla="*/ 158855 h 767196"/>
                  <a:gd name="connsiteX103" fmla="*/ 258057 w 451292"/>
                  <a:gd name="connsiteY103" fmla="*/ 146219 h 767196"/>
                  <a:gd name="connsiteX104" fmla="*/ 265052 w 451292"/>
                  <a:gd name="connsiteY104" fmla="*/ 142608 h 767196"/>
                  <a:gd name="connsiteX105" fmla="*/ 273853 w 451292"/>
                  <a:gd name="connsiteY105" fmla="*/ 115080 h 767196"/>
                  <a:gd name="connsiteX106" fmla="*/ 262796 w 451292"/>
                  <a:gd name="connsiteY106" fmla="*/ 106505 h 767196"/>
                  <a:gd name="connsiteX107" fmla="*/ 256026 w 451292"/>
                  <a:gd name="connsiteY107" fmla="*/ 106279 h 767196"/>
                  <a:gd name="connsiteX108" fmla="*/ 253770 w 451292"/>
                  <a:gd name="connsiteY108" fmla="*/ 105828 h 767196"/>
                  <a:gd name="connsiteX109" fmla="*/ 254673 w 451292"/>
                  <a:gd name="connsiteY109" fmla="*/ 103572 h 767196"/>
                  <a:gd name="connsiteX110" fmla="*/ 257155 w 451292"/>
                  <a:gd name="connsiteY110" fmla="*/ 99284 h 767196"/>
                  <a:gd name="connsiteX111" fmla="*/ 260088 w 451292"/>
                  <a:gd name="connsiteY111" fmla="*/ 92064 h 767196"/>
                  <a:gd name="connsiteX112" fmla="*/ 264375 w 451292"/>
                  <a:gd name="connsiteY112" fmla="*/ 83263 h 767196"/>
                  <a:gd name="connsiteX113" fmla="*/ 265504 w 451292"/>
                  <a:gd name="connsiteY113" fmla="*/ 63407 h 767196"/>
                  <a:gd name="connsiteX114" fmla="*/ 264827 w 451292"/>
                  <a:gd name="connsiteY114" fmla="*/ 61601 h 767196"/>
                  <a:gd name="connsiteX115" fmla="*/ 251965 w 451292"/>
                  <a:gd name="connsiteY115" fmla="*/ 42873 h 767196"/>
                  <a:gd name="connsiteX116" fmla="*/ 237072 w 451292"/>
                  <a:gd name="connsiteY116" fmla="*/ 21211 h 767196"/>
                  <a:gd name="connsiteX117" fmla="*/ 242713 w 451292"/>
                  <a:gd name="connsiteY117" fmla="*/ 11282 h 767196"/>
                  <a:gd name="connsiteX118" fmla="*/ 245196 w 451292"/>
                  <a:gd name="connsiteY118" fmla="*/ 8349 h 767196"/>
                  <a:gd name="connsiteX119" fmla="*/ 244519 w 451292"/>
                  <a:gd name="connsiteY119" fmla="*/ 6092 h 767196"/>
                  <a:gd name="connsiteX120" fmla="*/ 243616 w 451292"/>
                  <a:gd name="connsiteY120" fmla="*/ 3385 h 767196"/>
                  <a:gd name="connsiteX121" fmla="*/ 242488 w 451292"/>
                  <a:gd name="connsiteY121" fmla="*/ 0 h 767196"/>
                  <a:gd name="connsiteX122" fmla="*/ 245872 w 451292"/>
                  <a:gd name="connsiteY122" fmla="*/ 1128 h 767196"/>
                  <a:gd name="connsiteX123" fmla="*/ 249934 w 451292"/>
                  <a:gd name="connsiteY123" fmla="*/ 4964 h 767196"/>
                  <a:gd name="connsiteX124" fmla="*/ 252416 w 451292"/>
                  <a:gd name="connsiteY124" fmla="*/ 10605 h 767196"/>
                  <a:gd name="connsiteX125" fmla="*/ 265278 w 451292"/>
                  <a:gd name="connsiteY125" fmla="*/ 23919 h 767196"/>
                  <a:gd name="connsiteX126" fmla="*/ 272047 w 451292"/>
                  <a:gd name="connsiteY126" fmla="*/ 22565 h 767196"/>
                  <a:gd name="connsiteX127" fmla="*/ 284684 w 451292"/>
                  <a:gd name="connsiteY127" fmla="*/ 23467 h 767196"/>
                  <a:gd name="connsiteX128" fmla="*/ 301381 w 451292"/>
                  <a:gd name="connsiteY128" fmla="*/ 21211 h 767196"/>
                  <a:gd name="connsiteX129" fmla="*/ 307023 w 451292"/>
                  <a:gd name="connsiteY129" fmla="*/ 17826 h 767196"/>
                  <a:gd name="connsiteX130" fmla="*/ 310633 w 451292"/>
                  <a:gd name="connsiteY130" fmla="*/ 16021 h 767196"/>
                  <a:gd name="connsiteX131" fmla="*/ 330264 w 451292"/>
                  <a:gd name="connsiteY131" fmla="*/ 8800 h 767196"/>
                  <a:gd name="connsiteX132" fmla="*/ 331618 w 451292"/>
                  <a:gd name="connsiteY132" fmla="*/ 8575 h 767196"/>
                  <a:gd name="connsiteX133" fmla="*/ 332295 w 451292"/>
                  <a:gd name="connsiteY133" fmla="*/ 9703 h 767196"/>
                  <a:gd name="connsiteX134" fmla="*/ 337936 w 451292"/>
                  <a:gd name="connsiteY134" fmla="*/ 11734 h 767196"/>
                  <a:gd name="connsiteX135" fmla="*/ 338839 w 451292"/>
                  <a:gd name="connsiteY135" fmla="*/ 11959 h 767196"/>
                  <a:gd name="connsiteX136" fmla="*/ 351023 w 451292"/>
                  <a:gd name="connsiteY136" fmla="*/ 27980 h 767196"/>
                  <a:gd name="connsiteX137" fmla="*/ 349670 w 451292"/>
                  <a:gd name="connsiteY137" fmla="*/ 32719 h 767196"/>
                  <a:gd name="connsiteX138" fmla="*/ 348767 w 451292"/>
                  <a:gd name="connsiteY138" fmla="*/ 35652 h 767196"/>
                  <a:gd name="connsiteX139" fmla="*/ 352603 w 451292"/>
                  <a:gd name="connsiteY139" fmla="*/ 36329 h 767196"/>
                  <a:gd name="connsiteX140" fmla="*/ 367947 w 451292"/>
                  <a:gd name="connsiteY140" fmla="*/ 40391 h 767196"/>
                  <a:gd name="connsiteX141" fmla="*/ 370655 w 451292"/>
                  <a:gd name="connsiteY141" fmla="*/ 42196 h 767196"/>
                  <a:gd name="connsiteX142" fmla="*/ 378327 w 451292"/>
                  <a:gd name="connsiteY142" fmla="*/ 47611 h 767196"/>
                  <a:gd name="connsiteX143" fmla="*/ 386676 w 451292"/>
                  <a:gd name="connsiteY143" fmla="*/ 53252 h 767196"/>
                  <a:gd name="connsiteX144" fmla="*/ 386676 w 451292"/>
                  <a:gd name="connsiteY144" fmla="*/ 53252 h 767196"/>
                  <a:gd name="connsiteX145" fmla="*/ 389158 w 451292"/>
                  <a:gd name="connsiteY145" fmla="*/ 54832 h 767196"/>
                  <a:gd name="connsiteX146" fmla="*/ 392091 w 451292"/>
                  <a:gd name="connsiteY146" fmla="*/ 53478 h 767196"/>
                  <a:gd name="connsiteX147" fmla="*/ 397958 w 451292"/>
                  <a:gd name="connsiteY147" fmla="*/ 48965 h 767196"/>
                  <a:gd name="connsiteX148" fmla="*/ 407661 w 451292"/>
                  <a:gd name="connsiteY148" fmla="*/ 44001 h 767196"/>
                  <a:gd name="connsiteX149" fmla="*/ 409917 w 451292"/>
                  <a:gd name="connsiteY149" fmla="*/ 44001 h 767196"/>
                  <a:gd name="connsiteX150" fmla="*/ 425261 w 451292"/>
                  <a:gd name="connsiteY150" fmla="*/ 49191 h 767196"/>
                  <a:gd name="connsiteX151" fmla="*/ 430225 w 451292"/>
                  <a:gd name="connsiteY151" fmla="*/ 53704 h 767196"/>
                  <a:gd name="connsiteX152" fmla="*/ 439702 w 451292"/>
                  <a:gd name="connsiteY152" fmla="*/ 58217 h 767196"/>
                  <a:gd name="connsiteX153" fmla="*/ 445344 w 451292"/>
                  <a:gd name="connsiteY153" fmla="*/ 57991 h 767196"/>
                  <a:gd name="connsiteX154" fmla="*/ 453918 w 451292"/>
                  <a:gd name="connsiteY154" fmla="*/ 59345 h 767196"/>
                  <a:gd name="connsiteX155" fmla="*/ 460688 w 451292"/>
                  <a:gd name="connsiteY155" fmla="*/ 60699 h 767196"/>
                  <a:gd name="connsiteX156" fmla="*/ 466780 w 451292"/>
                  <a:gd name="connsiteY156" fmla="*/ 61601 h 767196"/>
                  <a:gd name="connsiteX157" fmla="*/ 469488 w 451292"/>
                  <a:gd name="connsiteY157" fmla="*/ 61601 h 767196"/>
                  <a:gd name="connsiteX158" fmla="*/ 471067 w 451292"/>
                  <a:gd name="connsiteY158" fmla="*/ 61376 h 767196"/>
                  <a:gd name="connsiteX159" fmla="*/ 471519 w 451292"/>
                  <a:gd name="connsiteY159" fmla="*/ 62955 h 767196"/>
                  <a:gd name="connsiteX160" fmla="*/ 472196 w 451292"/>
                  <a:gd name="connsiteY160" fmla="*/ 68371 h 767196"/>
                  <a:gd name="connsiteX161" fmla="*/ 470165 w 451292"/>
                  <a:gd name="connsiteY161" fmla="*/ 84843 h 767196"/>
                  <a:gd name="connsiteX162" fmla="*/ 468360 w 451292"/>
                  <a:gd name="connsiteY162" fmla="*/ 99736 h 767196"/>
                  <a:gd name="connsiteX163" fmla="*/ 459108 w 451292"/>
                  <a:gd name="connsiteY163" fmla="*/ 128844 h 767196"/>
                  <a:gd name="connsiteX164" fmla="*/ 457980 w 451292"/>
                  <a:gd name="connsiteY164" fmla="*/ 130649 h 767196"/>
                  <a:gd name="connsiteX165" fmla="*/ 455272 w 451292"/>
                  <a:gd name="connsiteY165" fmla="*/ 136290 h 767196"/>
                  <a:gd name="connsiteX166" fmla="*/ 454595 w 451292"/>
                  <a:gd name="connsiteY166" fmla="*/ 137644 h 767196"/>
                  <a:gd name="connsiteX167" fmla="*/ 453016 w 451292"/>
                  <a:gd name="connsiteY167" fmla="*/ 137418 h 767196"/>
                  <a:gd name="connsiteX168" fmla="*/ 445569 w 451292"/>
                  <a:gd name="connsiteY168" fmla="*/ 138547 h 767196"/>
                  <a:gd name="connsiteX169" fmla="*/ 445795 w 451292"/>
                  <a:gd name="connsiteY169" fmla="*/ 144639 h 767196"/>
                  <a:gd name="connsiteX170" fmla="*/ 443764 w 451292"/>
                  <a:gd name="connsiteY170" fmla="*/ 155921 h 767196"/>
                  <a:gd name="connsiteX171" fmla="*/ 425036 w 451292"/>
                  <a:gd name="connsiteY171" fmla="*/ 164496 h 767196"/>
                  <a:gd name="connsiteX172" fmla="*/ 423456 w 451292"/>
                  <a:gd name="connsiteY172" fmla="*/ 164496 h 767196"/>
                  <a:gd name="connsiteX173" fmla="*/ 402471 w 451292"/>
                  <a:gd name="connsiteY173" fmla="*/ 160886 h 767196"/>
                  <a:gd name="connsiteX174" fmla="*/ 394348 w 451292"/>
                  <a:gd name="connsiteY174" fmla="*/ 151634 h 767196"/>
                  <a:gd name="connsiteX175" fmla="*/ 390963 w 451292"/>
                  <a:gd name="connsiteY175" fmla="*/ 146444 h 767196"/>
                  <a:gd name="connsiteX176" fmla="*/ 386224 w 451292"/>
                  <a:gd name="connsiteY176" fmla="*/ 141932 h 767196"/>
                  <a:gd name="connsiteX177" fmla="*/ 382614 w 451292"/>
                  <a:gd name="connsiteY177" fmla="*/ 136290 h 767196"/>
                  <a:gd name="connsiteX178" fmla="*/ 381034 w 451292"/>
                  <a:gd name="connsiteY178" fmla="*/ 133583 h 767196"/>
                  <a:gd name="connsiteX179" fmla="*/ 376522 w 451292"/>
                  <a:gd name="connsiteY179" fmla="*/ 124331 h 767196"/>
                  <a:gd name="connsiteX180" fmla="*/ 376070 w 451292"/>
                  <a:gd name="connsiteY180" fmla="*/ 120044 h 767196"/>
                  <a:gd name="connsiteX181" fmla="*/ 373137 w 451292"/>
                  <a:gd name="connsiteY181" fmla="*/ 111018 h 767196"/>
                  <a:gd name="connsiteX182" fmla="*/ 363208 w 451292"/>
                  <a:gd name="connsiteY182" fmla="*/ 110341 h 767196"/>
                  <a:gd name="connsiteX183" fmla="*/ 362531 w 451292"/>
                  <a:gd name="connsiteY183" fmla="*/ 111921 h 767196"/>
                  <a:gd name="connsiteX184" fmla="*/ 362306 w 451292"/>
                  <a:gd name="connsiteY184" fmla="*/ 115531 h 767196"/>
                  <a:gd name="connsiteX185" fmla="*/ 359147 w 451292"/>
                  <a:gd name="connsiteY185" fmla="*/ 127941 h 767196"/>
                  <a:gd name="connsiteX186" fmla="*/ 354408 w 451292"/>
                  <a:gd name="connsiteY186" fmla="*/ 131552 h 767196"/>
                  <a:gd name="connsiteX187" fmla="*/ 348090 w 451292"/>
                  <a:gd name="connsiteY187" fmla="*/ 137418 h 767196"/>
                  <a:gd name="connsiteX188" fmla="*/ 346285 w 451292"/>
                  <a:gd name="connsiteY188" fmla="*/ 142834 h 767196"/>
                  <a:gd name="connsiteX189" fmla="*/ 341321 w 451292"/>
                  <a:gd name="connsiteY189" fmla="*/ 149829 h 767196"/>
                  <a:gd name="connsiteX190" fmla="*/ 339516 w 451292"/>
                  <a:gd name="connsiteY190" fmla="*/ 150506 h 767196"/>
                  <a:gd name="connsiteX191" fmla="*/ 334777 w 451292"/>
                  <a:gd name="connsiteY191" fmla="*/ 150280 h 767196"/>
                  <a:gd name="connsiteX192" fmla="*/ 331167 w 451292"/>
                  <a:gd name="connsiteY192" fmla="*/ 139901 h 767196"/>
                  <a:gd name="connsiteX193" fmla="*/ 325526 w 451292"/>
                  <a:gd name="connsiteY193" fmla="*/ 138095 h 767196"/>
                  <a:gd name="connsiteX194" fmla="*/ 325074 w 451292"/>
                  <a:gd name="connsiteY194" fmla="*/ 133357 h 767196"/>
                  <a:gd name="connsiteX195" fmla="*/ 324623 w 451292"/>
                  <a:gd name="connsiteY195" fmla="*/ 120721 h 767196"/>
                  <a:gd name="connsiteX196" fmla="*/ 320336 w 451292"/>
                  <a:gd name="connsiteY196" fmla="*/ 117562 h 767196"/>
                  <a:gd name="connsiteX197" fmla="*/ 314920 w 451292"/>
                  <a:gd name="connsiteY197" fmla="*/ 113951 h 767196"/>
                  <a:gd name="connsiteX198" fmla="*/ 311310 w 451292"/>
                  <a:gd name="connsiteY198" fmla="*/ 111018 h 767196"/>
                  <a:gd name="connsiteX199" fmla="*/ 304540 w 451292"/>
                  <a:gd name="connsiteY199" fmla="*/ 106054 h 767196"/>
                  <a:gd name="connsiteX200" fmla="*/ 300704 w 451292"/>
                  <a:gd name="connsiteY200" fmla="*/ 103572 h 767196"/>
                  <a:gd name="connsiteX201" fmla="*/ 297771 w 451292"/>
                  <a:gd name="connsiteY201" fmla="*/ 101992 h 767196"/>
                  <a:gd name="connsiteX202" fmla="*/ 293258 w 451292"/>
                  <a:gd name="connsiteY202" fmla="*/ 105602 h 767196"/>
                  <a:gd name="connsiteX203" fmla="*/ 295289 w 451292"/>
                  <a:gd name="connsiteY203" fmla="*/ 109213 h 767196"/>
                  <a:gd name="connsiteX204" fmla="*/ 304992 w 451292"/>
                  <a:gd name="connsiteY204" fmla="*/ 117110 h 767196"/>
                  <a:gd name="connsiteX205" fmla="*/ 307248 w 451292"/>
                  <a:gd name="connsiteY205" fmla="*/ 120495 h 767196"/>
                  <a:gd name="connsiteX206" fmla="*/ 309730 w 451292"/>
                  <a:gd name="connsiteY206" fmla="*/ 126588 h 767196"/>
                  <a:gd name="connsiteX207" fmla="*/ 307699 w 451292"/>
                  <a:gd name="connsiteY207" fmla="*/ 128844 h 767196"/>
                  <a:gd name="connsiteX208" fmla="*/ 300704 w 451292"/>
                  <a:gd name="connsiteY208" fmla="*/ 129747 h 767196"/>
                  <a:gd name="connsiteX209" fmla="*/ 292581 w 451292"/>
                  <a:gd name="connsiteY209" fmla="*/ 131100 h 767196"/>
                  <a:gd name="connsiteX210" fmla="*/ 292130 w 451292"/>
                  <a:gd name="connsiteY210" fmla="*/ 134259 h 767196"/>
                  <a:gd name="connsiteX211" fmla="*/ 289196 w 451292"/>
                  <a:gd name="connsiteY211" fmla="*/ 143511 h 767196"/>
                  <a:gd name="connsiteX212" fmla="*/ 282878 w 451292"/>
                  <a:gd name="connsiteY212" fmla="*/ 148701 h 767196"/>
                  <a:gd name="connsiteX213" fmla="*/ 277914 w 451292"/>
                  <a:gd name="connsiteY213" fmla="*/ 152988 h 767196"/>
                  <a:gd name="connsiteX214" fmla="*/ 271145 w 451292"/>
                  <a:gd name="connsiteY214" fmla="*/ 161111 h 767196"/>
                  <a:gd name="connsiteX215" fmla="*/ 265504 w 451292"/>
                  <a:gd name="connsiteY215" fmla="*/ 168332 h 767196"/>
                  <a:gd name="connsiteX216" fmla="*/ 266406 w 451292"/>
                  <a:gd name="connsiteY216" fmla="*/ 172845 h 767196"/>
                  <a:gd name="connsiteX217" fmla="*/ 266858 w 451292"/>
                  <a:gd name="connsiteY217" fmla="*/ 182773 h 767196"/>
                  <a:gd name="connsiteX218" fmla="*/ 265052 w 451292"/>
                  <a:gd name="connsiteY218" fmla="*/ 196086 h 767196"/>
                  <a:gd name="connsiteX219" fmla="*/ 265052 w 451292"/>
                  <a:gd name="connsiteY219" fmla="*/ 200148 h 767196"/>
                  <a:gd name="connsiteX220" fmla="*/ 265052 w 451292"/>
                  <a:gd name="connsiteY220" fmla="*/ 203984 h 767196"/>
                  <a:gd name="connsiteX221" fmla="*/ 270468 w 451292"/>
                  <a:gd name="connsiteY221" fmla="*/ 202630 h 767196"/>
                  <a:gd name="connsiteX222" fmla="*/ 273853 w 451292"/>
                  <a:gd name="connsiteY222" fmla="*/ 201051 h 767196"/>
                  <a:gd name="connsiteX223" fmla="*/ 289648 w 451292"/>
                  <a:gd name="connsiteY223" fmla="*/ 202856 h 767196"/>
                  <a:gd name="connsiteX224" fmla="*/ 291904 w 451292"/>
                  <a:gd name="connsiteY224" fmla="*/ 208271 h 767196"/>
                  <a:gd name="connsiteX225" fmla="*/ 297320 w 451292"/>
                  <a:gd name="connsiteY225" fmla="*/ 212107 h 767196"/>
                  <a:gd name="connsiteX226" fmla="*/ 308376 w 451292"/>
                  <a:gd name="connsiteY226" fmla="*/ 218877 h 767196"/>
                  <a:gd name="connsiteX227" fmla="*/ 309730 w 451292"/>
                  <a:gd name="connsiteY227" fmla="*/ 223390 h 767196"/>
                  <a:gd name="connsiteX228" fmla="*/ 309956 w 451292"/>
                  <a:gd name="connsiteY228" fmla="*/ 223615 h 767196"/>
                  <a:gd name="connsiteX229" fmla="*/ 313792 w 451292"/>
                  <a:gd name="connsiteY229" fmla="*/ 231739 h 767196"/>
                  <a:gd name="connsiteX230" fmla="*/ 323043 w 451292"/>
                  <a:gd name="connsiteY230" fmla="*/ 238282 h 767196"/>
                  <a:gd name="connsiteX231" fmla="*/ 332069 w 451292"/>
                  <a:gd name="connsiteY231" fmla="*/ 237831 h 767196"/>
                  <a:gd name="connsiteX232" fmla="*/ 342223 w 451292"/>
                  <a:gd name="connsiteY232" fmla="*/ 236929 h 767196"/>
                  <a:gd name="connsiteX233" fmla="*/ 345608 w 451292"/>
                  <a:gd name="connsiteY233" fmla="*/ 235349 h 767196"/>
                  <a:gd name="connsiteX234" fmla="*/ 350798 w 451292"/>
                  <a:gd name="connsiteY234" fmla="*/ 233995 h 767196"/>
                  <a:gd name="connsiteX235" fmla="*/ 354634 w 451292"/>
                  <a:gd name="connsiteY235" fmla="*/ 238282 h 767196"/>
                  <a:gd name="connsiteX236" fmla="*/ 353957 w 451292"/>
                  <a:gd name="connsiteY236" fmla="*/ 248211 h 767196"/>
                  <a:gd name="connsiteX237" fmla="*/ 353731 w 451292"/>
                  <a:gd name="connsiteY237" fmla="*/ 252724 h 767196"/>
                  <a:gd name="connsiteX238" fmla="*/ 367270 w 451292"/>
                  <a:gd name="connsiteY238" fmla="*/ 260170 h 767196"/>
                  <a:gd name="connsiteX239" fmla="*/ 373588 w 451292"/>
                  <a:gd name="connsiteY239" fmla="*/ 271452 h 767196"/>
                  <a:gd name="connsiteX240" fmla="*/ 371557 w 451292"/>
                  <a:gd name="connsiteY240" fmla="*/ 275514 h 767196"/>
                  <a:gd name="connsiteX241" fmla="*/ 370655 w 451292"/>
                  <a:gd name="connsiteY241" fmla="*/ 278222 h 767196"/>
                  <a:gd name="connsiteX242" fmla="*/ 358921 w 451292"/>
                  <a:gd name="connsiteY242" fmla="*/ 284991 h 767196"/>
                  <a:gd name="connsiteX243" fmla="*/ 354183 w 451292"/>
                  <a:gd name="connsiteY243" fmla="*/ 286345 h 767196"/>
                  <a:gd name="connsiteX244" fmla="*/ 344480 w 451292"/>
                  <a:gd name="connsiteY244" fmla="*/ 285894 h 767196"/>
                  <a:gd name="connsiteX245" fmla="*/ 341321 w 451292"/>
                  <a:gd name="connsiteY245" fmla="*/ 283863 h 767196"/>
                  <a:gd name="connsiteX246" fmla="*/ 337034 w 451292"/>
                  <a:gd name="connsiteY246" fmla="*/ 282735 h 767196"/>
                  <a:gd name="connsiteX247" fmla="*/ 335003 w 451292"/>
                  <a:gd name="connsiteY247" fmla="*/ 284314 h 767196"/>
                  <a:gd name="connsiteX248" fmla="*/ 327556 w 451292"/>
                  <a:gd name="connsiteY248" fmla="*/ 287247 h 767196"/>
                  <a:gd name="connsiteX249" fmla="*/ 320110 w 451292"/>
                  <a:gd name="connsiteY249" fmla="*/ 286796 h 767196"/>
                  <a:gd name="connsiteX250" fmla="*/ 316500 w 451292"/>
                  <a:gd name="connsiteY250" fmla="*/ 286571 h 767196"/>
                  <a:gd name="connsiteX251" fmla="*/ 315597 w 451292"/>
                  <a:gd name="connsiteY251" fmla="*/ 287473 h 767196"/>
                  <a:gd name="connsiteX252" fmla="*/ 312664 w 451292"/>
                  <a:gd name="connsiteY252" fmla="*/ 291986 h 767196"/>
                  <a:gd name="connsiteX253" fmla="*/ 313566 w 451292"/>
                  <a:gd name="connsiteY253" fmla="*/ 297402 h 767196"/>
                  <a:gd name="connsiteX254" fmla="*/ 314243 w 451292"/>
                  <a:gd name="connsiteY254" fmla="*/ 305299 h 767196"/>
                  <a:gd name="connsiteX255" fmla="*/ 310633 w 451292"/>
                  <a:gd name="connsiteY255" fmla="*/ 310940 h 767196"/>
                  <a:gd name="connsiteX256" fmla="*/ 308828 w 451292"/>
                  <a:gd name="connsiteY256" fmla="*/ 313197 h 767196"/>
                  <a:gd name="connsiteX257" fmla="*/ 306120 w 451292"/>
                  <a:gd name="connsiteY257" fmla="*/ 316582 h 767196"/>
                  <a:gd name="connsiteX258" fmla="*/ 300479 w 451292"/>
                  <a:gd name="connsiteY258" fmla="*/ 323351 h 767196"/>
                  <a:gd name="connsiteX259" fmla="*/ 298222 w 451292"/>
                  <a:gd name="connsiteY259" fmla="*/ 327638 h 767196"/>
                  <a:gd name="connsiteX260" fmla="*/ 294838 w 451292"/>
                  <a:gd name="connsiteY260" fmla="*/ 331249 h 767196"/>
                  <a:gd name="connsiteX261" fmla="*/ 290776 w 451292"/>
                  <a:gd name="connsiteY261" fmla="*/ 329669 h 767196"/>
                  <a:gd name="connsiteX262" fmla="*/ 288294 w 451292"/>
                  <a:gd name="connsiteY262" fmla="*/ 324028 h 767196"/>
                  <a:gd name="connsiteX263" fmla="*/ 288068 w 451292"/>
                  <a:gd name="connsiteY263" fmla="*/ 322674 h 767196"/>
                  <a:gd name="connsiteX264" fmla="*/ 287391 w 451292"/>
                  <a:gd name="connsiteY264" fmla="*/ 322674 h 767196"/>
                  <a:gd name="connsiteX265" fmla="*/ 285361 w 451292"/>
                  <a:gd name="connsiteY265" fmla="*/ 322900 h 767196"/>
                  <a:gd name="connsiteX266" fmla="*/ 280848 w 451292"/>
                  <a:gd name="connsiteY266" fmla="*/ 327187 h 767196"/>
                  <a:gd name="connsiteX267" fmla="*/ 281073 w 451292"/>
                  <a:gd name="connsiteY267" fmla="*/ 329443 h 767196"/>
                  <a:gd name="connsiteX268" fmla="*/ 276560 w 451292"/>
                  <a:gd name="connsiteY268" fmla="*/ 338018 h 767196"/>
                  <a:gd name="connsiteX269" fmla="*/ 273853 w 451292"/>
                  <a:gd name="connsiteY269" fmla="*/ 340951 h 767196"/>
                  <a:gd name="connsiteX270" fmla="*/ 267309 w 451292"/>
                  <a:gd name="connsiteY270" fmla="*/ 352008 h 767196"/>
                  <a:gd name="connsiteX271" fmla="*/ 268663 w 451292"/>
                  <a:gd name="connsiteY271" fmla="*/ 357649 h 767196"/>
                  <a:gd name="connsiteX272" fmla="*/ 271822 w 451292"/>
                  <a:gd name="connsiteY272" fmla="*/ 363742 h 767196"/>
                  <a:gd name="connsiteX273" fmla="*/ 278366 w 451292"/>
                  <a:gd name="connsiteY273" fmla="*/ 372542 h 767196"/>
                  <a:gd name="connsiteX274" fmla="*/ 284232 w 451292"/>
                  <a:gd name="connsiteY274" fmla="*/ 379537 h 767196"/>
                  <a:gd name="connsiteX275" fmla="*/ 296191 w 451292"/>
                  <a:gd name="connsiteY275" fmla="*/ 390368 h 767196"/>
                  <a:gd name="connsiteX276" fmla="*/ 297320 w 451292"/>
                  <a:gd name="connsiteY276" fmla="*/ 391045 h 767196"/>
                  <a:gd name="connsiteX277" fmla="*/ 322592 w 451292"/>
                  <a:gd name="connsiteY277" fmla="*/ 398265 h 767196"/>
                  <a:gd name="connsiteX278" fmla="*/ 344705 w 451292"/>
                  <a:gd name="connsiteY278" fmla="*/ 398040 h 767196"/>
                  <a:gd name="connsiteX279" fmla="*/ 353280 w 451292"/>
                  <a:gd name="connsiteY279" fmla="*/ 405712 h 767196"/>
                  <a:gd name="connsiteX280" fmla="*/ 353280 w 451292"/>
                  <a:gd name="connsiteY280" fmla="*/ 412255 h 767196"/>
                  <a:gd name="connsiteX281" fmla="*/ 351475 w 451292"/>
                  <a:gd name="connsiteY281" fmla="*/ 429179 h 767196"/>
                  <a:gd name="connsiteX282" fmla="*/ 353280 w 451292"/>
                  <a:gd name="connsiteY282" fmla="*/ 433015 h 767196"/>
                  <a:gd name="connsiteX283" fmla="*/ 357342 w 451292"/>
                  <a:gd name="connsiteY283" fmla="*/ 449487 h 767196"/>
                  <a:gd name="connsiteX284" fmla="*/ 345834 w 451292"/>
                  <a:gd name="connsiteY284" fmla="*/ 462575 h 767196"/>
                  <a:gd name="connsiteX285" fmla="*/ 336582 w 451292"/>
                  <a:gd name="connsiteY285" fmla="*/ 473631 h 767196"/>
                  <a:gd name="connsiteX286" fmla="*/ 350347 w 451292"/>
                  <a:gd name="connsiteY286" fmla="*/ 501611 h 767196"/>
                  <a:gd name="connsiteX287" fmla="*/ 363434 w 451292"/>
                  <a:gd name="connsiteY287" fmla="*/ 532525 h 767196"/>
                  <a:gd name="connsiteX288" fmla="*/ 363208 w 451292"/>
                  <a:gd name="connsiteY288" fmla="*/ 543356 h 767196"/>
                  <a:gd name="connsiteX289" fmla="*/ 375845 w 451292"/>
                  <a:gd name="connsiteY289" fmla="*/ 545612 h 767196"/>
                  <a:gd name="connsiteX290" fmla="*/ 391414 w 451292"/>
                  <a:gd name="connsiteY290" fmla="*/ 550576 h 767196"/>
                  <a:gd name="connsiteX291" fmla="*/ 390060 w 451292"/>
                  <a:gd name="connsiteY291" fmla="*/ 562310 h 767196"/>
                  <a:gd name="connsiteX292" fmla="*/ 389609 w 451292"/>
                  <a:gd name="connsiteY292" fmla="*/ 563213 h 767196"/>
                  <a:gd name="connsiteX293" fmla="*/ 392994 w 451292"/>
                  <a:gd name="connsiteY293" fmla="*/ 619850 h 767196"/>
                  <a:gd name="connsiteX294" fmla="*/ 397732 w 451292"/>
                  <a:gd name="connsiteY294" fmla="*/ 639255 h 767196"/>
                  <a:gd name="connsiteX295" fmla="*/ 398184 w 451292"/>
                  <a:gd name="connsiteY295" fmla="*/ 653471 h 767196"/>
                  <a:gd name="connsiteX296" fmla="*/ 399312 w 451292"/>
                  <a:gd name="connsiteY296" fmla="*/ 668815 h 767196"/>
                  <a:gd name="connsiteX297" fmla="*/ 399086 w 451292"/>
                  <a:gd name="connsiteY297" fmla="*/ 673102 h 767196"/>
                  <a:gd name="connsiteX298" fmla="*/ 401794 w 451292"/>
                  <a:gd name="connsiteY298" fmla="*/ 676713 h 767196"/>
                  <a:gd name="connsiteX299" fmla="*/ 411497 w 451292"/>
                  <a:gd name="connsiteY299" fmla="*/ 691831 h 767196"/>
                  <a:gd name="connsiteX300" fmla="*/ 411271 w 451292"/>
                  <a:gd name="connsiteY300" fmla="*/ 696795 h 767196"/>
                  <a:gd name="connsiteX301" fmla="*/ 411948 w 451292"/>
                  <a:gd name="connsiteY301" fmla="*/ 704016 h 767196"/>
                  <a:gd name="connsiteX302" fmla="*/ 412851 w 451292"/>
                  <a:gd name="connsiteY302" fmla="*/ 705595 h 767196"/>
                  <a:gd name="connsiteX303" fmla="*/ 412174 w 451292"/>
                  <a:gd name="connsiteY303" fmla="*/ 714621 h 767196"/>
                  <a:gd name="connsiteX304" fmla="*/ 411045 w 451292"/>
                  <a:gd name="connsiteY304" fmla="*/ 718909 h 767196"/>
                  <a:gd name="connsiteX305" fmla="*/ 405179 w 451292"/>
                  <a:gd name="connsiteY305" fmla="*/ 726580 h 767196"/>
                  <a:gd name="connsiteX306" fmla="*/ 396378 w 451292"/>
                  <a:gd name="connsiteY306" fmla="*/ 725904 h 767196"/>
                  <a:gd name="connsiteX307" fmla="*/ 389835 w 451292"/>
                  <a:gd name="connsiteY307" fmla="*/ 724324 h 767196"/>
                  <a:gd name="connsiteX308" fmla="*/ 385547 w 451292"/>
                  <a:gd name="connsiteY308" fmla="*/ 724324 h 767196"/>
                  <a:gd name="connsiteX309" fmla="*/ 374039 w 451292"/>
                  <a:gd name="connsiteY309" fmla="*/ 722293 h 767196"/>
                  <a:gd name="connsiteX310" fmla="*/ 369526 w 451292"/>
                  <a:gd name="connsiteY310" fmla="*/ 710560 h 767196"/>
                  <a:gd name="connsiteX311" fmla="*/ 369526 w 451292"/>
                  <a:gd name="connsiteY311" fmla="*/ 708980 h 767196"/>
                  <a:gd name="connsiteX312" fmla="*/ 366819 w 451292"/>
                  <a:gd name="connsiteY312" fmla="*/ 708754 h 767196"/>
                  <a:gd name="connsiteX313" fmla="*/ 361403 w 451292"/>
                  <a:gd name="connsiteY313" fmla="*/ 707626 h 767196"/>
                  <a:gd name="connsiteX314" fmla="*/ 360049 w 451292"/>
                  <a:gd name="connsiteY314" fmla="*/ 707175 h 767196"/>
                  <a:gd name="connsiteX315" fmla="*/ 360049 w 451292"/>
                  <a:gd name="connsiteY315" fmla="*/ 707401 h 767196"/>
                  <a:gd name="connsiteX316" fmla="*/ 356213 w 451292"/>
                  <a:gd name="connsiteY316" fmla="*/ 709657 h 767196"/>
                  <a:gd name="connsiteX317" fmla="*/ 355988 w 451292"/>
                  <a:gd name="connsiteY317" fmla="*/ 711462 h 767196"/>
                  <a:gd name="connsiteX318" fmla="*/ 355762 w 451292"/>
                  <a:gd name="connsiteY318" fmla="*/ 713493 h 767196"/>
                  <a:gd name="connsiteX319" fmla="*/ 351701 w 451292"/>
                  <a:gd name="connsiteY319" fmla="*/ 725678 h 767196"/>
                  <a:gd name="connsiteX320" fmla="*/ 348090 w 451292"/>
                  <a:gd name="connsiteY320" fmla="*/ 728837 h 767196"/>
                  <a:gd name="connsiteX321" fmla="*/ 346511 w 451292"/>
                  <a:gd name="connsiteY321" fmla="*/ 731770 h 767196"/>
                  <a:gd name="connsiteX322" fmla="*/ 343352 w 451292"/>
                  <a:gd name="connsiteY322" fmla="*/ 736735 h 767196"/>
                  <a:gd name="connsiteX323" fmla="*/ 339741 w 451292"/>
                  <a:gd name="connsiteY323" fmla="*/ 739668 h 767196"/>
                  <a:gd name="connsiteX324" fmla="*/ 337936 w 451292"/>
                  <a:gd name="connsiteY324" fmla="*/ 742150 h 767196"/>
                  <a:gd name="connsiteX325" fmla="*/ 331844 w 451292"/>
                  <a:gd name="connsiteY325" fmla="*/ 747340 h 767196"/>
                  <a:gd name="connsiteX326" fmla="*/ 329136 w 451292"/>
                  <a:gd name="connsiteY326" fmla="*/ 749371 h 767196"/>
                  <a:gd name="connsiteX327" fmla="*/ 318531 w 451292"/>
                  <a:gd name="connsiteY327" fmla="*/ 749596 h 767196"/>
                  <a:gd name="connsiteX328" fmla="*/ 308376 w 451292"/>
                  <a:gd name="connsiteY328" fmla="*/ 746212 h 767196"/>
                  <a:gd name="connsiteX329" fmla="*/ 301833 w 451292"/>
                  <a:gd name="connsiteY329" fmla="*/ 740345 h 767196"/>
                  <a:gd name="connsiteX330" fmla="*/ 301833 w 451292"/>
                  <a:gd name="connsiteY330" fmla="*/ 735155 h 767196"/>
                  <a:gd name="connsiteX331" fmla="*/ 300930 w 451292"/>
                  <a:gd name="connsiteY331" fmla="*/ 732447 h 767196"/>
                  <a:gd name="connsiteX332" fmla="*/ 300253 w 451292"/>
                  <a:gd name="connsiteY332" fmla="*/ 722068 h 767196"/>
                  <a:gd name="connsiteX333" fmla="*/ 306120 w 451292"/>
                  <a:gd name="connsiteY333" fmla="*/ 710108 h 767196"/>
                  <a:gd name="connsiteX334" fmla="*/ 306346 w 451292"/>
                  <a:gd name="connsiteY334" fmla="*/ 709206 h 767196"/>
                  <a:gd name="connsiteX335" fmla="*/ 307925 w 451292"/>
                  <a:gd name="connsiteY335" fmla="*/ 705821 h 767196"/>
                  <a:gd name="connsiteX336" fmla="*/ 308376 w 451292"/>
                  <a:gd name="connsiteY336" fmla="*/ 703339 h 767196"/>
                  <a:gd name="connsiteX337" fmla="*/ 304540 w 451292"/>
                  <a:gd name="connsiteY337" fmla="*/ 700180 h 767196"/>
                  <a:gd name="connsiteX338" fmla="*/ 301381 w 451292"/>
                  <a:gd name="connsiteY338" fmla="*/ 697698 h 767196"/>
                  <a:gd name="connsiteX339" fmla="*/ 296643 w 451292"/>
                  <a:gd name="connsiteY339" fmla="*/ 694764 h 767196"/>
                  <a:gd name="connsiteX340" fmla="*/ 296869 w 451292"/>
                  <a:gd name="connsiteY340" fmla="*/ 695441 h 767196"/>
                  <a:gd name="connsiteX341" fmla="*/ 299802 w 451292"/>
                  <a:gd name="connsiteY341" fmla="*/ 700180 h 767196"/>
                  <a:gd name="connsiteX342" fmla="*/ 300930 w 451292"/>
                  <a:gd name="connsiteY342" fmla="*/ 710785 h 767196"/>
                  <a:gd name="connsiteX343" fmla="*/ 293032 w 451292"/>
                  <a:gd name="connsiteY343" fmla="*/ 718006 h 767196"/>
                  <a:gd name="connsiteX344" fmla="*/ 286263 w 451292"/>
                  <a:gd name="connsiteY344" fmla="*/ 725678 h 767196"/>
                  <a:gd name="connsiteX345" fmla="*/ 266858 w 451292"/>
                  <a:gd name="connsiteY345" fmla="*/ 754786 h 767196"/>
                  <a:gd name="connsiteX346" fmla="*/ 262570 w 451292"/>
                  <a:gd name="connsiteY346" fmla="*/ 759976 h 767196"/>
                  <a:gd name="connsiteX347" fmla="*/ 259637 w 451292"/>
                  <a:gd name="connsiteY347" fmla="*/ 764038 h 767196"/>
                  <a:gd name="connsiteX348" fmla="*/ 247226 w 451292"/>
                  <a:gd name="connsiteY348" fmla="*/ 771710 h 767196"/>
                  <a:gd name="connsiteX349" fmla="*/ 241360 w 451292"/>
                  <a:gd name="connsiteY349" fmla="*/ 773741 h 767196"/>
                  <a:gd name="connsiteX350" fmla="*/ 216538 w 451292"/>
                  <a:gd name="connsiteY350" fmla="*/ 778930 h 767196"/>
                  <a:gd name="connsiteX351" fmla="*/ 215861 w 451292"/>
                  <a:gd name="connsiteY351" fmla="*/ 779607 h 767196"/>
                  <a:gd name="connsiteX352" fmla="*/ 214508 w 451292"/>
                  <a:gd name="connsiteY352" fmla="*/ 780059 h 767196"/>
                  <a:gd name="connsiteX353" fmla="*/ 178404 w 451292"/>
                  <a:gd name="connsiteY353" fmla="*/ 730642 h 767196"/>
                  <a:gd name="connsiteX354" fmla="*/ 186076 w 451292"/>
                  <a:gd name="connsiteY354" fmla="*/ 732447 h 767196"/>
                  <a:gd name="connsiteX355" fmla="*/ 195328 w 451292"/>
                  <a:gd name="connsiteY355" fmla="*/ 743730 h 767196"/>
                  <a:gd name="connsiteX356" fmla="*/ 198712 w 451292"/>
                  <a:gd name="connsiteY356" fmla="*/ 748243 h 767196"/>
                  <a:gd name="connsiteX357" fmla="*/ 200743 w 451292"/>
                  <a:gd name="connsiteY357" fmla="*/ 748468 h 767196"/>
                  <a:gd name="connsiteX358" fmla="*/ 216087 w 451292"/>
                  <a:gd name="connsiteY358" fmla="*/ 756591 h 767196"/>
                  <a:gd name="connsiteX359" fmla="*/ 216764 w 451292"/>
                  <a:gd name="connsiteY359" fmla="*/ 762684 h 767196"/>
                  <a:gd name="connsiteX360" fmla="*/ 217892 w 451292"/>
                  <a:gd name="connsiteY360" fmla="*/ 772838 h 767196"/>
                  <a:gd name="connsiteX361" fmla="*/ 241585 w 451292"/>
                  <a:gd name="connsiteY361" fmla="*/ 767874 h 767196"/>
                  <a:gd name="connsiteX362" fmla="*/ 247678 w 451292"/>
                  <a:gd name="connsiteY362" fmla="*/ 765617 h 767196"/>
                  <a:gd name="connsiteX363" fmla="*/ 258057 w 451292"/>
                  <a:gd name="connsiteY363" fmla="*/ 759525 h 767196"/>
                  <a:gd name="connsiteX364" fmla="*/ 261216 w 451292"/>
                  <a:gd name="connsiteY364" fmla="*/ 755238 h 767196"/>
                  <a:gd name="connsiteX365" fmla="*/ 265504 w 451292"/>
                  <a:gd name="connsiteY365" fmla="*/ 750048 h 767196"/>
                  <a:gd name="connsiteX366" fmla="*/ 284007 w 451292"/>
                  <a:gd name="connsiteY366" fmla="*/ 722519 h 767196"/>
                  <a:gd name="connsiteX367" fmla="*/ 292581 w 451292"/>
                  <a:gd name="connsiteY367" fmla="*/ 712365 h 767196"/>
                  <a:gd name="connsiteX368" fmla="*/ 298899 w 451292"/>
                  <a:gd name="connsiteY368" fmla="*/ 706724 h 767196"/>
                  <a:gd name="connsiteX369" fmla="*/ 298448 w 451292"/>
                  <a:gd name="connsiteY369" fmla="*/ 700180 h 767196"/>
                  <a:gd name="connsiteX370" fmla="*/ 294838 w 451292"/>
                  <a:gd name="connsiteY370" fmla="*/ 694313 h 767196"/>
                  <a:gd name="connsiteX371" fmla="*/ 295740 w 451292"/>
                  <a:gd name="connsiteY371" fmla="*/ 688898 h 767196"/>
                  <a:gd name="connsiteX372" fmla="*/ 305894 w 451292"/>
                  <a:gd name="connsiteY372" fmla="*/ 692959 h 767196"/>
                  <a:gd name="connsiteX373" fmla="*/ 308151 w 451292"/>
                  <a:gd name="connsiteY373" fmla="*/ 694539 h 767196"/>
                  <a:gd name="connsiteX374" fmla="*/ 313115 w 451292"/>
                  <a:gd name="connsiteY374" fmla="*/ 698826 h 767196"/>
                  <a:gd name="connsiteX375" fmla="*/ 312889 w 451292"/>
                  <a:gd name="connsiteY375" fmla="*/ 705144 h 767196"/>
                  <a:gd name="connsiteX376" fmla="*/ 311535 w 451292"/>
                  <a:gd name="connsiteY376" fmla="*/ 708078 h 767196"/>
                  <a:gd name="connsiteX377" fmla="*/ 311310 w 451292"/>
                  <a:gd name="connsiteY377" fmla="*/ 708980 h 767196"/>
                  <a:gd name="connsiteX378" fmla="*/ 305217 w 451292"/>
                  <a:gd name="connsiteY378" fmla="*/ 721616 h 767196"/>
                  <a:gd name="connsiteX379" fmla="*/ 305894 w 451292"/>
                  <a:gd name="connsiteY379" fmla="*/ 728386 h 767196"/>
                  <a:gd name="connsiteX380" fmla="*/ 306797 w 451292"/>
                  <a:gd name="connsiteY380" fmla="*/ 734929 h 767196"/>
                  <a:gd name="connsiteX381" fmla="*/ 306797 w 451292"/>
                  <a:gd name="connsiteY381" fmla="*/ 736058 h 767196"/>
                  <a:gd name="connsiteX382" fmla="*/ 310633 w 451292"/>
                  <a:gd name="connsiteY382" fmla="*/ 740119 h 767196"/>
                  <a:gd name="connsiteX383" fmla="*/ 321464 w 451292"/>
                  <a:gd name="connsiteY383" fmla="*/ 743730 h 767196"/>
                  <a:gd name="connsiteX384" fmla="*/ 328459 w 451292"/>
                  <a:gd name="connsiteY384" fmla="*/ 743955 h 767196"/>
                  <a:gd name="connsiteX385" fmla="*/ 331618 w 451292"/>
                  <a:gd name="connsiteY385" fmla="*/ 741699 h 767196"/>
                  <a:gd name="connsiteX386" fmla="*/ 336582 w 451292"/>
                  <a:gd name="connsiteY386" fmla="*/ 737637 h 767196"/>
                  <a:gd name="connsiteX387" fmla="*/ 338387 w 451292"/>
                  <a:gd name="connsiteY387" fmla="*/ 735155 h 767196"/>
                  <a:gd name="connsiteX388" fmla="*/ 343126 w 451292"/>
                  <a:gd name="connsiteY388" fmla="*/ 731093 h 767196"/>
                  <a:gd name="connsiteX389" fmla="*/ 344254 w 451292"/>
                  <a:gd name="connsiteY389" fmla="*/ 729514 h 767196"/>
                  <a:gd name="connsiteX390" fmla="*/ 347413 w 451292"/>
                  <a:gd name="connsiteY390" fmla="*/ 723647 h 767196"/>
                  <a:gd name="connsiteX391" fmla="*/ 350347 w 451292"/>
                  <a:gd name="connsiteY391" fmla="*/ 720939 h 767196"/>
                  <a:gd name="connsiteX392" fmla="*/ 353506 w 451292"/>
                  <a:gd name="connsiteY392" fmla="*/ 711011 h 767196"/>
                  <a:gd name="connsiteX393" fmla="*/ 353731 w 451292"/>
                  <a:gd name="connsiteY393" fmla="*/ 708980 h 767196"/>
                  <a:gd name="connsiteX394" fmla="*/ 355311 w 451292"/>
                  <a:gd name="connsiteY394" fmla="*/ 704016 h 767196"/>
                  <a:gd name="connsiteX395" fmla="*/ 358019 w 451292"/>
                  <a:gd name="connsiteY395" fmla="*/ 703565 h 767196"/>
                  <a:gd name="connsiteX396" fmla="*/ 364337 w 451292"/>
                  <a:gd name="connsiteY396" fmla="*/ 701759 h 767196"/>
                  <a:gd name="connsiteX397" fmla="*/ 368398 w 451292"/>
                  <a:gd name="connsiteY397" fmla="*/ 702662 h 767196"/>
                  <a:gd name="connsiteX398" fmla="*/ 374942 w 451292"/>
                  <a:gd name="connsiteY398" fmla="*/ 708303 h 767196"/>
                  <a:gd name="connsiteX399" fmla="*/ 377650 w 451292"/>
                  <a:gd name="connsiteY399" fmla="*/ 717103 h 767196"/>
                  <a:gd name="connsiteX400" fmla="*/ 387127 w 451292"/>
                  <a:gd name="connsiteY400" fmla="*/ 718457 h 767196"/>
                  <a:gd name="connsiteX401" fmla="*/ 391414 w 451292"/>
                  <a:gd name="connsiteY401" fmla="*/ 718457 h 767196"/>
                  <a:gd name="connsiteX402" fmla="*/ 399537 w 451292"/>
                  <a:gd name="connsiteY402" fmla="*/ 720262 h 767196"/>
                  <a:gd name="connsiteX403" fmla="*/ 405630 w 451292"/>
                  <a:gd name="connsiteY403" fmla="*/ 720714 h 767196"/>
                  <a:gd name="connsiteX404" fmla="*/ 409015 w 451292"/>
                  <a:gd name="connsiteY404" fmla="*/ 716201 h 767196"/>
                  <a:gd name="connsiteX405" fmla="*/ 410594 w 451292"/>
                  <a:gd name="connsiteY405" fmla="*/ 710334 h 767196"/>
                  <a:gd name="connsiteX406" fmla="*/ 411045 w 451292"/>
                  <a:gd name="connsiteY406" fmla="*/ 705144 h 767196"/>
                  <a:gd name="connsiteX407" fmla="*/ 410143 w 451292"/>
                  <a:gd name="connsiteY407" fmla="*/ 703339 h 767196"/>
                  <a:gd name="connsiteX408" fmla="*/ 409240 w 451292"/>
                  <a:gd name="connsiteY408" fmla="*/ 694313 h 767196"/>
                  <a:gd name="connsiteX409" fmla="*/ 409466 w 451292"/>
                  <a:gd name="connsiteY409" fmla="*/ 689575 h 767196"/>
                  <a:gd name="connsiteX410" fmla="*/ 401568 w 451292"/>
                  <a:gd name="connsiteY410" fmla="*/ 677841 h 767196"/>
                  <a:gd name="connsiteX411" fmla="*/ 397281 w 451292"/>
                  <a:gd name="connsiteY411" fmla="*/ 669266 h 767196"/>
                  <a:gd name="connsiteX412" fmla="*/ 397507 w 451292"/>
                  <a:gd name="connsiteY412" fmla="*/ 668138 h 767196"/>
                  <a:gd name="connsiteX413" fmla="*/ 396153 w 451292"/>
                  <a:gd name="connsiteY413" fmla="*/ 651215 h 767196"/>
                  <a:gd name="connsiteX414" fmla="*/ 395701 w 451292"/>
                  <a:gd name="connsiteY414" fmla="*/ 637902 h 767196"/>
                  <a:gd name="connsiteX415" fmla="*/ 390963 w 451292"/>
                  <a:gd name="connsiteY415" fmla="*/ 618722 h 767196"/>
                  <a:gd name="connsiteX416" fmla="*/ 387578 w 451292"/>
                  <a:gd name="connsiteY416" fmla="*/ 559828 h 767196"/>
                  <a:gd name="connsiteX417" fmla="*/ 388030 w 451292"/>
                  <a:gd name="connsiteY417" fmla="*/ 558925 h 767196"/>
                  <a:gd name="connsiteX418" fmla="*/ 389383 w 451292"/>
                  <a:gd name="connsiteY418" fmla="*/ 550125 h 767196"/>
                  <a:gd name="connsiteX419" fmla="*/ 377650 w 451292"/>
                  <a:gd name="connsiteY419" fmla="*/ 547192 h 767196"/>
                  <a:gd name="connsiteX420" fmla="*/ 361855 w 451292"/>
                  <a:gd name="connsiteY420" fmla="*/ 543581 h 767196"/>
                  <a:gd name="connsiteX421" fmla="*/ 361629 w 451292"/>
                  <a:gd name="connsiteY421" fmla="*/ 528914 h 767196"/>
                  <a:gd name="connsiteX422" fmla="*/ 349895 w 451292"/>
                  <a:gd name="connsiteY422" fmla="*/ 502740 h 767196"/>
                  <a:gd name="connsiteX423" fmla="*/ 334551 w 451292"/>
                  <a:gd name="connsiteY423" fmla="*/ 470472 h 767196"/>
                  <a:gd name="connsiteX424" fmla="*/ 345157 w 451292"/>
                  <a:gd name="connsiteY424" fmla="*/ 457836 h 767196"/>
                  <a:gd name="connsiteX425" fmla="*/ 355537 w 451292"/>
                  <a:gd name="connsiteY425" fmla="*/ 446102 h 767196"/>
                  <a:gd name="connsiteX426" fmla="*/ 351475 w 451292"/>
                  <a:gd name="connsiteY426" fmla="*/ 432789 h 767196"/>
                  <a:gd name="connsiteX427" fmla="*/ 349670 w 451292"/>
                  <a:gd name="connsiteY427" fmla="*/ 428728 h 767196"/>
                  <a:gd name="connsiteX428" fmla="*/ 351475 w 451292"/>
                  <a:gd name="connsiteY428" fmla="*/ 408645 h 767196"/>
                  <a:gd name="connsiteX429" fmla="*/ 351249 w 451292"/>
                  <a:gd name="connsiteY429" fmla="*/ 405260 h 767196"/>
                  <a:gd name="connsiteX430" fmla="*/ 345157 w 451292"/>
                  <a:gd name="connsiteY430" fmla="*/ 399619 h 767196"/>
                  <a:gd name="connsiteX431" fmla="*/ 325977 w 451292"/>
                  <a:gd name="connsiteY431" fmla="*/ 399394 h 767196"/>
                  <a:gd name="connsiteX432" fmla="*/ 296869 w 451292"/>
                  <a:gd name="connsiteY432" fmla="*/ 392173 h 767196"/>
                  <a:gd name="connsiteX433" fmla="*/ 295740 w 451292"/>
                  <a:gd name="connsiteY433" fmla="*/ 391496 h 767196"/>
                  <a:gd name="connsiteX434" fmla="*/ 282427 w 451292"/>
                  <a:gd name="connsiteY434" fmla="*/ 379311 h 767196"/>
                  <a:gd name="connsiteX435" fmla="*/ 277463 w 451292"/>
                  <a:gd name="connsiteY435" fmla="*/ 373444 h 767196"/>
                  <a:gd name="connsiteX436" fmla="*/ 269791 w 451292"/>
                  <a:gd name="connsiteY436" fmla="*/ 363065 h 767196"/>
                  <a:gd name="connsiteX437" fmla="*/ 267083 w 451292"/>
                  <a:gd name="connsiteY437" fmla="*/ 358100 h 767196"/>
                  <a:gd name="connsiteX438" fmla="*/ 265278 w 451292"/>
                  <a:gd name="connsiteY438" fmla="*/ 349075 h 767196"/>
                  <a:gd name="connsiteX439" fmla="*/ 272499 w 451292"/>
                  <a:gd name="connsiteY439" fmla="*/ 336890 h 767196"/>
                  <a:gd name="connsiteX440" fmla="*/ 275432 w 451292"/>
                  <a:gd name="connsiteY440" fmla="*/ 333731 h 767196"/>
                  <a:gd name="connsiteX441" fmla="*/ 279042 w 451292"/>
                  <a:gd name="connsiteY441" fmla="*/ 327638 h 767196"/>
                  <a:gd name="connsiteX442" fmla="*/ 278817 w 451292"/>
                  <a:gd name="connsiteY442" fmla="*/ 325607 h 767196"/>
                  <a:gd name="connsiteX443" fmla="*/ 286489 w 451292"/>
                  <a:gd name="connsiteY443" fmla="*/ 317258 h 767196"/>
                  <a:gd name="connsiteX444" fmla="*/ 292356 w 451292"/>
                  <a:gd name="connsiteY444" fmla="*/ 317935 h 767196"/>
                  <a:gd name="connsiteX445" fmla="*/ 293935 w 451292"/>
                  <a:gd name="connsiteY445" fmla="*/ 321997 h 767196"/>
                  <a:gd name="connsiteX446" fmla="*/ 295063 w 451292"/>
                  <a:gd name="connsiteY446" fmla="*/ 324930 h 767196"/>
                  <a:gd name="connsiteX447" fmla="*/ 295740 w 451292"/>
                  <a:gd name="connsiteY447" fmla="*/ 325607 h 767196"/>
                  <a:gd name="connsiteX448" fmla="*/ 296417 w 451292"/>
                  <a:gd name="connsiteY448" fmla="*/ 324028 h 767196"/>
                  <a:gd name="connsiteX449" fmla="*/ 298899 w 451292"/>
                  <a:gd name="connsiteY449" fmla="*/ 319289 h 767196"/>
                  <a:gd name="connsiteX450" fmla="*/ 304992 w 451292"/>
                  <a:gd name="connsiteY450" fmla="*/ 312069 h 767196"/>
                  <a:gd name="connsiteX451" fmla="*/ 307023 w 451292"/>
                  <a:gd name="connsiteY451" fmla="*/ 309812 h 767196"/>
                  <a:gd name="connsiteX452" fmla="*/ 309279 w 451292"/>
                  <a:gd name="connsiteY452" fmla="*/ 306653 h 767196"/>
                  <a:gd name="connsiteX453" fmla="*/ 312212 w 451292"/>
                  <a:gd name="connsiteY453" fmla="*/ 302140 h 767196"/>
                  <a:gd name="connsiteX454" fmla="*/ 311535 w 451292"/>
                  <a:gd name="connsiteY454" fmla="*/ 296273 h 767196"/>
                  <a:gd name="connsiteX455" fmla="*/ 310633 w 451292"/>
                  <a:gd name="connsiteY455" fmla="*/ 289955 h 767196"/>
                  <a:gd name="connsiteX456" fmla="*/ 315146 w 451292"/>
                  <a:gd name="connsiteY456" fmla="*/ 282509 h 767196"/>
                  <a:gd name="connsiteX457" fmla="*/ 316048 w 451292"/>
                  <a:gd name="connsiteY457" fmla="*/ 281832 h 767196"/>
                  <a:gd name="connsiteX458" fmla="*/ 322592 w 451292"/>
                  <a:gd name="connsiteY458" fmla="*/ 281155 h 767196"/>
                  <a:gd name="connsiteX459" fmla="*/ 329587 w 451292"/>
                  <a:gd name="connsiteY459" fmla="*/ 281606 h 767196"/>
                  <a:gd name="connsiteX460" fmla="*/ 334777 w 451292"/>
                  <a:gd name="connsiteY460" fmla="*/ 279576 h 767196"/>
                  <a:gd name="connsiteX461" fmla="*/ 337936 w 451292"/>
                  <a:gd name="connsiteY461" fmla="*/ 277545 h 767196"/>
                  <a:gd name="connsiteX462" fmla="*/ 345834 w 451292"/>
                  <a:gd name="connsiteY462" fmla="*/ 279124 h 767196"/>
                  <a:gd name="connsiteX463" fmla="*/ 348767 w 451292"/>
                  <a:gd name="connsiteY463" fmla="*/ 281155 h 767196"/>
                  <a:gd name="connsiteX464" fmla="*/ 355311 w 451292"/>
                  <a:gd name="connsiteY464" fmla="*/ 281381 h 767196"/>
                  <a:gd name="connsiteX465" fmla="*/ 360726 w 451292"/>
                  <a:gd name="connsiteY465" fmla="*/ 279801 h 767196"/>
                  <a:gd name="connsiteX466" fmla="*/ 369301 w 451292"/>
                  <a:gd name="connsiteY466" fmla="*/ 276642 h 767196"/>
                  <a:gd name="connsiteX467" fmla="*/ 370880 w 451292"/>
                  <a:gd name="connsiteY467" fmla="*/ 271904 h 767196"/>
                  <a:gd name="connsiteX468" fmla="*/ 372460 w 451292"/>
                  <a:gd name="connsiteY468" fmla="*/ 268745 h 767196"/>
                  <a:gd name="connsiteX469" fmla="*/ 368398 w 451292"/>
                  <a:gd name="connsiteY469" fmla="*/ 262201 h 767196"/>
                  <a:gd name="connsiteX470" fmla="*/ 353731 w 451292"/>
                  <a:gd name="connsiteY470" fmla="*/ 254077 h 767196"/>
                  <a:gd name="connsiteX471" fmla="*/ 352829 w 451292"/>
                  <a:gd name="connsiteY471" fmla="*/ 245277 h 767196"/>
                  <a:gd name="connsiteX472" fmla="*/ 353506 w 451292"/>
                  <a:gd name="connsiteY472" fmla="*/ 238282 h 767196"/>
                  <a:gd name="connsiteX473" fmla="*/ 352152 w 451292"/>
                  <a:gd name="connsiteY473" fmla="*/ 236026 h 767196"/>
                  <a:gd name="connsiteX474" fmla="*/ 350121 w 451292"/>
                  <a:gd name="connsiteY474" fmla="*/ 237154 h 767196"/>
                  <a:gd name="connsiteX475" fmla="*/ 346059 w 451292"/>
                  <a:gd name="connsiteY475" fmla="*/ 239185 h 767196"/>
                  <a:gd name="connsiteX476" fmla="*/ 334551 w 451292"/>
                  <a:gd name="connsiteY476" fmla="*/ 240313 h 767196"/>
                  <a:gd name="connsiteX477" fmla="*/ 325977 w 451292"/>
                  <a:gd name="connsiteY477" fmla="*/ 240764 h 767196"/>
                  <a:gd name="connsiteX478" fmla="*/ 312664 w 451292"/>
                  <a:gd name="connsiteY478" fmla="*/ 231287 h 767196"/>
                  <a:gd name="connsiteX479" fmla="*/ 309730 w 451292"/>
                  <a:gd name="connsiteY479" fmla="*/ 224969 h 767196"/>
                  <a:gd name="connsiteX480" fmla="*/ 308376 w 451292"/>
                  <a:gd name="connsiteY480" fmla="*/ 221585 h 767196"/>
                  <a:gd name="connsiteX481" fmla="*/ 299125 w 451292"/>
                  <a:gd name="connsiteY481" fmla="*/ 214589 h 767196"/>
                  <a:gd name="connsiteX482" fmla="*/ 290776 w 451292"/>
                  <a:gd name="connsiteY482" fmla="*/ 208046 h 767196"/>
                  <a:gd name="connsiteX483" fmla="*/ 288745 w 451292"/>
                  <a:gd name="connsiteY483" fmla="*/ 203307 h 767196"/>
                  <a:gd name="connsiteX484" fmla="*/ 277688 w 451292"/>
                  <a:gd name="connsiteY484" fmla="*/ 202856 h 767196"/>
                  <a:gd name="connsiteX485" fmla="*/ 274304 w 451292"/>
                  <a:gd name="connsiteY485" fmla="*/ 204435 h 767196"/>
                  <a:gd name="connsiteX486" fmla="*/ 265052 w 451292"/>
                  <a:gd name="connsiteY486" fmla="*/ 205338 h 767196"/>
                  <a:gd name="connsiteX487" fmla="*/ 263473 w 451292"/>
                  <a:gd name="connsiteY487" fmla="*/ 198117 h 767196"/>
                  <a:gd name="connsiteX488" fmla="*/ 263699 w 451292"/>
                  <a:gd name="connsiteY488" fmla="*/ 195861 h 767196"/>
                  <a:gd name="connsiteX489" fmla="*/ 265504 w 451292"/>
                  <a:gd name="connsiteY489" fmla="*/ 180066 h 767196"/>
                  <a:gd name="connsiteX490" fmla="*/ 265052 w 451292"/>
                  <a:gd name="connsiteY490" fmla="*/ 172394 h 767196"/>
                  <a:gd name="connsiteX491" fmla="*/ 264150 w 451292"/>
                  <a:gd name="connsiteY491" fmla="*/ 166301 h 767196"/>
                  <a:gd name="connsiteX492" fmla="*/ 270694 w 451292"/>
                  <a:gd name="connsiteY492" fmla="*/ 156824 h 767196"/>
                  <a:gd name="connsiteX493" fmla="*/ 277012 w 451292"/>
                  <a:gd name="connsiteY493" fmla="*/ 149378 h 767196"/>
                  <a:gd name="connsiteX494" fmla="*/ 283555 w 451292"/>
                  <a:gd name="connsiteY494" fmla="*/ 143737 h 767196"/>
                  <a:gd name="connsiteX495" fmla="*/ 288294 w 451292"/>
                  <a:gd name="connsiteY495" fmla="*/ 139901 h 767196"/>
                  <a:gd name="connsiteX496" fmla="*/ 290550 w 451292"/>
                  <a:gd name="connsiteY496" fmla="*/ 132454 h 767196"/>
                  <a:gd name="connsiteX497" fmla="*/ 291453 w 451292"/>
                  <a:gd name="connsiteY497" fmla="*/ 127941 h 767196"/>
                  <a:gd name="connsiteX498" fmla="*/ 302735 w 451292"/>
                  <a:gd name="connsiteY498" fmla="*/ 124331 h 767196"/>
                  <a:gd name="connsiteX499" fmla="*/ 308151 w 451292"/>
                  <a:gd name="connsiteY499" fmla="*/ 123880 h 767196"/>
                  <a:gd name="connsiteX500" fmla="*/ 306346 w 451292"/>
                  <a:gd name="connsiteY500" fmla="*/ 121172 h 767196"/>
                  <a:gd name="connsiteX501" fmla="*/ 303638 w 451292"/>
                  <a:gd name="connsiteY501" fmla="*/ 116433 h 767196"/>
                  <a:gd name="connsiteX502" fmla="*/ 296869 w 451292"/>
                  <a:gd name="connsiteY502" fmla="*/ 111244 h 767196"/>
                  <a:gd name="connsiteX503" fmla="*/ 291453 w 451292"/>
                  <a:gd name="connsiteY503" fmla="*/ 104474 h 767196"/>
                  <a:gd name="connsiteX504" fmla="*/ 291002 w 451292"/>
                  <a:gd name="connsiteY504" fmla="*/ 103572 h 767196"/>
                  <a:gd name="connsiteX505" fmla="*/ 291679 w 451292"/>
                  <a:gd name="connsiteY505" fmla="*/ 102669 h 767196"/>
                  <a:gd name="connsiteX506" fmla="*/ 299802 w 451292"/>
                  <a:gd name="connsiteY506" fmla="*/ 96802 h 767196"/>
                  <a:gd name="connsiteX507" fmla="*/ 304992 w 451292"/>
                  <a:gd name="connsiteY507" fmla="*/ 99284 h 767196"/>
                  <a:gd name="connsiteX508" fmla="*/ 307925 w 451292"/>
                  <a:gd name="connsiteY508" fmla="*/ 101315 h 767196"/>
                  <a:gd name="connsiteX509" fmla="*/ 315597 w 451292"/>
                  <a:gd name="connsiteY509" fmla="*/ 106731 h 767196"/>
                  <a:gd name="connsiteX510" fmla="*/ 318982 w 451292"/>
                  <a:gd name="connsiteY510" fmla="*/ 109438 h 767196"/>
                  <a:gd name="connsiteX511" fmla="*/ 323946 w 451292"/>
                  <a:gd name="connsiteY511" fmla="*/ 112823 h 767196"/>
                  <a:gd name="connsiteX512" fmla="*/ 328910 w 451292"/>
                  <a:gd name="connsiteY512" fmla="*/ 116659 h 767196"/>
                  <a:gd name="connsiteX513" fmla="*/ 330264 w 451292"/>
                  <a:gd name="connsiteY513" fmla="*/ 133131 h 767196"/>
                  <a:gd name="connsiteX514" fmla="*/ 330038 w 451292"/>
                  <a:gd name="connsiteY514" fmla="*/ 134034 h 767196"/>
                  <a:gd name="connsiteX515" fmla="*/ 334100 w 451292"/>
                  <a:gd name="connsiteY515" fmla="*/ 134259 h 767196"/>
                  <a:gd name="connsiteX516" fmla="*/ 336131 w 451292"/>
                  <a:gd name="connsiteY516" fmla="*/ 133808 h 767196"/>
                  <a:gd name="connsiteX517" fmla="*/ 336131 w 451292"/>
                  <a:gd name="connsiteY517" fmla="*/ 135839 h 767196"/>
                  <a:gd name="connsiteX518" fmla="*/ 338162 w 451292"/>
                  <a:gd name="connsiteY518" fmla="*/ 145091 h 767196"/>
                  <a:gd name="connsiteX519" fmla="*/ 338839 w 451292"/>
                  <a:gd name="connsiteY519" fmla="*/ 145316 h 767196"/>
                  <a:gd name="connsiteX520" fmla="*/ 339290 w 451292"/>
                  <a:gd name="connsiteY520" fmla="*/ 145091 h 767196"/>
                  <a:gd name="connsiteX521" fmla="*/ 341998 w 451292"/>
                  <a:gd name="connsiteY521" fmla="*/ 144188 h 767196"/>
                  <a:gd name="connsiteX522" fmla="*/ 343803 w 451292"/>
                  <a:gd name="connsiteY522" fmla="*/ 139901 h 767196"/>
                  <a:gd name="connsiteX523" fmla="*/ 345608 w 451292"/>
                  <a:gd name="connsiteY523" fmla="*/ 134034 h 767196"/>
                  <a:gd name="connsiteX524" fmla="*/ 353280 w 451292"/>
                  <a:gd name="connsiteY524" fmla="*/ 126362 h 767196"/>
                  <a:gd name="connsiteX525" fmla="*/ 357116 w 451292"/>
                  <a:gd name="connsiteY525" fmla="*/ 123654 h 767196"/>
                  <a:gd name="connsiteX526" fmla="*/ 359372 w 451292"/>
                  <a:gd name="connsiteY526" fmla="*/ 113500 h 767196"/>
                  <a:gd name="connsiteX527" fmla="*/ 359598 w 451292"/>
                  <a:gd name="connsiteY527" fmla="*/ 109664 h 767196"/>
                  <a:gd name="connsiteX528" fmla="*/ 362080 w 451292"/>
                  <a:gd name="connsiteY528" fmla="*/ 105377 h 767196"/>
                  <a:gd name="connsiteX529" fmla="*/ 375168 w 451292"/>
                  <a:gd name="connsiteY529" fmla="*/ 105828 h 767196"/>
                  <a:gd name="connsiteX530" fmla="*/ 380809 w 451292"/>
                  <a:gd name="connsiteY530" fmla="*/ 118239 h 767196"/>
                  <a:gd name="connsiteX531" fmla="*/ 381260 w 451292"/>
                  <a:gd name="connsiteY531" fmla="*/ 122526 h 767196"/>
                  <a:gd name="connsiteX532" fmla="*/ 384870 w 451292"/>
                  <a:gd name="connsiteY532" fmla="*/ 129747 h 767196"/>
                  <a:gd name="connsiteX533" fmla="*/ 387578 w 451292"/>
                  <a:gd name="connsiteY533" fmla="*/ 135162 h 767196"/>
                  <a:gd name="connsiteX534" fmla="*/ 389609 w 451292"/>
                  <a:gd name="connsiteY534" fmla="*/ 137644 h 767196"/>
                  <a:gd name="connsiteX535" fmla="*/ 395250 w 451292"/>
                  <a:gd name="connsiteY535" fmla="*/ 142834 h 767196"/>
                  <a:gd name="connsiteX536" fmla="*/ 398861 w 451292"/>
                  <a:gd name="connsiteY536" fmla="*/ 148475 h 767196"/>
                  <a:gd name="connsiteX537" fmla="*/ 405630 w 451292"/>
                  <a:gd name="connsiteY537" fmla="*/ 156373 h 767196"/>
                  <a:gd name="connsiteX538" fmla="*/ 424584 w 451292"/>
                  <a:gd name="connsiteY538" fmla="*/ 159306 h 767196"/>
                  <a:gd name="connsiteX539" fmla="*/ 426164 w 451292"/>
                  <a:gd name="connsiteY539" fmla="*/ 159306 h 767196"/>
                  <a:gd name="connsiteX540" fmla="*/ 442185 w 451292"/>
                  <a:gd name="connsiteY540" fmla="*/ 151860 h 767196"/>
                  <a:gd name="connsiteX541" fmla="*/ 443087 w 451292"/>
                  <a:gd name="connsiteY541" fmla="*/ 143737 h 767196"/>
                  <a:gd name="connsiteX542" fmla="*/ 443087 w 451292"/>
                  <a:gd name="connsiteY542" fmla="*/ 136065 h 767196"/>
                  <a:gd name="connsiteX543" fmla="*/ 453467 w 451292"/>
                  <a:gd name="connsiteY543" fmla="*/ 132003 h 767196"/>
                  <a:gd name="connsiteX544" fmla="*/ 455723 w 451292"/>
                  <a:gd name="connsiteY544" fmla="*/ 127490 h 767196"/>
                  <a:gd name="connsiteX545" fmla="*/ 456852 w 451292"/>
                  <a:gd name="connsiteY545" fmla="*/ 125685 h 767196"/>
                  <a:gd name="connsiteX546" fmla="*/ 465652 w 451292"/>
                  <a:gd name="connsiteY546" fmla="*/ 98382 h 767196"/>
                  <a:gd name="connsiteX547" fmla="*/ 467457 w 451292"/>
                  <a:gd name="connsiteY547" fmla="*/ 82812 h 767196"/>
                  <a:gd name="connsiteX548" fmla="*/ 469262 w 451292"/>
                  <a:gd name="connsiteY548" fmla="*/ 67243 h 767196"/>
                  <a:gd name="connsiteX549" fmla="*/ 469036 w 451292"/>
                  <a:gd name="connsiteY549" fmla="*/ 64083 h 767196"/>
                  <a:gd name="connsiteX550" fmla="*/ 466329 w 451292"/>
                  <a:gd name="connsiteY550" fmla="*/ 63632 h 767196"/>
                  <a:gd name="connsiteX551" fmla="*/ 461365 w 451292"/>
                  <a:gd name="connsiteY551" fmla="*/ 62955 h 767196"/>
                  <a:gd name="connsiteX552" fmla="*/ 452790 w 451292"/>
                  <a:gd name="connsiteY552" fmla="*/ 61150 h 767196"/>
                  <a:gd name="connsiteX553" fmla="*/ 446472 w 451292"/>
                  <a:gd name="connsiteY553" fmla="*/ 60248 h 767196"/>
                  <a:gd name="connsiteX554" fmla="*/ 440605 w 451292"/>
                  <a:gd name="connsiteY554" fmla="*/ 60473 h 767196"/>
                  <a:gd name="connsiteX555" fmla="*/ 428646 w 451292"/>
                  <a:gd name="connsiteY555" fmla="*/ 54832 h 767196"/>
                  <a:gd name="connsiteX556" fmla="*/ 423907 w 451292"/>
                  <a:gd name="connsiteY556" fmla="*/ 50545 h 767196"/>
                  <a:gd name="connsiteX557" fmla="*/ 410820 w 451292"/>
                  <a:gd name="connsiteY557" fmla="*/ 46258 h 767196"/>
                  <a:gd name="connsiteX558" fmla="*/ 408563 w 451292"/>
                  <a:gd name="connsiteY558" fmla="*/ 46258 h 767196"/>
                  <a:gd name="connsiteX559" fmla="*/ 401568 w 451292"/>
                  <a:gd name="connsiteY559" fmla="*/ 50319 h 767196"/>
                  <a:gd name="connsiteX560" fmla="*/ 395025 w 451292"/>
                  <a:gd name="connsiteY560" fmla="*/ 55509 h 767196"/>
                  <a:gd name="connsiteX561" fmla="*/ 386901 w 451292"/>
                  <a:gd name="connsiteY561" fmla="*/ 55735 h 767196"/>
                  <a:gd name="connsiteX562" fmla="*/ 376973 w 451292"/>
                  <a:gd name="connsiteY562" fmla="*/ 49642 h 767196"/>
                  <a:gd name="connsiteX563" fmla="*/ 369301 w 451292"/>
                  <a:gd name="connsiteY563" fmla="*/ 44227 h 767196"/>
                  <a:gd name="connsiteX564" fmla="*/ 366593 w 451292"/>
                  <a:gd name="connsiteY564" fmla="*/ 42421 h 767196"/>
                  <a:gd name="connsiteX565" fmla="*/ 353506 w 451292"/>
                  <a:gd name="connsiteY565" fmla="*/ 39037 h 767196"/>
                  <a:gd name="connsiteX566" fmla="*/ 346511 w 451292"/>
                  <a:gd name="connsiteY566" fmla="*/ 36780 h 767196"/>
                  <a:gd name="connsiteX567" fmla="*/ 347188 w 451292"/>
                  <a:gd name="connsiteY567" fmla="*/ 30237 h 767196"/>
                  <a:gd name="connsiteX568" fmla="*/ 348316 w 451292"/>
                  <a:gd name="connsiteY568" fmla="*/ 26852 h 767196"/>
                  <a:gd name="connsiteX569" fmla="*/ 338839 w 451292"/>
                  <a:gd name="connsiteY569" fmla="*/ 14667 h 767196"/>
                  <a:gd name="connsiteX570" fmla="*/ 337936 w 451292"/>
                  <a:gd name="connsiteY570" fmla="*/ 14441 h 767196"/>
                  <a:gd name="connsiteX571" fmla="*/ 330715 w 451292"/>
                  <a:gd name="connsiteY571" fmla="*/ 11734 h 767196"/>
                  <a:gd name="connsiteX572" fmla="*/ 312889 w 451292"/>
                  <a:gd name="connsiteY572" fmla="*/ 18503 h 767196"/>
                  <a:gd name="connsiteX573" fmla="*/ 309279 w 451292"/>
                  <a:gd name="connsiteY573" fmla="*/ 20308 h 767196"/>
                  <a:gd name="connsiteX574" fmla="*/ 304089 w 451292"/>
                  <a:gd name="connsiteY574" fmla="*/ 23467 h 767196"/>
                  <a:gd name="connsiteX575" fmla="*/ 284232 w 451292"/>
                  <a:gd name="connsiteY575" fmla="*/ 26175 h 767196"/>
                  <a:gd name="connsiteX576" fmla="*/ 274304 w 451292"/>
                  <a:gd name="connsiteY576" fmla="*/ 25272 h 767196"/>
                  <a:gd name="connsiteX577" fmla="*/ 265955 w 451292"/>
                  <a:gd name="connsiteY577" fmla="*/ 27078 h 767196"/>
                  <a:gd name="connsiteX578" fmla="*/ 249708 w 451292"/>
                  <a:gd name="connsiteY578" fmla="*/ 11508 h 767196"/>
                  <a:gd name="connsiteX579" fmla="*/ 249031 w 451292"/>
                  <a:gd name="connsiteY579" fmla="*/ 9928 h 767196"/>
                  <a:gd name="connsiteX580" fmla="*/ 246324 w 451292"/>
                  <a:gd name="connsiteY580" fmla="*/ 13313 h 767196"/>
                  <a:gd name="connsiteX581" fmla="*/ 241585 w 451292"/>
                  <a:gd name="connsiteY581" fmla="*/ 20759 h 767196"/>
                  <a:gd name="connsiteX582" fmla="*/ 254898 w 451292"/>
                  <a:gd name="connsiteY582" fmla="*/ 39488 h 767196"/>
                  <a:gd name="connsiteX583" fmla="*/ 269114 w 451292"/>
                  <a:gd name="connsiteY583" fmla="*/ 60248 h 767196"/>
                  <a:gd name="connsiteX584" fmla="*/ 269565 w 451292"/>
                  <a:gd name="connsiteY584" fmla="*/ 62053 h 767196"/>
                  <a:gd name="connsiteX585" fmla="*/ 266858 w 451292"/>
                  <a:gd name="connsiteY585" fmla="*/ 86423 h 767196"/>
                  <a:gd name="connsiteX586" fmla="*/ 264150 w 451292"/>
                  <a:gd name="connsiteY586" fmla="*/ 92966 h 767196"/>
                  <a:gd name="connsiteX587" fmla="*/ 260088 w 451292"/>
                  <a:gd name="connsiteY587" fmla="*/ 102218 h 767196"/>
                  <a:gd name="connsiteX588" fmla="*/ 259637 w 451292"/>
                  <a:gd name="connsiteY588" fmla="*/ 102669 h 767196"/>
                  <a:gd name="connsiteX589" fmla="*/ 262796 w 451292"/>
                  <a:gd name="connsiteY589" fmla="*/ 102669 h 767196"/>
                  <a:gd name="connsiteX590" fmla="*/ 277914 w 451292"/>
                  <a:gd name="connsiteY590" fmla="*/ 114628 h 767196"/>
                  <a:gd name="connsiteX591" fmla="*/ 267760 w 451292"/>
                  <a:gd name="connsiteY591" fmla="*/ 145316 h 767196"/>
                  <a:gd name="connsiteX592" fmla="*/ 259863 w 451292"/>
                  <a:gd name="connsiteY592" fmla="*/ 149603 h 767196"/>
                  <a:gd name="connsiteX593" fmla="*/ 248806 w 451292"/>
                  <a:gd name="connsiteY593" fmla="*/ 159080 h 767196"/>
                  <a:gd name="connsiteX594" fmla="*/ 237523 w 451292"/>
                  <a:gd name="connsiteY594" fmla="*/ 169686 h 767196"/>
                  <a:gd name="connsiteX595" fmla="*/ 232785 w 451292"/>
                  <a:gd name="connsiteY595" fmla="*/ 172394 h 767196"/>
                  <a:gd name="connsiteX596" fmla="*/ 238877 w 451292"/>
                  <a:gd name="connsiteY596" fmla="*/ 195635 h 767196"/>
                  <a:gd name="connsiteX597" fmla="*/ 243390 w 451292"/>
                  <a:gd name="connsiteY597" fmla="*/ 200148 h 767196"/>
                  <a:gd name="connsiteX598" fmla="*/ 256252 w 451292"/>
                  <a:gd name="connsiteY598" fmla="*/ 217748 h 767196"/>
                  <a:gd name="connsiteX599" fmla="*/ 258509 w 451292"/>
                  <a:gd name="connsiteY599" fmla="*/ 235123 h 767196"/>
                  <a:gd name="connsiteX600" fmla="*/ 253996 w 451292"/>
                  <a:gd name="connsiteY600" fmla="*/ 238734 h 767196"/>
                  <a:gd name="connsiteX601" fmla="*/ 248129 w 451292"/>
                  <a:gd name="connsiteY601" fmla="*/ 243472 h 767196"/>
                  <a:gd name="connsiteX602" fmla="*/ 241585 w 451292"/>
                  <a:gd name="connsiteY602" fmla="*/ 249565 h 767196"/>
                  <a:gd name="connsiteX603" fmla="*/ 235267 w 451292"/>
                  <a:gd name="connsiteY603" fmla="*/ 264909 h 767196"/>
                  <a:gd name="connsiteX604" fmla="*/ 237298 w 451292"/>
                  <a:gd name="connsiteY604" fmla="*/ 269196 h 767196"/>
                  <a:gd name="connsiteX605" fmla="*/ 235493 w 451292"/>
                  <a:gd name="connsiteY605" fmla="*/ 295596 h 767196"/>
                  <a:gd name="connsiteX606" fmla="*/ 240006 w 451292"/>
                  <a:gd name="connsiteY606" fmla="*/ 301463 h 767196"/>
                  <a:gd name="connsiteX607" fmla="*/ 245196 w 451292"/>
                  <a:gd name="connsiteY607" fmla="*/ 315679 h 767196"/>
                  <a:gd name="connsiteX608" fmla="*/ 245196 w 451292"/>
                  <a:gd name="connsiteY608" fmla="*/ 319064 h 767196"/>
                  <a:gd name="connsiteX609" fmla="*/ 241360 w 451292"/>
                  <a:gd name="connsiteY609" fmla="*/ 343208 h 767196"/>
                  <a:gd name="connsiteX610" fmla="*/ 240457 w 451292"/>
                  <a:gd name="connsiteY610" fmla="*/ 344562 h 767196"/>
                  <a:gd name="connsiteX611" fmla="*/ 244067 w 451292"/>
                  <a:gd name="connsiteY611" fmla="*/ 350203 h 767196"/>
                  <a:gd name="connsiteX612" fmla="*/ 244970 w 451292"/>
                  <a:gd name="connsiteY612" fmla="*/ 351105 h 767196"/>
                  <a:gd name="connsiteX613" fmla="*/ 248806 w 451292"/>
                  <a:gd name="connsiteY613" fmla="*/ 364870 h 767196"/>
                  <a:gd name="connsiteX614" fmla="*/ 244067 w 451292"/>
                  <a:gd name="connsiteY614" fmla="*/ 375475 h 767196"/>
                  <a:gd name="connsiteX615" fmla="*/ 241585 w 451292"/>
                  <a:gd name="connsiteY615" fmla="*/ 378183 h 767196"/>
                  <a:gd name="connsiteX616" fmla="*/ 241134 w 451292"/>
                  <a:gd name="connsiteY616" fmla="*/ 383824 h 767196"/>
                  <a:gd name="connsiteX617" fmla="*/ 240231 w 451292"/>
                  <a:gd name="connsiteY617" fmla="*/ 396009 h 767196"/>
                  <a:gd name="connsiteX618" fmla="*/ 237749 w 451292"/>
                  <a:gd name="connsiteY618" fmla="*/ 401199 h 767196"/>
                  <a:gd name="connsiteX619" fmla="*/ 224887 w 451292"/>
                  <a:gd name="connsiteY619" fmla="*/ 416994 h 767196"/>
                  <a:gd name="connsiteX620" fmla="*/ 218344 w 451292"/>
                  <a:gd name="connsiteY620" fmla="*/ 425794 h 767196"/>
                  <a:gd name="connsiteX621" fmla="*/ 206384 w 451292"/>
                  <a:gd name="connsiteY621" fmla="*/ 441364 h 767196"/>
                  <a:gd name="connsiteX622" fmla="*/ 198261 w 451292"/>
                  <a:gd name="connsiteY622" fmla="*/ 450841 h 767196"/>
                  <a:gd name="connsiteX623" fmla="*/ 193748 w 451292"/>
                  <a:gd name="connsiteY623" fmla="*/ 454226 h 767196"/>
                  <a:gd name="connsiteX624" fmla="*/ 191943 w 451292"/>
                  <a:gd name="connsiteY624" fmla="*/ 454000 h 767196"/>
                  <a:gd name="connsiteX625" fmla="*/ 181789 w 451292"/>
                  <a:gd name="connsiteY625" fmla="*/ 461446 h 767196"/>
                  <a:gd name="connsiteX626" fmla="*/ 178404 w 451292"/>
                  <a:gd name="connsiteY626" fmla="*/ 468667 h 767196"/>
                  <a:gd name="connsiteX627" fmla="*/ 174568 w 451292"/>
                  <a:gd name="connsiteY627" fmla="*/ 471375 h 767196"/>
                  <a:gd name="connsiteX628" fmla="*/ 172086 w 451292"/>
                  <a:gd name="connsiteY628" fmla="*/ 471149 h 767196"/>
                  <a:gd name="connsiteX629" fmla="*/ 162158 w 451292"/>
                  <a:gd name="connsiteY629" fmla="*/ 476339 h 767196"/>
                  <a:gd name="connsiteX630" fmla="*/ 150424 w 451292"/>
                  <a:gd name="connsiteY630" fmla="*/ 481078 h 767196"/>
                  <a:gd name="connsiteX631" fmla="*/ 144557 w 451292"/>
                  <a:gd name="connsiteY631" fmla="*/ 477693 h 767196"/>
                  <a:gd name="connsiteX632" fmla="*/ 134855 w 451292"/>
                  <a:gd name="connsiteY632" fmla="*/ 472729 h 767196"/>
                  <a:gd name="connsiteX633" fmla="*/ 126506 w 451292"/>
                  <a:gd name="connsiteY633" fmla="*/ 480175 h 767196"/>
                  <a:gd name="connsiteX634" fmla="*/ 125377 w 451292"/>
                  <a:gd name="connsiteY634" fmla="*/ 484914 h 767196"/>
                  <a:gd name="connsiteX635" fmla="*/ 123347 w 451292"/>
                  <a:gd name="connsiteY635" fmla="*/ 492134 h 767196"/>
                  <a:gd name="connsiteX636" fmla="*/ 103038 w 451292"/>
                  <a:gd name="connsiteY636" fmla="*/ 501611 h 767196"/>
                  <a:gd name="connsiteX637" fmla="*/ 89500 w 451292"/>
                  <a:gd name="connsiteY637" fmla="*/ 507027 h 767196"/>
                  <a:gd name="connsiteX638" fmla="*/ 83407 w 451292"/>
                  <a:gd name="connsiteY638" fmla="*/ 510863 h 767196"/>
                  <a:gd name="connsiteX639" fmla="*/ 72351 w 451292"/>
                  <a:gd name="connsiteY639" fmla="*/ 522596 h 767196"/>
                  <a:gd name="connsiteX640" fmla="*/ 55878 w 451292"/>
                  <a:gd name="connsiteY640" fmla="*/ 536812 h 767196"/>
                  <a:gd name="connsiteX641" fmla="*/ 42340 w 451292"/>
                  <a:gd name="connsiteY641" fmla="*/ 522596 h 767196"/>
                  <a:gd name="connsiteX642" fmla="*/ 41663 w 451292"/>
                  <a:gd name="connsiteY642" fmla="*/ 520791 h 767196"/>
                  <a:gd name="connsiteX643" fmla="*/ 30606 w 451292"/>
                  <a:gd name="connsiteY643" fmla="*/ 519889 h 767196"/>
                  <a:gd name="connsiteX644" fmla="*/ 29703 w 451292"/>
                  <a:gd name="connsiteY644" fmla="*/ 519889 h 767196"/>
                  <a:gd name="connsiteX645" fmla="*/ 27221 w 451292"/>
                  <a:gd name="connsiteY645" fmla="*/ 524176 h 767196"/>
                  <a:gd name="connsiteX646" fmla="*/ 25416 w 451292"/>
                  <a:gd name="connsiteY646" fmla="*/ 530720 h 767196"/>
                  <a:gd name="connsiteX647" fmla="*/ 17970 w 451292"/>
                  <a:gd name="connsiteY647" fmla="*/ 533427 h 767196"/>
                  <a:gd name="connsiteX648" fmla="*/ 15488 w 451292"/>
                  <a:gd name="connsiteY648" fmla="*/ 532976 h 767196"/>
                  <a:gd name="connsiteX649" fmla="*/ 13457 w 451292"/>
                  <a:gd name="connsiteY649" fmla="*/ 534330 h 767196"/>
                  <a:gd name="connsiteX650" fmla="*/ 9847 w 451292"/>
                  <a:gd name="connsiteY650" fmla="*/ 542905 h 767196"/>
                  <a:gd name="connsiteX651" fmla="*/ 5334 w 451292"/>
                  <a:gd name="connsiteY651" fmla="*/ 556443 h 767196"/>
                  <a:gd name="connsiteX652" fmla="*/ 6011 w 451292"/>
                  <a:gd name="connsiteY652" fmla="*/ 568403 h 767196"/>
                  <a:gd name="connsiteX653" fmla="*/ 12554 w 451292"/>
                  <a:gd name="connsiteY653" fmla="*/ 575623 h 767196"/>
                  <a:gd name="connsiteX654" fmla="*/ 23160 w 451292"/>
                  <a:gd name="connsiteY654" fmla="*/ 578557 h 767196"/>
                  <a:gd name="connsiteX655" fmla="*/ 31509 w 451292"/>
                  <a:gd name="connsiteY655" fmla="*/ 581264 h 767196"/>
                  <a:gd name="connsiteX656" fmla="*/ 43017 w 451292"/>
                  <a:gd name="connsiteY656" fmla="*/ 589613 h 767196"/>
                  <a:gd name="connsiteX657" fmla="*/ 48658 w 451292"/>
                  <a:gd name="connsiteY657" fmla="*/ 595254 h 767196"/>
                  <a:gd name="connsiteX658" fmla="*/ 63099 w 451292"/>
                  <a:gd name="connsiteY658" fmla="*/ 595706 h 767196"/>
                  <a:gd name="connsiteX659" fmla="*/ 72802 w 451292"/>
                  <a:gd name="connsiteY659" fmla="*/ 594352 h 767196"/>
                  <a:gd name="connsiteX660" fmla="*/ 89274 w 451292"/>
                  <a:gd name="connsiteY660" fmla="*/ 602475 h 767196"/>
                  <a:gd name="connsiteX661" fmla="*/ 89725 w 451292"/>
                  <a:gd name="connsiteY661" fmla="*/ 605860 h 767196"/>
                  <a:gd name="connsiteX662" fmla="*/ 87920 w 451292"/>
                  <a:gd name="connsiteY662" fmla="*/ 606988 h 767196"/>
                  <a:gd name="connsiteX663" fmla="*/ 85664 w 451292"/>
                  <a:gd name="connsiteY663" fmla="*/ 608793 h 767196"/>
                  <a:gd name="connsiteX664" fmla="*/ 84535 w 451292"/>
                  <a:gd name="connsiteY664" fmla="*/ 626619 h 767196"/>
                  <a:gd name="connsiteX665" fmla="*/ 98074 w 451292"/>
                  <a:gd name="connsiteY665" fmla="*/ 633389 h 767196"/>
                  <a:gd name="connsiteX666" fmla="*/ 98977 w 451292"/>
                  <a:gd name="connsiteY666" fmla="*/ 633840 h 767196"/>
                  <a:gd name="connsiteX667" fmla="*/ 108003 w 451292"/>
                  <a:gd name="connsiteY667" fmla="*/ 641286 h 767196"/>
                  <a:gd name="connsiteX668" fmla="*/ 116803 w 451292"/>
                  <a:gd name="connsiteY668" fmla="*/ 647830 h 767196"/>
                  <a:gd name="connsiteX669" fmla="*/ 126506 w 451292"/>
                  <a:gd name="connsiteY669" fmla="*/ 658887 h 767196"/>
                  <a:gd name="connsiteX670" fmla="*/ 126957 w 451292"/>
                  <a:gd name="connsiteY670" fmla="*/ 660918 h 767196"/>
                  <a:gd name="connsiteX671" fmla="*/ 127408 w 451292"/>
                  <a:gd name="connsiteY671" fmla="*/ 662497 h 767196"/>
                  <a:gd name="connsiteX672" fmla="*/ 132824 w 451292"/>
                  <a:gd name="connsiteY672" fmla="*/ 671523 h 767196"/>
                  <a:gd name="connsiteX673" fmla="*/ 137788 w 451292"/>
                  <a:gd name="connsiteY673" fmla="*/ 680323 h 767196"/>
                  <a:gd name="connsiteX674" fmla="*/ 139593 w 451292"/>
                  <a:gd name="connsiteY674" fmla="*/ 686190 h 767196"/>
                  <a:gd name="connsiteX675" fmla="*/ 140721 w 451292"/>
                  <a:gd name="connsiteY675" fmla="*/ 689575 h 767196"/>
                  <a:gd name="connsiteX676" fmla="*/ 130793 w 451292"/>
                  <a:gd name="connsiteY676" fmla="*/ 697246 h 767196"/>
                  <a:gd name="connsiteX677" fmla="*/ 125603 w 451292"/>
                  <a:gd name="connsiteY677" fmla="*/ 699954 h 767196"/>
                  <a:gd name="connsiteX678" fmla="*/ 124926 w 451292"/>
                  <a:gd name="connsiteY678" fmla="*/ 700406 h 767196"/>
                  <a:gd name="connsiteX679" fmla="*/ 127408 w 451292"/>
                  <a:gd name="connsiteY679" fmla="*/ 705370 h 767196"/>
                  <a:gd name="connsiteX680" fmla="*/ 133952 w 451292"/>
                  <a:gd name="connsiteY680" fmla="*/ 706272 h 767196"/>
                  <a:gd name="connsiteX681" fmla="*/ 150875 w 451292"/>
                  <a:gd name="connsiteY681" fmla="*/ 713719 h 767196"/>
                  <a:gd name="connsiteX682" fmla="*/ 152229 w 451292"/>
                  <a:gd name="connsiteY682" fmla="*/ 717103 h 767196"/>
                  <a:gd name="connsiteX683" fmla="*/ 161932 w 451292"/>
                  <a:gd name="connsiteY683" fmla="*/ 737186 h 767196"/>
                  <a:gd name="connsiteX684" fmla="*/ 162609 w 451292"/>
                  <a:gd name="connsiteY684" fmla="*/ 737186 h 767196"/>
                  <a:gd name="connsiteX685" fmla="*/ 165768 w 451292"/>
                  <a:gd name="connsiteY685" fmla="*/ 735606 h 767196"/>
                  <a:gd name="connsiteX686" fmla="*/ 178404 w 451292"/>
                  <a:gd name="connsiteY686" fmla="*/ 730642 h 767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</a:cxnLst>
                <a:rect l="l" t="t" r="r" b="b"/>
                <a:pathLst>
                  <a:path w="451292" h="767196">
                    <a:moveTo>
                      <a:pt x="214508" y="780059"/>
                    </a:moveTo>
                    <a:lnTo>
                      <a:pt x="214282" y="775997"/>
                    </a:lnTo>
                    <a:cubicBezTo>
                      <a:pt x="214056" y="771033"/>
                      <a:pt x="213379" y="766745"/>
                      <a:pt x="213154" y="763361"/>
                    </a:cubicBezTo>
                    <a:cubicBezTo>
                      <a:pt x="212928" y="760653"/>
                      <a:pt x="212477" y="758397"/>
                      <a:pt x="212477" y="756817"/>
                    </a:cubicBezTo>
                    <a:cubicBezTo>
                      <a:pt x="212477" y="754335"/>
                      <a:pt x="204128" y="752981"/>
                      <a:pt x="200292" y="752530"/>
                    </a:cubicBezTo>
                    <a:lnTo>
                      <a:pt x="198035" y="752078"/>
                    </a:lnTo>
                    <a:cubicBezTo>
                      <a:pt x="194425" y="751402"/>
                      <a:pt x="193071" y="748243"/>
                      <a:pt x="191717" y="745309"/>
                    </a:cubicBezTo>
                    <a:cubicBezTo>
                      <a:pt x="190364" y="741924"/>
                      <a:pt x="188784" y="738314"/>
                      <a:pt x="184271" y="736058"/>
                    </a:cubicBezTo>
                    <a:cubicBezTo>
                      <a:pt x="177727" y="732673"/>
                      <a:pt x="172086" y="735832"/>
                      <a:pt x="167573" y="738088"/>
                    </a:cubicBezTo>
                    <a:cubicBezTo>
                      <a:pt x="166219" y="738765"/>
                      <a:pt x="165091" y="739442"/>
                      <a:pt x="164188" y="739894"/>
                    </a:cubicBezTo>
                    <a:cubicBezTo>
                      <a:pt x="163060" y="740345"/>
                      <a:pt x="161706" y="740345"/>
                      <a:pt x="160578" y="739894"/>
                    </a:cubicBezTo>
                    <a:cubicBezTo>
                      <a:pt x="156517" y="738088"/>
                      <a:pt x="153358" y="729965"/>
                      <a:pt x="148845" y="717780"/>
                    </a:cubicBezTo>
                    <a:lnTo>
                      <a:pt x="147491" y="714396"/>
                    </a:lnTo>
                    <a:cubicBezTo>
                      <a:pt x="144783" y="707175"/>
                      <a:pt x="140044" y="708303"/>
                      <a:pt x="134629" y="709206"/>
                    </a:cubicBezTo>
                    <a:cubicBezTo>
                      <a:pt x="130567" y="710108"/>
                      <a:pt x="125603" y="711011"/>
                      <a:pt x="123798" y="705821"/>
                    </a:cubicBezTo>
                    <a:cubicBezTo>
                      <a:pt x="123572" y="704918"/>
                      <a:pt x="122670" y="703113"/>
                      <a:pt x="120639" y="699729"/>
                    </a:cubicBezTo>
                    <a:lnTo>
                      <a:pt x="119285" y="697472"/>
                    </a:lnTo>
                    <a:lnTo>
                      <a:pt x="121767" y="696795"/>
                    </a:lnTo>
                    <a:cubicBezTo>
                      <a:pt x="122444" y="696570"/>
                      <a:pt x="123121" y="696344"/>
                      <a:pt x="123572" y="696118"/>
                    </a:cubicBezTo>
                    <a:cubicBezTo>
                      <a:pt x="125152" y="695216"/>
                      <a:pt x="126957" y="694313"/>
                      <a:pt x="129213" y="693185"/>
                    </a:cubicBezTo>
                    <a:cubicBezTo>
                      <a:pt x="131921" y="691831"/>
                      <a:pt x="136885" y="689575"/>
                      <a:pt x="137111" y="688221"/>
                    </a:cubicBezTo>
                    <a:cubicBezTo>
                      <a:pt x="134855" y="685964"/>
                      <a:pt x="134403" y="682805"/>
                      <a:pt x="133952" y="680097"/>
                    </a:cubicBezTo>
                    <a:cubicBezTo>
                      <a:pt x="133501" y="676938"/>
                      <a:pt x="133049" y="674908"/>
                      <a:pt x="131470" y="674456"/>
                    </a:cubicBezTo>
                    <a:cubicBezTo>
                      <a:pt x="126054" y="672425"/>
                      <a:pt x="124475" y="666559"/>
                      <a:pt x="123572" y="662948"/>
                    </a:cubicBezTo>
                    <a:cubicBezTo>
                      <a:pt x="123347" y="662497"/>
                      <a:pt x="123347" y="662046"/>
                      <a:pt x="123121" y="661594"/>
                    </a:cubicBezTo>
                    <a:cubicBezTo>
                      <a:pt x="122895" y="660918"/>
                      <a:pt x="122895" y="660015"/>
                      <a:pt x="122670" y="659112"/>
                    </a:cubicBezTo>
                    <a:cubicBezTo>
                      <a:pt x="122218" y="655728"/>
                      <a:pt x="121767" y="652117"/>
                      <a:pt x="116126" y="651215"/>
                    </a:cubicBezTo>
                    <a:cubicBezTo>
                      <a:pt x="110936" y="650312"/>
                      <a:pt x="108003" y="646927"/>
                      <a:pt x="105069" y="643543"/>
                    </a:cubicBezTo>
                    <a:cubicBezTo>
                      <a:pt x="102813" y="640835"/>
                      <a:pt x="100782" y="638353"/>
                      <a:pt x="97397" y="636999"/>
                    </a:cubicBezTo>
                    <a:lnTo>
                      <a:pt x="96495" y="636548"/>
                    </a:lnTo>
                    <a:cubicBezTo>
                      <a:pt x="88823" y="633389"/>
                      <a:pt x="84310" y="631584"/>
                      <a:pt x="81828" y="628876"/>
                    </a:cubicBezTo>
                    <a:cubicBezTo>
                      <a:pt x="78443" y="625491"/>
                      <a:pt x="79120" y="610824"/>
                      <a:pt x="82505" y="606086"/>
                    </a:cubicBezTo>
                    <a:cubicBezTo>
                      <a:pt x="83633" y="604732"/>
                      <a:pt x="84535" y="603829"/>
                      <a:pt x="85438" y="603378"/>
                    </a:cubicBezTo>
                    <a:cubicBezTo>
                      <a:pt x="84084" y="600219"/>
                      <a:pt x="82279" y="596834"/>
                      <a:pt x="72802" y="597737"/>
                    </a:cubicBezTo>
                    <a:cubicBezTo>
                      <a:pt x="69417" y="597962"/>
                      <a:pt x="66258" y="598639"/>
                      <a:pt x="63325" y="599090"/>
                    </a:cubicBezTo>
                    <a:cubicBezTo>
                      <a:pt x="56555" y="600219"/>
                      <a:pt x="50689" y="601347"/>
                      <a:pt x="45950" y="597962"/>
                    </a:cubicBezTo>
                    <a:cubicBezTo>
                      <a:pt x="43694" y="596383"/>
                      <a:pt x="41663" y="594126"/>
                      <a:pt x="39632" y="591870"/>
                    </a:cubicBezTo>
                    <a:cubicBezTo>
                      <a:pt x="36473" y="588485"/>
                      <a:pt x="33539" y="585100"/>
                      <a:pt x="30155" y="584649"/>
                    </a:cubicBezTo>
                    <a:cubicBezTo>
                      <a:pt x="26996" y="584198"/>
                      <a:pt x="24062" y="583070"/>
                      <a:pt x="21129" y="581716"/>
                    </a:cubicBezTo>
                    <a:cubicBezTo>
                      <a:pt x="17744" y="580362"/>
                      <a:pt x="14585" y="579234"/>
                      <a:pt x="11652" y="579008"/>
                    </a:cubicBezTo>
                    <a:cubicBezTo>
                      <a:pt x="7590" y="578782"/>
                      <a:pt x="3980" y="574044"/>
                      <a:pt x="2175" y="569531"/>
                    </a:cubicBezTo>
                    <a:cubicBezTo>
                      <a:pt x="-82" y="564567"/>
                      <a:pt x="-1210" y="558023"/>
                      <a:pt x="1949" y="553736"/>
                    </a:cubicBezTo>
                    <a:cubicBezTo>
                      <a:pt x="6462" y="547869"/>
                      <a:pt x="6236" y="546064"/>
                      <a:pt x="5785" y="542905"/>
                    </a:cubicBezTo>
                    <a:cubicBezTo>
                      <a:pt x="5334" y="539746"/>
                      <a:pt x="7364" y="534556"/>
                      <a:pt x="10298" y="531397"/>
                    </a:cubicBezTo>
                    <a:cubicBezTo>
                      <a:pt x="11877" y="529592"/>
                      <a:pt x="13457" y="528689"/>
                      <a:pt x="15262" y="528689"/>
                    </a:cubicBezTo>
                    <a:cubicBezTo>
                      <a:pt x="16616" y="528689"/>
                      <a:pt x="17970" y="528914"/>
                      <a:pt x="18872" y="529366"/>
                    </a:cubicBezTo>
                    <a:cubicBezTo>
                      <a:pt x="20678" y="529817"/>
                      <a:pt x="20903" y="530043"/>
                      <a:pt x="22257" y="528238"/>
                    </a:cubicBezTo>
                    <a:cubicBezTo>
                      <a:pt x="23160" y="526884"/>
                      <a:pt x="23160" y="525304"/>
                      <a:pt x="23385" y="523499"/>
                    </a:cubicBezTo>
                    <a:cubicBezTo>
                      <a:pt x="23611" y="520566"/>
                      <a:pt x="24062" y="516053"/>
                      <a:pt x="29252" y="515601"/>
                    </a:cubicBezTo>
                    <a:lnTo>
                      <a:pt x="29929" y="515601"/>
                    </a:lnTo>
                    <a:cubicBezTo>
                      <a:pt x="34893" y="515150"/>
                      <a:pt x="40760" y="514699"/>
                      <a:pt x="43919" y="517632"/>
                    </a:cubicBezTo>
                    <a:cubicBezTo>
                      <a:pt x="45273" y="518760"/>
                      <a:pt x="45724" y="520340"/>
                      <a:pt x="45724" y="522371"/>
                    </a:cubicBezTo>
                    <a:cubicBezTo>
                      <a:pt x="45724" y="529366"/>
                      <a:pt x="48883" y="532751"/>
                      <a:pt x="55653" y="532751"/>
                    </a:cubicBezTo>
                    <a:cubicBezTo>
                      <a:pt x="63776" y="532751"/>
                      <a:pt x="68063" y="523950"/>
                      <a:pt x="68289" y="521694"/>
                    </a:cubicBezTo>
                    <a:cubicBezTo>
                      <a:pt x="68966" y="517858"/>
                      <a:pt x="74381" y="510637"/>
                      <a:pt x="81602" y="507027"/>
                    </a:cubicBezTo>
                    <a:cubicBezTo>
                      <a:pt x="83859" y="505899"/>
                      <a:pt x="85438" y="504770"/>
                      <a:pt x="87018" y="503642"/>
                    </a:cubicBezTo>
                    <a:cubicBezTo>
                      <a:pt x="90402" y="501160"/>
                      <a:pt x="93787" y="498452"/>
                      <a:pt x="102361" y="497550"/>
                    </a:cubicBezTo>
                    <a:cubicBezTo>
                      <a:pt x="112064" y="496422"/>
                      <a:pt x="117705" y="493939"/>
                      <a:pt x="119736" y="490103"/>
                    </a:cubicBezTo>
                    <a:cubicBezTo>
                      <a:pt x="120639" y="488298"/>
                      <a:pt x="121090" y="486042"/>
                      <a:pt x="121541" y="484011"/>
                    </a:cubicBezTo>
                    <a:cubicBezTo>
                      <a:pt x="121993" y="481980"/>
                      <a:pt x="122218" y="480175"/>
                      <a:pt x="122895" y="478595"/>
                    </a:cubicBezTo>
                    <a:cubicBezTo>
                      <a:pt x="125152" y="473180"/>
                      <a:pt x="129665" y="467990"/>
                      <a:pt x="135306" y="469118"/>
                    </a:cubicBezTo>
                    <a:cubicBezTo>
                      <a:pt x="138916" y="469795"/>
                      <a:pt x="142978" y="472277"/>
                      <a:pt x="146362" y="474534"/>
                    </a:cubicBezTo>
                    <a:cubicBezTo>
                      <a:pt x="148393" y="475888"/>
                      <a:pt x="150199" y="477016"/>
                      <a:pt x="151552" y="477693"/>
                    </a:cubicBezTo>
                    <a:cubicBezTo>
                      <a:pt x="152681" y="478144"/>
                      <a:pt x="156968" y="475211"/>
                      <a:pt x="159676" y="473406"/>
                    </a:cubicBezTo>
                    <a:cubicBezTo>
                      <a:pt x="163737" y="470472"/>
                      <a:pt x="168025" y="467539"/>
                      <a:pt x="171635" y="467539"/>
                    </a:cubicBezTo>
                    <a:cubicBezTo>
                      <a:pt x="172989" y="467539"/>
                      <a:pt x="173666" y="467539"/>
                      <a:pt x="174343" y="467764"/>
                    </a:cubicBezTo>
                    <a:cubicBezTo>
                      <a:pt x="174343" y="467764"/>
                      <a:pt x="174343" y="467539"/>
                      <a:pt x="174343" y="467539"/>
                    </a:cubicBezTo>
                    <a:cubicBezTo>
                      <a:pt x="174794" y="466185"/>
                      <a:pt x="175696" y="463928"/>
                      <a:pt x="177953" y="459867"/>
                    </a:cubicBezTo>
                    <a:cubicBezTo>
                      <a:pt x="183594" y="449713"/>
                      <a:pt x="187430" y="449487"/>
                      <a:pt x="192169" y="450390"/>
                    </a:cubicBezTo>
                    <a:cubicBezTo>
                      <a:pt x="192620" y="450390"/>
                      <a:pt x="193071" y="450615"/>
                      <a:pt x="193748" y="450615"/>
                    </a:cubicBezTo>
                    <a:cubicBezTo>
                      <a:pt x="193748" y="450615"/>
                      <a:pt x="193974" y="450615"/>
                      <a:pt x="193974" y="450615"/>
                    </a:cubicBezTo>
                    <a:cubicBezTo>
                      <a:pt x="193974" y="450390"/>
                      <a:pt x="194199" y="450164"/>
                      <a:pt x="194199" y="449938"/>
                    </a:cubicBezTo>
                    <a:cubicBezTo>
                      <a:pt x="194876" y="447682"/>
                      <a:pt x="196230" y="443169"/>
                      <a:pt x="203902" y="438430"/>
                    </a:cubicBezTo>
                    <a:cubicBezTo>
                      <a:pt x="209769" y="434820"/>
                      <a:pt x="212251" y="429405"/>
                      <a:pt x="214282" y="424440"/>
                    </a:cubicBezTo>
                    <a:cubicBezTo>
                      <a:pt x="216313" y="419928"/>
                      <a:pt x="218344" y="415414"/>
                      <a:pt x="222856" y="413609"/>
                    </a:cubicBezTo>
                    <a:cubicBezTo>
                      <a:pt x="228498" y="411353"/>
                      <a:pt x="230980" y="406389"/>
                      <a:pt x="233688" y="399845"/>
                    </a:cubicBezTo>
                    <a:cubicBezTo>
                      <a:pt x="234364" y="398040"/>
                      <a:pt x="235267" y="396235"/>
                      <a:pt x="236170" y="394429"/>
                    </a:cubicBezTo>
                    <a:cubicBezTo>
                      <a:pt x="238200" y="390593"/>
                      <a:pt x="237523" y="387660"/>
                      <a:pt x="236847" y="384952"/>
                    </a:cubicBezTo>
                    <a:cubicBezTo>
                      <a:pt x="236170" y="382244"/>
                      <a:pt x="235267" y="379085"/>
                      <a:pt x="238200" y="375926"/>
                    </a:cubicBezTo>
                    <a:cubicBezTo>
                      <a:pt x="239103" y="374798"/>
                      <a:pt x="240006" y="373896"/>
                      <a:pt x="240683" y="373219"/>
                    </a:cubicBezTo>
                    <a:cubicBezTo>
                      <a:pt x="243390" y="370511"/>
                      <a:pt x="244293" y="369383"/>
                      <a:pt x="244293" y="365321"/>
                    </a:cubicBezTo>
                    <a:cubicBezTo>
                      <a:pt x="244293" y="359906"/>
                      <a:pt x="243390" y="356295"/>
                      <a:pt x="241360" y="354039"/>
                    </a:cubicBezTo>
                    <a:lnTo>
                      <a:pt x="240457" y="353136"/>
                    </a:lnTo>
                    <a:cubicBezTo>
                      <a:pt x="238426" y="350880"/>
                      <a:pt x="235718" y="347946"/>
                      <a:pt x="235944" y="344787"/>
                    </a:cubicBezTo>
                    <a:cubicBezTo>
                      <a:pt x="235944" y="343208"/>
                      <a:pt x="236847" y="341854"/>
                      <a:pt x="238200" y="340726"/>
                    </a:cubicBezTo>
                    <a:cubicBezTo>
                      <a:pt x="240908" y="338244"/>
                      <a:pt x="240908" y="325607"/>
                      <a:pt x="240683" y="319515"/>
                    </a:cubicBezTo>
                    <a:cubicBezTo>
                      <a:pt x="240683" y="318161"/>
                      <a:pt x="240683" y="317033"/>
                      <a:pt x="240683" y="316130"/>
                    </a:cubicBezTo>
                    <a:cubicBezTo>
                      <a:pt x="240683" y="308233"/>
                      <a:pt x="238877" y="306202"/>
                      <a:pt x="237298" y="305299"/>
                    </a:cubicBezTo>
                    <a:cubicBezTo>
                      <a:pt x="234590" y="303720"/>
                      <a:pt x="232108" y="299658"/>
                      <a:pt x="230754" y="296499"/>
                    </a:cubicBezTo>
                    <a:lnTo>
                      <a:pt x="230077" y="295145"/>
                    </a:lnTo>
                    <a:lnTo>
                      <a:pt x="231431" y="294243"/>
                    </a:lnTo>
                    <a:cubicBezTo>
                      <a:pt x="241585" y="286796"/>
                      <a:pt x="237072" y="278447"/>
                      <a:pt x="233462" y="271678"/>
                    </a:cubicBezTo>
                    <a:cubicBezTo>
                      <a:pt x="232334" y="269873"/>
                      <a:pt x="231657" y="268068"/>
                      <a:pt x="231205" y="266714"/>
                    </a:cubicBezTo>
                    <a:cubicBezTo>
                      <a:pt x="229175" y="259493"/>
                      <a:pt x="231882" y="252724"/>
                      <a:pt x="238877" y="247308"/>
                    </a:cubicBezTo>
                    <a:cubicBezTo>
                      <a:pt x="241360" y="245503"/>
                      <a:pt x="243165" y="243472"/>
                      <a:pt x="244970" y="241441"/>
                    </a:cubicBezTo>
                    <a:cubicBezTo>
                      <a:pt x="247452" y="238734"/>
                      <a:pt x="249708" y="236252"/>
                      <a:pt x="252867" y="235575"/>
                    </a:cubicBezTo>
                    <a:cubicBezTo>
                      <a:pt x="253770" y="235349"/>
                      <a:pt x="254447" y="234898"/>
                      <a:pt x="254898" y="233995"/>
                    </a:cubicBezTo>
                    <a:cubicBezTo>
                      <a:pt x="255575" y="232867"/>
                      <a:pt x="256478" y="229031"/>
                      <a:pt x="252416" y="219779"/>
                    </a:cubicBezTo>
                    <a:cubicBezTo>
                      <a:pt x="248580" y="211205"/>
                      <a:pt x="244970" y="207594"/>
                      <a:pt x="240457" y="203307"/>
                    </a:cubicBezTo>
                    <a:cubicBezTo>
                      <a:pt x="238877" y="201953"/>
                      <a:pt x="237523" y="200374"/>
                      <a:pt x="235718" y="198569"/>
                    </a:cubicBezTo>
                    <a:cubicBezTo>
                      <a:pt x="228498" y="190897"/>
                      <a:pt x="227595" y="177358"/>
                      <a:pt x="228723" y="171942"/>
                    </a:cubicBezTo>
                    <a:cubicBezTo>
                      <a:pt x="229400" y="169009"/>
                      <a:pt x="232559" y="167881"/>
                      <a:pt x="235944" y="166527"/>
                    </a:cubicBezTo>
                    <a:cubicBezTo>
                      <a:pt x="240908" y="164722"/>
                      <a:pt x="244293" y="163142"/>
                      <a:pt x="244744" y="158855"/>
                    </a:cubicBezTo>
                    <a:cubicBezTo>
                      <a:pt x="245421" y="151409"/>
                      <a:pt x="252191" y="148701"/>
                      <a:pt x="258057" y="146219"/>
                    </a:cubicBezTo>
                    <a:cubicBezTo>
                      <a:pt x="260765" y="145091"/>
                      <a:pt x="263473" y="143962"/>
                      <a:pt x="265052" y="142608"/>
                    </a:cubicBezTo>
                    <a:cubicBezTo>
                      <a:pt x="269791" y="138547"/>
                      <a:pt x="274755" y="123429"/>
                      <a:pt x="273853" y="115080"/>
                    </a:cubicBezTo>
                    <a:cubicBezTo>
                      <a:pt x="272950" y="107859"/>
                      <a:pt x="271370" y="105602"/>
                      <a:pt x="262796" y="106505"/>
                    </a:cubicBezTo>
                    <a:cubicBezTo>
                      <a:pt x="260539" y="106731"/>
                      <a:pt x="258509" y="106731"/>
                      <a:pt x="256026" y="106279"/>
                    </a:cubicBezTo>
                    <a:lnTo>
                      <a:pt x="253770" y="105828"/>
                    </a:lnTo>
                    <a:lnTo>
                      <a:pt x="254673" y="103572"/>
                    </a:lnTo>
                    <a:cubicBezTo>
                      <a:pt x="255575" y="101315"/>
                      <a:pt x="256478" y="99961"/>
                      <a:pt x="257155" y="99284"/>
                    </a:cubicBezTo>
                    <a:cubicBezTo>
                      <a:pt x="258283" y="98156"/>
                      <a:pt x="259411" y="94771"/>
                      <a:pt x="260088" y="92064"/>
                    </a:cubicBezTo>
                    <a:cubicBezTo>
                      <a:pt x="261216" y="88002"/>
                      <a:pt x="262119" y="84617"/>
                      <a:pt x="264375" y="83263"/>
                    </a:cubicBezTo>
                    <a:cubicBezTo>
                      <a:pt x="266181" y="82135"/>
                      <a:pt x="267760" y="70853"/>
                      <a:pt x="265504" y="63407"/>
                    </a:cubicBezTo>
                    <a:lnTo>
                      <a:pt x="264827" y="61601"/>
                    </a:lnTo>
                    <a:cubicBezTo>
                      <a:pt x="262796" y="54832"/>
                      <a:pt x="260991" y="48965"/>
                      <a:pt x="251965" y="42873"/>
                    </a:cubicBezTo>
                    <a:cubicBezTo>
                      <a:pt x="240908" y="35426"/>
                      <a:pt x="237072" y="25724"/>
                      <a:pt x="237072" y="21211"/>
                    </a:cubicBezTo>
                    <a:cubicBezTo>
                      <a:pt x="237072" y="17826"/>
                      <a:pt x="240231" y="14216"/>
                      <a:pt x="242713" y="11282"/>
                    </a:cubicBezTo>
                    <a:cubicBezTo>
                      <a:pt x="243616" y="10154"/>
                      <a:pt x="244970" y="8800"/>
                      <a:pt x="245196" y="8349"/>
                    </a:cubicBezTo>
                    <a:cubicBezTo>
                      <a:pt x="245196" y="8123"/>
                      <a:pt x="244744" y="6995"/>
                      <a:pt x="244519" y="6092"/>
                    </a:cubicBezTo>
                    <a:cubicBezTo>
                      <a:pt x="244293" y="5416"/>
                      <a:pt x="243842" y="4287"/>
                      <a:pt x="243616" y="3385"/>
                    </a:cubicBezTo>
                    <a:lnTo>
                      <a:pt x="242488" y="0"/>
                    </a:lnTo>
                    <a:lnTo>
                      <a:pt x="245872" y="1128"/>
                    </a:lnTo>
                    <a:cubicBezTo>
                      <a:pt x="247678" y="1805"/>
                      <a:pt x="249257" y="2933"/>
                      <a:pt x="249934" y="4964"/>
                    </a:cubicBezTo>
                    <a:cubicBezTo>
                      <a:pt x="250837" y="6995"/>
                      <a:pt x="251514" y="8800"/>
                      <a:pt x="252416" y="10605"/>
                    </a:cubicBezTo>
                    <a:cubicBezTo>
                      <a:pt x="256026" y="19631"/>
                      <a:pt x="258057" y="23919"/>
                      <a:pt x="265278" y="23919"/>
                    </a:cubicBezTo>
                    <a:cubicBezTo>
                      <a:pt x="269114" y="23919"/>
                      <a:pt x="270694" y="23242"/>
                      <a:pt x="272047" y="22565"/>
                    </a:cubicBezTo>
                    <a:cubicBezTo>
                      <a:pt x="274755" y="21211"/>
                      <a:pt x="276560" y="20759"/>
                      <a:pt x="284684" y="23467"/>
                    </a:cubicBezTo>
                    <a:cubicBezTo>
                      <a:pt x="293484" y="26401"/>
                      <a:pt x="296869" y="24370"/>
                      <a:pt x="301381" y="21211"/>
                    </a:cubicBezTo>
                    <a:cubicBezTo>
                      <a:pt x="302961" y="20083"/>
                      <a:pt x="304992" y="18954"/>
                      <a:pt x="307023" y="17826"/>
                    </a:cubicBezTo>
                    <a:cubicBezTo>
                      <a:pt x="308151" y="17375"/>
                      <a:pt x="309279" y="16698"/>
                      <a:pt x="310633" y="16021"/>
                    </a:cubicBezTo>
                    <a:cubicBezTo>
                      <a:pt x="315823" y="13539"/>
                      <a:pt x="322141" y="10380"/>
                      <a:pt x="330264" y="8800"/>
                    </a:cubicBezTo>
                    <a:lnTo>
                      <a:pt x="331618" y="8575"/>
                    </a:lnTo>
                    <a:lnTo>
                      <a:pt x="332295" y="9703"/>
                    </a:lnTo>
                    <a:cubicBezTo>
                      <a:pt x="332746" y="10605"/>
                      <a:pt x="336357" y="11282"/>
                      <a:pt x="337936" y="11734"/>
                    </a:cubicBezTo>
                    <a:lnTo>
                      <a:pt x="338839" y="11959"/>
                    </a:lnTo>
                    <a:cubicBezTo>
                      <a:pt x="343577" y="13088"/>
                      <a:pt x="351023" y="23016"/>
                      <a:pt x="351023" y="27980"/>
                    </a:cubicBezTo>
                    <a:cubicBezTo>
                      <a:pt x="351023" y="29560"/>
                      <a:pt x="350347" y="31139"/>
                      <a:pt x="349670" y="32719"/>
                    </a:cubicBezTo>
                    <a:cubicBezTo>
                      <a:pt x="349218" y="33621"/>
                      <a:pt x="348542" y="35201"/>
                      <a:pt x="348767" y="35652"/>
                    </a:cubicBezTo>
                    <a:cubicBezTo>
                      <a:pt x="348767" y="35652"/>
                      <a:pt x="349218" y="36329"/>
                      <a:pt x="352603" y="36329"/>
                    </a:cubicBezTo>
                    <a:cubicBezTo>
                      <a:pt x="361629" y="36329"/>
                      <a:pt x="362983" y="37006"/>
                      <a:pt x="367947" y="40391"/>
                    </a:cubicBezTo>
                    <a:cubicBezTo>
                      <a:pt x="368624" y="40842"/>
                      <a:pt x="369526" y="41519"/>
                      <a:pt x="370655" y="42196"/>
                    </a:cubicBezTo>
                    <a:cubicBezTo>
                      <a:pt x="373137" y="44001"/>
                      <a:pt x="375845" y="45806"/>
                      <a:pt x="378327" y="47611"/>
                    </a:cubicBezTo>
                    <a:cubicBezTo>
                      <a:pt x="381486" y="49868"/>
                      <a:pt x="385547" y="52801"/>
                      <a:pt x="386676" y="53252"/>
                    </a:cubicBezTo>
                    <a:lnTo>
                      <a:pt x="386676" y="53252"/>
                    </a:lnTo>
                    <a:cubicBezTo>
                      <a:pt x="388030" y="53252"/>
                      <a:pt x="388932" y="54381"/>
                      <a:pt x="389158" y="54832"/>
                    </a:cubicBezTo>
                    <a:cubicBezTo>
                      <a:pt x="389609" y="54832"/>
                      <a:pt x="390512" y="54381"/>
                      <a:pt x="392091" y="53478"/>
                    </a:cubicBezTo>
                    <a:cubicBezTo>
                      <a:pt x="394573" y="52124"/>
                      <a:pt x="396153" y="50545"/>
                      <a:pt x="397958" y="48965"/>
                    </a:cubicBezTo>
                    <a:cubicBezTo>
                      <a:pt x="400666" y="46483"/>
                      <a:pt x="403148" y="44001"/>
                      <a:pt x="407661" y="44001"/>
                    </a:cubicBezTo>
                    <a:cubicBezTo>
                      <a:pt x="408338" y="44001"/>
                      <a:pt x="409240" y="44001"/>
                      <a:pt x="409917" y="44001"/>
                    </a:cubicBezTo>
                    <a:cubicBezTo>
                      <a:pt x="414881" y="44001"/>
                      <a:pt x="418717" y="43775"/>
                      <a:pt x="425261" y="49191"/>
                    </a:cubicBezTo>
                    <a:cubicBezTo>
                      <a:pt x="427292" y="50770"/>
                      <a:pt x="428871" y="52350"/>
                      <a:pt x="430225" y="53704"/>
                    </a:cubicBezTo>
                    <a:cubicBezTo>
                      <a:pt x="433384" y="56637"/>
                      <a:pt x="434964" y="58217"/>
                      <a:pt x="439702" y="58217"/>
                    </a:cubicBezTo>
                    <a:cubicBezTo>
                      <a:pt x="442185" y="58217"/>
                      <a:pt x="443764" y="57991"/>
                      <a:pt x="445344" y="57991"/>
                    </a:cubicBezTo>
                    <a:cubicBezTo>
                      <a:pt x="448503" y="57765"/>
                      <a:pt x="450534" y="57540"/>
                      <a:pt x="453918" y="59345"/>
                    </a:cubicBezTo>
                    <a:cubicBezTo>
                      <a:pt x="455949" y="60473"/>
                      <a:pt x="458205" y="60473"/>
                      <a:pt x="460688" y="60699"/>
                    </a:cubicBezTo>
                    <a:cubicBezTo>
                      <a:pt x="462718" y="60699"/>
                      <a:pt x="464749" y="60924"/>
                      <a:pt x="466780" y="61601"/>
                    </a:cubicBezTo>
                    <a:cubicBezTo>
                      <a:pt x="467006" y="61601"/>
                      <a:pt x="467683" y="61827"/>
                      <a:pt x="469488" y="61601"/>
                    </a:cubicBezTo>
                    <a:lnTo>
                      <a:pt x="471067" y="61376"/>
                    </a:lnTo>
                    <a:lnTo>
                      <a:pt x="471519" y="62955"/>
                    </a:lnTo>
                    <a:cubicBezTo>
                      <a:pt x="471970" y="64760"/>
                      <a:pt x="472196" y="66566"/>
                      <a:pt x="472196" y="68371"/>
                    </a:cubicBezTo>
                    <a:cubicBezTo>
                      <a:pt x="472196" y="75591"/>
                      <a:pt x="471293" y="80330"/>
                      <a:pt x="470165" y="84843"/>
                    </a:cubicBezTo>
                    <a:cubicBezTo>
                      <a:pt x="469262" y="89356"/>
                      <a:pt x="468360" y="93418"/>
                      <a:pt x="468360" y="99736"/>
                    </a:cubicBezTo>
                    <a:cubicBezTo>
                      <a:pt x="468360" y="112146"/>
                      <a:pt x="462944" y="121849"/>
                      <a:pt x="459108" y="128844"/>
                    </a:cubicBezTo>
                    <a:lnTo>
                      <a:pt x="457980" y="130649"/>
                    </a:lnTo>
                    <a:cubicBezTo>
                      <a:pt x="456852" y="132680"/>
                      <a:pt x="455949" y="134485"/>
                      <a:pt x="455272" y="136290"/>
                    </a:cubicBezTo>
                    <a:lnTo>
                      <a:pt x="454595" y="137644"/>
                    </a:lnTo>
                    <a:lnTo>
                      <a:pt x="453016" y="137418"/>
                    </a:lnTo>
                    <a:cubicBezTo>
                      <a:pt x="448051" y="136516"/>
                      <a:pt x="446021" y="136742"/>
                      <a:pt x="445569" y="138547"/>
                    </a:cubicBezTo>
                    <a:cubicBezTo>
                      <a:pt x="445118" y="140126"/>
                      <a:pt x="445344" y="142383"/>
                      <a:pt x="445795" y="144639"/>
                    </a:cubicBezTo>
                    <a:cubicBezTo>
                      <a:pt x="446246" y="148475"/>
                      <a:pt x="446923" y="152762"/>
                      <a:pt x="443764" y="155921"/>
                    </a:cubicBezTo>
                    <a:cubicBezTo>
                      <a:pt x="439026" y="160660"/>
                      <a:pt x="430677" y="164496"/>
                      <a:pt x="425036" y="164496"/>
                    </a:cubicBezTo>
                    <a:lnTo>
                      <a:pt x="423456" y="164496"/>
                    </a:lnTo>
                    <a:cubicBezTo>
                      <a:pt x="417815" y="164496"/>
                      <a:pt x="408338" y="164722"/>
                      <a:pt x="402471" y="160886"/>
                    </a:cubicBezTo>
                    <a:cubicBezTo>
                      <a:pt x="397958" y="158178"/>
                      <a:pt x="396378" y="155019"/>
                      <a:pt x="394348" y="151634"/>
                    </a:cubicBezTo>
                    <a:cubicBezTo>
                      <a:pt x="393445" y="150055"/>
                      <a:pt x="392542" y="148250"/>
                      <a:pt x="390963" y="146444"/>
                    </a:cubicBezTo>
                    <a:cubicBezTo>
                      <a:pt x="389158" y="144188"/>
                      <a:pt x="387578" y="142834"/>
                      <a:pt x="386224" y="141932"/>
                    </a:cubicBezTo>
                    <a:cubicBezTo>
                      <a:pt x="384419" y="140578"/>
                      <a:pt x="382614" y="139449"/>
                      <a:pt x="382614" y="136290"/>
                    </a:cubicBezTo>
                    <a:cubicBezTo>
                      <a:pt x="382614" y="135388"/>
                      <a:pt x="381937" y="134711"/>
                      <a:pt x="381034" y="133583"/>
                    </a:cubicBezTo>
                    <a:cubicBezTo>
                      <a:pt x="379455" y="131777"/>
                      <a:pt x="377199" y="129295"/>
                      <a:pt x="376522" y="124331"/>
                    </a:cubicBezTo>
                    <a:cubicBezTo>
                      <a:pt x="376296" y="122751"/>
                      <a:pt x="376296" y="121398"/>
                      <a:pt x="376070" y="120044"/>
                    </a:cubicBezTo>
                    <a:cubicBezTo>
                      <a:pt x="375619" y="114628"/>
                      <a:pt x="375168" y="111695"/>
                      <a:pt x="373137" y="111018"/>
                    </a:cubicBezTo>
                    <a:cubicBezTo>
                      <a:pt x="368624" y="109438"/>
                      <a:pt x="364788" y="109213"/>
                      <a:pt x="363208" y="110341"/>
                    </a:cubicBezTo>
                    <a:cubicBezTo>
                      <a:pt x="362983" y="110567"/>
                      <a:pt x="362531" y="111018"/>
                      <a:pt x="362531" y="111921"/>
                    </a:cubicBezTo>
                    <a:cubicBezTo>
                      <a:pt x="362531" y="113049"/>
                      <a:pt x="362306" y="114403"/>
                      <a:pt x="362306" y="115531"/>
                    </a:cubicBezTo>
                    <a:cubicBezTo>
                      <a:pt x="362080" y="120044"/>
                      <a:pt x="361855" y="125008"/>
                      <a:pt x="359147" y="127941"/>
                    </a:cubicBezTo>
                    <a:cubicBezTo>
                      <a:pt x="357793" y="129521"/>
                      <a:pt x="355988" y="130424"/>
                      <a:pt x="354408" y="131552"/>
                    </a:cubicBezTo>
                    <a:cubicBezTo>
                      <a:pt x="351926" y="133131"/>
                      <a:pt x="349444" y="134485"/>
                      <a:pt x="348090" y="137418"/>
                    </a:cubicBezTo>
                    <a:cubicBezTo>
                      <a:pt x="347413" y="139224"/>
                      <a:pt x="346736" y="141029"/>
                      <a:pt x="346285" y="142834"/>
                    </a:cubicBezTo>
                    <a:cubicBezTo>
                      <a:pt x="345382" y="146444"/>
                      <a:pt x="344480" y="149378"/>
                      <a:pt x="341321" y="149829"/>
                    </a:cubicBezTo>
                    <a:cubicBezTo>
                      <a:pt x="340644" y="150055"/>
                      <a:pt x="339967" y="150280"/>
                      <a:pt x="339516" y="150506"/>
                    </a:cubicBezTo>
                    <a:cubicBezTo>
                      <a:pt x="338162" y="151183"/>
                      <a:pt x="337034" y="151409"/>
                      <a:pt x="334777" y="150280"/>
                    </a:cubicBezTo>
                    <a:cubicBezTo>
                      <a:pt x="332295" y="148926"/>
                      <a:pt x="331392" y="143511"/>
                      <a:pt x="331167" y="139901"/>
                    </a:cubicBezTo>
                    <a:cubicBezTo>
                      <a:pt x="329361" y="139901"/>
                      <a:pt x="326879" y="139675"/>
                      <a:pt x="325526" y="138095"/>
                    </a:cubicBezTo>
                    <a:cubicBezTo>
                      <a:pt x="324849" y="137193"/>
                      <a:pt x="324172" y="135839"/>
                      <a:pt x="325074" y="133357"/>
                    </a:cubicBezTo>
                    <a:cubicBezTo>
                      <a:pt x="326879" y="128618"/>
                      <a:pt x="326202" y="122300"/>
                      <a:pt x="324623" y="120721"/>
                    </a:cubicBezTo>
                    <a:cubicBezTo>
                      <a:pt x="323495" y="119593"/>
                      <a:pt x="322141" y="118690"/>
                      <a:pt x="320336" y="117562"/>
                    </a:cubicBezTo>
                    <a:cubicBezTo>
                      <a:pt x="318756" y="116659"/>
                      <a:pt x="316951" y="115531"/>
                      <a:pt x="314920" y="113951"/>
                    </a:cubicBezTo>
                    <a:cubicBezTo>
                      <a:pt x="313566" y="113049"/>
                      <a:pt x="312438" y="111921"/>
                      <a:pt x="311310" y="111018"/>
                    </a:cubicBezTo>
                    <a:cubicBezTo>
                      <a:pt x="308828" y="108987"/>
                      <a:pt x="306571" y="106956"/>
                      <a:pt x="304540" y="106054"/>
                    </a:cubicBezTo>
                    <a:cubicBezTo>
                      <a:pt x="302961" y="105377"/>
                      <a:pt x="301607" y="104474"/>
                      <a:pt x="300704" y="103572"/>
                    </a:cubicBezTo>
                    <a:cubicBezTo>
                      <a:pt x="299351" y="102669"/>
                      <a:pt x="298674" y="101992"/>
                      <a:pt x="297771" y="101992"/>
                    </a:cubicBezTo>
                    <a:cubicBezTo>
                      <a:pt x="296869" y="101992"/>
                      <a:pt x="294838" y="103797"/>
                      <a:pt x="293258" y="105602"/>
                    </a:cubicBezTo>
                    <a:cubicBezTo>
                      <a:pt x="293935" y="107182"/>
                      <a:pt x="294838" y="108761"/>
                      <a:pt x="295289" y="109213"/>
                    </a:cubicBezTo>
                    <a:cubicBezTo>
                      <a:pt x="297997" y="109664"/>
                      <a:pt x="304089" y="113274"/>
                      <a:pt x="304992" y="117110"/>
                    </a:cubicBezTo>
                    <a:cubicBezTo>
                      <a:pt x="305217" y="118013"/>
                      <a:pt x="306346" y="119367"/>
                      <a:pt x="307248" y="120495"/>
                    </a:cubicBezTo>
                    <a:cubicBezTo>
                      <a:pt x="308828" y="122526"/>
                      <a:pt x="310407" y="124557"/>
                      <a:pt x="309730" y="126588"/>
                    </a:cubicBezTo>
                    <a:cubicBezTo>
                      <a:pt x="309505" y="127264"/>
                      <a:pt x="309053" y="128167"/>
                      <a:pt x="307699" y="128844"/>
                    </a:cubicBezTo>
                    <a:cubicBezTo>
                      <a:pt x="306120" y="129521"/>
                      <a:pt x="303638" y="129747"/>
                      <a:pt x="300704" y="129747"/>
                    </a:cubicBezTo>
                    <a:cubicBezTo>
                      <a:pt x="298222" y="129972"/>
                      <a:pt x="293258" y="130198"/>
                      <a:pt x="292581" y="131100"/>
                    </a:cubicBezTo>
                    <a:cubicBezTo>
                      <a:pt x="292130" y="132003"/>
                      <a:pt x="292130" y="132906"/>
                      <a:pt x="292130" y="134259"/>
                    </a:cubicBezTo>
                    <a:cubicBezTo>
                      <a:pt x="291904" y="136742"/>
                      <a:pt x="291904" y="139675"/>
                      <a:pt x="289196" y="143511"/>
                    </a:cubicBezTo>
                    <a:cubicBezTo>
                      <a:pt x="287166" y="146670"/>
                      <a:pt x="284909" y="147798"/>
                      <a:pt x="282878" y="148701"/>
                    </a:cubicBezTo>
                    <a:cubicBezTo>
                      <a:pt x="281073" y="149603"/>
                      <a:pt x="279494" y="150280"/>
                      <a:pt x="277914" y="152988"/>
                    </a:cubicBezTo>
                    <a:cubicBezTo>
                      <a:pt x="276109" y="155921"/>
                      <a:pt x="273627" y="158404"/>
                      <a:pt x="271145" y="161111"/>
                    </a:cubicBezTo>
                    <a:cubicBezTo>
                      <a:pt x="268437" y="163819"/>
                      <a:pt x="265729" y="166527"/>
                      <a:pt x="265504" y="168332"/>
                    </a:cubicBezTo>
                    <a:cubicBezTo>
                      <a:pt x="265278" y="169686"/>
                      <a:pt x="265729" y="171265"/>
                      <a:pt x="266406" y="172845"/>
                    </a:cubicBezTo>
                    <a:cubicBezTo>
                      <a:pt x="267309" y="175553"/>
                      <a:pt x="268211" y="178937"/>
                      <a:pt x="266858" y="182773"/>
                    </a:cubicBezTo>
                    <a:cubicBezTo>
                      <a:pt x="265052" y="188189"/>
                      <a:pt x="264150" y="193830"/>
                      <a:pt x="265052" y="196086"/>
                    </a:cubicBezTo>
                    <a:cubicBezTo>
                      <a:pt x="265504" y="197215"/>
                      <a:pt x="265278" y="198569"/>
                      <a:pt x="265052" y="200148"/>
                    </a:cubicBezTo>
                    <a:cubicBezTo>
                      <a:pt x="264827" y="201051"/>
                      <a:pt x="264601" y="203533"/>
                      <a:pt x="265052" y="203984"/>
                    </a:cubicBezTo>
                    <a:cubicBezTo>
                      <a:pt x="265052" y="203984"/>
                      <a:pt x="265955" y="204661"/>
                      <a:pt x="270468" y="202630"/>
                    </a:cubicBezTo>
                    <a:lnTo>
                      <a:pt x="273853" y="201051"/>
                    </a:lnTo>
                    <a:cubicBezTo>
                      <a:pt x="282878" y="196764"/>
                      <a:pt x="285586" y="195635"/>
                      <a:pt x="289648" y="202856"/>
                    </a:cubicBezTo>
                    <a:cubicBezTo>
                      <a:pt x="291002" y="205112"/>
                      <a:pt x="291453" y="206918"/>
                      <a:pt x="291904" y="208271"/>
                    </a:cubicBezTo>
                    <a:cubicBezTo>
                      <a:pt x="292807" y="210753"/>
                      <a:pt x="292807" y="211430"/>
                      <a:pt x="297320" y="212107"/>
                    </a:cubicBezTo>
                    <a:cubicBezTo>
                      <a:pt x="304089" y="213236"/>
                      <a:pt x="307248" y="217297"/>
                      <a:pt x="308376" y="218877"/>
                    </a:cubicBezTo>
                    <a:cubicBezTo>
                      <a:pt x="309505" y="220456"/>
                      <a:pt x="309956" y="222261"/>
                      <a:pt x="309730" y="223390"/>
                    </a:cubicBezTo>
                    <a:cubicBezTo>
                      <a:pt x="309730" y="223390"/>
                      <a:pt x="309956" y="223615"/>
                      <a:pt x="309956" y="223615"/>
                    </a:cubicBezTo>
                    <a:cubicBezTo>
                      <a:pt x="311084" y="224744"/>
                      <a:pt x="312889" y="226549"/>
                      <a:pt x="313792" y="231739"/>
                    </a:cubicBezTo>
                    <a:cubicBezTo>
                      <a:pt x="314920" y="238282"/>
                      <a:pt x="316951" y="238959"/>
                      <a:pt x="323043" y="238282"/>
                    </a:cubicBezTo>
                    <a:cubicBezTo>
                      <a:pt x="326202" y="237831"/>
                      <a:pt x="329136" y="237831"/>
                      <a:pt x="332069" y="237831"/>
                    </a:cubicBezTo>
                    <a:cubicBezTo>
                      <a:pt x="335905" y="237831"/>
                      <a:pt x="339516" y="237831"/>
                      <a:pt x="342223" y="236929"/>
                    </a:cubicBezTo>
                    <a:cubicBezTo>
                      <a:pt x="343577" y="236477"/>
                      <a:pt x="344480" y="235800"/>
                      <a:pt x="345608" y="235349"/>
                    </a:cubicBezTo>
                    <a:cubicBezTo>
                      <a:pt x="347413" y="234446"/>
                      <a:pt x="348993" y="233318"/>
                      <a:pt x="350798" y="233995"/>
                    </a:cubicBezTo>
                    <a:cubicBezTo>
                      <a:pt x="352603" y="234672"/>
                      <a:pt x="353731" y="236703"/>
                      <a:pt x="354634" y="238282"/>
                    </a:cubicBezTo>
                    <a:cubicBezTo>
                      <a:pt x="356439" y="242118"/>
                      <a:pt x="354860" y="245729"/>
                      <a:pt x="353957" y="248211"/>
                    </a:cubicBezTo>
                    <a:cubicBezTo>
                      <a:pt x="352829" y="251144"/>
                      <a:pt x="352829" y="251821"/>
                      <a:pt x="353731" y="252724"/>
                    </a:cubicBezTo>
                    <a:cubicBezTo>
                      <a:pt x="358019" y="256108"/>
                      <a:pt x="363660" y="258591"/>
                      <a:pt x="367270" y="260170"/>
                    </a:cubicBezTo>
                    <a:cubicBezTo>
                      <a:pt x="372911" y="262652"/>
                      <a:pt x="375168" y="266714"/>
                      <a:pt x="373588" y="271452"/>
                    </a:cubicBezTo>
                    <a:cubicBezTo>
                      <a:pt x="372911" y="273483"/>
                      <a:pt x="372234" y="274611"/>
                      <a:pt x="371557" y="275514"/>
                    </a:cubicBezTo>
                    <a:cubicBezTo>
                      <a:pt x="370880" y="276642"/>
                      <a:pt x="370655" y="277093"/>
                      <a:pt x="370655" y="278222"/>
                    </a:cubicBezTo>
                    <a:cubicBezTo>
                      <a:pt x="370655" y="282960"/>
                      <a:pt x="365691" y="283863"/>
                      <a:pt x="358921" y="284991"/>
                    </a:cubicBezTo>
                    <a:cubicBezTo>
                      <a:pt x="356890" y="285442"/>
                      <a:pt x="355537" y="285894"/>
                      <a:pt x="354183" y="286345"/>
                    </a:cubicBezTo>
                    <a:cubicBezTo>
                      <a:pt x="351475" y="287473"/>
                      <a:pt x="348767" y="288601"/>
                      <a:pt x="344480" y="285894"/>
                    </a:cubicBezTo>
                    <a:cubicBezTo>
                      <a:pt x="343126" y="285217"/>
                      <a:pt x="342223" y="284540"/>
                      <a:pt x="341321" y="283863"/>
                    </a:cubicBezTo>
                    <a:cubicBezTo>
                      <a:pt x="338613" y="282058"/>
                      <a:pt x="338613" y="282058"/>
                      <a:pt x="337034" y="282735"/>
                    </a:cubicBezTo>
                    <a:cubicBezTo>
                      <a:pt x="336131" y="283186"/>
                      <a:pt x="335680" y="283637"/>
                      <a:pt x="335003" y="284314"/>
                    </a:cubicBezTo>
                    <a:cubicBezTo>
                      <a:pt x="333649" y="285668"/>
                      <a:pt x="332069" y="287022"/>
                      <a:pt x="327556" y="287247"/>
                    </a:cubicBezTo>
                    <a:cubicBezTo>
                      <a:pt x="324849" y="287247"/>
                      <a:pt x="322141" y="287022"/>
                      <a:pt x="320110" y="286796"/>
                    </a:cubicBezTo>
                    <a:cubicBezTo>
                      <a:pt x="318756" y="286571"/>
                      <a:pt x="316951" y="286345"/>
                      <a:pt x="316500" y="286571"/>
                    </a:cubicBezTo>
                    <a:cubicBezTo>
                      <a:pt x="316500" y="286796"/>
                      <a:pt x="316048" y="287022"/>
                      <a:pt x="315597" y="287473"/>
                    </a:cubicBezTo>
                    <a:cubicBezTo>
                      <a:pt x="314018" y="288827"/>
                      <a:pt x="312664" y="289955"/>
                      <a:pt x="312664" y="291986"/>
                    </a:cubicBezTo>
                    <a:cubicBezTo>
                      <a:pt x="312664" y="293566"/>
                      <a:pt x="313115" y="295596"/>
                      <a:pt x="313566" y="297402"/>
                    </a:cubicBezTo>
                    <a:cubicBezTo>
                      <a:pt x="314243" y="300335"/>
                      <a:pt x="314920" y="303268"/>
                      <a:pt x="314243" y="305299"/>
                    </a:cubicBezTo>
                    <a:cubicBezTo>
                      <a:pt x="313566" y="307330"/>
                      <a:pt x="311987" y="309135"/>
                      <a:pt x="310633" y="310940"/>
                    </a:cubicBezTo>
                    <a:cubicBezTo>
                      <a:pt x="309956" y="311843"/>
                      <a:pt x="309053" y="312746"/>
                      <a:pt x="308828" y="313197"/>
                    </a:cubicBezTo>
                    <a:cubicBezTo>
                      <a:pt x="308376" y="314325"/>
                      <a:pt x="307474" y="315228"/>
                      <a:pt x="306120" y="316582"/>
                    </a:cubicBezTo>
                    <a:cubicBezTo>
                      <a:pt x="304540" y="318161"/>
                      <a:pt x="302510" y="320192"/>
                      <a:pt x="300479" y="323351"/>
                    </a:cubicBezTo>
                    <a:cubicBezTo>
                      <a:pt x="299351" y="324930"/>
                      <a:pt x="298674" y="326284"/>
                      <a:pt x="298222" y="327638"/>
                    </a:cubicBezTo>
                    <a:cubicBezTo>
                      <a:pt x="297320" y="329443"/>
                      <a:pt x="296643" y="331023"/>
                      <a:pt x="294838" y="331249"/>
                    </a:cubicBezTo>
                    <a:cubicBezTo>
                      <a:pt x="293258" y="331474"/>
                      <a:pt x="291904" y="330572"/>
                      <a:pt x="290776" y="329669"/>
                    </a:cubicBezTo>
                    <a:cubicBezTo>
                      <a:pt x="288745" y="327864"/>
                      <a:pt x="288520" y="325607"/>
                      <a:pt x="288294" y="324028"/>
                    </a:cubicBezTo>
                    <a:cubicBezTo>
                      <a:pt x="288294" y="323577"/>
                      <a:pt x="288294" y="322900"/>
                      <a:pt x="288068" y="322674"/>
                    </a:cubicBezTo>
                    <a:cubicBezTo>
                      <a:pt x="288068" y="322674"/>
                      <a:pt x="288068" y="322674"/>
                      <a:pt x="287391" y="322674"/>
                    </a:cubicBezTo>
                    <a:cubicBezTo>
                      <a:pt x="286940" y="322674"/>
                      <a:pt x="286263" y="322674"/>
                      <a:pt x="285361" y="322900"/>
                    </a:cubicBezTo>
                    <a:cubicBezTo>
                      <a:pt x="280396" y="323802"/>
                      <a:pt x="280396" y="324705"/>
                      <a:pt x="280848" y="327187"/>
                    </a:cubicBezTo>
                    <a:cubicBezTo>
                      <a:pt x="280848" y="327864"/>
                      <a:pt x="281073" y="328766"/>
                      <a:pt x="281073" y="329443"/>
                    </a:cubicBezTo>
                    <a:cubicBezTo>
                      <a:pt x="281073" y="333279"/>
                      <a:pt x="279042" y="335310"/>
                      <a:pt x="276560" y="338018"/>
                    </a:cubicBezTo>
                    <a:cubicBezTo>
                      <a:pt x="275658" y="338920"/>
                      <a:pt x="274755" y="339823"/>
                      <a:pt x="273853" y="340951"/>
                    </a:cubicBezTo>
                    <a:cubicBezTo>
                      <a:pt x="270017" y="345464"/>
                      <a:pt x="269114" y="346593"/>
                      <a:pt x="267309" y="352008"/>
                    </a:cubicBezTo>
                    <a:cubicBezTo>
                      <a:pt x="266406" y="354490"/>
                      <a:pt x="267083" y="355618"/>
                      <a:pt x="268663" y="357649"/>
                    </a:cubicBezTo>
                    <a:cubicBezTo>
                      <a:pt x="269791" y="359229"/>
                      <a:pt x="270919" y="361034"/>
                      <a:pt x="271822" y="363742"/>
                    </a:cubicBezTo>
                    <a:cubicBezTo>
                      <a:pt x="272724" y="366901"/>
                      <a:pt x="275658" y="369608"/>
                      <a:pt x="278366" y="372542"/>
                    </a:cubicBezTo>
                    <a:cubicBezTo>
                      <a:pt x="280622" y="374798"/>
                      <a:pt x="282878" y="377055"/>
                      <a:pt x="284232" y="379537"/>
                    </a:cubicBezTo>
                    <a:cubicBezTo>
                      <a:pt x="286489" y="383824"/>
                      <a:pt x="288971" y="385629"/>
                      <a:pt x="296191" y="390368"/>
                    </a:cubicBezTo>
                    <a:lnTo>
                      <a:pt x="297320" y="391045"/>
                    </a:lnTo>
                    <a:cubicBezTo>
                      <a:pt x="305669" y="396460"/>
                      <a:pt x="318079" y="400747"/>
                      <a:pt x="322592" y="398265"/>
                    </a:cubicBezTo>
                    <a:cubicBezTo>
                      <a:pt x="330264" y="393978"/>
                      <a:pt x="344028" y="398040"/>
                      <a:pt x="344705" y="398040"/>
                    </a:cubicBezTo>
                    <a:cubicBezTo>
                      <a:pt x="348090" y="398942"/>
                      <a:pt x="351701" y="402327"/>
                      <a:pt x="353280" y="405712"/>
                    </a:cubicBezTo>
                    <a:cubicBezTo>
                      <a:pt x="354408" y="407968"/>
                      <a:pt x="354408" y="410225"/>
                      <a:pt x="353280" y="412255"/>
                    </a:cubicBezTo>
                    <a:cubicBezTo>
                      <a:pt x="349895" y="419025"/>
                      <a:pt x="349218" y="424440"/>
                      <a:pt x="351475" y="429179"/>
                    </a:cubicBezTo>
                    <a:cubicBezTo>
                      <a:pt x="352152" y="430533"/>
                      <a:pt x="352603" y="431887"/>
                      <a:pt x="353280" y="433015"/>
                    </a:cubicBezTo>
                    <a:cubicBezTo>
                      <a:pt x="356439" y="439333"/>
                      <a:pt x="359372" y="445425"/>
                      <a:pt x="357342" y="449487"/>
                    </a:cubicBezTo>
                    <a:cubicBezTo>
                      <a:pt x="354634" y="455579"/>
                      <a:pt x="349895" y="459190"/>
                      <a:pt x="345834" y="462575"/>
                    </a:cubicBezTo>
                    <a:cubicBezTo>
                      <a:pt x="341998" y="465734"/>
                      <a:pt x="338162" y="468667"/>
                      <a:pt x="336582" y="473631"/>
                    </a:cubicBezTo>
                    <a:cubicBezTo>
                      <a:pt x="331167" y="488975"/>
                      <a:pt x="340418" y="495068"/>
                      <a:pt x="350347" y="501611"/>
                    </a:cubicBezTo>
                    <a:cubicBezTo>
                      <a:pt x="360275" y="507929"/>
                      <a:pt x="371332" y="515150"/>
                      <a:pt x="363434" y="532525"/>
                    </a:cubicBezTo>
                    <a:cubicBezTo>
                      <a:pt x="362757" y="534104"/>
                      <a:pt x="360501" y="539971"/>
                      <a:pt x="363208" y="543356"/>
                    </a:cubicBezTo>
                    <a:cubicBezTo>
                      <a:pt x="365691" y="546289"/>
                      <a:pt x="370655" y="546064"/>
                      <a:pt x="375845" y="545612"/>
                    </a:cubicBezTo>
                    <a:cubicBezTo>
                      <a:pt x="381937" y="545161"/>
                      <a:pt x="388707" y="544710"/>
                      <a:pt x="391414" y="550576"/>
                    </a:cubicBezTo>
                    <a:cubicBezTo>
                      <a:pt x="393219" y="554638"/>
                      <a:pt x="391640" y="558700"/>
                      <a:pt x="390060" y="562310"/>
                    </a:cubicBezTo>
                    <a:lnTo>
                      <a:pt x="389609" y="563213"/>
                    </a:lnTo>
                    <a:cubicBezTo>
                      <a:pt x="382614" y="581490"/>
                      <a:pt x="387804" y="600896"/>
                      <a:pt x="392994" y="619850"/>
                    </a:cubicBezTo>
                    <a:cubicBezTo>
                      <a:pt x="394799" y="626394"/>
                      <a:pt x="396604" y="632937"/>
                      <a:pt x="397732" y="639255"/>
                    </a:cubicBezTo>
                    <a:cubicBezTo>
                      <a:pt x="398409" y="643092"/>
                      <a:pt x="398409" y="648281"/>
                      <a:pt x="398184" y="653471"/>
                    </a:cubicBezTo>
                    <a:cubicBezTo>
                      <a:pt x="398184" y="659564"/>
                      <a:pt x="397958" y="665882"/>
                      <a:pt x="399312" y="668815"/>
                    </a:cubicBezTo>
                    <a:cubicBezTo>
                      <a:pt x="399989" y="670620"/>
                      <a:pt x="399312" y="671974"/>
                      <a:pt x="399086" y="673102"/>
                    </a:cubicBezTo>
                    <a:cubicBezTo>
                      <a:pt x="398635" y="674231"/>
                      <a:pt x="398184" y="674908"/>
                      <a:pt x="401794" y="676713"/>
                    </a:cubicBezTo>
                    <a:cubicBezTo>
                      <a:pt x="410143" y="681226"/>
                      <a:pt x="411497" y="685287"/>
                      <a:pt x="411497" y="691831"/>
                    </a:cubicBezTo>
                    <a:cubicBezTo>
                      <a:pt x="411497" y="693636"/>
                      <a:pt x="411497" y="695216"/>
                      <a:pt x="411271" y="696795"/>
                    </a:cubicBezTo>
                    <a:cubicBezTo>
                      <a:pt x="411045" y="699954"/>
                      <a:pt x="411045" y="701985"/>
                      <a:pt x="411948" y="704016"/>
                    </a:cubicBezTo>
                    <a:cubicBezTo>
                      <a:pt x="412174" y="704693"/>
                      <a:pt x="412399" y="705144"/>
                      <a:pt x="412851" y="705595"/>
                    </a:cubicBezTo>
                    <a:cubicBezTo>
                      <a:pt x="414204" y="708303"/>
                      <a:pt x="414881" y="710108"/>
                      <a:pt x="412174" y="714621"/>
                    </a:cubicBezTo>
                    <a:cubicBezTo>
                      <a:pt x="411271" y="715975"/>
                      <a:pt x="411271" y="717555"/>
                      <a:pt x="411045" y="718909"/>
                    </a:cubicBezTo>
                    <a:cubicBezTo>
                      <a:pt x="410820" y="721616"/>
                      <a:pt x="410369" y="725001"/>
                      <a:pt x="405179" y="726580"/>
                    </a:cubicBezTo>
                    <a:cubicBezTo>
                      <a:pt x="400891" y="727934"/>
                      <a:pt x="398635" y="727032"/>
                      <a:pt x="396378" y="725904"/>
                    </a:cubicBezTo>
                    <a:cubicBezTo>
                      <a:pt x="394799" y="725227"/>
                      <a:pt x="392994" y="724324"/>
                      <a:pt x="389835" y="724324"/>
                    </a:cubicBezTo>
                    <a:cubicBezTo>
                      <a:pt x="388255" y="724324"/>
                      <a:pt x="386901" y="724324"/>
                      <a:pt x="385547" y="724324"/>
                    </a:cubicBezTo>
                    <a:cubicBezTo>
                      <a:pt x="380132" y="724324"/>
                      <a:pt x="376973" y="724550"/>
                      <a:pt x="374039" y="722293"/>
                    </a:cubicBezTo>
                    <a:cubicBezTo>
                      <a:pt x="370204" y="719586"/>
                      <a:pt x="369526" y="713719"/>
                      <a:pt x="369526" y="710560"/>
                    </a:cubicBezTo>
                    <a:cubicBezTo>
                      <a:pt x="369526" y="709883"/>
                      <a:pt x="369526" y="708980"/>
                      <a:pt x="369526" y="708980"/>
                    </a:cubicBezTo>
                    <a:cubicBezTo>
                      <a:pt x="369526" y="708980"/>
                      <a:pt x="369075" y="708754"/>
                      <a:pt x="366819" y="708754"/>
                    </a:cubicBezTo>
                    <a:cubicBezTo>
                      <a:pt x="364562" y="708754"/>
                      <a:pt x="362757" y="708078"/>
                      <a:pt x="361403" y="707626"/>
                    </a:cubicBezTo>
                    <a:cubicBezTo>
                      <a:pt x="360952" y="707401"/>
                      <a:pt x="360501" y="707175"/>
                      <a:pt x="360049" y="707175"/>
                    </a:cubicBezTo>
                    <a:cubicBezTo>
                      <a:pt x="360049" y="707175"/>
                      <a:pt x="360049" y="707401"/>
                      <a:pt x="360049" y="707401"/>
                    </a:cubicBezTo>
                    <a:cubicBezTo>
                      <a:pt x="358921" y="709883"/>
                      <a:pt x="357116" y="709883"/>
                      <a:pt x="356213" y="709657"/>
                    </a:cubicBezTo>
                    <a:cubicBezTo>
                      <a:pt x="356213" y="710108"/>
                      <a:pt x="355988" y="710560"/>
                      <a:pt x="355988" y="711462"/>
                    </a:cubicBezTo>
                    <a:lnTo>
                      <a:pt x="355762" y="713493"/>
                    </a:lnTo>
                    <a:cubicBezTo>
                      <a:pt x="355311" y="718909"/>
                      <a:pt x="355311" y="721616"/>
                      <a:pt x="351701" y="725678"/>
                    </a:cubicBezTo>
                    <a:cubicBezTo>
                      <a:pt x="350347" y="727257"/>
                      <a:pt x="348993" y="728160"/>
                      <a:pt x="348090" y="728837"/>
                    </a:cubicBezTo>
                    <a:cubicBezTo>
                      <a:pt x="346736" y="729965"/>
                      <a:pt x="346511" y="729965"/>
                      <a:pt x="346511" y="731770"/>
                    </a:cubicBezTo>
                    <a:cubicBezTo>
                      <a:pt x="346511" y="735155"/>
                      <a:pt x="344705" y="736058"/>
                      <a:pt x="343352" y="736735"/>
                    </a:cubicBezTo>
                    <a:cubicBezTo>
                      <a:pt x="342223" y="737186"/>
                      <a:pt x="341095" y="737863"/>
                      <a:pt x="339741" y="739668"/>
                    </a:cubicBezTo>
                    <a:cubicBezTo>
                      <a:pt x="338839" y="740796"/>
                      <a:pt x="338387" y="741473"/>
                      <a:pt x="337936" y="742150"/>
                    </a:cubicBezTo>
                    <a:cubicBezTo>
                      <a:pt x="336357" y="744632"/>
                      <a:pt x="335905" y="744858"/>
                      <a:pt x="331844" y="747340"/>
                    </a:cubicBezTo>
                    <a:cubicBezTo>
                      <a:pt x="330715" y="748017"/>
                      <a:pt x="329813" y="748694"/>
                      <a:pt x="329136" y="749371"/>
                    </a:cubicBezTo>
                    <a:cubicBezTo>
                      <a:pt x="326202" y="751853"/>
                      <a:pt x="324623" y="752078"/>
                      <a:pt x="318531" y="749596"/>
                    </a:cubicBezTo>
                    <a:cubicBezTo>
                      <a:pt x="310633" y="746663"/>
                      <a:pt x="309730" y="746437"/>
                      <a:pt x="308376" y="746212"/>
                    </a:cubicBezTo>
                    <a:cubicBezTo>
                      <a:pt x="306346" y="745986"/>
                      <a:pt x="303187" y="743053"/>
                      <a:pt x="301833" y="740345"/>
                    </a:cubicBezTo>
                    <a:cubicBezTo>
                      <a:pt x="300704" y="737863"/>
                      <a:pt x="301156" y="736283"/>
                      <a:pt x="301833" y="735155"/>
                    </a:cubicBezTo>
                    <a:cubicBezTo>
                      <a:pt x="302058" y="734704"/>
                      <a:pt x="301381" y="733350"/>
                      <a:pt x="300930" y="732447"/>
                    </a:cubicBezTo>
                    <a:cubicBezTo>
                      <a:pt x="299576" y="729965"/>
                      <a:pt x="297771" y="726129"/>
                      <a:pt x="300253" y="722068"/>
                    </a:cubicBezTo>
                    <a:cubicBezTo>
                      <a:pt x="303412" y="716878"/>
                      <a:pt x="304540" y="713944"/>
                      <a:pt x="306120" y="710108"/>
                    </a:cubicBezTo>
                    <a:lnTo>
                      <a:pt x="306346" y="709206"/>
                    </a:lnTo>
                    <a:cubicBezTo>
                      <a:pt x="307023" y="707626"/>
                      <a:pt x="307474" y="706724"/>
                      <a:pt x="307925" y="705821"/>
                    </a:cubicBezTo>
                    <a:cubicBezTo>
                      <a:pt x="308828" y="704242"/>
                      <a:pt x="308828" y="704242"/>
                      <a:pt x="308376" y="703339"/>
                    </a:cubicBezTo>
                    <a:cubicBezTo>
                      <a:pt x="307699" y="702211"/>
                      <a:pt x="305894" y="701083"/>
                      <a:pt x="304540" y="700180"/>
                    </a:cubicBezTo>
                    <a:cubicBezTo>
                      <a:pt x="303187" y="699277"/>
                      <a:pt x="302058" y="698600"/>
                      <a:pt x="301381" y="697698"/>
                    </a:cubicBezTo>
                    <a:cubicBezTo>
                      <a:pt x="300704" y="697021"/>
                      <a:pt x="297997" y="695216"/>
                      <a:pt x="296643" y="694764"/>
                    </a:cubicBezTo>
                    <a:cubicBezTo>
                      <a:pt x="296643" y="694990"/>
                      <a:pt x="296869" y="695216"/>
                      <a:pt x="296869" y="695441"/>
                    </a:cubicBezTo>
                    <a:cubicBezTo>
                      <a:pt x="297771" y="697698"/>
                      <a:pt x="298674" y="698826"/>
                      <a:pt x="299802" y="700180"/>
                    </a:cubicBezTo>
                    <a:cubicBezTo>
                      <a:pt x="302284" y="702888"/>
                      <a:pt x="303638" y="705144"/>
                      <a:pt x="300930" y="710785"/>
                    </a:cubicBezTo>
                    <a:cubicBezTo>
                      <a:pt x="298899" y="714847"/>
                      <a:pt x="295740" y="716652"/>
                      <a:pt x="293032" y="718006"/>
                    </a:cubicBezTo>
                    <a:cubicBezTo>
                      <a:pt x="289873" y="719811"/>
                      <a:pt x="287391" y="721165"/>
                      <a:pt x="286263" y="725678"/>
                    </a:cubicBezTo>
                    <a:cubicBezTo>
                      <a:pt x="284458" y="734027"/>
                      <a:pt x="274304" y="745986"/>
                      <a:pt x="266858" y="754786"/>
                    </a:cubicBezTo>
                    <a:cubicBezTo>
                      <a:pt x="265278" y="756817"/>
                      <a:pt x="263699" y="758622"/>
                      <a:pt x="262570" y="759976"/>
                    </a:cubicBezTo>
                    <a:cubicBezTo>
                      <a:pt x="261216" y="761556"/>
                      <a:pt x="260314" y="762910"/>
                      <a:pt x="259637" y="764038"/>
                    </a:cubicBezTo>
                    <a:cubicBezTo>
                      <a:pt x="256929" y="768099"/>
                      <a:pt x="256026" y="768776"/>
                      <a:pt x="247226" y="771710"/>
                    </a:cubicBezTo>
                    <a:cubicBezTo>
                      <a:pt x="244744" y="772612"/>
                      <a:pt x="242939" y="773289"/>
                      <a:pt x="241360" y="773741"/>
                    </a:cubicBezTo>
                    <a:cubicBezTo>
                      <a:pt x="235493" y="775997"/>
                      <a:pt x="232108" y="777125"/>
                      <a:pt x="216538" y="778930"/>
                    </a:cubicBezTo>
                    <a:cubicBezTo>
                      <a:pt x="216313" y="779156"/>
                      <a:pt x="216087" y="779382"/>
                      <a:pt x="215861" y="779607"/>
                    </a:cubicBezTo>
                    <a:lnTo>
                      <a:pt x="214508" y="780059"/>
                    </a:lnTo>
                    <a:close/>
                    <a:moveTo>
                      <a:pt x="178404" y="730642"/>
                    </a:moveTo>
                    <a:cubicBezTo>
                      <a:pt x="180886" y="730642"/>
                      <a:pt x="183368" y="731093"/>
                      <a:pt x="186076" y="732447"/>
                    </a:cubicBezTo>
                    <a:cubicBezTo>
                      <a:pt x="191717" y="735381"/>
                      <a:pt x="193748" y="740119"/>
                      <a:pt x="195328" y="743730"/>
                    </a:cubicBezTo>
                    <a:cubicBezTo>
                      <a:pt x="196456" y="746663"/>
                      <a:pt x="197133" y="748017"/>
                      <a:pt x="198712" y="748243"/>
                    </a:cubicBezTo>
                    <a:lnTo>
                      <a:pt x="200743" y="748468"/>
                    </a:lnTo>
                    <a:cubicBezTo>
                      <a:pt x="207287" y="749371"/>
                      <a:pt x="216087" y="750725"/>
                      <a:pt x="216087" y="756591"/>
                    </a:cubicBezTo>
                    <a:cubicBezTo>
                      <a:pt x="216087" y="757945"/>
                      <a:pt x="216313" y="759976"/>
                      <a:pt x="216764" y="762684"/>
                    </a:cubicBezTo>
                    <a:cubicBezTo>
                      <a:pt x="216990" y="765392"/>
                      <a:pt x="217441" y="768776"/>
                      <a:pt x="217892" y="772838"/>
                    </a:cubicBezTo>
                    <a:cubicBezTo>
                      <a:pt x="232785" y="771258"/>
                      <a:pt x="235718" y="770130"/>
                      <a:pt x="241585" y="767874"/>
                    </a:cubicBezTo>
                    <a:cubicBezTo>
                      <a:pt x="243165" y="767197"/>
                      <a:pt x="245196" y="766520"/>
                      <a:pt x="247678" y="765617"/>
                    </a:cubicBezTo>
                    <a:cubicBezTo>
                      <a:pt x="255801" y="762910"/>
                      <a:pt x="256026" y="762684"/>
                      <a:pt x="258057" y="759525"/>
                    </a:cubicBezTo>
                    <a:cubicBezTo>
                      <a:pt x="258734" y="758397"/>
                      <a:pt x="259637" y="757043"/>
                      <a:pt x="261216" y="755238"/>
                    </a:cubicBezTo>
                    <a:cubicBezTo>
                      <a:pt x="262345" y="753884"/>
                      <a:pt x="263924" y="752078"/>
                      <a:pt x="265504" y="750048"/>
                    </a:cubicBezTo>
                    <a:cubicBezTo>
                      <a:pt x="272273" y="741924"/>
                      <a:pt x="282427" y="729965"/>
                      <a:pt x="284007" y="722519"/>
                    </a:cubicBezTo>
                    <a:cubicBezTo>
                      <a:pt x="285361" y="716426"/>
                      <a:pt x="289196" y="714170"/>
                      <a:pt x="292581" y="712365"/>
                    </a:cubicBezTo>
                    <a:cubicBezTo>
                      <a:pt x="295289" y="711011"/>
                      <a:pt x="297545" y="709657"/>
                      <a:pt x="298899" y="706724"/>
                    </a:cubicBezTo>
                    <a:cubicBezTo>
                      <a:pt x="300704" y="702888"/>
                      <a:pt x="300028" y="702211"/>
                      <a:pt x="298448" y="700180"/>
                    </a:cubicBezTo>
                    <a:cubicBezTo>
                      <a:pt x="297320" y="698826"/>
                      <a:pt x="295740" y="697246"/>
                      <a:pt x="294838" y="694313"/>
                    </a:cubicBezTo>
                    <a:cubicBezTo>
                      <a:pt x="293710" y="690928"/>
                      <a:pt x="294612" y="689575"/>
                      <a:pt x="295740" y="688898"/>
                    </a:cubicBezTo>
                    <a:cubicBezTo>
                      <a:pt x="298899" y="687092"/>
                      <a:pt x="304992" y="691831"/>
                      <a:pt x="305894" y="692959"/>
                    </a:cubicBezTo>
                    <a:cubicBezTo>
                      <a:pt x="306120" y="693410"/>
                      <a:pt x="307248" y="694087"/>
                      <a:pt x="308151" y="694539"/>
                    </a:cubicBezTo>
                    <a:cubicBezTo>
                      <a:pt x="309956" y="695667"/>
                      <a:pt x="311987" y="697021"/>
                      <a:pt x="313115" y="698826"/>
                    </a:cubicBezTo>
                    <a:cubicBezTo>
                      <a:pt x="314920" y="701534"/>
                      <a:pt x="313792" y="703339"/>
                      <a:pt x="312889" y="705144"/>
                    </a:cubicBezTo>
                    <a:cubicBezTo>
                      <a:pt x="312438" y="705821"/>
                      <a:pt x="311987" y="706724"/>
                      <a:pt x="311535" y="708078"/>
                    </a:cubicBezTo>
                    <a:lnTo>
                      <a:pt x="311310" y="708980"/>
                    </a:lnTo>
                    <a:cubicBezTo>
                      <a:pt x="309730" y="712816"/>
                      <a:pt x="308602" y="716201"/>
                      <a:pt x="305217" y="721616"/>
                    </a:cubicBezTo>
                    <a:cubicBezTo>
                      <a:pt x="303864" y="723873"/>
                      <a:pt x="304540" y="725678"/>
                      <a:pt x="305894" y="728386"/>
                    </a:cubicBezTo>
                    <a:cubicBezTo>
                      <a:pt x="307023" y="730416"/>
                      <a:pt x="308151" y="732673"/>
                      <a:pt x="306797" y="734929"/>
                    </a:cubicBezTo>
                    <a:cubicBezTo>
                      <a:pt x="306571" y="735155"/>
                      <a:pt x="306571" y="735606"/>
                      <a:pt x="306797" y="736058"/>
                    </a:cubicBezTo>
                    <a:cubicBezTo>
                      <a:pt x="307474" y="737863"/>
                      <a:pt x="309956" y="739894"/>
                      <a:pt x="310633" y="740119"/>
                    </a:cubicBezTo>
                    <a:cubicBezTo>
                      <a:pt x="312438" y="740345"/>
                      <a:pt x="313341" y="740571"/>
                      <a:pt x="321464" y="743730"/>
                    </a:cubicBezTo>
                    <a:cubicBezTo>
                      <a:pt x="326428" y="745535"/>
                      <a:pt x="326654" y="745309"/>
                      <a:pt x="328459" y="743955"/>
                    </a:cubicBezTo>
                    <a:cubicBezTo>
                      <a:pt x="329136" y="743278"/>
                      <a:pt x="330264" y="742601"/>
                      <a:pt x="331618" y="741699"/>
                    </a:cubicBezTo>
                    <a:cubicBezTo>
                      <a:pt x="335228" y="739668"/>
                      <a:pt x="335228" y="739668"/>
                      <a:pt x="336582" y="737637"/>
                    </a:cubicBezTo>
                    <a:cubicBezTo>
                      <a:pt x="337034" y="736960"/>
                      <a:pt x="337485" y="736283"/>
                      <a:pt x="338387" y="735155"/>
                    </a:cubicBezTo>
                    <a:cubicBezTo>
                      <a:pt x="340193" y="732673"/>
                      <a:pt x="341998" y="731770"/>
                      <a:pt x="343126" y="731093"/>
                    </a:cubicBezTo>
                    <a:cubicBezTo>
                      <a:pt x="344254" y="730416"/>
                      <a:pt x="344254" y="730416"/>
                      <a:pt x="344254" y="729514"/>
                    </a:cubicBezTo>
                    <a:cubicBezTo>
                      <a:pt x="344254" y="726129"/>
                      <a:pt x="345834" y="725001"/>
                      <a:pt x="347413" y="723647"/>
                    </a:cubicBezTo>
                    <a:cubicBezTo>
                      <a:pt x="348316" y="722970"/>
                      <a:pt x="349218" y="722293"/>
                      <a:pt x="350347" y="720939"/>
                    </a:cubicBezTo>
                    <a:cubicBezTo>
                      <a:pt x="353054" y="717780"/>
                      <a:pt x="353280" y="716201"/>
                      <a:pt x="353506" y="711011"/>
                    </a:cubicBezTo>
                    <a:lnTo>
                      <a:pt x="353731" y="708980"/>
                    </a:lnTo>
                    <a:cubicBezTo>
                      <a:pt x="353957" y="706272"/>
                      <a:pt x="354408" y="704918"/>
                      <a:pt x="355311" y="704016"/>
                    </a:cubicBezTo>
                    <a:cubicBezTo>
                      <a:pt x="356213" y="703339"/>
                      <a:pt x="357342" y="703339"/>
                      <a:pt x="358019" y="703565"/>
                    </a:cubicBezTo>
                    <a:cubicBezTo>
                      <a:pt x="359824" y="699954"/>
                      <a:pt x="362531" y="701083"/>
                      <a:pt x="364337" y="701759"/>
                    </a:cubicBezTo>
                    <a:cubicBezTo>
                      <a:pt x="365465" y="702211"/>
                      <a:pt x="366819" y="702662"/>
                      <a:pt x="368398" y="702662"/>
                    </a:cubicBezTo>
                    <a:cubicBezTo>
                      <a:pt x="374039" y="702662"/>
                      <a:pt x="374942" y="704242"/>
                      <a:pt x="374942" y="708303"/>
                    </a:cubicBezTo>
                    <a:cubicBezTo>
                      <a:pt x="374942" y="712590"/>
                      <a:pt x="376070" y="715750"/>
                      <a:pt x="377650" y="717103"/>
                    </a:cubicBezTo>
                    <a:cubicBezTo>
                      <a:pt x="379681" y="718457"/>
                      <a:pt x="382163" y="718457"/>
                      <a:pt x="387127" y="718457"/>
                    </a:cubicBezTo>
                    <a:cubicBezTo>
                      <a:pt x="388481" y="718457"/>
                      <a:pt x="389835" y="718457"/>
                      <a:pt x="391414" y="718457"/>
                    </a:cubicBezTo>
                    <a:cubicBezTo>
                      <a:pt x="395250" y="718457"/>
                      <a:pt x="397732" y="719586"/>
                      <a:pt x="399537" y="720262"/>
                    </a:cubicBezTo>
                    <a:cubicBezTo>
                      <a:pt x="401568" y="721165"/>
                      <a:pt x="402696" y="721616"/>
                      <a:pt x="405630" y="720714"/>
                    </a:cubicBezTo>
                    <a:cubicBezTo>
                      <a:pt x="408563" y="719811"/>
                      <a:pt x="408789" y="718683"/>
                      <a:pt x="409015" y="716201"/>
                    </a:cubicBezTo>
                    <a:cubicBezTo>
                      <a:pt x="409240" y="714621"/>
                      <a:pt x="409466" y="712365"/>
                      <a:pt x="410594" y="710334"/>
                    </a:cubicBezTo>
                    <a:cubicBezTo>
                      <a:pt x="412399" y="707401"/>
                      <a:pt x="412174" y="706949"/>
                      <a:pt x="411045" y="705144"/>
                    </a:cubicBezTo>
                    <a:cubicBezTo>
                      <a:pt x="410820" y="704693"/>
                      <a:pt x="410369" y="704016"/>
                      <a:pt x="410143" y="703339"/>
                    </a:cubicBezTo>
                    <a:cubicBezTo>
                      <a:pt x="408789" y="700406"/>
                      <a:pt x="409015" y="697698"/>
                      <a:pt x="409240" y="694313"/>
                    </a:cubicBezTo>
                    <a:cubicBezTo>
                      <a:pt x="409240" y="692959"/>
                      <a:pt x="409466" y="691380"/>
                      <a:pt x="409466" y="689575"/>
                    </a:cubicBezTo>
                    <a:cubicBezTo>
                      <a:pt x="409466" y="684385"/>
                      <a:pt x="408789" y="681451"/>
                      <a:pt x="401568" y="677841"/>
                    </a:cubicBezTo>
                    <a:cubicBezTo>
                      <a:pt x="396153" y="674908"/>
                      <a:pt x="395927" y="672425"/>
                      <a:pt x="397281" y="669266"/>
                    </a:cubicBezTo>
                    <a:cubicBezTo>
                      <a:pt x="397507" y="668589"/>
                      <a:pt x="397732" y="668364"/>
                      <a:pt x="397507" y="668138"/>
                    </a:cubicBezTo>
                    <a:cubicBezTo>
                      <a:pt x="395927" y="664528"/>
                      <a:pt x="395927" y="657984"/>
                      <a:pt x="396153" y="651215"/>
                    </a:cubicBezTo>
                    <a:cubicBezTo>
                      <a:pt x="396153" y="646251"/>
                      <a:pt x="396378" y="641286"/>
                      <a:pt x="395701" y="637902"/>
                    </a:cubicBezTo>
                    <a:cubicBezTo>
                      <a:pt x="394573" y="631584"/>
                      <a:pt x="392768" y="625265"/>
                      <a:pt x="390963" y="618722"/>
                    </a:cubicBezTo>
                    <a:cubicBezTo>
                      <a:pt x="385547" y="599316"/>
                      <a:pt x="380132" y="579008"/>
                      <a:pt x="387578" y="559828"/>
                    </a:cubicBezTo>
                    <a:lnTo>
                      <a:pt x="388030" y="558925"/>
                    </a:lnTo>
                    <a:cubicBezTo>
                      <a:pt x="389158" y="555766"/>
                      <a:pt x="390512" y="552607"/>
                      <a:pt x="389383" y="550125"/>
                    </a:cubicBezTo>
                    <a:cubicBezTo>
                      <a:pt x="387804" y="546741"/>
                      <a:pt x="383968" y="546741"/>
                      <a:pt x="377650" y="547192"/>
                    </a:cubicBezTo>
                    <a:cubicBezTo>
                      <a:pt x="372009" y="547643"/>
                      <a:pt x="365691" y="548095"/>
                      <a:pt x="361855" y="543581"/>
                    </a:cubicBezTo>
                    <a:cubicBezTo>
                      <a:pt x="358921" y="540197"/>
                      <a:pt x="358921" y="534781"/>
                      <a:pt x="361629" y="528914"/>
                    </a:cubicBezTo>
                    <a:cubicBezTo>
                      <a:pt x="368173" y="514699"/>
                      <a:pt x="360049" y="509283"/>
                      <a:pt x="349895" y="502740"/>
                    </a:cubicBezTo>
                    <a:cubicBezTo>
                      <a:pt x="339741" y="496196"/>
                      <a:pt x="328233" y="488749"/>
                      <a:pt x="334551" y="470472"/>
                    </a:cubicBezTo>
                    <a:cubicBezTo>
                      <a:pt x="336582" y="464605"/>
                      <a:pt x="340869" y="461221"/>
                      <a:pt x="345157" y="457836"/>
                    </a:cubicBezTo>
                    <a:cubicBezTo>
                      <a:pt x="348993" y="454677"/>
                      <a:pt x="353054" y="451518"/>
                      <a:pt x="355537" y="446102"/>
                    </a:cubicBezTo>
                    <a:cubicBezTo>
                      <a:pt x="356665" y="443620"/>
                      <a:pt x="353957" y="437979"/>
                      <a:pt x="351475" y="432789"/>
                    </a:cubicBezTo>
                    <a:cubicBezTo>
                      <a:pt x="350798" y="431435"/>
                      <a:pt x="350121" y="430082"/>
                      <a:pt x="349670" y="428728"/>
                    </a:cubicBezTo>
                    <a:cubicBezTo>
                      <a:pt x="346962" y="423087"/>
                      <a:pt x="347639" y="416317"/>
                      <a:pt x="351475" y="408645"/>
                    </a:cubicBezTo>
                    <a:cubicBezTo>
                      <a:pt x="351926" y="407743"/>
                      <a:pt x="351926" y="406614"/>
                      <a:pt x="351249" y="405260"/>
                    </a:cubicBezTo>
                    <a:cubicBezTo>
                      <a:pt x="350121" y="402778"/>
                      <a:pt x="347413" y="400296"/>
                      <a:pt x="345157" y="399619"/>
                    </a:cubicBezTo>
                    <a:cubicBezTo>
                      <a:pt x="339967" y="398040"/>
                      <a:pt x="330490" y="396912"/>
                      <a:pt x="325977" y="399394"/>
                    </a:cubicBezTo>
                    <a:cubicBezTo>
                      <a:pt x="319207" y="403230"/>
                      <a:pt x="304766" y="397363"/>
                      <a:pt x="296869" y="392173"/>
                    </a:cubicBezTo>
                    <a:lnTo>
                      <a:pt x="295740" y="391496"/>
                    </a:lnTo>
                    <a:cubicBezTo>
                      <a:pt x="288294" y="386758"/>
                      <a:pt x="284909" y="384501"/>
                      <a:pt x="282427" y="379311"/>
                    </a:cubicBezTo>
                    <a:cubicBezTo>
                      <a:pt x="281525" y="377506"/>
                      <a:pt x="279494" y="375475"/>
                      <a:pt x="277463" y="373444"/>
                    </a:cubicBezTo>
                    <a:cubicBezTo>
                      <a:pt x="274304" y="370285"/>
                      <a:pt x="271145" y="367126"/>
                      <a:pt x="269791" y="363065"/>
                    </a:cubicBezTo>
                    <a:cubicBezTo>
                      <a:pt x="269114" y="360808"/>
                      <a:pt x="268211" y="359454"/>
                      <a:pt x="267083" y="358100"/>
                    </a:cubicBezTo>
                    <a:cubicBezTo>
                      <a:pt x="265504" y="355844"/>
                      <a:pt x="263924" y="353362"/>
                      <a:pt x="265278" y="349075"/>
                    </a:cubicBezTo>
                    <a:cubicBezTo>
                      <a:pt x="267309" y="342982"/>
                      <a:pt x="268437" y="341628"/>
                      <a:pt x="272499" y="336890"/>
                    </a:cubicBezTo>
                    <a:cubicBezTo>
                      <a:pt x="273627" y="335761"/>
                      <a:pt x="274529" y="334633"/>
                      <a:pt x="275432" y="333731"/>
                    </a:cubicBezTo>
                    <a:cubicBezTo>
                      <a:pt x="277914" y="331023"/>
                      <a:pt x="279042" y="329895"/>
                      <a:pt x="279042" y="327638"/>
                    </a:cubicBezTo>
                    <a:cubicBezTo>
                      <a:pt x="279042" y="326961"/>
                      <a:pt x="279042" y="326284"/>
                      <a:pt x="278817" y="325607"/>
                    </a:cubicBezTo>
                    <a:cubicBezTo>
                      <a:pt x="278366" y="321771"/>
                      <a:pt x="278817" y="318612"/>
                      <a:pt x="286489" y="317258"/>
                    </a:cubicBezTo>
                    <a:cubicBezTo>
                      <a:pt x="289196" y="316807"/>
                      <a:pt x="291002" y="316807"/>
                      <a:pt x="292356" y="317935"/>
                    </a:cubicBezTo>
                    <a:cubicBezTo>
                      <a:pt x="293710" y="319064"/>
                      <a:pt x="293935" y="320643"/>
                      <a:pt x="293935" y="321997"/>
                    </a:cubicBezTo>
                    <a:cubicBezTo>
                      <a:pt x="293935" y="323351"/>
                      <a:pt x="294161" y="324253"/>
                      <a:pt x="295063" y="324930"/>
                    </a:cubicBezTo>
                    <a:cubicBezTo>
                      <a:pt x="295515" y="325156"/>
                      <a:pt x="295740" y="325382"/>
                      <a:pt x="295740" y="325607"/>
                    </a:cubicBezTo>
                    <a:cubicBezTo>
                      <a:pt x="295966" y="325156"/>
                      <a:pt x="296191" y="324705"/>
                      <a:pt x="296417" y="324028"/>
                    </a:cubicBezTo>
                    <a:cubicBezTo>
                      <a:pt x="297094" y="322900"/>
                      <a:pt x="297771" y="321320"/>
                      <a:pt x="298899" y="319289"/>
                    </a:cubicBezTo>
                    <a:cubicBezTo>
                      <a:pt x="301156" y="315905"/>
                      <a:pt x="303412" y="313648"/>
                      <a:pt x="304992" y="312069"/>
                    </a:cubicBezTo>
                    <a:cubicBezTo>
                      <a:pt x="305894" y="311166"/>
                      <a:pt x="306797" y="310263"/>
                      <a:pt x="307023" y="309812"/>
                    </a:cubicBezTo>
                    <a:cubicBezTo>
                      <a:pt x="307474" y="308909"/>
                      <a:pt x="308376" y="307781"/>
                      <a:pt x="309279" y="306653"/>
                    </a:cubicBezTo>
                    <a:cubicBezTo>
                      <a:pt x="310407" y="305299"/>
                      <a:pt x="311761" y="303494"/>
                      <a:pt x="312212" y="302140"/>
                    </a:cubicBezTo>
                    <a:cubicBezTo>
                      <a:pt x="312664" y="301012"/>
                      <a:pt x="311987" y="298530"/>
                      <a:pt x="311535" y="296273"/>
                    </a:cubicBezTo>
                    <a:cubicBezTo>
                      <a:pt x="311084" y="294243"/>
                      <a:pt x="310633" y="291986"/>
                      <a:pt x="310633" y="289955"/>
                    </a:cubicBezTo>
                    <a:cubicBezTo>
                      <a:pt x="310633" y="285894"/>
                      <a:pt x="313566" y="283637"/>
                      <a:pt x="315146" y="282509"/>
                    </a:cubicBezTo>
                    <a:cubicBezTo>
                      <a:pt x="315372" y="282283"/>
                      <a:pt x="315823" y="282058"/>
                      <a:pt x="316048" y="281832"/>
                    </a:cubicBezTo>
                    <a:cubicBezTo>
                      <a:pt x="317402" y="280478"/>
                      <a:pt x="319433" y="280704"/>
                      <a:pt x="322592" y="281155"/>
                    </a:cubicBezTo>
                    <a:cubicBezTo>
                      <a:pt x="324623" y="281381"/>
                      <a:pt x="327105" y="281606"/>
                      <a:pt x="329587" y="281606"/>
                    </a:cubicBezTo>
                    <a:cubicBezTo>
                      <a:pt x="332746" y="281381"/>
                      <a:pt x="333649" y="280704"/>
                      <a:pt x="334777" y="279576"/>
                    </a:cubicBezTo>
                    <a:cubicBezTo>
                      <a:pt x="335454" y="278899"/>
                      <a:pt x="336357" y="277996"/>
                      <a:pt x="337936" y="277545"/>
                    </a:cubicBezTo>
                    <a:cubicBezTo>
                      <a:pt x="341321" y="275965"/>
                      <a:pt x="342900" y="277093"/>
                      <a:pt x="345834" y="279124"/>
                    </a:cubicBezTo>
                    <a:cubicBezTo>
                      <a:pt x="346736" y="279576"/>
                      <a:pt x="347639" y="280253"/>
                      <a:pt x="348767" y="281155"/>
                    </a:cubicBezTo>
                    <a:cubicBezTo>
                      <a:pt x="351475" y="282960"/>
                      <a:pt x="352603" y="282509"/>
                      <a:pt x="355311" y="281381"/>
                    </a:cubicBezTo>
                    <a:cubicBezTo>
                      <a:pt x="356665" y="280929"/>
                      <a:pt x="358470" y="280253"/>
                      <a:pt x="360726" y="279801"/>
                    </a:cubicBezTo>
                    <a:cubicBezTo>
                      <a:pt x="366142" y="278899"/>
                      <a:pt x="369301" y="278222"/>
                      <a:pt x="369301" y="276642"/>
                    </a:cubicBezTo>
                    <a:cubicBezTo>
                      <a:pt x="369301" y="274386"/>
                      <a:pt x="369978" y="273032"/>
                      <a:pt x="370880" y="271904"/>
                    </a:cubicBezTo>
                    <a:cubicBezTo>
                      <a:pt x="371332" y="271001"/>
                      <a:pt x="372009" y="270099"/>
                      <a:pt x="372460" y="268745"/>
                    </a:cubicBezTo>
                    <a:cubicBezTo>
                      <a:pt x="372911" y="267616"/>
                      <a:pt x="374039" y="264457"/>
                      <a:pt x="368398" y="262201"/>
                    </a:cubicBezTo>
                    <a:cubicBezTo>
                      <a:pt x="363434" y="260170"/>
                      <a:pt x="358019" y="257688"/>
                      <a:pt x="353731" y="254077"/>
                    </a:cubicBezTo>
                    <a:cubicBezTo>
                      <a:pt x="350572" y="251370"/>
                      <a:pt x="351926" y="247985"/>
                      <a:pt x="352829" y="245277"/>
                    </a:cubicBezTo>
                    <a:cubicBezTo>
                      <a:pt x="353731" y="242795"/>
                      <a:pt x="354634" y="240764"/>
                      <a:pt x="353506" y="238282"/>
                    </a:cubicBezTo>
                    <a:cubicBezTo>
                      <a:pt x="352603" y="236252"/>
                      <a:pt x="352152" y="236026"/>
                      <a:pt x="352152" y="236026"/>
                    </a:cubicBezTo>
                    <a:cubicBezTo>
                      <a:pt x="351926" y="236026"/>
                      <a:pt x="350798" y="236703"/>
                      <a:pt x="350121" y="237154"/>
                    </a:cubicBezTo>
                    <a:cubicBezTo>
                      <a:pt x="348993" y="237831"/>
                      <a:pt x="347864" y="238508"/>
                      <a:pt x="346059" y="239185"/>
                    </a:cubicBezTo>
                    <a:cubicBezTo>
                      <a:pt x="342675" y="240313"/>
                      <a:pt x="338839" y="240313"/>
                      <a:pt x="334551" y="240313"/>
                    </a:cubicBezTo>
                    <a:cubicBezTo>
                      <a:pt x="331618" y="240313"/>
                      <a:pt x="328685" y="240313"/>
                      <a:pt x="325977" y="240764"/>
                    </a:cubicBezTo>
                    <a:cubicBezTo>
                      <a:pt x="318756" y="241667"/>
                      <a:pt x="314243" y="240539"/>
                      <a:pt x="312664" y="231287"/>
                    </a:cubicBezTo>
                    <a:cubicBezTo>
                      <a:pt x="311987" y="227226"/>
                      <a:pt x="310633" y="225872"/>
                      <a:pt x="309730" y="224969"/>
                    </a:cubicBezTo>
                    <a:cubicBezTo>
                      <a:pt x="309053" y="224292"/>
                      <a:pt x="307925" y="223164"/>
                      <a:pt x="308376" y="221585"/>
                    </a:cubicBezTo>
                    <a:cubicBezTo>
                      <a:pt x="308376" y="220682"/>
                      <a:pt x="306120" y="215718"/>
                      <a:pt x="299125" y="214589"/>
                    </a:cubicBezTo>
                    <a:cubicBezTo>
                      <a:pt x="292807" y="213461"/>
                      <a:pt x="291904" y="211430"/>
                      <a:pt x="290776" y="208046"/>
                    </a:cubicBezTo>
                    <a:cubicBezTo>
                      <a:pt x="290325" y="206692"/>
                      <a:pt x="289873" y="205112"/>
                      <a:pt x="288745" y="203307"/>
                    </a:cubicBezTo>
                    <a:cubicBezTo>
                      <a:pt x="286263" y="199020"/>
                      <a:pt x="286263" y="199020"/>
                      <a:pt x="277688" y="202856"/>
                    </a:cubicBezTo>
                    <a:lnTo>
                      <a:pt x="274304" y="204435"/>
                    </a:lnTo>
                    <a:cubicBezTo>
                      <a:pt x="269791" y="206466"/>
                      <a:pt x="267083" y="206918"/>
                      <a:pt x="265052" y="205338"/>
                    </a:cubicBezTo>
                    <a:cubicBezTo>
                      <a:pt x="262796" y="203758"/>
                      <a:pt x="263247" y="200599"/>
                      <a:pt x="263473" y="198117"/>
                    </a:cubicBezTo>
                    <a:cubicBezTo>
                      <a:pt x="263473" y="197215"/>
                      <a:pt x="263699" y="196086"/>
                      <a:pt x="263699" y="195861"/>
                    </a:cubicBezTo>
                    <a:cubicBezTo>
                      <a:pt x="262345" y="192025"/>
                      <a:pt x="263924" y="185030"/>
                      <a:pt x="265504" y="180066"/>
                    </a:cubicBezTo>
                    <a:cubicBezTo>
                      <a:pt x="266406" y="177358"/>
                      <a:pt x="265729" y="174876"/>
                      <a:pt x="265052" y="172394"/>
                    </a:cubicBezTo>
                    <a:cubicBezTo>
                      <a:pt x="264375" y="170363"/>
                      <a:pt x="263924" y="168558"/>
                      <a:pt x="264150" y="166301"/>
                    </a:cubicBezTo>
                    <a:cubicBezTo>
                      <a:pt x="264375" y="163368"/>
                      <a:pt x="267309" y="160434"/>
                      <a:pt x="270694" y="156824"/>
                    </a:cubicBezTo>
                    <a:cubicBezTo>
                      <a:pt x="272950" y="154342"/>
                      <a:pt x="275432" y="151860"/>
                      <a:pt x="277012" y="149378"/>
                    </a:cubicBezTo>
                    <a:cubicBezTo>
                      <a:pt x="279268" y="145767"/>
                      <a:pt x="281525" y="144639"/>
                      <a:pt x="283555" y="143737"/>
                    </a:cubicBezTo>
                    <a:cubicBezTo>
                      <a:pt x="285361" y="142834"/>
                      <a:pt x="286714" y="142157"/>
                      <a:pt x="288294" y="139901"/>
                    </a:cubicBezTo>
                    <a:cubicBezTo>
                      <a:pt x="290325" y="136742"/>
                      <a:pt x="290550" y="134485"/>
                      <a:pt x="290550" y="132454"/>
                    </a:cubicBezTo>
                    <a:cubicBezTo>
                      <a:pt x="290550" y="131100"/>
                      <a:pt x="290776" y="129521"/>
                      <a:pt x="291453" y="127941"/>
                    </a:cubicBezTo>
                    <a:cubicBezTo>
                      <a:pt x="292807" y="124782"/>
                      <a:pt x="297545" y="124557"/>
                      <a:pt x="302735" y="124331"/>
                    </a:cubicBezTo>
                    <a:cubicBezTo>
                      <a:pt x="304766" y="124331"/>
                      <a:pt x="307023" y="124105"/>
                      <a:pt x="308151" y="123880"/>
                    </a:cubicBezTo>
                    <a:cubicBezTo>
                      <a:pt x="307925" y="123203"/>
                      <a:pt x="307023" y="122075"/>
                      <a:pt x="306346" y="121172"/>
                    </a:cubicBezTo>
                    <a:cubicBezTo>
                      <a:pt x="305217" y="119593"/>
                      <a:pt x="304089" y="118013"/>
                      <a:pt x="303638" y="116433"/>
                    </a:cubicBezTo>
                    <a:cubicBezTo>
                      <a:pt x="302961" y="114177"/>
                      <a:pt x="297997" y="111469"/>
                      <a:pt x="296869" y="111244"/>
                    </a:cubicBezTo>
                    <a:cubicBezTo>
                      <a:pt x="296191" y="111244"/>
                      <a:pt x="294386" y="111244"/>
                      <a:pt x="291453" y="104474"/>
                    </a:cubicBezTo>
                    <a:lnTo>
                      <a:pt x="291002" y="103572"/>
                    </a:lnTo>
                    <a:lnTo>
                      <a:pt x="291679" y="102669"/>
                    </a:lnTo>
                    <a:cubicBezTo>
                      <a:pt x="292356" y="101766"/>
                      <a:pt x="296191" y="96802"/>
                      <a:pt x="299802" y="96802"/>
                    </a:cubicBezTo>
                    <a:cubicBezTo>
                      <a:pt x="302058" y="96802"/>
                      <a:pt x="303638" y="98156"/>
                      <a:pt x="304992" y="99284"/>
                    </a:cubicBezTo>
                    <a:cubicBezTo>
                      <a:pt x="305894" y="99961"/>
                      <a:pt x="306797" y="100864"/>
                      <a:pt x="307925" y="101315"/>
                    </a:cubicBezTo>
                    <a:cubicBezTo>
                      <a:pt x="310407" y="102443"/>
                      <a:pt x="312889" y="104474"/>
                      <a:pt x="315597" y="106731"/>
                    </a:cubicBezTo>
                    <a:cubicBezTo>
                      <a:pt x="316725" y="107633"/>
                      <a:pt x="317854" y="108536"/>
                      <a:pt x="318982" y="109438"/>
                    </a:cubicBezTo>
                    <a:cubicBezTo>
                      <a:pt x="320787" y="110792"/>
                      <a:pt x="322592" y="111921"/>
                      <a:pt x="323946" y="112823"/>
                    </a:cubicBezTo>
                    <a:cubicBezTo>
                      <a:pt x="325977" y="113951"/>
                      <a:pt x="327556" y="115080"/>
                      <a:pt x="328910" y="116659"/>
                    </a:cubicBezTo>
                    <a:cubicBezTo>
                      <a:pt x="332069" y="119818"/>
                      <a:pt x="332295" y="127941"/>
                      <a:pt x="330264" y="133131"/>
                    </a:cubicBezTo>
                    <a:cubicBezTo>
                      <a:pt x="330038" y="133808"/>
                      <a:pt x="330038" y="134034"/>
                      <a:pt x="330038" y="134034"/>
                    </a:cubicBezTo>
                    <a:cubicBezTo>
                      <a:pt x="330490" y="134485"/>
                      <a:pt x="332520" y="134711"/>
                      <a:pt x="334100" y="134259"/>
                    </a:cubicBezTo>
                    <a:lnTo>
                      <a:pt x="336131" y="133808"/>
                    </a:lnTo>
                    <a:lnTo>
                      <a:pt x="336131" y="135839"/>
                    </a:lnTo>
                    <a:cubicBezTo>
                      <a:pt x="336357" y="140126"/>
                      <a:pt x="337259" y="144413"/>
                      <a:pt x="338162" y="145091"/>
                    </a:cubicBezTo>
                    <a:cubicBezTo>
                      <a:pt x="338613" y="145316"/>
                      <a:pt x="338839" y="145316"/>
                      <a:pt x="338839" y="145316"/>
                    </a:cubicBezTo>
                    <a:cubicBezTo>
                      <a:pt x="338839" y="145316"/>
                      <a:pt x="339064" y="145091"/>
                      <a:pt x="339290" y="145091"/>
                    </a:cubicBezTo>
                    <a:cubicBezTo>
                      <a:pt x="339967" y="144865"/>
                      <a:pt x="340644" y="144413"/>
                      <a:pt x="341998" y="144188"/>
                    </a:cubicBezTo>
                    <a:cubicBezTo>
                      <a:pt x="342675" y="144188"/>
                      <a:pt x="343352" y="141706"/>
                      <a:pt x="343803" y="139901"/>
                    </a:cubicBezTo>
                    <a:cubicBezTo>
                      <a:pt x="344254" y="138095"/>
                      <a:pt x="344931" y="136290"/>
                      <a:pt x="345608" y="134034"/>
                    </a:cubicBezTo>
                    <a:cubicBezTo>
                      <a:pt x="347188" y="129972"/>
                      <a:pt x="350572" y="127941"/>
                      <a:pt x="353280" y="126362"/>
                    </a:cubicBezTo>
                    <a:cubicBezTo>
                      <a:pt x="354860" y="125459"/>
                      <a:pt x="356213" y="124557"/>
                      <a:pt x="357116" y="123654"/>
                    </a:cubicBezTo>
                    <a:cubicBezTo>
                      <a:pt x="358921" y="121623"/>
                      <a:pt x="359147" y="117562"/>
                      <a:pt x="359372" y="113500"/>
                    </a:cubicBezTo>
                    <a:cubicBezTo>
                      <a:pt x="359372" y="112146"/>
                      <a:pt x="359598" y="111018"/>
                      <a:pt x="359598" y="109664"/>
                    </a:cubicBezTo>
                    <a:cubicBezTo>
                      <a:pt x="359824" y="107859"/>
                      <a:pt x="360501" y="106279"/>
                      <a:pt x="362080" y="105377"/>
                    </a:cubicBezTo>
                    <a:cubicBezTo>
                      <a:pt x="365691" y="103120"/>
                      <a:pt x="371783" y="104700"/>
                      <a:pt x="375168" y="105828"/>
                    </a:cubicBezTo>
                    <a:cubicBezTo>
                      <a:pt x="379681" y="107408"/>
                      <a:pt x="380132" y="112372"/>
                      <a:pt x="380809" y="118239"/>
                    </a:cubicBezTo>
                    <a:cubicBezTo>
                      <a:pt x="381034" y="119593"/>
                      <a:pt x="381034" y="120946"/>
                      <a:pt x="381260" y="122526"/>
                    </a:cubicBezTo>
                    <a:cubicBezTo>
                      <a:pt x="381711" y="126136"/>
                      <a:pt x="383291" y="127941"/>
                      <a:pt x="384870" y="129747"/>
                    </a:cubicBezTo>
                    <a:cubicBezTo>
                      <a:pt x="386224" y="131100"/>
                      <a:pt x="387578" y="132680"/>
                      <a:pt x="387578" y="135162"/>
                    </a:cubicBezTo>
                    <a:cubicBezTo>
                      <a:pt x="387578" y="136065"/>
                      <a:pt x="387804" y="136516"/>
                      <a:pt x="389609" y="137644"/>
                    </a:cubicBezTo>
                    <a:cubicBezTo>
                      <a:pt x="391189" y="138772"/>
                      <a:pt x="392994" y="140126"/>
                      <a:pt x="395250" y="142834"/>
                    </a:cubicBezTo>
                    <a:cubicBezTo>
                      <a:pt x="396830" y="144865"/>
                      <a:pt x="397958" y="146896"/>
                      <a:pt x="398861" y="148475"/>
                    </a:cubicBezTo>
                    <a:cubicBezTo>
                      <a:pt x="400666" y="151634"/>
                      <a:pt x="402020" y="154116"/>
                      <a:pt x="405630" y="156373"/>
                    </a:cubicBezTo>
                    <a:cubicBezTo>
                      <a:pt x="410820" y="159532"/>
                      <a:pt x="419394" y="159532"/>
                      <a:pt x="424584" y="159306"/>
                    </a:cubicBezTo>
                    <a:lnTo>
                      <a:pt x="426164" y="159306"/>
                    </a:lnTo>
                    <a:cubicBezTo>
                      <a:pt x="430677" y="159306"/>
                      <a:pt x="438349" y="155921"/>
                      <a:pt x="442185" y="151860"/>
                    </a:cubicBezTo>
                    <a:cubicBezTo>
                      <a:pt x="443990" y="150055"/>
                      <a:pt x="443764" y="147121"/>
                      <a:pt x="443087" y="143737"/>
                    </a:cubicBezTo>
                    <a:cubicBezTo>
                      <a:pt x="442636" y="141254"/>
                      <a:pt x="442410" y="138547"/>
                      <a:pt x="443087" y="136065"/>
                    </a:cubicBezTo>
                    <a:cubicBezTo>
                      <a:pt x="444441" y="131100"/>
                      <a:pt x="449857" y="131552"/>
                      <a:pt x="453467" y="132003"/>
                    </a:cubicBezTo>
                    <a:cubicBezTo>
                      <a:pt x="454144" y="130424"/>
                      <a:pt x="454821" y="129070"/>
                      <a:pt x="455723" y="127490"/>
                    </a:cubicBezTo>
                    <a:lnTo>
                      <a:pt x="456852" y="125685"/>
                    </a:lnTo>
                    <a:cubicBezTo>
                      <a:pt x="460462" y="119141"/>
                      <a:pt x="465652" y="109890"/>
                      <a:pt x="465652" y="98382"/>
                    </a:cubicBezTo>
                    <a:cubicBezTo>
                      <a:pt x="465652" y="91612"/>
                      <a:pt x="466554" y="87099"/>
                      <a:pt x="467457" y="82812"/>
                    </a:cubicBezTo>
                    <a:cubicBezTo>
                      <a:pt x="468360" y="78299"/>
                      <a:pt x="469262" y="74012"/>
                      <a:pt x="469262" y="67243"/>
                    </a:cubicBezTo>
                    <a:cubicBezTo>
                      <a:pt x="469262" y="66340"/>
                      <a:pt x="469262" y="65212"/>
                      <a:pt x="469036" y="64083"/>
                    </a:cubicBezTo>
                    <a:cubicBezTo>
                      <a:pt x="467908" y="64083"/>
                      <a:pt x="467006" y="64083"/>
                      <a:pt x="466329" y="63632"/>
                    </a:cubicBezTo>
                    <a:cubicBezTo>
                      <a:pt x="464975" y="63181"/>
                      <a:pt x="463170" y="62955"/>
                      <a:pt x="461365" y="62955"/>
                    </a:cubicBezTo>
                    <a:cubicBezTo>
                      <a:pt x="458657" y="62730"/>
                      <a:pt x="455723" y="62730"/>
                      <a:pt x="452790" y="61150"/>
                    </a:cubicBezTo>
                    <a:cubicBezTo>
                      <a:pt x="450534" y="59796"/>
                      <a:pt x="449405" y="60022"/>
                      <a:pt x="446472" y="60248"/>
                    </a:cubicBezTo>
                    <a:cubicBezTo>
                      <a:pt x="444892" y="60473"/>
                      <a:pt x="443087" y="60473"/>
                      <a:pt x="440605" y="60473"/>
                    </a:cubicBezTo>
                    <a:cubicBezTo>
                      <a:pt x="434513" y="60473"/>
                      <a:pt x="432031" y="58217"/>
                      <a:pt x="428646" y="54832"/>
                    </a:cubicBezTo>
                    <a:cubicBezTo>
                      <a:pt x="427292" y="53704"/>
                      <a:pt x="425938" y="52124"/>
                      <a:pt x="423907" y="50545"/>
                    </a:cubicBezTo>
                    <a:cubicBezTo>
                      <a:pt x="418266" y="46032"/>
                      <a:pt x="415558" y="46032"/>
                      <a:pt x="410820" y="46258"/>
                    </a:cubicBezTo>
                    <a:cubicBezTo>
                      <a:pt x="410143" y="46258"/>
                      <a:pt x="409240" y="46258"/>
                      <a:pt x="408563" y="46258"/>
                    </a:cubicBezTo>
                    <a:cubicBezTo>
                      <a:pt x="405630" y="46258"/>
                      <a:pt x="403825" y="47837"/>
                      <a:pt x="401568" y="50319"/>
                    </a:cubicBezTo>
                    <a:cubicBezTo>
                      <a:pt x="399763" y="51899"/>
                      <a:pt x="397732" y="53929"/>
                      <a:pt x="395025" y="55509"/>
                    </a:cubicBezTo>
                    <a:cubicBezTo>
                      <a:pt x="391189" y="57540"/>
                      <a:pt x="388707" y="58442"/>
                      <a:pt x="386901" y="55735"/>
                    </a:cubicBezTo>
                    <a:cubicBezTo>
                      <a:pt x="385322" y="55509"/>
                      <a:pt x="382840" y="53704"/>
                      <a:pt x="376973" y="49642"/>
                    </a:cubicBezTo>
                    <a:cubicBezTo>
                      <a:pt x="374491" y="47837"/>
                      <a:pt x="372009" y="46032"/>
                      <a:pt x="369301" y="44227"/>
                    </a:cubicBezTo>
                    <a:cubicBezTo>
                      <a:pt x="368173" y="43550"/>
                      <a:pt x="367270" y="42873"/>
                      <a:pt x="366593" y="42421"/>
                    </a:cubicBezTo>
                    <a:cubicBezTo>
                      <a:pt x="362306" y="39488"/>
                      <a:pt x="361629" y="39037"/>
                      <a:pt x="353506" y="39037"/>
                    </a:cubicBezTo>
                    <a:cubicBezTo>
                      <a:pt x="349895" y="39037"/>
                      <a:pt x="347639" y="38360"/>
                      <a:pt x="346511" y="36780"/>
                    </a:cubicBezTo>
                    <a:cubicBezTo>
                      <a:pt x="345157" y="34750"/>
                      <a:pt x="346285" y="32267"/>
                      <a:pt x="347188" y="30237"/>
                    </a:cubicBezTo>
                    <a:cubicBezTo>
                      <a:pt x="347639" y="29108"/>
                      <a:pt x="348316" y="27754"/>
                      <a:pt x="348316" y="26852"/>
                    </a:cubicBezTo>
                    <a:cubicBezTo>
                      <a:pt x="348316" y="23242"/>
                      <a:pt x="341772" y="15344"/>
                      <a:pt x="338839" y="14667"/>
                    </a:cubicBezTo>
                    <a:lnTo>
                      <a:pt x="337936" y="14441"/>
                    </a:lnTo>
                    <a:cubicBezTo>
                      <a:pt x="335228" y="13764"/>
                      <a:pt x="332520" y="13088"/>
                      <a:pt x="330715" y="11734"/>
                    </a:cubicBezTo>
                    <a:cubicBezTo>
                      <a:pt x="323495" y="13313"/>
                      <a:pt x="317854" y="16021"/>
                      <a:pt x="312889" y="18503"/>
                    </a:cubicBezTo>
                    <a:cubicBezTo>
                      <a:pt x="311535" y="19180"/>
                      <a:pt x="310407" y="19631"/>
                      <a:pt x="309279" y="20308"/>
                    </a:cubicBezTo>
                    <a:cubicBezTo>
                      <a:pt x="307248" y="21211"/>
                      <a:pt x="305669" y="22339"/>
                      <a:pt x="304089" y="23467"/>
                    </a:cubicBezTo>
                    <a:cubicBezTo>
                      <a:pt x="299351" y="26626"/>
                      <a:pt x="294838" y="29560"/>
                      <a:pt x="284232" y="26175"/>
                    </a:cubicBezTo>
                    <a:cubicBezTo>
                      <a:pt x="277237" y="23919"/>
                      <a:pt x="276109" y="24370"/>
                      <a:pt x="274304" y="25272"/>
                    </a:cubicBezTo>
                    <a:cubicBezTo>
                      <a:pt x="272724" y="25949"/>
                      <a:pt x="270694" y="27078"/>
                      <a:pt x="265955" y="27078"/>
                    </a:cubicBezTo>
                    <a:cubicBezTo>
                      <a:pt x="255801" y="27078"/>
                      <a:pt x="253093" y="19857"/>
                      <a:pt x="249708" y="11508"/>
                    </a:cubicBezTo>
                    <a:cubicBezTo>
                      <a:pt x="249483" y="11057"/>
                      <a:pt x="249257" y="10380"/>
                      <a:pt x="249031" y="9928"/>
                    </a:cubicBezTo>
                    <a:cubicBezTo>
                      <a:pt x="248355" y="10831"/>
                      <a:pt x="247452" y="11959"/>
                      <a:pt x="246324" y="13313"/>
                    </a:cubicBezTo>
                    <a:cubicBezTo>
                      <a:pt x="244519" y="15570"/>
                      <a:pt x="241585" y="18729"/>
                      <a:pt x="241585" y="20759"/>
                    </a:cubicBezTo>
                    <a:cubicBezTo>
                      <a:pt x="241585" y="24370"/>
                      <a:pt x="245196" y="32719"/>
                      <a:pt x="254898" y="39488"/>
                    </a:cubicBezTo>
                    <a:cubicBezTo>
                      <a:pt x="265052" y="46258"/>
                      <a:pt x="267083" y="53478"/>
                      <a:pt x="269114" y="60248"/>
                    </a:cubicBezTo>
                    <a:lnTo>
                      <a:pt x="269565" y="62053"/>
                    </a:lnTo>
                    <a:cubicBezTo>
                      <a:pt x="271822" y="69273"/>
                      <a:pt x="271370" y="83489"/>
                      <a:pt x="266858" y="86423"/>
                    </a:cubicBezTo>
                    <a:cubicBezTo>
                      <a:pt x="265955" y="86874"/>
                      <a:pt x="264827" y="90710"/>
                      <a:pt x="264150" y="92966"/>
                    </a:cubicBezTo>
                    <a:cubicBezTo>
                      <a:pt x="263022" y="96802"/>
                      <a:pt x="262119" y="100413"/>
                      <a:pt x="260088" y="102218"/>
                    </a:cubicBezTo>
                    <a:cubicBezTo>
                      <a:pt x="260088" y="102218"/>
                      <a:pt x="259863" y="102443"/>
                      <a:pt x="259637" y="102669"/>
                    </a:cubicBezTo>
                    <a:cubicBezTo>
                      <a:pt x="260765" y="102669"/>
                      <a:pt x="261893" y="102669"/>
                      <a:pt x="262796" y="102669"/>
                    </a:cubicBezTo>
                    <a:cubicBezTo>
                      <a:pt x="272950" y="101541"/>
                      <a:pt x="277012" y="104700"/>
                      <a:pt x="277914" y="114628"/>
                    </a:cubicBezTo>
                    <a:cubicBezTo>
                      <a:pt x="278817" y="123429"/>
                      <a:pt x="274078" y="140126"/>
                      <a:pt x="267760" y="145316"/>
                    </a:cubicBezTo>
                    <a:cubicBezTo>
                      <a:pt x="265729" y="147121"/>
                      <a:pt x="262796" y="148250"/>
                      <a:pt x="259863" y="149603"/>
                    </a:cubicBezTo>
                    <a:cubicBezTo>
                      <a:pt x="254447" y="151860"/>
                      <a:pt x="249257" y="154116"/>
                      <a:pt x="248806" y="159080"/>
                    </a:cubicBezTo>
                    <a:cubicBezTo>
                      <a:pt x="248129" y="165850"/>
                      <a:pt x="242037" y="168106"/>
                      <a:pt x="237523" y="169686"/>
                    </a:cubicBezTo>
                    <a:cubicBezTo>
                      <a:pt x="235493" y="170363"/>
                      <a:pt x="233011" y="171491"/>
                      <a:pt x="232785" y="172394"/>
                    </a:cubicBezTo>
                    <a:cubicBezTo>
                      <a:pt x="232108" y="176230"/>
                      <a:pt x="232559" y="189091"/>
                      <a:pt x="238877" y="195635"/>
                    </a:cubicBezTo>
                    <a:cubicBezTo>
                      <a:pt x="240457" y="197215"/>
                      <a:pt x="242037" y="198794"/>
                      <a:pt x="243390" y="200148"/>
                    </a:cubicBezTo>
                    <a:cubicBezTo>
                      <a:pt x="248129" y="204661"/>
                      <a:pt x="252191" y="208497"/>
                      <a:pt x="256252" y="217748"/>
                    </a:cubicBezTo>
                    <a:cubicBezTo>
                      <a:pt x="259637" y="225421"/>
                      <a:pt x="260314" y="231513"/>
                      <a:pt x="258509" y="235123"/>
                    </a:cubicBezTo>
                    <a:cubicBezTo>
                      <a:pt x="257606" y="236929"/>
                      <a:pt x="256026" y="238282"/>
                      <a:pt x="253996" y="238734"/>
                    </a:cubicBezTo>
                    <a:cubicBezTo>
                      <a:pt x="252191" y="239185"/>
                      <a:pt x="250385" y="240990"/>
                      <a:pt x="248129" y="243472"/>
                    </a:cubicBezTo>
                    <a:cubicBezTo>
                      <a:pt x="246324" y="245503"/>
                      <a:pt x="244293" y="247534"/>
                      <a:pt x="241585" y="249565"/>
                    </a:cubicBezTo>
                    <a:cubicBezTo>
                      <a:pt x="237523" y="252724"/>
                      <a:pt x="233236" y="257914"/>
                      <a:pt x="235267" y="264909"/>
                    </a:cubicBezTo>
                    <a:cubicBezTo>
                      <a:pt x="235493" y="266037"/>
                      <a:pt x="236395" y="267391"/>
                      <a:pt x="237298" y="269196"/>
                    </a:cubicBezTo>
                    <a:cubicBezTo>
                      <a:pt x="240683" y="275740"/>
                      <a:pt x="246549" y="286345"/>
                      <a:pt x="235493" y="295596"/>
                    </a:cubicBezTo>
                    <a:cubicBezTo>
                      <a:pt x="236847" y="298304"/>
                      <a:pt x="238652" y="300561"/>
                      <a:pt x="240006" y="301463"/>
                    </a:cubicBezTo>
                    <a:cubicBezTo>
                      <a:pt x="243616" y="303720"/>
                      <a:pt x="245196" y="308007"/>
                      <a:pt x="245196" y="315679"/>
                    </a:cubicBezTo>
                    <a:cubicBezTo>
                      <a:pt x="245196" y="316582"/>
                      <a:pt x="245196" y="317710"/>
                      <a:pt x="245196" y="319064"/>
                    </a:cubicBezTo>
                    <a:cubicBezTo>
                      <a:pt x="245421" y="329895"/>
                      <a:pt x="245196" y="339823"/>
                      <a:pt x="241360" y="343208"/>
                    </a:cubicBezTo>
                    <a:cubicBezTo>
                      <a:pt x="240683" y="343885"/>
                      <a:pt x="240457" y="344336"/>
                      <a:pt x="240457" y="344562"/>
                    </a:cubicBezTo>
                    <a:cubicBezTo>
                      <a:pt x="240457" y="346141"/>
                      <a:pt x="242488" y="348623"/>
                      <a:pt x="244067" y="350203"/>
                    </a:cubicBezTo>
                    <a:cubicBezTo>
                      <a:pt x="244293" y="350654"/>
                      <a:pt x="244744" y="350880"/>
                      <a:pt x="244970" y="351105"/>
                    </a:cubicBezTo>
                    <a:cubicBezTo>
                      <a:pt x="247678" y="354264"/>
                      <a:pt x="248806" y="358552"/>
                      <a:pt x="248806" y="364870"/>
                    </a:cubicBezTo>
                    <a:cubicBezTo>
                      <a:pt x="248806" y="370511"/>
                      <a:pt x="247001" y="372542"/>
                      <a:pt x="244067" y="375475"/>
                    </a:cubicBezTo>
                    <a:cubicBezTo>
                      <a:pt x="243390" y="376152"/>
                      <a:pt x="242488" y="377055"/>
                      <a:pt x="241585" y="378183"/>
                    </a:cubicBezTo>
                    <a:cubicBezTo>
                      <a:pt x="240231" y="379762"/>
                      <a:pt x="240457" y="381116"/>
                      <a:pt x="241134" y="383824"/>
                    </a:cubicBezTo>
                    <a:cubicBezTo>
                      <a:pt x="241811" y="386758"/>
                      <a:pt x="242939" y="390819"/>
                      <a:pt x="240231" y="396009"/>
                    </a:cubicBezTo>
                    <a:cubicBezTo>
                      <a:pt x="239329" y="397814"/>
                      <a:pt x="238652" y="399619"/>
                      <a:pt x="237749" y="401199"/>
                    </a:cubicBezTo>
                    <a:cubicBezTo>
                      <a:pt x="234816" y="407743"/>
                      <a:pt x="231882" y="414061"/>
                      <a:pt x="224887" y="416994"/>
                    </a:cubicBezTo>
                    <a:cubicBezTo>
                      <a:pt x="221728" y="418122"/>
                      <a:pt x="220149" y="421507"/>
                      <a:pt x="218344" y="425794"/>
                    </a:cubicBezTo>
                    <a:cubicBezTo>
                      <a:pt x="216087" y="430758"/>
                      <a:pt x="213154" y="437076"/>
                      <a:pt x="206384" y="441364"/>
                    </a:cubicBezTo>
                    <a:cubicBezTo>
                      <a:pt x="199841" y="445425"/>
                      <a:pt x="198938" y="448810"/>
                      <a:pt x="198261" y="450841"/>
                    </a:cubicBezTo>
                    <a:cubicBezTo>
                      <a:pt x="197810" y="452195"/>
                      <a:pt x="197133" y="454677"/>
                      <a:pt x="193748" y="454226"/>
                    </a:cubicBezTo>
                    <a:cubicBezTo>
                      <a:pt x="193071" y="454226"/>
                      <a:pt x="192620" y="454000"/>
                      <a:pt x="191943" y="454000"/>
                    </a:cubicBezTo>
                    <a:cubicBezTo>
                      <a:pt x="188784" y="453323"/>
                      <a:pt x="186528" y="452872"/>
                      <a:pt x="181789" y="461446"/>
                    </a:cubicBezTo>
                    <a:cubicBezTo>
                      <a:pt x="179532" y="465282"/>
                      <a:pt x="178856" y="467539"/>
                      <a:pt x="178404" y="468667"/>
                    </a:cubicBezTo>
                    <a:cubicBezTo>
                      <a:pt x="177502" y="470698"/>
                      <a:pt x="177050" y="471600"/>
                      <a:pt x="174568" y="471375"/>
                    </a:cubicBezTo>
                    <a:cubicBezTo>
                      <a:pt x="174117" y="471375"/>
                      <a:pt x="173214" y="471149"/>
                      <a:pt x="172086" y="471149"/>
                    </a:cubicBezTo>
                    <a:cubicBezTo>
                      <a:pt x="169604" y="471149"/>
                      <a:pt x="165768" y="473857"/>
                      <a:pt x="162158" y="476339"/>
                    </a:cubicBezTo>
                    <a:cubicBezTo>
                      <a:pt x="157419" y="479724"/>
                      <a:pt x="153583" y="482431"/>
                      <a:pt x="150424" y="481078"/>
                    </a:cubicBezTo>
                    <a:cubicBezTo>
                      <a:pt x="148619" y="480401"/>
                      <a:pt x="146814" y="479047"/>
                      <a:pt x="144557" y="477693"/>
                    </a:cubicBezTo>
                    <a:cubicBezTo>
                      <a:pt x="141398" y="475662"/>
                      <a:pt x="137562" y="473180"/>
                      <a:pt x="134855" y="472729"/>
                    </a:cubicBezTo>
                    <a:cubicBezTo>
                      <a:pt x="131244" y="472052"/>
                      <a:pt x="127859" y="477016"/>
                      <a:pt x="126506" y="480175"/>
                    </a:cubicBezTo>
                    <a:cubicBezTo>
                      <a:pt x="126054" y="481529"/>
                      <a:pt x="125603" y="483108"/>
                      <a:pt x="125377" y="484914"/>
                    </a:cubicBezTo>
                    <a:cubicBezTo>
                      <a:pt x="124926" y="487170"/>
                      <a:pt x="124475" y="489652"/>
                      <a:pt x="123347" y="492134"/>
                    </a:cubicBezTo>
                    <a:cubicBezTo>
                      <a:pt x="120864" y="497324"/>
                      <a:pt x="114321" y="500257"/>
                      <a:pt x="103038" y="501611"/>
                    </a:cubicBezTo>
                    <a:cubicBezTo>
                      <a:pt x="95367" y="502514"/>
                      <a:pt x="92659" y="504545"/>
                      <a:pt x="89500" y="507027"/>
                    </a:cubicBezTo>
                    <a:cubicBezTo>
                      <a:pt x="87694" y="508381"/>
                      <a:pt x="85889" y="509735"/>
                      <a:pt x="83407" y="510863"/>
                    </a:cubicBezTo>
                    <a:cubicBezTo>
                      <a:pt x="76864" y="514022"/>
                      <a:pt x="72576" y="520566"/>
                      <a:pt x="72351" y="522596"/>
                    </a:cubicBezTo>
                    <a:cubicBezTo>
                      <a:pt x="71674" y="526884"/>
                      <a:pt x="66032" y="536812"/>
                      <a:pt x="55878" y="536812"/>
                    </a:cubicBezTo>
                    <a:cubicBezTo>
                      <a:pt x="47078" y="536812"/>
                      <a:pt x="42340" y="531848"/>
                      <a:pt x="42340" y="522596"/>
                    </a:cubicBezTo>
                    <a:cubicBezTo>
                      <a:pt x="42340" y="521468"/>
                      <a:pt x="41888" y="521017"/>
                      <a:pt x="41663" y="520791"/>
                    </a:cubicBezTo>
                    <a:cubicBezTo>
                      <a:pt x="39858" y="518986"/>
                      <a:pt x="34442" y="519437"/>
                      <a:pt x="30606" y="519889"/>
                    </a:cubicBezTo>
                    <a:lnTo>
                      <a:pt x="29703" y="519889"/>
                    </a:lnTo>
                    <a:cubicBezTo>
                      <a:pt x="27898" y="520114"/>
                      <a:pt x="27447" y="520566"/>
                      <a:pt x="27221" y="524176"/>
                    </a:cubicBezTo>
                    <a:cubicBezTo>
                      <a:pt x="26996" y="526207"/>
                      <a:pt x="26770" y="528689"/>
                      <a:pt x="25416" y="530720"/>
                    </a:cubicBezTo>
                    <a:cubicBezTo>
                      <a:pt x="22708" y="534781"/>
                      <a:pt x="20001" y="533879"/>
                      <a:pt x="17970" y="533427"/>
                    </a:cubicBezTo>
                    <a:cubicBezTo>
                      <a:pt x="17067" y="533202"/>
                      <a:pt x="16390" y="532976"/>
                      <a:pt x="15488" y="532976"/>
                    </a:cubicBezTo>
                    <a:cubicBezTo>
                      <a:pt x="15036" y="532976"/>
                      <a:pt x="14359" y="533427"/>
                      <a:pt x="13457" y="534330"/>
                    </a:cubicBezTo>
                    <a:cubicBezTo>
                      <a:pt x="11200" y="536812"/>
                      <a:pt x="9621" y="541099"/>
                      <a:pt x="9847" y="542905"/>
                    </a:cubicBezTo>
                    <a:cubicBezTo>
                      <a:pt x="10298" y="547417"/>
                      <a:pt x="10072" y="550125"/>
                      <a:pt x="5334" y="556443"/>
                    </a:cubicBezTo>
                    <a:cubicBezTo>
                      <a:pt x="3529" y="558700"/>
                      <a:pt x="3754" y="563438"/>
                      <a:pt x="6011" y="568403"/>
                    </a:cubicBezTo>
                    <a:cubicBezTo>
                      <a:pt x="8041" y="572916"/>
                      <a:pt x="10749" y="575398"/>
                      <a:pt x="12554" y="575623"/>
                    </a:cubicBezTo>
                    <a:cubicBezTo>
                      <a:pt x="16165" y="575849"/>
                      <a:pt x="19775" y="577203"/>
                      <a:pt x="23160" y="578557"/>
                    </a:cubicBezTo>
                    <a:cubicBezTo>
                      <a:pt x="26093" y="579685"/>
                      <a:pt x="28801" y="580813"/>
                      <a:pt x="31509" y="581264"/>
                    </a:cubicBezTo>
                    <a:cubicBezTo>
                      <a:pt x="36021" y="581941"/>
                      <a:pt x="39632" y="586003"/>
                      <a:pt x="43017" y="589613"/>
                    </a:cubicBezTo>
                    <a:cubicBezTo>
                      <a:pt x="44822" y="591644"/>
                      <a:pt x="46853" y="593675"/>
                      <a:pt x="48658" y="595254"/>
                    </a:cubicBezTo>
                    <a:cubicBezTo>
                      <a:pt x="51817" y="597737"/>
                      <a:pt x="56781" y="596834"/>
                      <a:pt x="63099" y="595706"/>
                    </a:cubicBezTo>
                    <a:cubicBezTo>
                      <a:pt x="66032" y="595254"/>
                      <a:pt x="69191" y="594578"/>
                      <a:pt x="72802" y="594352"/>
                    </a:cubicBezTo>
                    <a:cubicBezTo>
                      <a:pt x="85438" y="593224"/>
                      <a:pt x="87694" y="599090"/>
                      <a:pt x="89274" y="602475"/>
                    </a:cubicBezTo>
                    <a:cubicBezTo>
                      <a:pt x="89951" y="604055"/>
                      <a:pt x="90177" y="604732"/>
                      <a:pt x="89725" y="605860"/>
                    </a:cubicBezTo>
                    <a:cubicBezTo>
                      <a:pt x="89274" y="606762"/>
                      <a:pt x="88371" y="606988"/>
                      <a:pt x="87920" y="606988"/>
                    </a:cubicBezTo>
                    <a:cubicBezTo>
                      <a:pt x="87469" y="606988"/>
                      <a:pt x="86792" y="607214"/>
                      <a:pt x="85664" y="608793"/>
                    </a:cubicBezTo>
                    <a:cubicBezTo>
                      <a:pt x="82730" y="612404"/>
                      <a:pt x="83182" y="625040"/>
                      <a:pt x="84535" y="626619"/>
                    </a:cubicBezTo>
                    <a:cubicBezTo>
                      <a:pt x="86566" y="628650"/>
                      <a:pt x="90853" y="630455"/>
                      <a:pt x="98074" y="633389"/>
                    </a:cubicBezTo>
                    <a:lnTo>
                      <a:pt x="98977" y="633840"/>
                    </a:lnTo>
                    <a:cubicBezTo>
                      <a:pt x="103038" y="635419"/>
                      <a:pt x="105746" y="638578"/>
                      <a:pt x="108003" y="641286"/>
                    </a:cubicBezTo>
                    <a:cubicBezTo>
                      <a:pt x="110710" y="644445"/>
                      <a:pt x="112967" y="647153"/>
                      <a:pt x="116803" y="647830"/>
                    </a:cubicBezTo>
                    <a:cubicBezTo>
                      <a:pt x="124926" y="649184"/>
                      <a:pt x="125829" y="655276"/>
                      <a:pt x="126506" y="658887"/>
                    </a:cubicBezTo>
                    <a:cubicBezTo>
                      <a:pt x="126506" y="659564"/>
                      <a:pt x="126731" y="660240"/>
                      <a:pt x="126957" y="660918"/>
                    </a:cubicBezTo>
                    <a:cubicBezTo>
                      <a:pt x="127183" y="661369"/>
                      <a:pt x="127183" y="661820"/>
                      <a:pt x="127408" y="662497"/>
                    </a:cubicBezTo>
                    <a:cubicBezTo>
                      <a:pt x="128311" y="665656"/>
                      <a:pt x="129439" y="670169"/>
                      <a:pt x="132824" y="671523"/>
                    </a:cubicBezTo>
                    <a:cubicBezTo>
                      <a:pt x="136660" y="672877"/>
                      <a:pt x="137337" y="676938"/>
                      <a:pt x="137788" y="680323"/>
                    </a:cubicBezTo>
                    <a:cubicBezTo>
                      <a:pt x="138014" y="682580"/>
                      <a:pt x="138465" y="684836"/>
                      <a:pt x="139593" y="686190"/>
                    </a:cubicBezTo>
                    <a:cubicBezTo>
                      <a:pt x="140947" y="687544"/>
                      <a:pt x="140947" y="688672"/>
                      <a:pt x="140721" y="689575"/>
                    </a:cubicBezTo>
                    <a:cubicBezTo>
                      <a:pt x="140270" y="692734"/>
                      <a:pt x="135757" y="694764"/>
                      <a:pt x="130793" y="697246"/>
                    </a:cubicBezTo>
                    <a:cubicBezTo>
                      <a:pt x="128762" y="698149"/>
                      <a:pt x="126957" y="699052"/>
                      <a:pt x="125603" y="699954"/>
                    </a:cubicBezTo>
                    <a:cubicBezTo>
                      <a:pt x="125377" y="700180"/>
                      <a:pt x="125152" y="700180"/>
                      <a:pt x="124926" y="700406"/>
                    </a:cubicBezTo>
                    <a:cubicBezTo>
                      <a:pt x="126054" y="702436"/>
                      <a:pt x="126957" y="704016"/>
                      <a:pt x="127408" y="705370"/>
                    </a:cubicBezTo>
                    <a:cubicBezTo>
                      <a:pt x="128085" y="707175"/>
                      <a:pt x="128988" y="707175"/>
                      <a:pt x="133952" y="706272"/>
                    </a:cubicBezTo>
                    <a:cubicBezTo>
                      <a:pt x="139142" y="705144"/>
                      <a:pt x="147265" y="703565"/>
                      <a:pt x="150875" y="713719"/>
                    </a:cubicBezTo>
                    <a:lnTo>
                      <a:pt x="152229" y="717103"/>
                    </a:lnTo>
                    <a:cubicBezTo>
                      <a:pt x="155840" y="726806"/>
                      <a:pt x="159224" y="735832"/>
                      <a:pt x="161932" y="737186"/>
                    </a:cubicBezTo>
                    <a:cubicBezTo>
                      <a:pt x="162158" y="737186"/>
                      <a:pt x="162383" y="737186"/>
                      <a:pt x="162609" y="737186"/>
                    </a:cubicBezTo>
                    <a:cubicBezTo>
                      <a:pt x="163512" y="736735"/>
                      <a:pt x="164640" y="736283"/>
                      <a:pt x="165768" y="735606"/>
                    </a:cubicBezTo>
                    <a:cubicBezTo>
                      <a:pt x="169153" y="732899"/>
                      <a:pt x="173440" y="730642"/>
                      <a:pt x="178404" y="730642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xmlns="" id="{9D12685C-FF9D-4F1B-8BED-F21A9CE19CF1}"/>
                  </a:ext>
                </a:extLst>
              </p:cNvPr>
              <p:cNvSpPr/>
              <p:nvPr/>
            </p:nvSpPr>
            <p:spPr>
              <a:xfrm>
                <a:off x="10763091" y="2601087"/>
                <a:ext cx="338469" cy="135388"/>
              </a:xfrm>
              <a:custGeom>
                <a:avLst/>
                <a:gdLst>
                  <a:gd name="connsiteX0" fmla="*/ 73392 w 338469"/>
                  <a:gd name="connsiteY0" fmla="*/ 142049 h 135387"/>
                  <a:gd name="connsiteX1" fmla="*/ 64592 w 338469"/>
                  <a:gd name="connsiteY1" fmla="*/ 140018 h 135387"/>
                  <a:gd name="connsiteX2" fmla="*/ 59176 w 338469"/>
                  <a:gd name="connsiteY2" fmla="*/ 137761 h 135387"/>
                  <a:gd name="connsiteX3" fmla="*/ 44058 w 338469"/>
                  <a:gd name="connsiteY3" fmla="*/ 134602 h 135387"/>
                  <a:gd name="connsiteX4" fmla="*/ 34355 w 338469"/>
                  <a:gd name="connsiteY4" fmla="*/ 130766 h 135387"/>
                  <a:gd name="connsiteX5" fmla="*/ 29843 w 338469"/>
                  <a:gd name="connsiteY5" fmla="*/ 129412 h 135387"/>
                  <a:gd name="connsiteX6" fmla="*/ 12919 w 338469"/>
                  <a:gd name="connsiteY6" fmla="*/ 128284 h 135387"/>
                  <a:gd name="connsiteX7" fmla="*/ 9534 w 338469"/>
                  <a:gd name="connsiteY7" fmla="*/ 127833 h 135387"/>
                  <a:gd name="connsiteX8" fmla="*/ 508 w 338469"/>
                  <a:gd name="connsiteY8" fmla="*/ 116776 h 135387"/>
                  <a:gd name="connsiteX9" fmla="*/ 2765 w 338469"/>
                  <a:gd name="connsiteY9" fmla="*/ 101658 h 135387"/>
                  <a:gd name="connsiteX10" fmla="*/ 3216 w 338469"/>
                  <a:gd name="connsiteY10" fmla="*/ 100755 h 135387"/>
                  <a:gd name="connsiteX11" fmla="*/ 3893 w 338469"/>
                  <a:gd name="connsiteY11" fmla="*/ 88796 h 135387"/>
                  <a:gd name="connsiteX12" fmla="*/ 3668 w 338469"/>
                  <a:gd name="connsiteY12" fmla="*/ 88119 h 135387"/>
                  <a:gd name="connsiteX13" fmla="*/ 3216 w 338469"/>
                  <a:gd name="connsiteY13" fmla="*/ 86088 h 135387"/>
                  <a:gd name="connsiteX14" fmla="*/ 5247 w 338469"/>
                  <a:gd name="connsiteY14" fmla="*/ 85637 h 135387"/>
                  <a:gd name="connsiteX15" fmla="*/ 7052 w 338469"/>
                  <a:gd name="connsiteY15" fmla="*/ 85637 h 135387"/>
                  <a:gd name="connsiteX16" fmla="*/ 13822 w 338469"/>
                  <a:gd name="connsiteY16" fmla="*/ 84283 h 135387"/>
                  <a:gd name="connsiteX17" fmla="*/ 14950 w 338469"/>
                  <a:gd name="connsiteY17" fmla="*/ 81124 h 135387"/>
                  <a:gd name="connsiteX18" fmla="*/ 11339 w 338469"/>
                  <a:gd name="connsiteY18" fmla="*/ 73452 h 135387"/>
                  <a:gd name="connsiteX19" fmla="*/ 10888 w 338469"/>
                  <a:gd name="connsiteY19" fmla="*/ 72775 h 135387"/>
                  <a:gd name="connsiteX20" fmla="*/ 9083 w 338469"/>
                  <a:gd name="connsiteY20" fmla="*/ 70519 h 135387"/>
                  <a:gd name="connsiteX21" fmla="*/ 6150 w 338469"/>
                  <a:gd name="connsiteY21" fmla="*/ 64201 h 135387"/>
                  <a:gd name="connsiteX22" fmla="*/ 10437 w 338469"/>
                  <a:gd name="connsiteY22" fmla="*/ 58785 h 135387"/>
                  <a:gd name="connsiteX23" fmla="*/ 22396 w 338469"/>
                  <a:gd name="connsiteY23" fmla="*/ 44344 h 135387"/>
                  <a:gd name="connsiteX24" fmla="*/ 38643 w 338469"/>
                  <a:gd name="connsiteY24" fmla="*/ 32610 h 135387"/>
                  <a:gd name="connsiteX25" fmla="*/ 48571 w 338469"/>
                  <a:gd name="connsiteY25" fmla="*/ 29451 h 135387"/>
                  <a:gd name="connsiteX26" fmla="*/ 58500 w 338469"/>
                  <a:gd name="connsiteY26" fmla="*/ 26518 h 135387"/>
                  <a:gd name="connsiteX27" fmla="*/ 65720 w 338469"/>
                  <a:gd name="connsiteY27" fmla="*/ 25390 h 135387"/>
                  <a:gd name="connsiteX28" fmla="*/ 78356 w 338469"/>
                  <a:gd name="connsiteY28" fmla="*/ 26969 h 135387"/>
                  <a:gd name="connsiteX29" fmla="*/ 79259 w 338469"/>
                  <a:gd name="connsiteY29" fmla="*/ 33738 h 135387"/>
                  <a:gd name="connsiteX30" fmla="*/ 79485 w 338469"/>
                  <a:gd name="connsiteY30" fmla="*/ 37123 h 135387"/>
                  <a:gd name="connsiteX31" fmla="*/ 80838 w 338469"/>
                  <a:gd name="connsiteY31" fmla="*/ 37349 h 135387"/>
                  <a:gd name="connsiteX32" fmla="*/ 86931 w 338469"/>
                  <a:gd name="connsiteY32" fmla="*/ 34867 h 135387"/>
                  <a:gd name="connsiteX33" fmla="*/ 102275 w 338469"/>
                  <a:gd name="connsiteY33" fmla="*/ 31256 h 135387"/>
                  <a:gd name="connsiteX34" fmla="*/ 109496 w 338469"/>
                  <a:gd name="connsiteY34" fmla="*/ 32385 h 135387"/>
                  <a:gd name="connsiteX35" fmla="*/ 120778 w 338469"/>
                  <a:gd name="connsiteY35" fmla="*/ 31933 h 135387"/>
                  <a:gd name="connsiteX36" fmla="*/ 141537 w 338469"/>
                  <a:gd name="connsiteY36" fmla="*/ 37123 h 135387"/>
                  <a:gd name="connsiteX37" fmla="*/ 146727 w 338469"/>
                  <a:gd name="connsiteY37" fmla="*/ 38703 h 135387"/>
                  <a:gd name="connsiteX38" fmla="*/ 152594 w 338469"/>
                  <a:gd name="connsiteY38" fmla="*/ 36220 h 135387"/>
                  <a:gd name="connsiteX39" fmla="*/ 155076 w 338469"/>
                  <a:gd name="connsiteY39" fmla="*/ 34867 h 135387"/>
                  <a:gd name="connsiteX40" fmla="*/ 158686 w 338469"/>
                  <a:gd name="connsiteY40" fmla="*/ 40733 h 135387"/>
                  <a:gd name="connsiteX41" fmla="*/ 162748 w 338469"/>
                  <a:gd name="connsiteY41" fmla="*/ 49759 h 135387"/>
                  <a:gd name="connsiteX42" fmla="*/ 166133 w 338469"/>
                  <a:gd name="connsiteY42" fmla="*/ 53370 h 135387"/>
                  <a:gd name="connsiteX43" fmla="*/ 168164 w 338469"/>
                  <a:gd name="connsiteY43" fmla="*/ 51113 h 135387"/>
                  <a:gd name="connsiteX44" fmla="*/ 170194 w 338469"/>
                  <a:gd name="connsiteY44" fmla="*/ 46375 h 135387"/>
                  <a:gd name="connsiteX45" fmla="*/ 176964 w 338469"/>
                  <a:gd name="connsiteY45" fmla="*/ 38251 h 135387"/>
                  <a:gd name="connsiteX46" fmla="*/ 178994 w 338469"/>
                  <a:gd name="connsiteY46" fmla="*/ 37349 h 135387"/>
                  <a:gd name="connsiteX47" fmla="*/ 189374 w 338469"/>
                  <a:gd name="connsiteY47" fmla="*/ 34190 h 135387"/>
                  <a:gd name="connsiteX48" fmla="*/ 195016 w 338469"/>
                  <a:gd name="connsiteY48" fmla="*/ 32385 h 135387"/>
                  <a:gd name="connsiteX49" fmla="*/ 197497 w 338469"/>
                  <a:gd name="connsiteY49" fmla="*/ 27195 h 135387"/>
                  <a:gd name="connsiteX50" fmla="*/ 199077 w 338469"/>
                  <a:gd name="connsiteY50" fmla="*/ 21328 h 135387"/>
                  <a:gd name="connsiteX51" fmla="*/ 202688 w 338469"/>
                  <a:gd name="connsiteY51" fmla="*/ 12753 h 135387"/>
                  <a:gd name="connsiteX52" fmla="*/ 219160 w 338469"/>
                  <a:gd name="connsiteY52" fmla="*/ 12528 h 135387"/>
                  <a:gd name="connsiteX53" fmla="*/ 222093 w 338469"/>
                  <a:gd name="connsiteY53" fmla="*/ 13430 h 135387"/>
                  <a:gd name="connsiteX54" fmla="*/ 228411 w 338469"/>
                  <a:gd name="connsiteY54" fmla="*/ 8240 h 135387"/>
                  <a:gd name="connsiteX55" fmla="*/ 235857 w 338469"/>
                  <a:gd name="connsiteY55" fmla="*/ 1922 h 135387"/>
                  <a:gd name="connsiteX56" fmla="*/ 248042 w 338469"/>
                  <a:gd name="connsiteY56" fmla="*/ 2599 h 135387"/>
                  <a:gd name="connsiteX57" fmla="*/ 266094 w 338469"/>
                  <a:gd name="connsiteY57" fmla="*/ 1471 h 135387"/>
                  <a:gd name="connsiteX58" fmla="*/ 267899 w 338469"/>
                  <a:gd name="connsiteY58" fmla="*/ 1020 h 135387"/>
                  <a:gd name="connsiteX59" fmla="*/ 287982 w 338469"/>
                  <a:gd name="connsiteY59" fmla="*/ 2374 h 135387"/>
                  <a:gd name="connsiteX60" fmla="*/ 288433 w 338469"/>
                  <a:gd name="connsiteY60" fmla="*/ 5533 h 135387"/>
                  <a:gd name="connsiteX61" fmla="*/ 285500 w 338469"/>
                  <a:gd name="connsiteY61" fmla="*/ 9369 h 135387"/>
                  <a:gd name="connsiteX62" fmla="*/ 282566 w 338469"/>
                  <a:gd name="connsiteY62" fmla="*/ 17041 h 135387"/>
                  <a:gd name="connsiteX63" fmla="*/ 281889 w 338469"/>
                  <a:gd name="connsiteY63" fmla="*/ 41185 h 135387"/>
                  <a:gd name="connsiteX64" fmla="*/ 283920 w 338469"/>
                  <a:gd name="connsiteY64" fmla="*/ 45472 h 135387"/>
                  <a:gd name="connsiteX65" fmla="*/ 288207 w 338469"/>
                  <a:gd name="connsiteY65" fmla="*/ 46826 h 135387"/>
                  <a:gd name="connsiteX66" fmla="*/ 291592 w 338469"/>
                  <a:gd name="connsiteY66" fmla="*/ 45246 h 135387"/>
                  <a:gd name="connsiteX67" fmla="*/ 318895 w 338469"/>
                  <a:gd name="connsiteY67" fmla="*/ 44344 h 135387"/>
                  <a:gd name="connsiteX68" fmla="*/ 325213 w 338469"/>
                  <a:gd name="connsiteY68" fmla="*/ 54949 h 135387"/>
                  <a:gd name="connsiteX69" fmla="*/ 328147 w 338469"/>
                  <a:gd name="connsiteY69" fmla="*/ 57431 h 135387"/>
                  <a:gd name="connsiteX70" fmla="*/ 333111 w 338469"/>
                  <a:gd name="connsiteY70" fmla="*/ 57882 h 135387"/>
                  <a:gd name="connsiteX71" fmla="*/ 345747 w 338469"/>
                  <a:gd name="connsiteY71" fmla="*/ 61493 h 135387"/>
                  <a:gd name="connsiteX72" fmla="*/ 346198 w 338469"/>
                  <a:gd name="connsiteY72" fmla="*/ 65103 h 135387"/>
                  <a:gd name="connsiteX73" fmla="*/ 344619 w 338469"/>
                  <a:gd name="connsiteY73" fmla="*/ 68939 h 135387"/>
                  <a:gd name="connsiteX74" fmla="*/ 345070 w 338469"/>
                  <a:gd name="connsiteY74" fmla="*/ 80447 h 135387"/>
                  <a:gd name="connsiteX75" fmla="*/ 348229 w 338469"/>
                  <a:gd name="connsiteY75" fmla="*/ 82478 h 135387"/>
                  <a:gd name="connsiteX76" fmla="*/ 356578 w 338469"/>
                  <a:gd name="connsiteY76" fmla="*/ 92858 h 135387"/>
                  <a:gd name="connsiteX77" fmla="*/ 358609 w 338469"/>
                  <a:gd name="connsiteY77" fmla="*/ 104591 h 135387"/>
                  <a:gd name="connsiteX78" fmla="*/ 357706 w 338469"/>
                  <a:gd name="connsiteY78" fmla="*/ 109104 h 135387"/>
                  <a:gd name="connsiteX79" fmla="*/ 348003 w 338469"/>
                  <a:gd name="connsiteY79" fmla="*/ 121740 h 135387"/>
                  <a:gd name="connsiteX80" fmla="*/ 345973 w 338469"/>
                  <a:gd name="connsiteY80" fmla="*/ 122869 h 135387"/>
                  <a:gd name="connsiteX81" fmla="*/ 344167 w 338469"/>
                  <a:gd name="connsiteY81" fmla="*/ 124222 h 135387"/>
                  <a:gd name="connsiteX82" fmla="*/ 341008 w 338469"/>
                  <a:gd name="connsiteY82" fmla="*/ 127381 h 135387"/>
                  <a:gd name="connsiteX83" fmla="*/ 333562 w 338469"/>
                  <a:gd name="connsiteY83" fmla="*/ 131443 h 135387"/>
                  <a:gd name="connsiteX84" fmla="*/ 324085 w 338469"/>
                  <a:gd name="connsiteY84" fmla="*/ 136407 h 135387"/>
                  <a:gd name="connsiteX85" fmla="*/ 322957 w 338469"/>
                  <a:gd name="connsiteY85" fmla="*/ 137084 h 135387"/>
                  <a:gd name="connsiteX86" fmla="*/ 321829 w 338469"/>
                  <a:gd name="connsiteY86" fmla="*/ 136407 h 135387"/>
                  <a:gd name="connsiteX87" fmla="*/ 315059 w 338469"/>
                  <a:gd name="connsiteY87" fmla="*/ 136182 h 135387"/>
                  <a:gd name="connsiteX88" fmla="*/ 311449 w 338469"/>
                  <a:gd name="connsiteY88" fmla="*/ 136407 h 135387"/>
                  <a:gd name="connsiteX89" fmla="*/ 294977 w 338469"/>
                  <a:gd name="connsiteY89" fmla="*/ 131669 h 135387"/>
                  <a:gd name="connsiteX90" fmla="*/ 291818 w 338469"/>
                  <a:gd name="connsiteY90" fmla="*/ 129412 h 135387"/>
                  <a:gd name="connsiteX91" fmla="*/ 281664 w 338469"/>
                  <a:gd name="connsiteY91" fmla="*/ 124899 h 135387"/>
                  <a:gd name="connsiteX92" fmla="*/ 274217 w 338469"/>
                  <a:gd name="connsiteY92" fmla="*/ 122869 h 135387"/>
                  <a:gd name="connsiteX93" fmla="*/ 265417 w 338469"/>
                  <a:gd name="connsiteY93" fmla="*/ 123546 h 135387"/>
                  <a:gd name="connsiteX94" fmla="*/ 244432 w 338469"/>
                  <a:gd name="connsiteY94" fmla="*/ 132797 h 135387"/>
                  <a:gd name="connsiteX95" fmla="*/ 235857 w 338469"/>
                  <a:gd name="connsiteY95" fmla="*/ 133925 h 135387"/>
                  <a:gd name="connsiteX96" fmla="*/ 228185 w 338469"/>
                  <a:gd name="connsiteY96" fmla="*/ 134151 h 135387"/>
                  <a:gd name="connsiteX97" fmla="*/ 218031 w 338469"/>
                  <a:gd name="connsiteY97" fmla="*/ 133248 h 135387"/>
                  <a:gd name="connsiteX98" fmla="*/ 217129 w 338469"/>
                  <a:gd name="connsiteY98" fmla="*/ 133248 h 135387"/>
                  <a:gd name="connsiteX99" fmla="*/ 201333 w 338469"/>
                  <a:gd name="connsiteY99" fmla="*/ 131895 h 135387"/>
                  <a:gd name="connsiteX100" fmla="*/ 199754 w 338469"/>
                  <a:gd name="connsiteY100" fmla="*/ 131217 h 135387"/>
                  <a:gd name="connsiteX101" fmla="*/ 183056 w 338469"/>
                  <a:gd name="connsiteY101" fmla="*/ 127381 h 135387"/>
                  <a:gd name="connsiteX102" fmla="*/ 177866 w 338469"/>
                  <a:gd name="connsiteY102" fmla="*/ 127156 h 135387"/>
                  <a:gd name="connsiteX103" fmla="*/ 162297 w 338469"/>
                  <a:gd name="connsiteY103" fmla="*/ 127607 h 135387"/>
                  <a:gd name="connsiteX104" fmla="*/ 159589 w 338469"/>
                  <a:gd name="connsiteY104" fmla="*/ 128961 h 135387"/>
                  <a:gd name="connsiteX105" fmla="*/ 153722 w 338469"/>
                  <a:gd name="connsiteY105" fmla="*/ 131669 h 135387"/>
                  <a:gd name="connsiteX106" fmla="*/ 150112 w 338469"/>
                  <a:gd name="connsiteY106" fmla="*/ 133248 h 135387"/>
                  <a:gd name="connsiteX107" fmla="*/ 134994 w 338469"/>
                  <a:gd name="connsiteY107" fmla="*/ 134377 h 135387"/>
                  <a:gd name="connsiteX108" fmla="*/ 106337 w 338469"/>
                  <a:gd name="connsiteY108" fmla="*/ 132571 h 135387"/>
                  <a:gd name="connsiteX109" fmla="*/ 102500 w 338469"/>
                  <a:gd name="connsiteY109" fmla="*/ 134151 h 135387"/>
                  <a:gd name="connsiteX110" fmla="*/ 90993 w 338469"/>
                  <a:gd name="connsiteY110" fmla="*/ 138889 h 135387"/>
                  <a:gd name="connsiteX111" fmla="*/ 87834 w 338469"/>
                  <a:gd name="connsiteY111" fmla="*/ 140018 h 135387"/>
                  <a:gd name="connsiteX112" fmla="*/ 73392 w 338469"/>
                  <a:gd name="connsiteY112" fmla="*/ 142049 h 135387"/>
                  <a:gd name="connsiteX113" fmla="*/ 31422 w 338469"/>
                  <a:gd name="connsiteY113" fmla="*/ 125576 h 135387"/>
                  <a:gd name="connsiteX114" fmla="*/ 37514 w 338469"/>
                  <a:gd name="connsiteY114" fmla="*/ 128510 h 135387"/>
                  <a:gd name="connsiteX115" fmla="*/ 44058 w 338469"/>
                  <a:gd name="connsiteY115" fmla="*/ 130766 h 135387"/>
                  <a:gd name="connsiteX116" fmla="*/ 60756 w 338469"/>
                  <a:gd name="connsiteY116" fmla="*/ 134377 h 135387"/>
                  <a:gd name="connsiteX117" fmla="*/ 65946 w 338469"/>
                  <a:gd name="connsiteY117" fmla="*/ 136633 h 135387"/>
                  <a:gd name="connsiteX118" fmla="*/ 86931 w 338469"/>
                  <a:gd name="connsiteY118" fmla="*/ 135054 h 135387"/>
                  <a:gd name="connsiteX119" fmla="*/ 90090 w 338469"/>
                  <a:gd name="connsiteY119" fmla="*/ 133925 h 135387"/>
                  <a:gd name="connsiteX120" fmla="*/ 100470 w 338469"/>
                  <a:gd name="connsiteY120" fmla="*/ 129638 h 135387"/>
                  <a:gd name="connsiteX121" fmla="*/ 105434 w 338469"/>
                  <a:gd name="connsiteY121" fmla="*/ 127381 h 135387"/>
                  <a:gd name="connsiteX122" fmla="*/ 136122 w 338469"/>
                  <a:gd name="connsiteY122" fmla="*/ 129187 h 135387"/>
                  <a:gd name="connsiteX123" fmla="*/ 148758 w 338469"/>
                  <a:gd name="connsiteY123" fmla="*/ 128284 h 135387"/>
                  <a:gd name="connsiteX124" fmla="*/ 152820 w 338469"/>
                  <a:gd name="connsiteY124" fmla="*/ 126705 h 135387"/>
                  <a:gd name="connsiteX125" fmla="*/ 157784 w 338469"/>
                  <a:gd name="connsiteY125" fmla="*/ 124448 h 135387"/>
                  <a:gd name="connsiteX126" fmla="*/ 161169 w 338469"/>
                  <a:gd name="connsiteY126" fmla="*/ 122643 h 135387"/>
                  <a:gd name="connsiteX127" fmla="*/ 178543 w 338469"/>
                  <a:gd name="connsiteY127" fmla="*/ 121966 h 135387"/>
                  <a:gd name="connsiteX128" fmla="*/ 183733 w 338469"/>
                  <a:gd name="connsiteY128" fmla="*/ 122192 h 135387"/>
                  <a:gd name="connsiteX129" fmla="*/ 201785 w 338469"/>
                  <a:gd name="connsiteY129" fmla="*/ 126479 h 135387"/>
                  <a:gd name="connsiteX130" fmla="*/ 203364 w 338469"/>
                  <a:gd name="connsiteY130" fmla="*/ 127156 h 135387"/>
                  <a:gd name="connsiteX131" fmla="*/ 217354 w 338469"/>
                  <a:gd name="connsiteY131" fmla="*/ 128284 h 135387"/>
                  <a:gd name="connsiteX132" fmla="*/ 218257 w 338469"/>
                  <a:gd name="connsiteY132" fmla="*/ 128284 h 135387"/>
                  <a:gd name="connsiteX133" fmla="*/ 229539 w 338469"/>
                  <a:gd name="connsiteY133" fmla="*/ 129187 h 135387"/>
                  <a:gd name="connsiteX134" fmla="*/ 234503 w 338469"/>
                  <a:gd name="connsiteY134" fmla="*/ 129412 h 135387"/>
                  <a:gd name="connsiteX135" fmla="*/ 245786 w 338469"/>
                  <a:gd name="connsiteY135" fmla="*/ 127833 h 135387"/>
                  <a:gd name="connsiteX136" fmla="*/ 263386 w 338469"/>
                  <a:gd name="connsiteY136" fmla="*/ 119258 h 135387"/>
                  <a:gd name="connsiteX137" fmla="*/ 276023 w 338469"/>
                  <a:gd name="connsiteY137" fmla="*/ 118130 h 135387"/>
                  <a:gd name="connsiteX138" fmla="*/ 281889 w 338469"/>
                  <a:gd name="connsiteY138" fmla="*/ 119710 h 135387"/>
                  <a:gd name="connsiteX139" fmla="*/ 294300 w 338469"/>
                  <a:gd name="connsiteY139" fmla="*/ 125125 h 135387"/>
                  <a:gd name="connsiteX140" fmla="*/ 296782 w 338469"/>
                  <a:gd name="connsiteY140" fmla="*/ 126930 h 135387"/>
                  <a:gd name="connsiteX141" fmla="*/ 311449 w 338469"/>
                  <a:gd name="connsiteY141" fmla="*/ 131217 h 135387"/>
                  <a:gd name="connsiteX142" fmla="*/ 314833 w 338469"/>
                  <a:gd name="connsiteY142" fmla="*/ 130992 h 135387"/>
                  <a:gd name="connsiteX143" fmla="*/ 322731 w 338469"/>
                  <a:gd name="connsiteY143" fmla="*/ 131217 h 135387"/>
                  <a:gd name="connsiteX144" fmla="*/ 332208 w 338469"/>
                  <a:gd name="connsiteY144" fmla="*/ 126479 h 135387"/>
                  <a:gd name="connsiteX145" fmla="*/ 338526 w 338469"/>
                  <a:gd name="connsiteY145" fmla="*/ 123094 h 135387"/>
                  <a:gd name="connsiteX146" fmla="*/ 341685 w 338469"/>
                  <a:gd name="connsiteY146" fmla="*/ 120161 h 135387"/>
                  <a:gd name="connsiteX147" fmla="*/ 344619 w 338469"/>
                  <a:gd name="connsiteY147" fmla="*/ 118130 h 135387"/>
                  <a:gd name="connsiteX148" fmla="*/ 346650 w 338469"/>
                  <a:gd name="connsiteY148" fmla="*/ 117002 h 135387"/>
                  <a:gd name="connsiteX149" fmla="*/ 354321 w 338469"/>
                  <a:gd name="connsiteY149" fmla="*/ 107073 h 135387"/>
                  <a:gd name="connsiteX150" fmla="*/ 355224 w 338469"/>
                  <a:gd name="connsiteY150" fmla="*/ 102335 h 135387"/>
                  <a:gd name="connsiteX151" fmla="*/ 353419 w 338469"/>
                  <a:gd name="connsiteY151" fmla="*/ 93083 h 135387"/>
                  <a:gd name="connsiteX152" fmla="*/ 346424 w 338469"/>
                  <a:gd name="connsiteY152" fmla="*/ 84283 h 135387"/>
                  <a:gd name="connsiteX153" fmla="*/ 343265 w 338469"/>
                  <a:gd name="connsiteY153" fmla="*/ 82252 h 135387"/>
                  <a:gd name="connsiteX154" fmla="*/ 341685 w 338469"/>
                  <a:gd name="connsiteY154" fmla="*/ 66006 h 135387"/>
                  <a:gd name="connsiteX155" fmla="*/ 343039 w 338469"/>
                  <a:gd name="connsiteY155" fmla="*/ 62621 h 135387"/>
                  <a:gd name="connsiteX156" fmla="*/ 333111 w 338469"/>
                  <a:gd name="connsiteY156" fmla="*/ 60365 h 135387"/>
                  <a:gd name="connsiteX157" fmla="*/ 327921 w 338469"/>
                  <a:gd name="connsiteY157" fmla="*/ 59913 h 135387"/>
                  <a:gd name="connsiteX158" fmla="*/ 321829 w 338469"/>
                  <a:gd name="connsiteY158" fmla="*/ 54723 h 135387"/>
                  <a:gd name="connsiteX159" fmla="*/ 316413 w 338469"/>
                  <a:gd name="connsiteY159" fmla="*/ 45923 h 135387"/>
                  <a:gd name="connsiteX160" fmla="*/ 293397 w 338469"/>
                  <a:gd name="connsiteY160" fmla="*/ 47503 h 135387"/>
                  <a:gd name="connsiteX161" fmla="*/ 289787 w 338469"/>
                  <a:gd name="connsiteY161" fmla="*/ 49082 h 135387"/>
                  <a:gd name="connsiteX162" fmla="*/ 281438 w 338469"/>
                  <a:gd name="connsiteY162" fmla="*/ 46826 h 135387"/>
                  <a:gd name="connsiteX163" fmla="*/ 278279 w 338469"/>
                  <a:gd name="connsiteY163" fmla="*/ 38703 h 135387"/>
                  <a:gd name="connsiteX164" fmla="*/ 279407 w 338469"/>
                  <a:gd name="connsiteY164" fmla="*/ 17717 h 135387"/>
                  <a:gd name="connsiteX165" fmla="*/ 282792 w 338469"/>
                  <a:gd name="connsiteY165" fmla="*/ 5533 h 135387"/>
                  <a:gd name="connsiteX166" fmla="*/ 284597 w 338469"/>
                  <a:gd name="connsiteY166" fmla="*/ 3502 h 135387"/>
                  <a:gd name="connsiteX167" fmla="*/ 268802 w 338469"/>
                  <a:gd name="connsiteY167" fmla="*/ 3502 h 135387"/>
                  <a:gd name="connsiteX168" fmla="*/ 266997 w 338469"/>
                  <a:gd name="connsiteY168" fmla="*/ 3953 h 135387"/>
                  <a:gd name="connsiteX169" fmla="*/ 246237 w 338469"/>
                  <a:gd name="connsiteY169" fmla="*/ 4856 h 135387"/>
                  <a:gd name="connsiteX170" fmla="*/ 236986 w 338469"/>
                  <a:gd name="connsiteY170" fmla="*/ 4404 h 135387"/>
                  <a:gd name="connsiteX171" fmla="*/ 231796 w 338469"/>
                  <a:gd name="connsiteY171" fmla="*/ 8692 h 135387"/>
                  <a:gd name="connsiteX172" fmla="*/ 222770 w 338469"/>
                  <a:gd name="connsiteY172" fmla="*/ 16138 h 135387"/>
                  <a:gd name="connsiteX173" fmla="*/ 216452 w 338469"/>
                  <a:gd name="connsiteY173" fmla="*/ 13882 h 135387"/>
                  <a:gd name="connsiteX174" fmla="*/ 204718 w 338469"/>
                  <a:gd name="connsiteY174" fmla="*/ 14784 h 135387"/>
                  <a:gd name="connsiteX175" fmla="*/ 202913 w 338469"/>
                  <a:gd name="connsiteY175" fmla="*/ 20200 h 135387"/>
                  <a:gd name="connsiteX176" fmla="*/ 200431 w 338469"/>
                  <a:gd name="connsiteY176" fmla="*/ 28774 h 135387"/>
                  <a:gd name="connsiteX177" fmla="*/ 198851 w 338469"/>
                  <a:gd name="connsiteY177" fmla="*/ 31933 h 135387"/>
                  <a:gd name="connsiteX178" fmla="*/ 189600 w 338469"/>
                  <a:gd name="connsiteY178" fmla="*/ 36897 h 135387"/>
                  <a:gd name="connsiteX179" fmla="*/ 181702 w 338469"/>
                  <a:gd name="connsiteY179" fmla="*/ 39154 h 135387"/>
                  <a:gd name="connsiteX180" fmla="*/ 177415 w 338469"/>
                  <a:gd name="connsiteY180" fmla="*/ 41185 h 135387"/>
                  <a:gd name="connsiteX181" fmla="*/ 173805 w 338469"/>
                  <a:gd name="connsiteY181" fmla="*/ 46826 h 135387"/>
                  <a:gd name="connsiteX182" fmla="*/ 171097 w 338469"/>
                  <a:gd name="connsiteY182" fmla="*/ 52693 h 135387"/>
                  <a:gd name="connsiteX183" fmla="*/ 165907 w 338469"/>
                  <a:gd name="connsiteY183" fmla="*/ 56529 h 135387"/>
                  <a:gd name="connsiteX184" fmla="*/ 165907 w 338469"/>
                  <a:gd name="connsiteY184" fmla="*/ 56529 h 135387"/>
                  <a:gd name="connsiteX185" fmla="*/ 159589 w 338469"/>
                  <a:gd name="connsiteY185" fmla="*/ 51339 h 135387"/>
                  <a:gd name="connsiteX186" fmla="*/ 155076 w 338469"/>
                  <a:gd name="connsiteY186" fmla="*/ 41185 h 135387"/>
                  <a:gd name="connsiteX187" fmla="*/ 154399 w 338469"/>
                  <a:gd name="connsiteY187" fmla="*/ 38928 h 135387"/>
                  <a:gd name="connsiteX188" fmla="*/ 146953 w 338469"/>
                  <a:gd name="connsiteY188" fmla="*/ 41636 h 135387"/>
                  <a:gd name="connsiteX189" fmla="*/ 138604 w 338469"/>
                  <a:gd name="connsiteY189" fmla="*/ 38703 h 135387"/>
                  <a:gd name="connsiteX190" fmla="*/ 121681 w 338469"/>
                  <a:gd name="connsiteY190" fmla="*/ 34641 h 135387"/>
                  <a:gd name="connsiteX191" fmla="*/ 108593 w 338469"/>
                  <a:gd name="connsiteY191" fmla="*/ 35318 h 135387"/>
                  <a:gd name="connsiteX192" fmla="*/ 101598 w 338469"/>
                  <a:gd name="connsiteY192" fmla="*/ 34190 h 135387"/>
                  <a:gd name="connsiteX193" fmla="*/ 88511 w 338469"/>
                  <a:gd name="connsiteY193" fmla="*/ 37349 h 135387"/>
                  <a:gd name="connsiteX194" fmla="*/ 80838 w 338469"/>
                  <a:gd name="connsiteY194" fmla="*/ 40282 h 135387"/>
                  <a:gd name="connsiteX195" fmla="*/ 76551 w 338469"/>
                  <a:gd name="connsiteY195" fmla="*/ 38928 h 135387"/>
                  <a:gd name="connsiteX196" fmla="*/ 75197 w 338469"/>
                  <a:gd name="connsiteY196" fmla="*/ 32610 h 135387"/>
                  <a:gd name="connsiteX197" fmla="*/ 74746 w 338469"/>
                  <a:gd name="connsiteY197" fmla="*/ 27872 h 135387"/>
                  <a:gd name="connsiteX198" fmla="*/ 66171 w 338469"/>
                  <a:gd name="connsiteY198" fmla="*/ 28097 h 135387"/>
                  <a:gd name="connsiteX199" fmla="*/ 58048 w 338469"/>
                  <a:gd name="connsiteY199" fmla="*/ 29225 h 135387"/>
                  <a:gd name="connsiteX200" fmla="*/ 49699 w 338469"/>
                  <a:gd name="connsiteY200" fmla="*/ 31708 h 135387"/>
                  <a:gd name="connsiteX201" fmla="*/ 38643 w 338469"/>
                  <a:gd name="connsiteY201" fmla="*/ 35318 h 135387"/>
                  <a:gd name="connsiteX202" fmla="*/ 25781 w 338469"/>
                  <a:gd name="connsiteY202" fmla="*/ 44118 h 135387"/>
                  <a:gd name="connsiteX203" fmla="*/ 12242 w 338469"/>
                  <a:gd name="connsiteY203" fmla="*/ 60816 h 135387"/>
                  <a:gd name="connsiteX204" fmla="*/ 9760 w 338469"/>
                  <a:gd name="connsiteY204" fmla="*/ 63524 h 135387"/>
                  <a:gd name="connsiteX205" fmla="*/ 11791 w 338469"/>
                  <a:gd name="connsiteY205" fmla="*/ 66908 h 135387"/>
                  <a:gd name="connsiteX206" fmla="*/ 13822 w 338469"/>
                  <a:gd name="connsiteY206" fmla="*/ 69616 h 135387"/>
                  <a:gd name="connsiteX207" fmla="*/ 14273 w 338469"/>
                  <a:gd name="connsiteY207" fmla="*/ 70293 h 135387"/>
                  <a:gd name="connsiteX208" fmla="*/ 18335 w 338469"/>
                  <a:gd name="connsiteY208" fmla="*/ 79996 h 135387"/>
                  <a:gd name="connsiteX209" fmla="*/ 16078 w 338469"/>
                  <a:gd name="connsiteY209" fmla="*/ 86088 h 135387"/>
                  <a:gd name="connsiteX210" fmla="*/ 7503 w 338469"/>
                  <a:gd name="connsiteY210" fmla="*/ 88570 h 135387"/>
                  <a:gd name="connsiteX211" fmla="*/ 6375 w 338469"/>
                  <a:gd name="connsiteY211" fmla="*/ 101432 h 135387"/>
                  <a:gd name="connsiteX212" fmla="*/ 5924 w 338469"/>
                  <a:gd name="connsiteY212" fmla="*/ 102560 h 135387"/>
                  <a:gd name="connsiteX213" fmla="*/ 3893 w 338469"/>
                  <a:gd name="connsiteY213" fmla="*/ 115422 h 135387"/>
                  <a:gd name="connsiteX214" fmla="*/ 9309 w 338469"/>
                  <a:gd name="connsiteY214" fmla="*/ 123771 h 135387"/>
                  <a:gd name="connsiteX215" fmla="*/ 13145 w 338469"/>
                  <a:gd name="connsiteY215" fmla="*/ 124222 h 135387"/>
                  <a:gd name="connsiteX216" fmla="*/ 29165 w 338469"/>
                  <a:gd name="connsiteY216" fmla="*/ 125351 h 135387"/>
                  <a:gd name="connsiteX217" fmla="*/ 31422 w 338469"/>
                  <a:gd name="connsiteY217" fmla="*/ 125576 h 135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</a:cxnLst>
                <a:rect l="l" t="t" r="r" b="b"/>
                <a:pathLst>
                  <a:path w="338469" h="135387">
                    <a:moveTo>
                      <a:pt x="73392" y="142049"/>
                    </a:moveTo>
                    <a:cubicBezTo>
                      <a:pt x="70684" y="142049"/>
                      <a:pt x="68202" y="141372"/>
                      <a:pt x="64592" y="140018"/>
                    </a:cubicBezTo>
                    <a:cubicBezTo>
                      <a:pt x="62335" y="139115"/>
                      <a:pt x="60756" y="138438"/>
                      <a:pt x="59176" y="137761"/>
                    </a:cubicBezTo>
                    <a:cubicBezTo>
                      <a:pt x="54889" y="135730"/>
                      <a:pt x="52181" y="134602"/>
                      <a:pt x="44058" y="134602"/>
                    </a:cubicBezTo>
                    <a:cubicBezTo>
                      <a:pt x="37740" y="134602"/>
                      <a:pt x="35935" y="132797"/>
                      <a:pt x="34355" y="130766"/>
                    </a:cubicBezTo>
                    <a:cubicBezTo>
                      <a:pt x="33453" y="129638"/>
                      <a:pt x="33002" y="129187"/>
                      <a:pt x="29843" y="129412"/>
                    </a:cubicBezTo>
                    <a:cubicBezTo>
                      <a:pt x="23073" y="130089"/>
                      <a:pt x="16981" y="128961"/>
                      <a:pt x="12919" y="128284"/>
                    </a:cubicBezTo>
                    <a:cubicBezTo>
                      <a:pt x="11565" y="128058"/>
                      <a:pt x="10211" y="127833"/>
                      <a:pt x="9534" y="127833"/>
                    </a:cubicBezTo>
                    <a:cubicBezTo>
                      <a:pt x="5924" y="127833"/>
                      <a:pt x="2314" y="123320"/>
                      <a:pt x="508" y="116776"/>
                    </a:cubicBezTo>
                    <a:cubicBezTo>
                      <a:pt x="-1071" y="110909"/>
                      <a:pt x="1411" y="104591"/>
                      <a:pt x="2765" y="101658"/>
                    </a:cubicBezTo>
                    <a:lnTo>
                      <a:pt x="3216" y="100755"/>
                    </a:lnTo>
                    <a:cubicBezTo>
                      <a:pt x="4119" y="98273"/>
                      <a:pt x="4796" y="90827"/>
                      <a:pt x="3893" y="88796"/>
                    </a:cubicBezTo>
                    <a:cubicBezTo>
                      <a:pt x="3668" y="88570"/>
                      <a:pt x="3668" y="88119"/>
                      <a:pt x="3668" y="88119"/>
                    </a:cubicBezTo>
                    <a:lnTo>
                      <a:pt x="3216" y="86088"/>
                    </a:lnTo>
                    <a:lnTo>
                      <a:pt x="5247" y="85637"/>
                    </a:lnTo>
                    <a:cubicBezTo>
                      <a:pt x="5924" y="85637"/>
                      <a:pt x="6375" y="85637"/>
                      <a:pt x="7052" y="85637"/>
                    </a:cubicBezTo>
                    <a:cubicBezTo>
                      <a:pt x="10437" y="85863"/>
                      <a:pt x="12693" y="85411"/>
                      <a:pt x="13822" y="84283"/>
                    </a:cubicBezTo>
                    <a:cubicBezTo>
                      <a:pt x="14499" y="83606"/>
                      <a:pt x="14950" y="82478"/>
                      <a:pt x="14950" y="81124"/>
                    </a:cubicBezTo>
                    <a:cubicBezTo>
                      <a:pt x="14950" y="79093"/>
                      <a:pt x="13370" y="76611"/>
                      <a:pt x="11339" y="73452"/>
                    </a:cubicBezTo>
                    <a:lnTo>
                      <a:pt x="10888" y="72775"/>
                    </a:lnTo>
                    <a:cubicBezTo>
                      <a:pt x="10437" y="72098"/>
                      <a:pt x="9760" y="71196"/>
                      <a:pt x="9083" y="70519"/>
                    </a:cubicBezTo>
                    <a:cubicBezTo>
                      <a:pt x="7503" y="68714"/>
                      <a:pt x="5924" y="66683"/>
                      <a:pt x="6150" y="64201"/>
                    </a:cubicBezTo>
                    <a:cubicBezTo>
                      <a:pt x="6375" y="62170"/>
                      <a:pt x="7729" y="60590"/>
                      <a:pt x="10437" y="58785"/>
                    </a:cubicBezTo>
                    <a:cubicBezTo>
                      <a:pt x="17432" y="54047"/>
                      <a:pt x="21042" y="49759"/>
                      <a:pt x="22396" y="44344"/>
                    </a:cubicBezTo>
                    <a:cubicBezTo>
                      <a:pt x="23976" y="37349"/>
                      <a:pt x="29391" y="33513"/>
                      <a:pt x="38643" y="32610"/>
                    </a:cubicBezTo>
                    <a:cubicBezTo>
                      <a:pt x="42479" y="32159"/>
                      <a:pt x="45638" y="30805"/>
                      <a:pt x="48571" y="29451"/>
                    </a:cubicBezTo>
                    <a:cubicBezTo>
                      <a:pt x="51730" y="27872"/>
                      <a:pt x="54889" y="26518"/>
                      <a:pt x="58500" y="26518"/>
                    </a:cubicBezTo>
                    <a:cubicBezTo>
                      <a:pt x="60530" y="26518"/>
                      <a:pt x="63238" y="25841"/>
                      <a:pt x="65720" y="25390"/>
                    </a:cubicBezTo>
                    <a:cubicBezTo>
                      <a:pt x="70910" y="24261"/>
                      <a:pt x="76326" y="23133"/>
                      <a:pt x="78356" y="26969"/>
                    </a:cubicBezTo>
                    <a:cubicBezTo>
                      <a:pt x="79485" y="29000"/>
                      <a:pt x="79259" y="31482"/>
                      <a:pt x="79259" y="33738"/>
                    </a:cubicBezTo>
                    <a:cubicBezTo>
                      <a:pt x="79259" y="34867"/>
                      <a:pt x="79033" y="36672"/>
                      <a:pt x="79485" y="37123"/>
                    </a:cubicBezTo>
                    <a:cubicBezTo>
                      <a:pt x="79485" y="37123"/>
                      <a:pt x="79936" y="37349"/>
                      <a:pt x="80838" y="37349"/>
                    </a:cubicBezTo>
                    <a:cubicBezTo>
                      <a:pt x="83095" y="37123"/>
                      <a:pt x="84900" y="36220"/>
                      <a:pt x="86931" y="34867"/>
                    </a:cubicBezTo>
                    <a:cubicBezTo>
                      <a:pt x="90541" y="32836"/>
                      <a:pt x="94829" y="30354"/>
                      <a:pt x="102275" y="31256"/>
                    </a:cubicBezTo>
                    <a:cubicBezTo>
                      <a:pt x="105434" y="31708"/>
                      <a:pt x="107690" y="31933"/>
                      <a:pt x="109496" y="32385"/>
                    </a:cubicBezTo>
                    <a:cubicBezTo>
                      <a:pt x="114234" y="33287"/>
                      <a:pt x="115814" y="33513"/>
                      <a:pt x="120778" y="31933"/>
                    </a:cubicBezTo>
                    <a:cubicBezTo>
                      <a:pt x="129352" y="29225"/>
                      <a:pt x="137701" y="32836"/>
                      <a:pt x="141537" y="37123"/>
                    </a:cubicBezTo>
                    <a:cubicBezTo>
                      <a:pt x="142891" y="38703"/>
                      <a:pt x="145373" y="38928"/>
                      <a:pt x="146727" y="38703"/>
                    </a:cubicBezTo>
                    <a:cubicBezTo>
                      <a:pt x="149661" y="38477"/>
                      <a:pt x="152143" y="37123"/>
                      <a:pt x="152594" y="36220"/>
                    </a:cubicBezTo>
                    <a:cubicBezTo>
                      <a:pt x="153497" y="34867"/>
                      <a:pt x="154625" y="34867"/>
                      <a:pt x="155076" y="34867"/>
                    </a:cubicBezTo>
                    <a:cubicBezTo>
                      <a:pt x="156881" y="35092"/>
                      <a:pt x="157558" y="37123"/>
                      <a:pt x="158686" y="40733"/>
                    </a:cubicBezTo>
                    <a:cubicBezTo>
                      <a:pt x="159589" y="43667"/>
                      <a:pt x="160943" y="47277"/>
                      <a:pt x="162748" y="49759"/>
                    </a:cubicBezTo>
                    <a:cubicBezTo>
                      <a:pt x="165230" y="53144"/>
                      <a:pt x="165907" y="53370"/>
                      <a:pt x="166133" y="53370"/>
                    </a:cubicBezTo>
                    <a:cubicBezTo>
                      <a:pt x="166358" y="53370"/>
                      <a:pt x="166810" y="52918"/>
                      <a:pt x="168164" y="51113"/>
                    </a:cubicBezTo>
                    <a:cubicBezTo>
                      <a:pt x="169066" y="49985"/>
                      <a:pt x="169743" y="48180"/>
                      <a:pt x="170194" y="46375"/>
                    </a:cubicBezTo>
                    <a:cubicBezTo>
                      <a:pt x="171323" y="42764"/>
                      <a:pt x="172676" y="38703"/>
                      <a:pt x="176964" y="38251"/>
                    </a:cubicBezTo>
                    <a:cubicBezTo>
                      <a:pt x="178092" y="38026"/>
                      <a:pt x="178318" y="37800"/>
                      <a:pt x="178994" y="37349"/>
                    </a:cubicBezTo>
                    <a:cubicBezTo>
                      <a:pt x="180574" y="35769"/>
                      <a:pt x="182605" y="34415"/>
                      <a:pt x="189374" y="34190"/>
                    </a:cubicBezTo>
                    <a:cubicBezTo>
                      <a:pt x="194790" y="33964"/>
                      <a:pt x="194790" y="33513"/>
                      <a:pt x="195016" y="32385"/>
                    </a:cubicBezTo>
                    <a:cubicBezTo>
                      <a:pt x="195241" y="31256"/>
                      <a:pt x="195467" y="29451"/>
                      <a:pt x="197497" y="27195"/>
                    </a:cubicBezTo>
                    <a:cubicBezTo>
                      <a:pt x="199077" y="25390"/>
                      <a:pt x="199077" y="23584"/>
                      <a:pt x="199077" y="21328"/>
                    </a:cubicBezTo>
                    <a:cubicBezTo>
                      <a:pt x="199077" y="18620"/>
                      <a:pt x="199077" y="15010"/>
                      <a:pt x="202688" y="12753"/>
                    </a:cubicBezTo>
                    <a:cubicBezTo>
                      <a:pt x="209231" y="8466"/>
                      <a:pt x="215549" y="8466"/>
                      <a:pt x="219160" y="12528"/>
                    </a:cubicBezTo>
                    <a:cubicBezTo>
                      <a:pt x="219837" y="13430"/>
                      <a:pt x="220739" y="13656"/>
                      <a:pt x="222093" y="13430"/>
                    </a:cubicBezTo>
                    <a:cubicBezTo>
                      <a:pt x="224575" y="12979"/>
                      <a:pt x="227057" y="10948"/>
                      <a:pt x="228411" y="8240"/>
                    </a:cubicBezTo>
                    <a:cubicBezTo>
                      <a:pt x="229765" y="5533"/>
                      <a:pt x="232473" y="3050"/>
                      <a:pt x="235857" y="1922"/>
                    </a:cubicBezTo>
                    <a:cubicBezTo>
                      <a:pt x="239919" y="568"/>
                      <a:pt x="244206" y="794"/>
                      <a:pt x="248042" y="2599"/>
                    </a:cubicBezTo>
                    <a:cubicBezTo>
                      <a:pt x="253232" y="5307"/>
                      <a:pt x="260904" y="3050"/>
                      <a:pt x="266094" y="1471"/>
                    </a:cubicBezTo>
                    <a:lnTo>
                      <a:pt x="267899" y="1020"/>
                    </a:lnTo>
                    <a:cubicBezTo>
                      <a:pt x="271735" y="-109"/>
                      <a:pt x="285048" y="-1011"/>
                      <a:pt x="287982" y="2374"/>
                    </a:cubicBezTo>
                    <a:cubicBezTo>
                      <a:pt x="288659" y="3276"/>
                      <a:pt x="288884" y="4404"/>
                      <a:pt x="288433" y="5533"/>
                    </a:cubicBezTo>
                    <a:cubicBezTo>
                      <a:pt x="287982" y="6887"/>
                      <a:pt x="286854" y="8015"/>
                      <a:pt x="285500" y="9369"/>
                    </a:cubicBezTo>
                    <a:cubicBezTo>
                      <a:pt x="282792" y="12302"/>
                      <a:pt x="280986" y="14558"/>
                      <a:pt x="282566" y="17041"/>
                    </a:cubicBezTo>
                    <a:cubicBezTo>
                      <a:pt x="286854" y="24261"/>
                      <a:pt x="281889" y="40959"/>
                      <a:pt x="281889" y="41185"/>
                    </a:cubicBezTo>
                    <a:cubicBezTo>
                      <a:pt x="281664" y="41862"/>
                      <a:pt x="282341" y="43893"/>
                      <a:pt x="283920" y="45472"/>
                    </a:cubicBezTo>
                    <a:cubicBezTo>
                      <a:pt x="284823" y="46375"/>
                      <a:pt x="286402" y="47503"/>
                      <a:pt x="288207" y="46826"/>
                    </a:cubicBezTo>
                    <a:cubicBezTo>
                      <a:pt x="289110" y="46600"/>
                      <a:pt x="290238" y="45923"/>
                      <a:pt x="291592" y="45246"/>
                    </a:cubicBezTo>
                    <a:cubicBezTo>
                      <a:pt x="298136" y="42087"/>
                      <a:pt x="310546" y="35995"/>
                      <a:pt x="318895" y="44344"/>
                    </a:cubicBezTo>
                    <a:cubicBezTo>
                      <a:pt x="323634" y="49082"/>
                      <a:pt x="324536" y="52693"/>
                      <a:pt x="325213" y="54949"/>
                    </a:cubicBezTo>
                    <a:cubicBezTo>
                      <a:pt x="325665" y="56980"/>
                      <a:pt x="325890" y="57206"/>
                      <a:pt x="328147" y="57431"/>
                    </a:cubicBezTo>
                    <a:cubicBezTo>
                      <a:pt x="329726" y="57657"/>
                      <a:pt x="331306" y="57657"/>
                      <a:pt x="333111" y="57882"/>
                    </a:cubicBezTo>
                    <a:cubicBezTo>
                      <a:pt x="338978" y="58334"/>
                      <a:pt x="343942" y="58785"/>
                      <a:pt x="345747" y="61493"/>
                    </a:cubicBezTo>
                    <a:cubicBezTo>
                      <a:pt x="346198" y="62170"/>
                      <a:pt x="346650" y="63298"/>
                      <a:pt x="346198" y="65103"/>
                    </a:cubicBezTo>
                    <a:cubicBezTo>
                      <a:pt x="345747" y="66231"/>
                      <a:pt x="345296" y="67585"/>
                      <a:pt x="344619" y="68939"/>
                    </a:cubicBezTo>
                    <a:cubicBezTo>
                      <a:pt x="342137" y="74129"/>
                      <a:pt x="340783" y="77514"/>
                      <a:pt x="345070" y="80447"/>
                    </a:cubicBezTo>
                    <a:cubicBezTo>
                      <a:pt x="346198" y="81350"/>
                      <a:pt x="347327" y="82027"/>
                      <a:pt x="348229" y="82478"/>
                    </a:cubicBezTo>
                    <a:cubicBezTo>
                      <a:pt x="352968" y="85637"/>
                      <a:pt x="353419" y="86088"/>
                      <a:pt x="356578" y="92858"/>
                    </a:cubicBezTo>
                    <a:cubicBezTo>
                      <a:pt x="359512" y="99176"/>
                      <a:pt x="359512" y="100078"/>
                      <a:pt x="358609" y="104591"/>
                    </a:cubicBezTo>
                    <a:cubicBezTo>
                      <a:pt x="358383" y="105719"/>
                      <a:pt x="357932" y="107073"/>
                      <a:pt x="357706" y="109104"/>
                    </a:cubicBezTo>
                    <a:cubicBezTo>
                      <a:pt x="356353" y="117679"/>
                      <a:pt x="351614" y="119935"/>
                      <a:pt x="348003" y="121740"/>
                    </a:cubicBezTo>
                    <a:lnTo>
                      <a:pt x="345973" y="122869"/>
                    </a:lnTo>
                    <a:cubicBezTo>
                      <a:pt x="344844" y="123546"/>
                      <a:pt x="344844" y="123546"/>
                      <a:pt x="344167" y="124222"/>
                    </a:cubicBezTo>
                    <a:cubicBezTo>
                      <a:pt x="343491" y="124899"/>
                      <a:pt x="342588" y="125802"/>
                      <a:pt x="341008" y="127381"/>
                    </a:cubicBezTo>
                    <a:cubicBezTo>
                      <a:pt x="338978" y="129187"/>
                      <a:pt x="336270" y="130315"/>
                      <a:pt x="333562" y="131443"/>
                    </a:cubicBezTo>
                    <a:cubicBezTo>
                      <a:pt x="330629" y="132571"/>
                      <a:pt x="327470" y="133925"/>
                      <a:pt x="324085" y="136407"/>
                    </a:cubicBezTo>
                    <a:lnTo>
                      <a:pt x="322957" y="137084"/>
                    </a:lnTo>
                    <a:lnTo>
                      <a:pt x="321829" y="136407"/>
                    </a:lnTo>
                    <a:cubicBezTo>
                      <a:pt x="320926" y="135730"/>
                      <a:pt x="317316" y="135956"/>
                      <a:pt x="315059" y="136182"/>
                    </a:cubicBezTo>
                    <a:cubicBezTo>
                      <a:pt x="313705" y="136182"/>
                      <a:pt x="312577" y="136407"/>
                      <a:pt x="311449" y="136407"/>
                    </a:cubicBezTo>
                    <a:cubicBezTo>
                      <a:pt x="306259" y="136407"/>
                      <a:pt x="298361" y="133474"/>
                      <a:pt x="294977" y="131669"/>
                    </a:cubicBezTo>
                    <a:cubicBezTo>
                      <a:pt x="293848" y="130992"/>
                      <a:pt x="292946" y="130315"/>
                      <a:pt x="291818" y="129412"/>
                    </a:cubicBezTo>
                    <a:cubicBezTo>
                      <a:pt x="289110" y="127381"/>
                      <a:pt x="286177" y="124899"/>
                      <a:pt x="281664" y="124899"/>
                    </a:cubicBezTo>
                    <a:cubicBezTo>
                      <a:pt x="278730" y="124899"/>
                      <a:pt x="276248" y="123771"/>
                      <a:pt x="274217" y="122869"/>
                    </a:cubicBezTo>
                    <a:cubicBezTo>
                      <a:pt x="271058" y="121515"/>
                      <a:pt x="269027" y="120612"/>
                      <a:pt x="265417" y="123546"/>
                    </a:cubicBezTo>
                    <a:cubicBezTo>
                      <a:pt x="258648" y="128961"/>
                      <a:pt x="249396" y="134151"/>
                      <a:pt x="244432" y="132797"/>
                    </a:cubicBezTo>
                    <a:cubicBezTo>
                      <a:pt x="241273" y="131895"/>
                      <a:pt x="239016" y="132346"/>
                      <a:pt x="235857" y="133925"/>
                    </a:cubicBezTo>
                    <a:cubicBezTo>
                      <a:pt x="233601" y="135279"/>
                      <a:pt x="231119" y="134602"/>
                      <a:pt x="228185" y="134151"/>
                    </a:cubicBezTo>
                    <a:cubicBezTo>
                      <a:pt x="225478" y="133700"/>
                      <a:pt x="222319" y="132797"/>
                      <a:pt x="218031" y="133248"/>
                    </a:cubicBezTo>
                    <a:lnTo>
                      <a:pt x="217129" y="133248"/>
                    </a:lnTo>
                    <a:cubicBezTo>
                      <a:pt x="209231" y="134151"/>
                      <a:pt x="207426" y="134377"/>
                      <a:pt x="201333" y="131895"/>
                    </a:cubicBezTo>
                    <a:lnTo>
                      <a:pt x="199754" y="131217"/>
                    </a:lnTo>
                    <a:cubicBezTo>
                      <a:pt x="194790" y="129187"/>
                      <a:pt x="191179" y="127833"/>
                      <a:pt x="183056" y="127381"/>
                    </a:cubicBezTo>
                    <a:cubicBezTo>
                      <a:pt x="181251" y="127381"/>
                      <a:pt x="179446" y="127156"/>
                      <a:pt x="177866" y="127156"/>
                    </a:cubicBezTo>
                    <a:cubicBezTo>
                      <a:pt x="171097" y="126705"/>
                      <a:pt x="165005" y="126479"/>
                      <a:pt x="162297" y="127607"/>
                    </a:cubicBezTo>
                    <a:cubicBezTo>
                      <a:pt x="160717" y="128284"/>
                      <a:pt x="160266" y="128510"/>
                      <a:pt x="159589" y="128961"/>
                    </a:cubicBezTo>
                    <a:cubicBezTo>
                      <a:pt x="158686" y="129638"/>
                      <a:pt x="157558" y="130315"/>
                      <a:pt x="153722" y="131669"/>
                    </a:cubicBezTo>
                    <a:cubicBezTo>
                      <a:pt x="152368" y="132120"/>
                      <a:pt x="151240" y="132571"/>
                      <a:pt x="150112" y="133248"/>
                    </a:cubicBezTo>
                    <a:cubicBezTo>
                      <a:pt x="146276" y="135054"/>
                      <a:pt x="142891" y="136633"/>
                      <a:pt x="134994" y="134377"/>
                    </a:cubicBezTo>
                    <a:cubicBezTo>
                      <a:pt x="125968" y="131895"/>
                      <a:pt x="113332" y="130541"/>
                      <a:pt x="106337" y="132571"/>
                    </a:cubicBezTo>
                    <a:cubicBezTo>
                      <a:pt x="103629" y="133474"/>
                      <a:pt x="103178" y="133700"/>
                      <a:pt x="102500" y="134151"/>
                    </a:cubicBezTo>
                    <a:cubicBezTo>
                      <a:pt x="101372" y="135054"/>
                      <a:pt x="100018" y="136182"/>
                      <a:pt x="90993" y="138889"/>
                    </a:cubicBezTo>
                    <a:lnTo>
                      <a:pt x="87834" y="140018"/>
                    </a:lnTo>
                    <a:cubicBezTo>
                      <a:pt x="81064" y="140695"/>
                      <a:pt x="77003" y="142049"/>
                      <a:pt x="73392" y="142049"/>
                    </a:cubicBezTo>
                    <a:close/>
                    <a:moveTo>
                      <a:pt x="31422" y="125576"/>
                    </a:moveTo>
                    <a:cubicBezTo>
                      <a:pt x="35032" y="125576"/>
                      <a:pt x="36386" y="126930"/>
                      <a:pt x="37514" y="128510"/>
                    </a:cubicBezTo>
                    <a:cubicBezTo>
                      <a:pt x="38417" y="129638"/>
                      <a:pt x="39320" y="130766"/>
                      <a:pt x="44058" y="130766"/>
                    </a:cubicBezTo>
                    <a:cubicBezTo>
                      <a:pt x="52858" y="130766"/>
                      <a:pt x="56243" y="132346"/>
                      <a:pt x="60756" y="134377"/>
                    </a:cubicBezTo>
                    <a:cubicBezTo>
                      <a:pt x="62335" y="135054"/>
                      <a:pt x="63915" y="135730"/>
                      <a:pt x="65946" y="136633"/>
                    </a:cubicBezTo>
                    <a:cubicBezTo>
                      <a:pt x="73167" y="139341"/>
                      <a:pt x="74972" y="138889"/>
                      <a:pt x="86931" y="135054"/>
                    </a:cubicBezTo>
                    <a:lnTo>
                      <a:pt x="90090" y="133925"/>
                    </a:lnTo>
                    <a:cubicBezTo>
                      <a:pt x="98439" y="131217"/>
                      <a:pt x="99567" y="130315"/>
                      <a:pt x="100470" y="129638"/>
                    </a:cubicBezTo>
                    <a:cubicBezTo>
                      <a:pt x="101372" y="128961"/>
                      <a:pt x="102275" y="128284"/>
                      <a:pt x="105434" y="127381"/>
                    </a:cubicBezTo>
                    <a:cubicBezTo>
                      <a:pt x="113332" y="125125"/>
                      <a:pt x="126870" y="126705"/>
                      <a:pt x="136122" y="129187"/>
                    </a:cubicBezTo>
                    <a:cubicBezTo>
                      <a:pt x="142666" y="130992"/>
                      <a:pt x="145148" y="129864"/>
                      <a:pt x="148758" y="128284"/>
                    </a:cubicBezTo>
                    <a:cubicBezTo>
                      <a:pt x="149886" y="127833"/>
                      <a:pt x="151240" y="127156"/>
                      <a:pt x="152820" y="126705"/>
                    </a:cubicBezTo>
                    <a:cubicBezTo>
                      <a:pt x="156204" y="125576"/>
                      <a:pt x="156881" y="125125"/>
                      <a:pt x="157784" y="124448"/>
                    </a:cubicBezTo>
                    <a:cubicBezTo>
                      <a:pt x="158461" y="123997"/>
                      <a:pt x="159363" y="123546"/>
                      <a:pt x="161169" y="122643"/>
                    </a:cubicBezTo>
                    <a:cubicBezTo>
                      <a:pt x="164779" y="121063"/>
                      <a:pt x="170871" y="121515"/>
                      <a:pt x="178543" y="121966"/>
                    </a:cubicBezTo>
                    <a:cubicBezTo>
                      <a:pt x="180123" y="121966"/>
                      <a:pt x="181928" y="122192"/>
                      <a:pt x="183733" y="122192"/>
                    </a:cubicBezTo>
                    <a:cubicBezTo>
                      <a:pt x="192533" y="122643"/>
                      <a:pt x="196595" y="124222"/>
                      <a:pt x="201785" y="126479"/>
                    </a:cubicBezTo>
                    <a:lnTo>
                      <a:pt x="203364" y="127156"/>
                    </a:lnTo>
                    <a:cubicBezTo>
                      <a:pt x="208554" y="129187"/>
                      <a:pt x="209683" y="129187"/>
                      <a:pt x="217354" y="128284"/>
                    </a:cubicBezTo>
                    <a:lnTo>
                      <a:pt x="218257" y="128284"/>
                    </a:lnTo>
                    <a:cubicBezTo>
                      <a:pt x="222996" y="127833"/>
                      <a:pt x="226606" y="128510"/>
                      <a:pt x="229539" y="129187"/>
                    </a:cubicBezTo>
                    <a:cubicBezTo>
                      <a:pt x="231796" y="129638"/>
                      <a:pt x="233601" y="130089"/>
                      <a:pt x="234503" y="129412"/>
                    </a:cubicBezTo>
                    <a:cubicBezTo>
                      <a:pt x="238339" y="127156"/>
                      <a:pt x="241724" y="126705"/>
                      <a:pt x="245786" y="127833"/>
                    </a:cubicBezTo>
                    <a:cubicBezTo>
                      <a:pt x="248268" y="128510"/>
                      <a:pt x="255714" y="125351"/>
                      <a:pt x="263386" y="119258"/>
                    </a:cubicBezTo>
                    <a:cubicBezTo>
                      <a:pt x="268802" y="114971"/>
                      <a:pt x="272638" y="116776"/>
                      <a:pt x="276023" y="118130"/>
                    </a:cubicBezTo>
                    <a:cubicBezTo>
                      <a:pt x="277827" y="119033"/>
                      <a:pt x="279633" y="119710"/>
                      <a:pt x="281889" y="119710"/>
                    </a:cubicBezTo>
                    <a:cubicBezTo>
                      <a:pt x="287756" y="119710"/>
                      <a:pt x="291592" y="122869"/>
                      <a:pt x="294300" y="125125"/>
                    </a:cubicBezTo>
                    <a:cubicBezTo>
                      <a:pt x="295202" y="126028"/>
                      <a:pt x="296105" y="126705"/>
                      <a:pt x="296782" y="126930"/>
                    </a:cubicBezTo>
                    <a:cubicBezTo>
                      <a:pt x="299941" y="128735"/>
                      <a:pt x="307162" y="131217"/>
                      <a:pt x="311449" y="131217"/>
                    </a:cubicBezTo>
                    <a:cubicBezTo>
                      <a:pt x="312577" y="131217"/>
                      <a:pt x="313705" y="131217"/>
                      <a:pt x="314833" y="130992"/>
                    </a:cubicBezTo>
                    <a:cubicBezTo>
                      <a:pt x="317767" y="130766"/>
                      <a:pt x="320700" y="130766"/>
                      <a:pt x="322731" y="131217"/>
                    </a:cubicBezTo>
                    <a:cubicBezTo>
                      <a:pt x="326116" y="128961"/>
                      <a:pt x="329275" y="127607"/>
                      <a:pt x="332208" y="126479"/>
                    </a:cubicBezTo>
                    <a:cubicBezTo>
                      <a:pt x="334690" y="125351"/>
                      <a:pt x="336947" y="124448"/>
                      <a:pt x="338526" y="123094"/>
                    </a:cubicBezTo>
                    <a:cubicBezTo>
                      <a:pt x="340106" y="121515"/>
                      <a:pt x="341008" y="120612"/>
                      <a:pt x="341685" y="120161"/>
                    </a:cubicBezTo>
                    <a:cubicBezTo>
                      <a:pt x="342814" y="119033"/>
                      <a:pt x="343039" y="119033"/>
                      <a:pt x="344619" y="118130"/>
                    </a:cubicBezTo>
                    <a:lnTo>
                      <a:pt x="346650" y="117002"/>
                    </a:lnTo>
                    <a:cubicBezTo>
                      <a:pt x="350034" y="115422"/>
                      <a:pt x="353194" y="113843"/>
                      <a:pt x="354321" y="107073"/>
                    </a:cubicBezTo>
                    <a:cubicBezTo>
                      <a:pt x="354773" y="105043"/>
                      <a:pt x="354999" y="103463"/>
                      <a:pt x="355224" y="102335"/>
                    </a:cubicBezTo>
                    <a:cubicBezTo>
                      <a:pt x="356127" y="98950"/>
                      <a:pt x="356127" y="98725"/>
                      <a:pt x="353419" y="93083"/>
                    </a:cubicBezTo>
                    <a:cubicBezTo>
                      <a:pt x="350486" y="86991"/>
                      <a:pt x="350486" y="86991"/>
                      <a:pt x="346424" y="84283"/>
                    </a:cubicBezTo>
                    <a:cubicBezTo>
                      <a:pt x="345521" y="83606"/>
                      <a:pt x="344619" y="82929"/>
                      <a:pt x="343265" y="82252"/>
                    </a:cubicBezTo>
                    <a:cubicBezTo>
                      <a:pt x="336044" y="77288"/>
                      <a:pt x="339429" y="70519"/>
                      <a:pt x="341685" y="66006"/>
                    </a:cubicBezTo>
                    <a:cubicBezTo>
                      <a:pt x="342362" y="64878"/>
                      <a:pt x="342814" y="63524"/>
                      <a:pt x="343039" y="62621"/>
                    </a:cubicBezTo>
                    <a:cubicBezTo>
                      <a:pt x="342137" y="61042"/>
                      <a:pt x="336496" y="60590"/>
                      <a:pt x="333111" y="60365"/>
                    </a:cubicBezTo>
                    <a:cubicBezTo>
                      <a:pt x="331306" y="60139"/>
                      <a:pt x="329501" y="60139"/>
                      <a:pt x="327921" y="59913"/>
                    </a:cubicBezTo>
                    <a:cubicBezTo>
                      <a:pt x="323408" y="59236"/>
                      <a:pt x="322731" y="57431"/>
                      <a:pt x="321829" y="54723"/>
                    </a:cubicBezTo>
                    <a:cubicBezTo>
                      <a:pt x="321377" y="52693"/>
                      <a:pt x="320475" y="49985"/>
                      <a:pt x="316413" y="45923"/>
                    </a:cubicBezTo>
                    <a:cubicBezTo>
                      <a:pt x="310095" y="39605"/>
                      <a:pt x="299715" y="44569"/>
                      <a:pt x="293397" y="47503"/>
                    </a:cubicBezTo>
                    <a:cubicBezTo>
                      <a:pt x="291818" y="48180"/>
                      <a:pt x="290689" y="48857"/>
                      <a:pt x="289787" y="49082"/>
                    </a:cubicBezTo>
                    <a:cubicBezTo>
                      <a:pt x="287079" y="49985"/>
                      <a:pt x="283920" y="49308"/>
                      <a:pt x="281438" y="46826"/>
                    </a:cubicBezTo>
                    <a:cubicBezTo>
                      <a:pt x="279182" y="44795"/>
                      <a:pt x="277602" y="41185"/>
                      <a:pt x="278279" y="38703"/>
                    </a:cubicBezTo>
                    <a:cubicBezTo>
                      <a:pt x="279633" y="34641"/>
                      <a:pt x="281889" y="22230"/>
                      <a:pt x="279407" y="17717"/>
                    </a:cubicBezTo>
                    <a:cubicBezTo>
                      <a:pt x="276474" y="12528"/>
                      <a:pt x="280310" y="8466"/>
                      <a:pt x="282792" y="5533"/>
                    </a:cubicBezTo>
                    <a:cubicBezTo>
                      <a:pt x="283469" y="4856"/>
                      <a:pt x="284146" y="3953"/>
                      <a:pt x="284597" y="3502"/>
                    </a:cubicBezTo>
                    <a:cubicBezTo>
                      <a:pt x="282115" y="2599"/>
                      <a:pt x="273315" y="2374"/>
                      <a:pt x="268802" y="3502"/>
                    </a:cubicBezTo>
                    <a:lnTo>
                      <a:pt x="266997" y="3953"/>
                    </a:lnTo>
                    <a:cubicBezTo>
                      <a:pt x="261355" y="5533"/>
                      <a:pt x="252781" y="8015"/>
                      <a:pt x="246237" y="4856"/>
                    </a:cubicBezTo>
                    <a:cubicBezTo>
                      <a:pt x="243529" y="3502"/>
                      <a:pt x="240145" y="3276"/>
                      <a:pt x="236986" y="4404"/>
                    </a:cubicBezTo>
                    <a:cubicBezTo>
                      <a:pt x="234503" y="5307"/>
                      <a:pt x="232698" y="6887"/>
                      <a:pt x="231796" y="8692"/>
                    </a:cubicBezTo>
                    <a:cubicBezTo>
                      <a:pt x="229991" y="12528"/>
                      <a:pt x="226380" y="15461"/>
                      <a:pt x="222770" y="16138"/>
                    </a:cubicBezTo>
                    <a:cubicBezTo>
                      <a:pt x="220288" y="16589"/>
                      <a:pt x="218031" y="15687"/>
                      <a:pt x="216452" y="13882"/>
                    </a:cubicBezTo>
                    <a:cubicBezTo>
                      <a:pt x="213067" y="10046"/>
                      <a:pt x="206749" y="13430"/>
                      <a:pt x="204718" y="14784"/>
                    </a:cubicBezTo>
                    <a:cubicBezTo>
                      <a:pt x="202913" y="15912"/>
                      <a:pt x="202913" y="17266"/>
                      <a:pt x="202913" y="20200"/>
                    </a:cubicBezTo>
                    <a:cubicBezTo>
                      <a:pt x="202913" y="22682"/>
                      <a:pt x="202913" y="25841"/>
                      <a:pt x="200431" y="28774"/>
                    </a:cubicBezTo>
                    <a:cubicBezTo>
                      <a:pt x="199303" y="30128"/>
                      <a:pt x="199077" y="31031"/>
                      <a:pt x="198851" y="31933"/>
                    </a:cubicBezTo>
                    <a:cubicBezTo>
                      <a:pt x="198175" y="35544"/>
                      <a:pt x="196369" y="36446"/>
                      <a:pt x="189600" y="36897"/>
                    </a:cubicBezTo>
                    <a:cubicBezTo>
                      <a:pt x="183733" y="37123"/>
                      <a:pt x="182605" y="38251"/>
                      <a:pt x="181702" y="39154"/>
                    </a:cubicBezTo>
                    <a:cubicBezTo>
                      <a:pt x="180800" y="40057"/>
                      <a:pt x="179897" y="40959"/>
                      <a:pt x="177415" y="41185"/>
                    </a:cubicBezTo>
                    <a:cubicBezTo>
                      <a:pt x="175835" y="41410"/>
                      <a:pt x="174933" y="43441"/>
                      <a:pt x="173805" y="46826"/>
                    </a:cubicBezTo>
                    <a:cubicBezTo>
                      <a:pt x="173128" y="48857"/>
                      <a:pt x="172451" y="51113"/>
                      <a:pt x="171097" y="52693"/>
                    </a:cubicBezTo>
                    <a:cubicBezTo>
                      <a:pt x="169517" y="54723"/>
                      <a:pt x="168164" y="56529"/>
                      <a:pt x="165907" y="56529"/>
                    </a:cubicBezTo>
                    <a:cubicBezTo>
                      <a:pt x="165907" y="56529"/>
                      <a:pt x="165907" y="56529"/>
                      <a:pt x="165907" y="56529"/>
                    </a:cubicBezTo>
                    <a:cubicBezTo>
                      <a:pt x="163651" y="56529"/>
                      <a:pt x="161620" y="54498"/>
                      <a:pt x="159589" y="51339"/>
                    </a:cubicBezTo>
                    <a:cubicBezTo>
                      <a:pt x="157558" y="48180"/>
                      <a:pt x="156204" y="44118"/>
                      <a:pt x="155076" y="41185"/>
                    </a:cubicBezTo>
                    <a:cubicBezTo>
                      <a:pt x="154850" y="40508"/>
                      <a:pt x="154625" y="39605"/>
                      <a:pt x="154399" y="38928"/>
                    </a:cubicBezTo>
                    <a:cubicBezTo>
                      <a:pt x="152594" y="40282"/>
                      <a:pt x="149886" y="41410"/>
                      <a:pt x="146953" y="41636"/>
                    </a:cubicBezTo>
                    <a:cubicBezTo>
                      <a:pt x="143568" y="41862"/>
                      <a:pt x="140635" y="40959"/>
                      <a:pt x="138604" y="38703"/>
                    </a:cubicBezTo>
                    <a:cubicBezTo>
                      <a:pt x="135445" y="35092"/>
                      <a:pt x="128450" y="32385"/>
                      <a:pt x="121681" y="34641"/>
                    </a:cubicBezTo>
                    <a:cubicBezTo>
                      <a:pt x="115814" y="36446"/>
                      <a:pt x="113783" y="36220"/>
                      <a:pt x="108593" y="35318"/>
                    </a:cubicBezTo>
                    <a:cubicBezTo>
                      <a:pt x="106788" y="35092"/>
                      <a:pt x="104531" y="34641"/>
                      <a:pt x="101598" y="34190"/>
                    </a:cubicBezTo>
                    <a:cubicBezTo>
                      <a:pt x="95505" y="33513"/>
                      <a:pt x="91895" y="35318"/>
                      <a:pt x="88511" y="37349"/>
                    </a:cubicBezTo>
                    <a:cubicBezTo>
                      <a:pt x="86254" y="38703"/>
                      <a:pt x="83772" y="40057"/>
                      <a:pt x="80838" y="40282"/>
                    </a:cubicBezTo>
                    <a:cubicBezTo>
                      <a:pt x="78808" y="40508"/>
                      <a:pt x="77454" y="40057"/>
                      <a:pt x="76551" y="38928"/>
                    </a:cubicBezTo>
                    <a:cubicBezTo>
                      <a:pt x="74972" y="37349"/>
                      <a:pt x="75197" y="34867"/>
                      <a:pt x="75197" y="32610"/>
                    </a:cubicBezTo>
                    <a:cubicBezTo>
                      <a:pt x="75423" y="30805"/>
                      <a:pt x="75423" y="29000"/>
                      <a:pt x="74746" y="27872"/>
                    </a:cubicBezTo>
                    <a:cubicBezTo>
                      <a:pt x="73843" y="26292"/>
                      <a:pt x="69782" y="27195"/>
                      <a:pt x="66171" y="28097"/>
                    </a:cubicBezTo>
                    <a:cubicBezTo>
                      <a:pt x="63464" y="28774"/>
                      <a:pt x="60756" y="29225"/>
                      <a:pt x="58048" y="29225"/>
                    </a:cubicBezTo>
                    <a:cubicBezTo>
                      <a:pt x="55115" y="29225"/>
                      <a:pt x="52633" y="30354"/>
                      <a:pt x="49699" y="31708"/>
                    </a:cubicBezTo>
                    <a:cubicBezTo>
                      <a:pt x="46540" y="33061"/>
                      <a:pt x="43156" y="34641"/>
                      <a:pt x="38643" y="35318"/>
                    </a:cubicBezTo>
                    <a:cubicBezTo>
                      <a:pt x="30971" y="36220"/>
                      <a:pt x="26909" y="38928"/>
                      <a:pt x="25781" y="44118"/>
                    </a:cubicBezTo>
                    <a:cubicBezTo>
                      <a:pt x="24427" y="50436"/>
                      <a:pt x="20140" y="55626"/>
                      <a:pt x="12242" y="60816"/>
                    </a:cubicBezTo>
                    <a:cubicBezTo>
                      <a:pt x="10211" y="62170"/>
                      <a:pt x="9760" y="63072"/>
                      <a:pt x="9760" y="63524"/>
                    </a:cubicBezTo>
                    <a:cubicBezTo>
                      <a:pt x="9534" y="64426"/>
                      <a:pt x="10662" y="65555"/>
                      <a:pt x="11791" y="66908"/>
                    </a:cubicBezTo>
                    <a:cubicBezTo>
                      <a:pt x="12468" y="67811"/>
                      <a:pt x="13145" y="68488"/>
                      <a:pt x="13822" y="69616"/>
                    </a:cubicBezTo>
                    <a:lnTo>
                      <a:pt x="14273" y="70293"/>
                    </a:lnTo>
                    <a:cubicBezTo>
                      <a:pt x="16529" y="73903"/>
                      <a:pt x="18335" y="76837"/>
                      <a:pt x="18335" y="79996"/>
                    </a:cubicBezTo>
                    <a:cubicBezTo>
                      <a:pt x="18335" y="82478"/>
                      <a:pt x="17658" y="84509"/>
                      <a:pt x="16078" y="86088"/>
                    </a:cubicBezTo>
                    <a:cubicBezTo>
                      <a:pt x="14273" y="87893"/>
                      <a:pt x="11339" y="88570"/>
                      <a:pt x="7503" y="88570"/>
                    </a:cubicBezTo>
                    <a:cubicBezTo>
                      <a:pt x="8180" y="92632"/>
                      <a:pt x="7278" y="99176"/>
                      <a:pt x="6375" y="101432"/>
                    </a:cubicBezTo>
                    <a:lnTo>
                      <a:pt x="5924" y="102560"/>
                    </a:lnTo>
                    <a:cubicBezTo>
                      <a:pt x="4796" y="105494"/>
                      <a:pt x="2539" y="110684"/>
                      <a:pt x="3893" y="115422"/>
                    </a:cubicBezTo>
                    <a:cubicBezTo>
                      <a:pt x="5473" y="121289"/>
                      <a:pt x="8180" y="123771"/>
                      <a:pt x="9309" y="123771"/>
                    </a:cubicBezTo>
                    <a:cubicBezTo>
                      <a:pt x="10211" y="123771"/>
                      <a:pt x="11565" y="123997"/>
                      <a:pt x="13145" y="124222"/>
                    </a:cubicBezTo>
                    <a:cubicBezTo>
                      <a:pt x="16981" y="124899"/>
                      <a:pt x="22847" y="125802"/>
                      <a:pt x="29165" y="125351"/>
                    </a:cubicBezTo>
                    <a:cubicBezTo>
                      <a:pt x="30294" y="125576"/>
                      <a:pt x="30971" y="125576"/>
                      <a:pt x="31422" y="125576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xmlns="" id="{14A5ACC2-5A23-41D1-891C-5DDD36B381F5}"/>
                  </a:ext>
                </a:extLst>
              </p:cNvPr>
              <p:cNvSpPr/>
              <p:nvPr/>
            </p:nvSpPr>
            <p:spPr>
              <a:xfrm>
                <a:off x="10736522" y="2293868"/>
                <a:ext cx="744632" cy="564115"/>
              </a:xfrm>
              <a:custGeom>
                <a:avLst/>
                <a:gdLst>
                  <a:gd name="connsiteX0" fmla="*/ 369157 w 744632"/>
                  <a:gd name="connsiteY0" fmla="*/ 573823 h 564115"/>
                  <a:gd name="connsiteX1" fmla="*/ 364870 w 744632"/>
                  <a:gd name="connsiteY1" fmla="*/ 572695 h 564115"/>
                  <a:gd name="connsiteX2" fmla="*/ 359906 w 744632"/>
                  <a:gd name="connsiteY2" fmla="*/ 563895 h 564115"/>
                  <a:gd name="connsiteX3" fmla="*/ 360131 w 744632"/>
                  <a:gd name="connsiteY3" fmla="*/ 560059 h 564115"/>
                  <a:gd name="connsiteX4" fmla="*/ 359003 w 744632"/>
                  <a:gd name="connsiteY4" fmla="*/ 557351 h 564115"/>
                  <a:gd name="connsiteX5" fmla="*/ 352234 w 744632"/>
                  <a:gd name="connsiteY5" fmla="*/ 559156 h 564115"/>
                  <a:gd name="connsiteX6" fmla="*/ 341177 w 744632"/>
                  <a:gd name="connsiteY6" fmla="*/ 556900 h 564115"/>
                  <a:gd name="connsiteX7" fmla="*/ 338920 w 744632"/>
                  <a:gd name="connsiteY7" fmla="*/ 554869 h 564115"/>
                  <a:gd name="connsiteX8" fmla="*/ 335761 w 744632"/>
                  <a:gd name="connsiteY8" fmla="*/ 536817 h 564115"/>
                  <a:gd name="connsiteX9" fmla="*/ 337115 w 744632"/>
                  <a:gd name="connsiteY9" fmla="*/ 533433 h 564115"/>
                  <a:gd name="connsiteX10" fmla="*/ 336664 w 744632"/>
                  <a:gd name="connsiteY10" fmla="*/ 528243 h 564115"/>
                  <a:gd name="connsiteX11" fmla="*/ 333279 w 744632"/>
                  <a:gd name="connsiteY11" fmla="*/ 524407 h 564115"/>
                  <a:gd name="connsiteX12" fmla="*/ 328992 w 744632"/>
                  <a:gd name="connsiteY12" fmla="*/ 520797 h 564115"/>
                  <a:gd name="connsiteX13" fmla="*/ 327187 w 744632"/>
                  <a:gd name="connsiteY13" fmla="*/ 519443 h 564115"/>
                  <a:gd name="connsiteX14" fmla="*/ 328541 w 744632"/>
                  <a:gd name="connsiteY14" fmla="*/ 517863 h 564115"/>
                  <a:gd name="connsiteX15" fmla="*/ 330120 w 744632"/>
                  <a:gd name="connsiteY15" fmla="*/ 516509 h 564115"/>
                  <a:gd name="connsiteX16" fmla="*/ 331925 w 744632"/>
                  <a:gd name="connsiteY16" fmla="*/ 509289 h 564115"/>
                  <a:gd name="connsiteX17" fmla="*/ 331248 w 744632"/>
                  <a:gd name="connsiteY17" fmla="*/ 507935 h 564115"/>
                  <a:gd name="connsiteX18" fmla="*/ 329895 w 744632"/>
                  <a:gd name="connsiteY18" fmla="*/ 492591 h 564115"/>
                  <a:gd name="connsiteX19" fmla="*/ 331248 w 744632"/>
                  <a:gd name="connsiteY19" fmla="*/ 483339 h 564115"/>
                  <a:gd name="connsiteX20" fmla="*/ 331023 w 744632"/>
                  <a:gd name="connsiteY20" fmla="*/ 481760 h 564115"/>
                  <a:gd name="connsiteX21" fmla="*/ 330571 w 744632"/>
                  <a:gd name="connsiteY21" fmla="*/ 479955 h 564115"/>
                  <a:gd name="connsiteX22" fmla="*/ 330346 w 744632"/>
                  <a:gd name="connsiteY22" fmla="*/ 470026 h 564115"/>
                  <a:gd name="connsiteX23" fmla="*/ 337115 w 744632"/>
                  <a:gd name="connsiteY23" fmla="*/ 460549 h 564115"/>
                  <a:gd name="connsiteX24" fmla="*/ 342305 w 744632"/>
                  <a:gd name="connsiteY24" fmla="*/ 461903 h 564115"/>
                  <a:gd name="connsiteX25" fmla="*/ 344110 w 744632"/>
                  <a:gd name="connsiteY25" fmla="*/ 464385 h 564115"/>
                  <a:gd name="connsiteX26" fmla="*/ 346818 w 744632"/>
                  <a:gd name="connsiteY26" fmla="*/ 467770 h 564115"/>
                  <a:gd name="connsiteX27" fmla="*/ 351331 w 744632"/>
                  <a:gd name="connsiteY27" fmla="*/ 465062 h 564115"/>
                  <a:gd name="connsiteX28" fmla="*/ 356747 w 744632"/>
                  <a:gd name="connsiteY28" fmla="*/ 461452 h 564115"/>
                  <a:gd name="connsiteX29" fmla="*/ 352008 w 744632"/>
                  <a:gd name="connsiteY29" fmla="*/ 453103 h 564115"/>
                  <a:gd name="connsiteX30" fmla="*/ 349300 w 744632"/>
                  <a:gd name="connsiteY30" fmla="*/ 448590 h 564115"/>
                  <a:gd name="connsiteX31" fmla="*/ 348623 w 744632"/>
                  <a:gd name="connsiteY31" fmla="*/ 447010 h 564115"/>
                  <a:gd name="connsiteX32" fmla="*/ 347269 w 744632"/>
                  <a:gd name="connsiteY32" fmla="*/ 442497 h 564115"/>
                  <a:gd name="connsiteX33" fmla="*/ 345013 w 744632"/>
                  <a:gd name="connsiteY33" fmla="*/ 441143 h 564115"/>
                  <a:gd name="connsiteX34" fmla="*/ 347044 w 744632"/>
                  <a:gd name="connsiteY34" fmla="*/ 439564 h 564115"/>
                  <a:gd name="connsiteX35" fmla="*/ 357423 w 744632"/>
                  <a:gd name="connsiteY35" fmla="*/ 434148 h 564115"/>
                  <a:gd name="connsiteX36" fmla="*/ 363741 w 744632"/>
                  <a:gd name="connsiteY36" fmla="*/ 430764 h 564115"/>
                  <a:gd name="connsiteX37" fmla="*/ 366901 w 744632"/>
                  <a:gd name="connsiteY37" fmla="*/ 427830 h 564115"/>
                  <a:gd name="connsiteX38" fmla="*/ 369834 w 744632"/>
                  <a:gd name="connsiteY38" fmla="*/ 425800 h 564115"/>
                  <a:gd name="connsiteX39" fmla="*/ 371865 w 744632"/>
                  <a:gd name="connsiteY39" fmla="*/ 424671 h 564115"/>
                  <a:gd name="connsiteX40" fmla="*/ 379537 w 744632"/>
                  <a:gd name="connsiteY40" fmla="*/ 414743 h 564115"/>
                  <a:gd name="connsiteX41" fmla="*/ 380439 w 744632"/>
                  <a:gd name="connsiteY41" fmla="*/ 410004 h 564115"/>
                  <a:gd name="connsiteX42" fmla="*/ 378634 w 744632"/>
                  <a:gd name="connsiteY42" fmla="*/ 400753 h 564115"/>
                  <a:gd name="connsiteX43" fmla="*/ 371639 w 744632"/>
                  <a:gd name="connsiteY43" fmla="*/ 391953 h 564115"/>
                  <a:gd name="connsiteX44" fmla="*/ 368480 w 744632"/>
                  <a:gd name="connsiteY44" fmla="*/ 389922 h 564115"/>
                  <a:gd name="connsiteX45" fmla="*/ 366901 w 744632"/>
                  <a:gd name="connsiteY45" fmla="*/ 373675 h 564115"/>
                  <a:gd name="connsiteX46" fmla="*/ 368254 w 744632"/>
                  <a:gd name="connsiteY46" fmla="*/ 370291 h 564115"/>
                  <a:gd name="connsiteX47" fmla="*/ 358326 w 744632"/>
                  <a:gd name="connsiteY47" fmla="*/ 368034 h 564115"/>
                  <a:gd name="connsiteX48" fmla="*/ 353136 w 744632"/>
                  <a:gd name="connsiteY48" fmla="*/ 367583 h 564115"/>
                  <a:gd name="connsiteX49" fmla="*/ 347044 w 744632"/>
                  <a:gd name="connsiteY49" fmla="*/ 362393 h 564115"/>
                  <a:gd name="connsiteX50" fmla="*/ 341628 w 744632"/>
                  <a:gd name="connsiteY50" fmla="*/ 353593 h 564115"/>
                  <a:gd name="connsiteX51" fmla="*/ 318612 w 744632"/>
                  <a:gd name="connsiteY51" fmla="*/ 355172 h 564115"/>
                  <a:gd name="connsiteX52" fmla="*/ 315002 w 744632"/>
                  <a:gd name="connsiteY52" fmla="*/ 356752 h 564115"/>
                  <a:gd name="connsiteX53" fmla="*/ 306653 w 744632"/>
                  <a:gd name="connsiteY53" fmla="*/ 354495 h 564115"/>
                  <a:gd name="connsiteX54" fmla="*/ 303494 w 744632"/>
                  <a:gd name="connsiteY54" fmla="*/ 346372 h 564115"/>
                  <a:gd name="connsiteX55" fmla="*/ 304622 w 744632"/>
                  <a:gd name="connsiteY55" fmla="*/ 325387 h 564115"/>
                  <a:gd name="connsiteX56" fmla="*/ 308007 w 744632"/>
                  <a:gd name="connsiteY56" fmla="*/ 313202 h 564115"/>
                  <a:gd name="connsiteX57" fmla="*/ 309812 w 744632"/>
                  <a:gd name="connsiteY57" fmla="*/ 311171 h 564115"/>
                  <a:gd name="connsiteX58" fmla="*/ 294017 w 744632"/>
                  <a:gd name="connsiteY58" fmla="*/ 311171 h 564115"/>
                  <a:gd name="connsiteX59" fmla="*/ 292212 w 744632"/>
                  <a:gd name="connsiteY59" fmla="*/ 311623 h 564115"/>
                  <a:gd name="connsiteX60" fmla="*/ 271452 w 744632"/>
                  <a:gd name="connsiteY60" fmla="*/ 312525 h 564115"/>
                  <a:gd name="connsiteX61" fmla="*/ 262201 w 744632"/>
                  <a:gd name="connsiteY61" fmla="*/ 312074 h 564115"/>
                  <a:gd name="connsiteX62" fmla="*/ 257011 w 744632"/>
                  <a:gd name="connsiteY62" fmla="*/ 316361 h 564115"/>
                  <a:gd name="connsiteX63" fmla="*/ 247985 w 744632"/>
                  <a:gd name="connsiteY63" fmla="*/ 323808 h 564115"/>
                  <a:gd name="connsiteX64" fmla="*/ 241667 w 744632"/>
                  <a:gd name="connsiteY64" fmla="*/ 321551 h 564115"/>
                  <a:gd name="connsiteX65" fmla="*/ 229933 w 744632"/>
                  <a:gd name="connsiteY65" fmla="*/ 322454 h 564115"/>
                  <a:gd name="connsiteX66" fmla="*/ 228128 w 744632"/>
                  <a:gd name="connsiteY66" fmla="*/ 327869 h 564115"/>
                  <a:gd name="connsiteX67" fmla="*/ 225646 w 744632"/>
                  <a:gd name="connsiteY67" fmla="*/ 336444 h 564115"/>
                  <a:gd name="connsiteX68" fmla="*/ 224066 w 744632"/>
                  <a:gd name="connsiteY68" fmla="*/ 339603 h 564115"/>
                  <a:gd name="connsiteX69" fmla="*/ 214815 w 744632"/>
                  <a:gd name="connsiteY69" fmla="*/ 344567 h 564115"/>
                  <a:gd name="connsiteX70" fmla="*/ 206917 w 744632"/>
                  <a:gd name="connsiteY70" fmla="*/ 346823 h 564115"/>
                  <a:gd name="connsiteX71" fmla="*/ 202630 w 744632"/>
                  <a:gd name="connsiteY71" fmla="*/ 348854 h 564115"/>
                  <a:gd name="connsiteX72" fmla="*/ 199020 w 744632"/>
                  <a:gd name="connsiteY72" fmla="*/ 354495 h 564115"/>
                  <a:gd name="connsiteX73" fmla="*/ 196312 w 744632"/>
                  <a:gd name="connsiteY73" fmla="*/ 360362 h 564115"/>
                  <a:gd name="connsiteX74" fmla="*/ 191122 w 744632"/>
                  <a:gd name="connsiteY74" fmla="*/ 364198 h 564115"/>
                  <a:gd name="connsiteX75" fmla="*/ 191122 w 744632"/>
                  <a:gd name="connsiteY75" fmla="*/ 364198 h 564115"/>
                  <a:gd name="connsiteX76" fmla="*/ 184804 w 744632"/>
                  <a:gd name="connsiteY76" fmla="*/ 359008 h 564115"/>
                  <a:gd name="connsiteX77" fmla="*/ 180291 w 744632"/>
                  <a:gd name="connsiteY77" fmla="*/ 348854 h 564115"/>
                  <a:gd name="connsiteX78" fmla="*/ 179614 w 744632"/>
                  <a:gd name="connsiteY78" fmla="*/ 346598 h 564115"/>
                  <a:gd name="connsiteX79" fmla="*/ 172168 w 744632"/>
                  <a:gd name="connsiteY79" fmla="*/ 349306 h 564115"/>
                  <a:gd name="connsiteX80" fmla="*/ 163819 w 744632"/>
                  <a:gd name="connsiteY80" fmla="*/ 346372 h 564115"/>
                  <a:gd name="connsiteX81" fmla="*/ 146896 w 744632"/>
                  <a:gd name="connsiteY81" fmla="*/ 342311 h 564115"/>
                  <a:gd name="connsiteX82" fmla="*/ 133808 w 744632"/>
                  <a:gd name="connsiteY82" fmla="*/ 342987 h 564115"/>
                  <a:gd name="connsiteX83" fmla="*/ 126813 w 744632"/>
                  <a:gd name="connsiteY83" fmla="*/ 341859 h 564115"/>
                  <a:gd name="connsiteX84" fmla="*/ 113726 w 744632"/>
                  <a:gd name="connsiteY84" fmla="*/ 345018 h 564115"/>
                  <a:gd name="connsiteX85" fmla="*/ 106054 w 744632"/>
                  <a:gd name="connsiteY85" fmla="*/ 347952 h 564115"/>
                  <a:gd name="connsiteX86" fmla="*/ 101766 w 744632"/>
                  <a:gd name="connsiteY86" fmla="*/ 346598 h 564115"/>
                  <a:gd name="connsiteX87" fmla="*/ 100412 w 744632"/>
                  <a:gd name="connsiteY87" fmla="*/ 340280 h 564115"/>
                  <a:gd name="connsiteX88" fmla="*/ 99961 w 744632"/>
                  <a:gd name="connsiteY88" fmla="*/ 335541 h 564115"/>
                  <a:gd name="connsiteX89" fmla="*/ 91387 w 744632"/>
                  <a:gd name="connsiteY89" fmla="*/ 335767 h 564115"/>
                  <a:gd name="connsiteX90" fmla="*/ 83263 w 744632"/>
                  <a:gd name="connsiteY90" fmla="*/ 336895 h 564115"/>
                  <a:gd name="connsiteX91" fmla="*/ 74915 w 744632"/>
                  <a:gd name="connsiteY91" fmla="*/ 339377 h 564115"/>
                  <a:gd name="connsiteX92" fmla="*/ 63858 w 744632"/>
                  <a:gd name="connsiteY92" fmla="*/ 342987 h 564115"/>
                  <a:gd name="connsiteX93" fmla="*/ 50996 w 744632"/>
                  <a:gd name="connsiteY93" fmla="*/ 351788 h 564115"/>
                  <a:gd name="connsiteX94" fmla="*/ 37457 w 744632"/>
                  <a:gd name="connsiteY94" fmla="*/ 368485 h 564115"/>
                  <a:gd name="connsiteX95" fmla="*/ 34975 w 744632"/>
                  <a:gd name="connsiteY95" fmla="*/ 371193 h 564115"/>
                  <a:gd name="connsiteX96" fmla="*/ 37006 w 744632"/>
                  <a:gd name="connsiteY96" fmla="*/ 374578 h 564115"/>
                  <a:gd name="connsiteX97" fmla="*/ 39037 w 744632"/>
                  <a:gd name="connsiteY97" fmla="*/ 377286 h 564115"/>
                  <a:gd name="connsiteX98" fmla="*/ 39488 w 744632"/>
                  <a:gd name="connsiteY98" fmla="*/ 377962 h 564115"/>
                  <a:gd name="connsiteX99" fmla="*/ 43550 w 744632"/>
                  <a:gd name="connsiteY99" fmla="*/ 387665 h 564115"/>
                  <a:gd name="connsiteX100" fmla="*/ 41293 w 744632"/>
                  <a:gd name="connsiteY100" fmla="*/ 393758 h 564115"/>
                  <a:gd name="connsiteX101" fmla="*/ 31816 w 744632"/>
                  <a:gd name="connsiteY101" fmla="*/ 396240 h 564115"/>
                  <a:gd name="connsiteX102" fmla="*/ 30462 w 744632"/>
                  <a:gd name="connsiteY102" fmla="*/ 396240 h 564115"/>
                  <a:gd name="connsiteX103" fmla="*/ 28883 w 744632"/>
                  <a:gd name="connsiteY103" fmla="*/ 396466 h 564115"/>
                  <a:gd name="connsiteX104" fmla="*/ 28431 w 744632"/>
                  <a:gd name="connsiteY104" fmla="*/ 394886 h 564115"/>
                  <a:gd name="connsiteX105" fmla="*/ 28206 w 744632"/>
                  <a:gd name="connsiteY105" fmla="*/ 391050 h 564115"/>
                  <a:gd name="connsiteX106" fmla="*/ 24370 w 744632"/>
                  <a:gd name="connsiteY106" fmla="*/ 379316 h 564115"/>
                  <a:gd name="connsiteX107" fmla="*/ 18728 w 744632"/>
                  <a:gd name="connsiteY107" fmla="*/ 360362 h 564115"/>
                  <a:gd name="connsiteX108" fmla="*/ 20759 w 744632"/>
                  <a:gd name="connsiteY108" fmla="*/ 351788 h 564115"/>
                  <a:gd name="connsiteX109" fmla="*/ 23016 w 744632"/>
                  <a:gd name="connsiteY109" fmla="*/ 341182 h 564115"/>
                  <a:gd name="connsiteX110" fmla="*/ 17375 w 744632"/>
                  <a:gd name="connsiteY110" fmla="*/ 331705 h 564115"/>
                  <a:gd name="connsiteX111" fmla="*/ 13313 w 744632"/>
                  <a:gd name="connsiteY111" fmla="*/ 325613 h 564115"/>
                  <a:gd name="connsiteX112" fmla="*/ 6092 w 744632"/>
                  <a:gd name="connsiteY112" fmla="*/ 314330 h 564115"/>
                  <a:gd name="connsiteX113" fmla="*/ 2933 w 744632"/>
                  <a:gd name="connsiteY113" fmla="*/ 313879 h 564115"/>
                  <a:gd name="connsiteX114" fmla="*/ 0 w 744632"/>
                  <a:gd name="connsiteY114" fmla="*/ 313428 h 564115"/>
                  <a:gd name="connsiteX115" fmla="*/ 902 w 744632"/>
                  <a:gd name="connsiteY115" fmla="*/ 311171 h 564115"/>
                  <a:gd name="connsiteX116" fmla="*/ 3836 w 744632"/>
                  <a:gd name="connsiteY116" fmla="*/ 305305 h 564115"/>
                  <a:gd name="connsiteX117" fmla="*/ 4964 w 744632"/>
                  <a:gd name="connsiteY117" fmla="*/ 303499 h 564115"/>
                  <a:gd name="connsiteX118" fmla="*/ 13764 w 744632"/>
                  <a:gd name="connsiteY118" fmla="*/ 276196 h 564115"/>
                  <a:gd name="connsiteX119" fmla="*/ 15569 w 744632"/>
                  <a:gd name="connsiteY119" fmla="*/ 260627 h 564115"/>
                  <a:gd name="connsiteX120" fmla="*/ 17375 w 744632"/>
                  <a:gd name="connsiteY120" fmla="*/ 245057 h 564115"/>
                  <a:gd name="connsiteX121" fmla="*/ 16923 w 744632"/>
                  <a:gd name="connsiteY121" fmla="*/ 240318 h 564115"/>
                  <a:gd name="connsiteX122" fmla="*/ 16472 w 744632"/>
                  <a:gd name="connsiteY122" fmla="*/ 238288 h 564115"/>
                  <a:gd name="connsiteX123" fmla="*/ 18503 w 744632"/>
                  <a:gd name="connsiteY123" fmla="*/ 238062 h 564115"/>
                  <a:gd name="connsiteX124" fmla="*/ 24821 w 744632"/>
                  <a:gd name="connsiteY124" fmla="*/ 236934 h 564115"/>
                  <a:gd name="connsiteX125" fmla="*/ 40391 w 744632"/>
                  <a:gd name="connsiteY125" fmla="*/ 234677 h 564115"/>
                  <a:gd name="connsiteX126" fmla="*/ 56412 w 744632"/>
                  <a:gd name="connsiteY126" fmla="*/ 228359 h 564115"/>
                  <a:gd name="connsiteX127" fmla="*/ 60699 w 744632"/>
                  <a:gd name="connsiteY127" fmla="*/ 221364 h 564115"/>
                  <a:gd name="connsiteX128" fmla="*/ 67242 w 744632"/>
                  <a:gd name="connsiteY128" fmla="*/ 213918 h 564115"/>
                  <a:gd name="connsiteX129" fmla="*/ 69950 w 744632"/>
                  <a:gd name="connsiteY129" fmla="*/ 212564 h 564115"/>
                  <a:gd name="connsiteX130" fmla="*/ 81684 w 744632"/>
                  <a:gd name="connsiteY130" fmla="*/ 209631 h 564115"/>
                  <a:gd name="connsiteX131" fmla="*/ 92063 w 744632"/>
                  <a:gd name="connsiteY131" fmla="*/ 216174 h 564115"/>
                  <a:gd name="connsiteX132" fmla="*/ 96125 w 744632"/>
                  <a:gd name="connsiteY132" fmla="*/ 220010 h 564115"/>
                  <a:gd name="connsiteX133" fmla="*/ 126587 w 744632"/>
                  <a:gd name="connsiteY133" fmla="*/ 222041 h 564115"/>
                  <a:gd name="connsiteX134" fmla="*/ 136516 w 744632"/>
                  <a:gd name="connsiteY134" fmla="*/ 219108 h 564115"/>
                  <a:gd name="connsiteX135" fmla="*/ 152085 w 744632"/>
                  <a:gd name="connsiteY135" fmla="*/ 217528 h 564115"/>
                  <a:gd name="connsiteX136" fmla="*/ 166301 w 744632"/>
                  <a:gd name="connsiteY136" fmla="*/ 211210 h 564115"/>
                  <a:gd name="connsiteX137" fmla="*/ 181645 w 744632"/>
                  <a:gd name="connsiteY137" fmla="*/ 207600 h 564115"/>
                  <a:gd name="connsiteX138" fmla="*/ 192927 w 744632"/>
                  <a:gd name="connsiteY138" fmla="*/ 213692 h 564115"/>
                  <a:gd name="connsiteX139" fmla="*/ 199471 w 744632"/>
                  <a:gd name="connsiteY139" fmla="*/ 215046 h 564115"/>
                  <a:gd name="connsiteX140" fmla="*/ 216620 w 744632"/>
                  <a:gd name="connsiteY140" fmla="*/ 208051 h 564115"/>
                  <a:gd name="connsiteX141" fmla="*/ 227902 w 744632"/>
                  <a:gd name="connsiteY141" fmla="*/ 208051 h 564115"/>
                  <a:gd name="connsiteX142" fmla="*/ 239862 w 744632"/>
                  <a:gd name="connsiteY142" fmla="*/ 206697 h 564115"/>
                  <a:gd name="connsiteX143" fmla="*/ 247985 w 744632"/>
                  <a:gd name="connsiteY143" fmla="*/ 199025 h 564115"/>
                  <a:gd name="connsiteX144" fmla="*/ 265811 w 744632"/>
                  <a:gd name="connsiteY144" fmla="*/ 191353 h 564115"/>
                  <a:gd name="connsiteX145" fmla="*/ 275740 w 744632"/>
                  <a:gd name="connsiteY145" fmla="*/ 197671 h 564115"/>
                  <a:gd name="connsiteX146" fmla="*/ 285442 w 744632"/>
                  <a:gd name="connsiteY146" fmla="*/ 199025 h 564115"/>
                  <a:gd name="connsiteX147" fmla="*/ 285894 w 744632"/>
                  <a:gd name="connsiteY147" fmla="*/ 199025 h 564115"/>
                  <a:gd name="connsiteX148" fmla="*/ 286345 w 744632"/>
                  <a:gd name="connsiteY148" fmla="*/ 199025 h 564115"/>
                  <a:gd name="connsiteX149" fmla="*/ 289053 w 744632"/>
                  <a:gd name="connsiteY149" fmla="*/ 198348 h 564115"/>
                  <a:gd name="connsiteX150" fmla="*/ 289278 w 744632"/>
                  <a:gd name="connsiteY150" fmla="*/ 197897 h 564115"/>
                  <a:gd name="connsiteX151" fmla="*/ 289730 w 744632"/>
                  <a:gd name="connsiteY151" fmla="*/ 197671 h 564115"/>
                  <a:gd name="connsiteX152" fmla="*/ 306653 w 744632"/>
                  <a:gd name="connsiteY152" fmla="*/ 190902 h 564115"/>
                  <a:gd name="connsiteX153" fmla="*/ 324479 w 744632"/>
                  <a:gd name="connsiteY153" fmla="*/ 184358 h 564115"/>
                  <a:gd name="connsiteX154" fmla="*/ 344336 w 744632"/>
                  <a:gd name="connsiteY154" fmla="*/ 174881 h 564115"/>
                  <a:gd name="connsiteX155" fmla="*/ 350428 w 744632"/>
                  <a:gd name="connsiteY155" fmla="*/ 170819 h 564115"/>
                  <a:gd name="connsiteX156" fmla="*/ 375927 w 744632"/>
                  <a:gd name="connsiteY156" fmla="*/ 172399 h 564115"/>
                  <a:gd name="connsiteX157" fmla="*/ 383147 w 744632"/>
                  <a:gd name="connsiteY157" fmla="*/ 174430 h 564115"/>
                  <a:gd name="connsiteX158" fmla="*/ 393301 w 744632"/>
                  <a:gd name="connsiteY158" fmla="*/ 178040 h 564115"/>
                  <a:gd name="connsiteX159" fmla="*/ 403455 w 744632"/>
                  <a:gd name="connsiteY159" fmla="*/ 180522 h 564115"/>
                  <a:gd name="connsiteX160" fmla="*/ 416543 w 744632"/>
                  <a:gd name="connsiteY160" fmla="*/ 177138 h 564115"/>
                  <a:gd name="connsiteX161" fmla="*/ 430307 w 744632"/>
                  <a:gd name="connsiteY161" fmla="*/ 173076 h 564115"/>
                  <a:gd name="connsiteX162" fmla="*/ 438430 w 744632"/>
                  <a:gd name="connsiteY162" fmla="*/ 171948 h 564115"/>
                  <a:gd name="connsiteX163" fmla="*/ 455580 w 744632"/>
                  <a:gd name="connsiteY163" fmla="*/ 170594 h 564115"/>
                  <a:gd name="connsiteX164" fmla="*/ 480626 w 744632"/>
                  <a:gd name="connsiteY164" fmla="*/ 162471 h 564115"/>
                  <a:gd name="connsiteX165" fmla="*/ 482206 w 744632"/>
                  <a:gd name="connsiteY165" fmla="*/ 161568 h 564115"/>
                  <a:gd name="connsiteX166" fmla="*/ 488298 w 744632"/>
                  <a:gd name="connsiteY166" fmla="*/ 158860 h 564115"/>
                  <a:gd name="connsiteX167" fmla="*/ 495745 w 744632"/>
                  <a:gd name="connsiteY167" fmla="*/ 152316 h 564115"/>
                  <a:gd name="connsiteX168" fmla="*/ 496196 w 744632"/>
                  <a:gd name="connsiteY168" fmla="*/ 146675 h 564115"/>
                  <a:gd name="connsiteX169" fmla="*/ 503868 w 744632"/>
                  <a:gd name="connsiteY169" fmla="*/ 126818 h 564115"/>
                  <a:gd name="connsiteX170" fmla="*/ 515376 w 744632"/>
                  <a:gd name="connsiteY170" fmla="*/ 113957 h 564115"/>
                  <a:gd name="connsiteX171" fmla="*/ 524401 w 744632"/>
                  <a:gd name="connsiteY171" fmla="*/ 103577 h 564115"/>
                  <a:gd name="connsiteX172" fmla="*/ 535233 w 744632"/>
                  <a:gd name="connsiteY172" fmla="*/ 89361 h 564115"/>
                  <a:gd name="connsiteX173" fmla="*/ 535910 w 744632"/>
                  <a:gd name="connsiteY173" fmla="*/ 88233 h 564115"/>
                  <a:gd name="connsiteX174" fmla="*/ 534330 w 744632"/>
                  <a:gd name="connsiteY174" fmla="*/ 85525 h 564115"/>
                  <a:gd name="connsiteX175" fmla="*/ 531171 w 744632"/>
                  <a:gd name="connsiteY175" fmla="*/ 81012 h 564115"/>
                  <a:gd name="connsiteX176" fmla="*/ 533202 w 744632"/>
                  <a:gd name="connsiteY176" fmla="*/ 69730 h 564115"/>
                  <a:gd name="connsiteX177" fmla="*/ 541099 w 744632"/>
                  <a:gd name="connsiteY177" fmla="*/ 72889 h 564115"/>
                  <a:gd name="connsiteX178" fmla="*/ 562085 w 744632"/>
                  <a:gd name="connsiteY178" fmla="*/ 75597 h 564115"/>
                  <a:gd name="connsiteX179" fmla="*/ 587357 w 744632"/>
                  <a:gd name="connsiteY179" fmla="*/ 64314 h 564115"/>
                  <a:gd name="connsiteX180" fmla="*/ 594126 w 744632"/>
                  <a:gd name="connsiteY180" fmla="*/ 61155 h 564115"/>
                  <a:gd name="connsiteX181" fmla="*/ 607214 w 744632"/>
                  <a:gd name="connsiteY181" fmla="*/ 53258 h 564115"/>
                  <a:gd name="connsiteX182" fmla="*/ 623460 w 744632"/>
                  <a:gd name="connsiteY182" fmla="*/ 46488 h 564115"/>
                  <a:gd name="connsiteX183" fmla="*/ 641061 w 744632"/>
                  <a:gd name="connsiteY183" fmla="*/ 35657 h 564115"/>
                  <a:gd name="connsiteX184" fmla="*/ 651215 w 744632"/>
                  <a:gd name="connsiteY184" fmla="*/ 27760 h 564115"/>
                  <a:gd name="connsiteX185" fmla="*/ 657533 w 744632"/>
                  <a:gd name="connsiteY185" fmla="*/ 24601 h 564115"/>
                  <a:gd name="connsiteX186" fmla="*/ 668815 w 744632"/>
                  <a:gd name="connsiteY186" fmla="*/ 22570 h 564115"/>
                  <a:gd name="connsiteX187" fmla="*/ 678292 w 744632"/>
                  <a:gd name="connsiteY187" fmla="*/ 24375 h 564115"/>
                  <a:gd name="connsiteX188" fmla="*/ 683257 w 744632"/>
                  <a:gd name="connsiteY188" fmla="*/ 23473 h 564115"/>
                  <a:gd name="connsiteX189" fmla="*/ 694539 w 744632"/>
                  <a:gd name="connsiteY189" fmla="*/ 12642 h 564115"/>
                  <a:gd name="connsiteX190" fmla="*/ 694087 w 744632"/>
                  <a:gd name="connsiteY190" fmla="*/ 9708 h 564115"/>
                  <a:gd name="connsiteX191" fmla="*/ 693185 w 744632"/>
                  <a:gd name="connsiteY191" fmla="*/ 6549 h 564115"/>
                  <a:gd name="connsiteX192" fmla="*/ 702436 w 744632"/>
                  <a:gd name="connsiteY192" fmla="*/ 4293 h 564115"/>
                  <a:gd name="connsiteX193" fmla="*/ 716201 w 744632"/>
                  <a:gd name="connsiteY193" fmla="*/ 4970 h 564115"/>
                  <a:gd name="connsiteX194" fmla="*/ 726806 w 744632"/>
                  <a:gd name="connsiteY194" fmla="*/ 3841 h 564115"/>
                  <a:gd name="connsiteX195" fmla="*/ 728611 w 744632"/>
                  <a:gd name="connsiteY195" fmla="*/ 2939 h 564115"/>
                  <a:gd name="connsiteX196" fmla="*/ 728611 w 744632"/>
                  <a:gd name="connsiteY196" fmla="*/ 1585 h 564115"/>
                  <a:gd name="connsiteX197" fmla="*/ 735606 w 744632"/>
                  <a:gd name="connsiteY197" fmla="*/ 5 h 564115"/>
                  <a:gd name="connsiteX198" fmla="*/ 741699 w 744632"/>
                  <a:gd name="connsiteY198" fmla="*/ 2262 h 564115"/>
                  <a:gd name="connsiteX199" fmla="*/ 735381 w 744632"/>
                  <a:gd name="connsiteY199" fmla="*/ 15575 h 564115"/>
                  <a:gd name="connsiteX200" fmla="*/ 732222 w 744632"/>
                  <a:gd name="connsiteY200" fmla="*/ 19637 h 564115"/>
                  <a:gd name="connsiteX201" fmla="*/ 727483 w 744632"/>
                  <a:gd name="connsiteY201" fmla="*/ 25052 h 564115"/>
                  <a:gd name="connsiteX202" fmla="*/ 722519 w 744632"/>
                  <a:gd name="connsiteY202" fmla="*/ 33401 h 564115"/>
                  <a:gd name="connsiteX203" fmla="*/ 723873 w 744632"/>
                  <a:gd name="connsiteY203" fmla="*/ 39493 h 564115"/>
                  <a:gd name="connsiteX204" fmla="*/ 724324 w 744632"/>
                  <a:gd name="connsiteY204" fmla="*/ 49422 h 564115"/>
                  <a:gd name="connsiteX205" fmla="*/ 725904 w 744632"/>
                  <a:gd name="connsiteY205" fmla="*/ 55063 h 564115"/>
                  <a:gd name="connsiteX206" fmla="*/ 727934 w 744632"/>
                  <a:gd name="connsiteY206" fmla="*/ 57771 h 564115"/>
                  <a:gd name="connsiteX207" fmla="*/ 731545 w 744632"/>
                  <a:gd name="connsiteY207" fmla="*/ 60479 h 564115"/>
                  <a:gd name="connsiteX208" fmla="*/ 735832 w 744632"/>
                  <a:gd name="connsiteY208" fmla="*/ 66797 h 564115"/>
                  <a:gd name="connsiteX209" fmla="*/ 736058 w 744632"/>
                  <a:gd name="connsiteY209" fmla="*/ 70181 h 564115"/>
                  <a:gd name="connsiteX210" fmla="*/ 738088 w 744632"/>
                  <a:gd name="connsiteY210" fmla="*/ 79884 h 564115"/>
                  <a:gd name="connsiteX211" fmla="*/ 738765 w 744632"/>
                  <a:gd name="connsiteY211" fmla="*/ 80787 h 564115"/>
                  <a:gd name="connsiteX212" fmla="*/ 742602 w 744632"/>
                  <a:gd name="connsiteY212" fmla="*/ 77628 h 564115"/>
                  <a:gd name="connsiteX213" fmla="*/ 743278 w 744632"/>
                  <a:gd name="connsiteY213" fmla="*/ 75371 h 564115"/>
                  <a:gd name="connsiteX214" fmla="*/ 743730 w 744632"/>
                  <a:gd name="connsiteY214" fmla="*/ 72889 h 564115"/>
                  <a:gd name="connsiteX215" fmla="*/ 748468 w 744632"/>
                  <a:gd name="connsiteY215" fmla="*/ 73566 h 564115"/>
                  <a:gd name="connsiteX216" fmla="*/ 757720 w 744632"/>
                  <a:gd name="connsiteY216" fmla="*/ 82592 h 564115"/>
                  <a:gd name="connsiteX217" fmla="*/ 755915 w 744632"/>
                  <a:gd name="connsiteY217" fmla="*/ 89587 h 564115"/>
                  <a:gd name="connsiteX218" fmla="*/ 755463 w 744632"/>
                  <a:gd name="connsiteY218" fmla="*/ 90264 h 564115"/>
                  <a:gd name="connsiteX219" fmla="*/ 742827 w 744632"/>
                  <a:gd name="connsiteY219" fmla="*/ 99064 h 564115"/>
                  <a:gd name="connsiteX220" fmla="*/ 736960 w 744632"/>
                  <a:gd name="connsiteY220" fmla="*/ 99290 h 564115"/>
                  <a:gd name="connsiteX221" fmla="*/ 732673 w 744632"/>
                  <a:gd name="connsiteY221" fmla="*/ 101320 h 564115"/>
                  <a:gd name="connsiteX222" fmla="*/ 727483 w 744632"/>
                  <a:gd name="connsiteY222" fmla="*/ 104254 h 564115"/>
                  <a:gd name="connsiteX223" fmla="*/ 721616 w 744632"/>
                  <a:gd name="connsiteY223" fmla="*/ 107187 h 564115"/>
                  <a:gd name="connsiteX224" fmla="*/ 706498 w 744632"/>
                  <a:gd name="connsiteY224" fmla="*/ 112828 h 564115"/>
                  <a:gd name="connsiteX225" fmla="*/ 705595 w 744632"/>
                  <a:gd name="connsiteY225" fmla="*/ 112603 h 564115"/>
                  <a:gd name="connsiteX226" fmla="*/ 698600 w 744632"/>
                  <a:gd name="connsiteY226" fmla="*/ 107639 h 564115"/>
                  <a:gd name="connsiteX227" fmla="*/ 697698 w 744632"/>
                  <a:gd name="connsiteY227" fmla="*/ 106510 h 564115"/>
                  <a:gd name="connsiteX228" fmla="*/ 697021 w 744632"/>
                  <a:gd name="connsiteY228" fmla="*/ 108767 h 564115"/>
                  <a:gd name="connsiteX229" fmla="*/ 696344 w 744632"/>
                  <a:gd name="connsiteY229" fmla="*/ 111249 h 564115"/>
                  <a:gd name="connsiteX230" fmla="*/ 691154 w 744632"/>
                  <a:gd name="connsiteY230" fmla="*/ 122757 h 564115"/>
                  <a:gd name="connsiteX231" fmla="*/ 690477 w 744632"/>
                  <a:gd name="connsiteY231" fmla="*/ 123659 h 564115"/>
                  <a:gd name="connsiteX232" fmla="*/ 681677 w 744632"/>
                  <a:gd name="connsiteY232" fmla="*/ 127495 h 564115"/>
                  <a:gd name="connsiteX233" fmla="*/ 674230 w 744632"/>
                  <a:gd name="connsiteY233" fmla="*/ 131106 h 564115"/>
                  <a:gd name="connsiteX234" fmla="*/ 636322 w 744632"/>
                  <a:gd name="connsiteY234" fmla="*/ 159086 h 564115"/>
                  <a:gd name="connsiteX235" fmla="*/ 620978 w 744632"/>
                  <a:gd name="connsiteY235" fmla="*/ 169691 h 564115"/>
                  <a:gd name="connsiteX236" fmla="*/ 611050 w 744632"/>
                  <a:gd name="connsiteY236" fmla="*/ 181199 h 564115"/>
                  <a:gd name="connsiteX237" fmla="*/ 605183 w 744632"/>
                  <a:gd name="connsiteY237" fmla="*/ 185035 h 564115"/>
                  <a:gd name="connsiteX238" fmla="*/ 591418 w 744632"/>
                  <a:gd name="connsiteY238" fmla="*/ 192933 h 564115"/>
                  <a:gd name="connsiteX239" fmla="*/ 579459 w 744632"/>
                  <a:gd name="connsiteY239" fmla="*/ 199928 h 564115"/>
                  <a:gd name="connsiteX240" fmla="*/ 567951 w 744632"/>
                  <a:gd name="connsiteY240" fmla="*/ 216851 h 564115"/>
                  <a:gd name="connsiteX241" fmla="*/ 567049 w 744632"/>
                  <a:gd name="connsiteY241" fmla="*/ 218656 h 564115"/>
                  <a:gd name="connsiteX242" fmla="*/ 557571 w 744632"/>
                  <a:gd name="connsiteY242" fmla="*/ 225200 h 564115"/>
                  <a:gd name="connsiteX243" fmla="*/ 553510 w 744632"/>
                  <a:gd name="connsiteY243" fmla="*/ 218656 h 564115"/>
                  <a:gd name="connsiteX244" fmla="*/ 553510 w 744632"/>
                  <a:gd name="connsiteY244" fmla="*/ 218205 h 564115"/>
                  <a:gd name="connsiteX245" fmla="*/ 552833 w 744632"/>
                  <a:gd name="connsiteY245" fmla="*/ 219108 h 564115"/>
                  <a:gd name="connsiteX246" fmla="*/ 551028 w 744632"/>
                  <a:gd name="connsiteY246" fmla="*/ 221590 h 564115"/>
                  <a:gd name="connsiteX247" fmla="*/ 539520 w 744632"/>
                  <a:gd name="connsiteY247" fmla="*/ 241898 h 564115"/>
                  <a:gd name="connsiteX248" fmla="*/ 533427 w 744632"/>
                  <a:gd name="connsiteY248" fmla="*/ 249570 h 564115"/>
                  <a:gd name="connsiteX249" fmla="*/ 523725 w 744632"/>
                  <a:gd name="connsiteY249" fmla="*/ 262657 h 564115"/>
                  <a:gd name="connsiteX250" fmla="*/ 523048 w 744632"/>
                  <a:gd name="connsiteY250" fmla="*/ 266945 h 564115"/>
                  <a:gd name="connsiteX251" fmla="*/ 524627 w 744632"/>
                  <a:gd name="connsiteY251" fmla="*/ 282966 h 564115"/>
                  <a:gd name="connsiteX252" fmla="*/ 526658 w 744632"/>
                  <a:gd name="connsiteY252" fmla="*/ 286576 h 564115"/>
                  <a:gd name="connsiteX253" fmla="*/ 530945 w 744632"/>
                  <a:gd name="connsiteY253" fmla="*/ 309141 h 564115"/>
                  <a:gd name="connsiteX254" fmla="*/ 514924 w 744632"/>
                  <a:gd name="connsiteY254" fmla="*/ 324259 h 564115"/>
                  <a:gd name="connsiteX255" fmla="*/ 511540 w 744632"/>
                  <a:gd name="connsiteY255" fmla="*/ 324259 h 564115"/>
                  <a:gd name="connsiteX256" fmla="*/ 509509 w 744632"/>
                  <a:gd name="connsiteY256" fmla="*/ 320423 h 564115"/>
                  <a:gd name="connsiteX257" fmla="*/ 506576 w 744632"/>
                  <a:gd name="connsiteY257" fmla="*/ 316812 h 564115"/>
                  <a:gd name="connsiteX258" fmla="*/ 484913 w 744632"/>
                  <a:gd name="connsiteY258" fmla="*/ 326064 h 564115"/>
                  <a:gd name="connsiteX259" fmla="*/ 482657 w 744632"/>
                  <a:gd name="connsiteY259" fmla="*/ 328997 h 564115"/>
                  <a:gd name="connsiteX260" fmla="*/ 462800 w 744632"/>
                  <a:gd name="connsiteY260" fmla="*/ 356978 h 564115"/>
                  <a:gd name="connsiteX261" fmla="*/ 465057 w 744632"/>
                  <a:gd name="connsiteY261" fmla="*/ 371193 h 564115"/>
                  <a:gd name="connsiteX262" fmla="*/ 468893 w 744632"/>
                  <a:gd name="connsiteY262" fmla="*/ 375481 h 564115"/>
                  <a:gd name="connsiteX263" fmla="*/ 471600 w 744632"/>
                  <a:gd name="connsiteY263" fmla="*/ 390373 h 564115"/>
                  <a:gd name="connsiteX264" fmla="*/ 464154 w 744632"/>
                  <a:gd name="connsiteY264" fmla="*/ 402558 h 564115"/>
                  <a:gd name="connsiteX265" fmla="*/ 459190 w 744632"/>
                  <a:gd name="connsiteY265" fmla="*/ 411358 h 564115"/>
                  <a:gd name="connsiteX266" fmla="*/ 458062 w 744632"/>
                  <a:gd name="connsiteY266" fmla="*/ 415871 h 564115"/>
                  <a:gd name="connsiteX267" fmla="*/ 454903 w 744632"/>
                  <a:gd name="connsiteY267" fmla="*/ 433923 h 564115"/>
                  <a:gd name="connsiteX268" fmla="*/ 455128 w 744632"/>
                  <a:gd name="connsiteY268" fmla="*/ 435502 h 564115"/>
                  <a:gd name="connsiteX269" fmla="*/ 450390 w 744632"/>
                  <a:gd name="connsiteY269" fmla="*/ 449944 h 564115"/>
                  <a:gd name="connsiteX270" fmla="*/ 435271 w 744632"/>
                  <a:gd name="connsiteY270" fmla="*/ 469349 h 564115"/>
                  <a:gd name="connsiteX271" fmla="*/ 432564 w 744632"/>
                  <a:gd name="connsiteY271" fmla="*/ 472960 h 564115"/>
                  <a:gd name="connsiteX272" fmla="*/ 433241 w 744632"/>
                  <a:gd name="connsiteY272" fmla="*/ 477698 h 564115"/>
                  <a:gd name="connsiteX273" fmla="*/ 432338 w 744632"/>
                  <a:gd name="connsiteY273" fmla="*/ 492365 h 564115"/>
                  <a:gd name="connsiteX274" fmla="*/ 430984 w 744632"/>
                  <a:gd name="connsiteY274" fmla="*/ 495073 h 564115"/>
                  <a:gd name="connsiteX275" fmla="*/ 429856 w 744632"/>
                  <a:gd name="connsiteY275" fmla="*/ 497555 h 564115"/>
                  <a:gd name="connsiteX276" fmla="*/ 430758 w 744632"/>
                  <a:gd name="connsiteY276" fmla="*/ 503873 h 564115"/>
                  <a:gd name="connsiteX277" fmla="*/ 433466 w 744632"/>
                  <a:gd name="connsiteY277" fmla="*/ 508386 h 564115"/>
                  <a:gd name="connsiteX278" fmla="*/ 434594 w 744632"/>
                  <a:gd name="connsiteY278" fmla="*/ 518991 h 564115"/>
                  <a:gd name="connsiteX279" fmla="*/ 425343 w 744632"/>
                  <a:gd name="connsiteY279" fmla="*/ 531628 h 564115"/>
                  <a:gd name="connsiteX280" fmla="*/ 417220 w 744632"/>
                  <a:gd name="connsiteY280" fmla="*/ 533433 h 564115"/>
                  <a:gd name="connsiteX281" fmla="*/ 414060 w 744632"/>
                  <a:gd name="connsiteY281" fmla="*/ 534787 h 564115"/>
                  <a:gd name="connsiteX282" fmla="*/ 401650 w 744632"/>
                  <a:gd name="connsiteY282" fmla="*/ 530499 h 564115"/>
                  <a:gd name="connsiteX283" fmla="*/ 398717 w 744632"/>
                  <a:gd name="connsiteY283" fmla="*/ 523504 h 564115"/>
                  <a:gd name="connsiteX284" fmla="*/ 397137 w 744632"/>
                  <a:gd name="connsiteY284" fmla="*/ 519668 h 564115"/>
                  <a:gd name="connsiteX285" fmla="*/ 393752 w 744632"/>
                  <a:gd name="connsiteY285" fmla="*/ 531176 h 564115"/>
                  <a:gd name="connsiteX286" fmla="*/ 382922 w 744632"/>
                  <a:gd name="connsiteY286" fmla="*/ 549228 h 564115"/>
                  <a:gd name="connsiteX287" fmla="*/ 373219 w 744632"/>
                  <a:gd name="connsiteY287" fmla="*/ 564798 h 564115"/>
                  <a:gd name="connsiteX288" fmla="*/ 372767 w 744632"/>
                  <a:gd name="connsiteY288" fmla="*/ 566377 h 564115"/>
                  <a:gd name="connsiteX289" fmla="*/ 368029 w 744632"/>
                  <a:gd name="connsiteY289" fmla="*/ 574275 h 564115"/>
                  <a:gd name="connsiteX290" fmla="*/ 369157 w 744632"/>
                  <a:gd name="connsiteY290" fmla="*/ 573823 h 564115"/>
                  <a:gd name="connsiteX291" fmla="*/ 357875 w 744632"/>
                  <a:gd name="connsiteY291" fmla="*/ 553290 h 564115"/>
                  <a:gd name="connsiteX292" fmla="*/ 360808 w 744632"/>
                  <a:gd name="connsiteY292" fmla="*/ 553967 h 564115"/>
                  <a:gd name="connsiteX293" fmla="*/ 363967 w 744632"/>
                  <a:gd name="connsiteY293" fmla="*/ 560059 h 564115"/>
                  <a:gd name="connsiteX294" fmla="*/ 363741 w 744632"/>
                  <a:gd name="connsiteY294" fmla="*/ 564121 h 564115"/>
                  <a:gd name="connsiteX295" fmla="*/ 366675 w 744632"/>
                  <a:gd name="connsiteY295" fmla="*/ 569310 h 564115"/>
                  <a:gd name="connsiteX296" fmla="*/ 369608 w 744632"/>
                  <a:gd name="connsiteY296" fmla="*/ 569987 h 564115"/>
                  <a:gd name="connsiteX297" fmla="*/ 372316 w 744632"/>
                  <a:gd name="connsiteY297" fmla="*/ 564346 h 564115"/>
                  <a:gd name="connsiteX298" fmla="*/ 372767 w 744632"/>
                  <a:gd name="connsiteY298" fmla="*/ 562767 h 564115"/>
                  <a:gd name="connsiteX299" fmla="*/ 383824 w 744632"/>
                  <a:gd name="connsiteY299" fmla="*/ 545618 h 564115"/>
                  <a:gd name="connsiteX300" fmla="*/ 393076 w 744632"/>
                  <a:gd name="connsiteY300" fmla="*/ 530499 h 564115"/>
                  <a:gd name="connsiteX301" fmla="*/ 398265 w 744632"/>
                  <a:gd name="connsiteY301" fmla="*/ 515832 h 564115"/>
                  <a:gd name="connsiteX302" fmla="*/ 401424 w 744632"/>
                  <a:gd name="connsiteY302" fmla="*/ 515381 h 564115"/>
                  <a:gd name="connsiteX303" fmla="*/ 405486 w 744632"/>
                  <a:gd name="connsiteY303" fmla="*/ 521699 h 564115"/>
                  <a:gd name="connsiteX304" fmla="*/ 408194 w 744632"/>
                  <a:gd name="connsiteY304" fmla="*/ 528243 h 564115"/>
                  <a:gd name="connsiteX305" fmla="*/ 415866 w 744632"/>
                  <a:gd name="connsiteY305" fmla="*/ 530725 h 564115"/>
                  <a:gd name="connsiteX306" fmla="*/ 419025 w 744632"/>
                  <a:gd name="connsiteY306" fmla="*/ 529371 h 564115"/>
                  <a:gd name="connsiteX307" fmla="*/ 428502 w 744632"/>
                  <a:gd name="connsiteY307" fmla="*/ 527340 h 564115"/>
                  <a:gd name="connsiteX308" fmla="*/ 434143 w 744632"/>
                  <a:gd name="connsiteY308" fmla="*/ 517412 h 564115"/>
                  <a:gd name="connsiteX309" fmla="*/ 433466 w 744632"/>
                  <a:gd name="connsiteY309" fmla="*/ 509966 h 564115"/>
                  <a:gd name="connsiteX310" fmla="*/ 430533 w 744632"/>
                  <a:gd name="connsiteY310" fmla="*/ 505001 h 564115"/>
                  <a:gd name="connsiteX311" fmla="*/ 429630 w 744632"/>
                  <a:gd name="connsiteY311" fmla="*/ 495524 h 564115"/>
                  <a:gd name="connsiteX312" fmla="*/ 430533 w 744632"/>
                  <a:gd name="connsiteY312" fmla="*/ 493719 h 564115"/>
                  <a:gd name="connsiteX313" fmla="*/ 432112 w 744632"/>
                  <a:gd name="connsiteY313" fmla="*/ 490334 h 564115"/>
                  <a:gd name="connsiteX314" fmla="*/ 433241 w 744632"/>
                  <a:gd name="connsiteY314" fmla="*/ 479729 h 564115"/>
                  <a:gd name="connsiteX315" fmla="*/ 433241 w 744632"/>
                  <a:gd name="connsiteY315" fmla="*/ 470252 h 564115"/>
                  <a:gd name="connsiteX316" fmla="*/ 435046 w 744632"/>
                  <a:gd name="connsiteY316" fmla="*/ 467995 h 564115"/>
                  <a:gd name="connsiteX317" fmla="*/ 451292 w 744632"/>
                  <a:gd name="connsiteY317" fmla="*/ 447236 h 564115"/>
                  <a:gd name="connsiteX318" fmla="*/ 454451 w 744632"/>
                  <a:gd name="connsiteY318" fmla="*/ 436179 h 564115"/>
                  <a:gd name="connsiteX319" fmla="*/ 454225 w 744632"/>
                  <a:gd name="connsiteY319" fmla="*/ 434374 h 564115"/>
                  <a:gd name="connsiteX320" fmla="*/ 457610 w 744632"/>
                  <a:gd name="connsiteY320" fmla="*/ 414969 h 564115"/>
                  <a:gd name="connsiteX321" fmla="*/ 458739 w 744632"/>
                  <a:gd name="connsiteY321" fmla="*/ 410681 h 564115"/>
                  <a:gd name="connsiteX322" fmla="*/ 464380 w 744632"/>
                  <a:gd name="connsiteY322" fmla="*/ 400527 h 564115"/>
                  <a:gd name="connsiteX323" fmla="*/ 471375 w 744632"/>
                  <a:gd name="connsiteY323" fmla="*/ 389245 h 564115"/>
                  <a:gd name="connsiteX324" fmla="*/ 469570 w 744632"/>
                  <a:gd name="connsiteY324" fmla="*/ 378414 h 564115"/>
                  <a:gd name="connsiteX325" fmla="*/ 465282 w 744632"/>
                  <a:gd name="connsiteY325" fmla="*/ 373450 h 564115"/>
                  <a:gd name="connsiteX326" fmla="*/ 462575 w 744632"/>
                  <a:gd name="connsiteY326" fmla="*/ 356300 h 564115"/>
                  <a:gd name="connsiteX327" fmla="*/ 483108 w 744632"/>
                  <a:gd name="connsiteY327" fmla="*/ 327192 h 564115"/>
                  <a:gd name="connsiteX328" fmla="*/ 485365 w 744632"/>
                  <a:gd name="connsiteY328" fmla="*/ 324484 h 564115"/>
                  <a:gd name="connsiteX329" fmla="*/ 510186 w 744632"/>
                  <a:gd name="connsiteY329" fmla="*/ 313653 h 564115"/>
                  <a:gd name="connsiteX330" fmla="*/ 516504 w 744632"/>
                  <a:gd name="connsiteY330" fmla="*/ 320197 h 564115"/>
                  <a:gd name="connsiteX331" fmla="*/ 516730 w 744632"/>
                  <a:gd name="connsiteY331" fmla="*/ 321325 h 564115"/>
                  <a:gd name="connsiteX332" fmla="*/ 516955 w 744632"/>
                  <a:gd name="connsiteY332" fmla="*/ 321325 h 564115"/>
                  <a:gd name="connsiteX333" fmla="*/ 531171 w 744632"/>
                  <a:gd name="connsiteY333" fmla="*/ 307561 h 564115"/>
                  <a:gd name="connsiteX334" fmla="*/ 526884 w 744632"/>
                  <a:gd name="connsiteY334" fmla="*/ 288832 h 564115"/>
                  <a:gd name="connsiteX335" fmla="*/ 524853 w 744632"/>
                  <a:gd name="connsiteY335" fmla="*/ 284996 h 564115"/>
                  <a:gd name="connsiteX336" fmla="*/ 522822 w 744632"/>
                  <a:gd name="connsiteY336" fmla="*/ 266719 h 564115"/>
                  <a:gd name="connsiteX337" fmla="*/ 523499 w 744632"/>
                  <a:gd name="connsiteY337" fmla="*/ 262432 h 564115"/>
                  <a:gd name="connsiteX338" fmla="*/ 534781 w 744632"/>
                  <a:gd name="connsiteY338" fmla="*/ 246637 h 564115"/>
                  <a:gd name="connsiteX339" fmla="*/ 539294 w 744632"/>
                  <a:gd name="connsiteY339" fmla="*/ 241898 h 564115"/>
                  <a:gd name="connsiteX340" fmla="*/ 551705 w 744632"/>
                  <a:gd name="connsiteY340" fmla="*/ 219333 h 564115"/>
                  <a:gd name="connsiteX341" fmla="*/ 553510 w 744632"/>
                  <a:gd name="connsiteY341" fmla="*/ 216851 h 564115"/>
                  <a:gd name="connsiteX342" fmla="*/ 558248 w 744632"/>
                  <a:gd name="connsiteY342" fmla="*/ 213692 h 564115"/>
                  <a:gd name="connsiteX343" fmla="*/ 560956 w 744632"/>
                  <a:gd name="connsiteY343" fmla="*/ 217979 h 564115"/>
                  <a:gd name="connsiteX344" fmla="*/ 562536 w 744632"/>
                  <a:gd name="connsiteY344" fmla="*/ 221815 h 564115"/>
                  <a:gd name="connsiteX345" fmla="*/ 567500 w 744632"/>
                  <a:gd name="connsiteY345" fmla="*/ 217077 h 564115"/>
                  <a:gd name="connsiteX346" fmla="*/ 568403 w 744632"/>
                  <a:gd name="connsiteY346" fmla="*/ 215272 h 564115"/>
                  <a:gd name="connsiteX347" fmla="*/ 580813 w 744632"/>
                  <a:gd name="connsiteY347" fmla="*/ 197220 h 564115"/>
                  <a:gd name="connsiteX348" fmla="*/ 593675 w 744632"/>
                  <a:gd name="connsiteY348" fmla="*/ 189548 h 564115"/>
                  <a:gd name="connsiteX349" fmla="*/ 606537 w 744632"/>
                  <a:gd name="connsiteY349" fmla="*/ 182102 h 564115"/>
                  <a:gd name="connsiteX350" fmla="*/ 612855 w 744632"/>
                  <a:gd name="connsiteY350" fmla="*/ 177814 h 564115"/>
                  <a:gd name="connsiteX351" fmla="*/ 620978 w 744632"/>
                  <a:gd name="connsiteY351" fmla="*/ 168337 h 564115"/>
                  <a:gd name="connsiteX352" fmla="*/ 639481 w 744632"/>
                  <a:gd name="connsiteY352" fmla="*/ 155250 h 564115"/>
                  <a:gd name="connsiteX353" fmla="*/ 674456 w 744632"/>
                  <a:gd name="connsiteY353" fmla="*/ 129301 h 564115"/>
                  <a:gd name="connsiteX354" fmla="*/ 684836 w 744632"/>
                  <a:gd name="connsiteY354" fmla="*/ 123885 h 564115"/>
                  <a:gd name="connsiteX355" fmla="*/ 690928 w 744632"/>
                  <a:gd name="connsiteY355" fmla="*/ 121629 h 564115"/>
                  <a:gd name="connsiteX356" fmla="*/ 691605 w 744632"/>
                  <a:gd name="connsiteY356" fmla="*/ 120726 h 564115"/>
                  <a:gd name="connsiteX357" fmla="*/ 696118 w 744632"/>
                  <a:gd name="connsiteY357" fmla="*/ 110572 h 564115"/>
                  <a:gd name="connsiteX358" fmla="*/ 696795 w 744632"/>
                  <a:gd name="connsiteY358" fmla="*/ 107864 h 564115"/>
                  <a:gd name="connsiteX359" fmla="*/ 700180 w 744632"/>
                  <a:gd name="connsiteY359" fmla="*/ 102449 h 564115"/>
                  <a:gd name="connsiteX360" fmla="*/ 704918 w 744632"/>
                  <a:gd name="connsiteY360" fmla="*/ 105156 h 564115"/>
                  <a:gd name="connsiteX361" fmla="*/ 709657 w 744632"/>
                  <a:gd name="connsiteY361" fmla="*/ 108992 h 564115"/>
                  <a:gd name="connsiteX362" fmla="*/ 710560 w 744632"/>
                  <a:gd name="connsiteY362" fmla="*/ 109218 h 564115"/>
                  <a:gd name="connsiteX363" fmla="*/ 722293 w 744632"/>
                  <a:gd name="connsiteY363" fmla="*/ 104480 h 564115"/>
                  <a:gd name="connsiteX364" fmla="*/ 731093 w 744632"/>
                  <a:gd name="connsiteY364" fmla="*/ 100418 h 564115"/>
                  <a:gd name="connsiteX365" fmla="*/ 731770 w 744632"/>
                  <a:gd name="connsiteY365" fmla="*/ 100418 h 564115"/>
                  <a:gd name="connsiteX366" fmla="*/ 732899 w 744632"/>
                  <a:gd name="connsiteY366" fmla="*/ 99064 h 564115"/>
                  <a:gd name="connsiteX367" fmla="*/ 740570 w 744632"/>
                  <a:gd name="connsiteY367" fmla="*/ 95228 h 564115"/>
                  <a:gd name="connsiteX368" fmla="*/ 745535 w 744632"/>
                  <a:gd name="connsiteY368" fmla="*/ 95002 h 564115"/>
                  <a:gd name="connsiteX369" fmla="*/ 755915 w 744632"/>
                  <a:gd name="connsiteY369" fmla="*/ 87556 h 564115"/>
                  <a:gd name="connsiteX370" fmla="*/ 756366 w 744632"/>
                  <a:gd name="connsiteY370" fmla="*/ 86879 h 564115"/>
                  <a:gd name="connsiteX371" fmla="*/ 757494 w 744632"/>
                  <a:gd name="connsiteY371" fmla="*/ 83043 h 564115"/>
                  <a:gd name="connsiteX372" fmla="*/ 750499 w 744632"/>
                  <a:gd name="connsiteY372" fmla="*/ 76725 h 564115"/>
                  <a:gd name="connsiteX373" fmla="*/ 748694 w 744632"/>
                  <a:gd name="connsiteY373" fmla="*/ 80110 h 564115"/>
                  <a:gd name="connsiteX374" fmla="*/ 741699 w 744632"/>
                  <a:gd name="connsiteY374" fmla="*/ 84397 h 564115"/>
                  <a:gd name="connsiteX375" fmla="*/ 738314 w 744632"/>
                  <a:gd name="connsiteY375" fmla="*/ 81689 h 564115"/>
                  <a:gd name="connsiteX376" fmla="*/ 735832 w 744632"/>
                  <a:gd name="connsiteY376" fmla="*/ 70407 h 564115"/>
                  <a:gd name="connsiteX377" fmla="*/ 735606 w 744632"/>
                  <a:gd name="connsiteY377" fmla="*/ 67022 h 564115"/>
                  <a:gd name="connsiteX378" fmla="*/ 733576 w 744632"/>
                  <a:gd name="connsiteY378" fmla="*/ 63863 h 564115"/>
                  <a:gd name="connsiteX379" fmla="*/ 728386 w 744632"/>
                  <a:gd name="connsiteY379" fmla="*/ 60027 h 564115"/>
                  <a:gd name="connsiteX380" fmla="*/ 726355 w 744632"/>
                  <a:gd name="connsiteY380" fmla="*/ 57545 h 564115"/>
                  <a:gd name="connsiteX381" fmla="*/ 724324 w 744632"/>
                  <a:gd name="connsiteY381" fmla="*/ 48068 h 564115"/>
                  <a:gd name="connsiteX382" fmla="*/ 723647 w 744632"/>
                  <a:gd name="connsiteY382" fmla="*/ 40622 h 564115"/>
                  <a:gd name="connsiteX383" fmla="*/ 722293 w 744632"/>
                  <a:gd name="connsiteY383" fmla="*/ 33852 h 564115"/>
                  <a:gd name="connsiteX384" fmla="*/ 728160 w 744632"/>
                  <a:gd name="connsiteY384" fmla="*/ 22570 h 564115"/>
                  <a:gd name="connsiteX385" fmla="*/ 732447 w 744632"/>
                  <a:gd name="connsiteY385" fmla="*/ 17606 h 564115"/>
                  <a:gd name="connsiteX386" fmla="*/ 735832 w 744632"/>
                  <a:gd name="connsiteY386" fmla="*/ 13093 h 564115"/>
                  <a:gd name="connsiteX387" fmla="*/ 741699 w 744632"/>
                  <a:gd name="connsiteY387" fmla="*/ 3841 h 564115"/>
                  <a:gd name="connsiteX388" fmla="*/ 741699 w 744632"/>
                  <a:gd name="connsiteY388" fmla="*/ 3841 h 564115"/>
                  <a:gd name="connsiteX389" fmla="*/ 738991 w 744632"/>
                  <a:gd name="connsiteY389" fmla="*/ 3616 h 564115"/>
                  <a:gd name="connsiteX390" fmla="*/ 735832 w 744632"/>
                  <a:gd name="connsiteY390" fmla="*/ 3841 h 564115"/>
                  <a:gd name="connsiteX391" fmla="*/ 731545 w 744632"/>
                  <a:gd name="connsiteY391" fmla="*/ 7226 h 564115"/>
                  <a:gd name="connsiteX392" fmla="*/ 718909 w 744632"/>
                  <a:gd name="connsiteY392" fmla="*/ 8580 h 564115"/>
                  <a:gd name="connsiteX393" fmla="*/ 705821 w 744632"/>
                  <a:gd name="connsiteY393" fmla="*/ 7903 h 564115"/>
                  <a:gd name="connsiteX394" fmla="*/ 701082 w 744632"/>
                  <a:gd name="connsiteY394" fmla="*/ 8129 h 564115"/>
                  <a:gd name="connsiteX395" fmla="*/ 701082 w 744632"/>
                  <a:gd name="connsiteY395" fmla="*/ 14447 h 564115"/>
                  <a:gd name="connsiteX396" fmla="*/ 688672 w 744632"/>
                  <a:gd name="connsiteY396" fmla="*/ 26180 h 564115"/>
                  <a:gd name="connsiteX397" fmla="*/ 680549 w 744632"/>
                  <a:gd name="connsiteY397" fmla="*/ 27534 h 564115"/>
                  <a:gd name="connsiteX398" fmla="*/ 671974 w 744632"/>
                  <a:gd name="connsiteY398" fmla="*/ 25955 h 564115"/>
                  <a:gd name="connsiteX399" fmla="*/ 662948 w 744632"/>
                  <a:gd name="connsiteY399" fmla="*/ 27308 h 564115"/>
                  <a:gd name="connsiteX400" fmla="*/ 655728 w 744632"/>
                  <a:gd name="connsiteY400" fmla="*/ 30919 h 564115"/>
                  <a:gd name="connsiteX401" fmla="*/ 646927 w 744632"/>
                  <a:gd name="connsiteY401" fmla="*/ 37914 h 564115"/>
                  <a:gd name="connsiteX402" fmla="*/ 627296 w 744632"/>
                  <a:gd name="connsiteY402" fmla="*/ 49873 h 564115"/>
                  <a:gd name="connsiteX403" fmla="*/ 612629 w 744632"/>
                  <a:gd name="connsiteY403" fmla="*/ 55740 h 564115"/>
                  <a:gd name="connsiteX404" fmla="*/ 598865 w 744632"/>
                  <a:gd name="connsiteY404" fmla="*/ 64089 h 564115"/>
                  <a:gd name="connsiteX405" fmla="*/ 592095 w 744632"/>
                  <a:gd name="connsiteY405" fmla="*/ 67248 h 564115"/>
                  <a:gd name="connsiteX406" fmla="*/ 566823 w 744632"/>
                  <a:gd name="connsiteY406" fmla="*/ 78530 h 564115"/>
                  <a:gd name="connsiteX407" fmla="*/ 541551 w 744632"/>
                  <a:gd name="connsiteY407" fmla="*/ 74920 h 564115"/>
                  <a:gd name="connsiteX408" fmla="*/ 538166 w 744632"/>
                  <a:gd name="connsiteY408" fmla="*/ 72438 h 564115"/>
                  <a:gd name="connsiteX409" fmla="*/ 537715 w 744632"/>
                  <a:gd name="connsiteY409" fmla="*/ 79207 h 564115"/>
                  <a:gd name="connsiteX410" fmla="*/ 539971 w 744632"/>
                  <a:gd name="connsiteY410" fmla="*/ 82366 h 564115"/>
                  <a:gd name="connsiteX411" fmla="*/ 542002 w 744632"/>
                  <a:gd name="connsiteY411" fmla="*/ 89587 h 564115"/>
                  <a:gd name="connsiteX412" fmla="*/ 541325 w 744632"/>
                  <a:gd name="connsiteY412" fmla="*/ 90715 h 564115"/>
                  <a:gd name="connsiteX413" fmla="*/ 529817 w 744632"/>
                  <a:gd name="connsiteY413" fmla="*/ 105608 h 564115"/>
                  <a:gd name="connsiteX414" fmla="*/ 521017 w 744632"/>
                  <a:gd name="connsiteY414" fmla="*/ 115536 h 564115"/>
                  <a:gd name="connsiteX415" fmla="*/ 509058 w 744632"/>
                  <a:gd name="connsiteY415" fmla="*/ 128849 h 564115"/>
                  <a:gd name="connsiteX416" fmla="*/ 502514 w 744632"/>
                  <a:gd name="connsiteY416" fmla="*/ 145998 h 564115"/>
                  <a:gd name="connsiteX417" fmla="*/ 502063 w 744632"/>
                  <a:gd name="connsiteY417" fmla="*/ 152091 h 564115"/>
                  <a:gd name="connsiteX418" fmla="*/ 492360 w 744632"/>
                  <a:gd name="connsiteY418" fmla="*/ 161568 h 564115"/>
                  <a:gd name="connsiteX419" fmla="*/ 486719 w 744632"/>
                  <a:gd name="connsiteY419" fmla="*/ 164050 h 564115"/>
                  <a:gd name="connsiteX420" fmla="*/ 485139 w 744632"/>
                  <a:gd name="connsiteY420" fmla="*/ 164953 h 564115"/>
                  <a:gd name="connsiteX421" fmla="*/ 458062 w 744632"/>
                  <a:gd name="connsiteY421" fmla="*/ 173753 h 564115"/>
                  <a:gd name="connsiteX422" fmla="*/ 441364 w 744632"/>
                  <a:gd name="connsiteY422" fmla="*/ 175107 h 564115"/>
                  <a:gd name="connsiteX423" fmla="*/ 433241 w 744632"/>
                  <a:gd name="connsiteY423" fmla="*/ 176235 h 564115"/>
                  <a:gd name="connsiteX424" fmla="*/ 420379 w 744632"/>
                  <a:gd name="connsiteY424" fmla="*/ 180071 h 564115"/>
                  <a:gd name="connsiteX425" fmla="*/ 405937 w 744632"/>
                  <a:gd name="connsiteY425" fmla="*/ 183681 h 564115"/>
                  <a:gd name="connsiteX426" fmla="*/ 394204 w 744632"/>
                  <a:gd name="connsiteY426" fmla="*/ 180748 h 564115"/>
                  <a:gd name="connsiteX427" fmla="*/ 384952 w 744632"/>
                  <a:gd name="connsiteY427" fmla="*/ 177363 h 564115"/>
                  <a:gd name="connsiteX428" fmla="*/ 377506 w 744632"/>
                  <a:gd name="connsiteY428" fmla="*/ 175332 h 564115"/>
                  <a:gd name="connsiteX429" fmla="*/ 354941 w 744632"/>
                  <a:gd name="connsiteY429" fmla="*/ 173302 h 564115"/>
                  <a:gd name="connsiteX430" fmla="*/ 349300 w 744632"/>
                  <a:gd name="connsiteY430" fmla="*/ 177138 h 564115"/>
                  <a:gd name="connsiteX431" fmla="*/ 328089 w 744632"/>
                  <a:gd name="connsiteY431" fmla="*/ 187292 h 564115"/>
                  <a:gd name="connsiteX432" fmla="*/ 310940 w 744632"/>
                  <a:gd name="connsiteY432" fmla="*/ 193610 h 564115"/>
                  <a:gd name="connsiteX433" fmla="*/ 294017 w 744632"/>
                  <a:gd name="connsiteY433" fmla="*/ 200379 h 564115"/>
                  <a:gd name="connsiteX434" fmla="*/ 288601 w 744632"/>
                  <a:gd name="connsiteY434" fmla="*/ 201959 h 564115"/>
                  <a:gd name="connsiteX435" fmla="*/ 275965 w 744632"/>
                  <a:gd name="connsiteY435" fmla="*/ 199928 h 564115"/>
                  <a:gd name="connsiteX436" fmla="*/ 266714 w 744632"/>
                  <a:gd name="connsiteY436" fmla="*/ 194061 h 564115"/>
                  <a:gd name="connsiteX437" fmla="*/ 253852 w 744632"/>
                  <a:gd name="connsiteY437" fmla="*/ 200153 h 564115"/>
                  <a:gd name="connsiteX438" fmla="*/ 242570 w 744632"/>
                  <a:gd name="connsiteY438" fmla="*/ 209856 h 564115"/>
                  <a:gd name="connsiteX439" fmla="*/ 231287 w 744632"/>
                  <a:gd name="connsiteY439" fmla="*/ 210984 h 564115"/>
                  <a:gd name="connsiteX440" fmla="*/ 218200 w 744632"/>
                  <a:gd name="connsiteY440" fmla="*/ 210984 h 564115"/>
                  <a:gd name="connsiteX441" fmla="*/ 205338 w 744632"/>
                  <a:gd name="connsiteY441" fmla="*/ 216626 h 564115"/>
                  <a:gd name="connsiteX442" fmla="*/ 193830 w 744632"/>
                  <a:gd name="connsiteY442" fmla="*/ 216174 h 564115"/>
                  <a:gd name="connsiteX443" fmla="*/ 182999 w 744632"/>
                  <a:gd name="connsiteY443" fmla="*/ 210308 h 564115"/>
                  <a:gd name="connsiteX444" fmla="*/ 171717 w 744632"/>
                  <a:gd name="connsiteY444" fmla="*/ 213241 h 564115"/>
                  <a:gd name="connsiteX445" fmla="*/ 155019 w 744632"/>
                  <a:gd name="connsiteY445" fmla="*/ 220462 h 564115"/>
                  <a:gd name="connsiteX446" fmla="*/ 140577 w 744632"/>
                  <a:gd name="connsiteY446" fmla="*/ 221815 h 564115"/>
                  <a:gd name="connsiteX447" fmla="*/ 130423 w 744632"/>
                  <a:gd name="connsiteY447" fmla="*/ 224749 h 564115"/>
                  <a:gd name="connsiteX448" fmla="*/ 97705 w 744632"/>
                  <a:gd name="connsiteY448" fmla="*/ 222492 h 564115"/>
                  <a:gd name="connsiteX449" fmla="*/ 92063 w 744632"/>
                  <a:gd name="connsiteY449" fmla="*/ 217303 h 564115"/>
                  <a:gd name="connsiteX450" fmla="*/ 84843 w 744632"/>
                  <a:gd name="connsiteY450" fmla="*/ 212113 h 564115"/>
                  <a:gd name="connsiteX451" fmla="*/ 74915 w 744632"/>
                  <a:gd name="connsiteY451" fmla="*/ 214595 h 564115"/>
                  <a:gd name="connsiteX452" fmla="*/ 71981 w 744632"/>
                  <a:gd name="connsiteY452" fmla="*/ 216174 h 564115"/>
                  <a:gd name="connsiteX453" fmla="*/ 67017 w 744632"/>
                  <a:gd name="connsiteY453" fmla="*/ 222041 h 564115"/>
                  <a:gd name="connsiteX454" fmla="*/ 62278 w 744632"/>
                  <a:gd name="connsiteY454" fmla="*/ 229939 h 564115"/>
                  <a:gd name="connsiteX455" fmla="*/ 43324 w 744632"/>
                  <a:gd name="connsiteY455" fmla="*/ 237611 h 564115"/>
                  <a:gd name="connsiteX456" fmla="*/ 28431 w 744632"/>
                  <a:gd name="connsiteY456" fmla="*/ 239641 h 564115"/>
                  <a:gd name="connsiteX457" fmla="*/ 23693 w 744632"/>
                  <a:gd name="connsiteY457" fmla="*/ 240544 h 564115"/>
                  <a:gd name="connsiteX458" fmla="*/ 23918 w 744632"/>
                  <a:gd name="connsiteY458" fmla="*/ 243929 h 564115"/>
                  <a:gd name="connsiteX459" fmla="*/ 21888 w 744632"/>
                  <a:gd name="connsiteY459" fmla="*/ 260401 h 564115"/>
                  <a:gd name="connsiteX460" fmla="*/ 20082 w 744632"/>
                  <a:gd name="connsiteY460" fmla="*/ 275294 h 564115"/>
                  <a:gd name="connsiteX461" fmla="*/ 10831 w 744632"/>
                  <a:gd name="connsiteY461" fmla="*/ 304402 h 564115"/>
                  <a:gd name="connsiteX462" fmla="*/ 9703 w 744632"/>
                  <a:gd name="connsiteY462" fmla="*/ 306207 h 564115"/>
                  <a:gd name="connsiteX463" fmla="*/ 7898 w 744632"/>
                  <a:gd name="connsiteY463" fmla="*/ 309592 h 564115"/>
                  <a:gd name="connsiteX464" fmla="*/ 8574 w 744632"/>
                  <a:gd name="connsiteY464" fmla="*/ 309592 h 564115"/>
                  <a:gd name="connsiteX465" fmla="*/ 19180 w 744632"/>
                  <a:gd name="connsiteY465" fmla="*/ 322905 h 564115"/>
                  <a:gd name="connsiteX466" fmla="*/ 22790 w 744632"/>
                  <a:gd name="connsiteY466" fmla="*/ 328546 h 564115"/>
                  <a:gd name="connsiteX467" fmla="*/ 29108 w 744632"/>
                  <a:gd name="connsiteY467" fmla="*/ 340280 h 564115"/>
                  <a:gd name="connsiteX468" fmla="*/ 26626 w 744632"/>
                  <a:gd name="connsiteY468" fmla="*/ 351788 h 564115"/>
                  <a:gd name="connsiteX469" fmla="*/ 24821 w 744632"/>
                  <a:gd name="connsiteY469" fmla="*/ 359685 h 564115"/>
                  <a:gd name="connsiteX470" fmla="*/ 29560 w 744632"/>
                  <a:gd name="connsiteY470" fmla="*/ 375481 h 564115"/>
                  <a:gd name="connsiteX471" fmla="*/ 34524 w 744632"/>
                  <a:gd name="connsiteY471" fmla="*/ 389922 h 564115"/>
                  <a:gd name="connsiteX472" fmla="*/ 34524 w 744632"/>
                  <a:gd name="connsiteY472" fmla="*/ 391501 h 564115"/>
                  <a:gd name="connsiteX473" fmla="*/ 41293 w 744632"/>
                  <a:gd name="connsiteY473" fmla="*/ 390147 h 564115"/>
                  <a:gd name="connsiteX474" fmla="*/ 42421 w 744632"/>
                  <a:gd name="connsiteY474" fmla="*/ 386988 h 564115"/>
                  <a:gd name="connsiteX475" fmla="*/ 38811 w 744632"/>
                  <a:gd name="connsiteY475" fmla="*/ 379316 h 564115"/>
                  <a:gd name="connsiteX476" fmla="*/ 38360 w 744632"/>
                  <a:gd name="connsiteY476" fmla="*/ 378640 h 564115"/>
                  <a:gd name="connsiteX477" fmla="*/ 36555 w 744632"/>
                  <a:gd name="connsiteY477" fmla="*/ 376383 h 564115"/>
                  <a:gd name="connsiteX478" fmla="*/ 33621 w 744632"/>
                  <a:gd name="connsiteY478" fmla="*/ 370065 h 564115"/>
                  <a:gd name="connsiteX479" fmla="*/ 37908 w 744632"/>
                  <a:gd name="connsiteY479" fmla="*/ 364649 h 564115"/>
                  <a:gd name="connsiteX480" fmla="*/ 49868 w 744632"/>
                  <a:gd name="connsiteY480" fmla="*/ 350208 h 564115"/>
                  <a:gd name="connsiteX481" fmla="*/ 66114 w 744632"/>
                  <a:gd name="connsiteY481" fmla="*/ 338474 h 564115"/>
                  <a:gd name="connsiteX482" fmla="*/ 76043 w 744632"/>
                  <a:gd name="connsiteY482" fmla="*/ 335315 h 564115"/>
                  <a:gd name="connsiteX483" fmla="*/ 85971 w 744632"/>
                  <a:gd name="connsiteY483" fmla="*/ 332382 h 564115"/>
                  <a:gd name="connsiteX484" fmla="*/ 93192 w 744632"/>
                  <a:gd name="connsiteY484" fmla="*/ 331254 h 564115"/>
                  <a:gd name="connsiteX485" fmla="*/ 105828 w 744632"/>
                  <a:gd name="connsiteY485" fmla="*/ 332833 h 564115"/>
                  <a:gd name="connsiteX486" fmla="*/ 106731 w 744632"/>
                  <a:gd name="connsiteY486" fmla="*/ 339603 h 564115"/>
                  <a:gd name="connsiteX487" fmla="*/ 106956 w 744632"/>
                  <a:gd name="connsiteY487" fmla="*/ 342987 h 564115"/>
                  <a:gd name="connsiteX488" fmla="*/ 108310 w 744632"/>
                  <a:gd name="connsiteY488" fmla="*/ 343213 h 564115"/>
                  <a:gd name="connsiteX489" fmla="*/ 114403 w 744632"/>
                  <a:gd name="connsiteY489" fmla="*/ 340731 h 564115"/>
                  <a:gd name="connsiteX490" fmla="*/ 129747 w 744632"/>
                  <a:gd name="connsiteY490" fmla="*/ 337121 h 564115"/>
                  <a:gd name="connsiteX491" fmla="*/ 136967 w 744632"/>
                  <a:gd name="connsiteY491" fmla="*/ 338249 h 564115"/>
                  <a:gd name="connsiteX492" fmla="*/ 148250 w 744632"/>
                  <a:gd name="connsiteY492" fmla="*/ 337798 h 564115"/>
                  <a:gd name="connsiteX493" fmla="*/ 169009 w 744632"/>
                  <a:gd name="connsiteY493" fmla="*/ 342987 h 564115"/>
                  <a:gd name="connsiteX494" fmla="*/ 174199 w 744632"/>
                  <a:gd name="connsiteY494" fmla="*/ 344567 h 564115"/>
                  <a:gd name="connsiteX495" fmla="*/ 180066 w 744632"/>
                  <a:gd name="connsiteY495" fmla="*/ 342085 h 564115"/>
                  <a:gd name="connsiteX496" fmla="*/ 182548 w 744632"/>
                  <a:gd name="connsiteY496" fmla="*/ 340731 h 564115"/>
                  <a:gd name="connsiteX497" fmla="*/ 186158 w 744632"/>
                  <a:gd name="connsiteY497" fmla="*/ 346598 h 564115"/>
                  <a:gd name="connsiteX498" fmla="*/ 190220 w 744632"/>
                  <a:gd name="connsiteY498" fmla="*/ 355624 h 564115"/>
                  <a:gd name="connsiteX499" fmla="*/ 193604 w 744632"/>
                  <a:gd name="connsiteY499" fmla="*/ 359234 h 564115"/>
                  <a:gd name="connsiteX500" fmla="*/ 195635 w 744632"/>
                  <a:gd name="connsiteY500" fmla="*/ 356978 h 564115"/>
                  <a:gd name="connsiteX501" fmla="*/ 197666 w 744632"/>
                  <a:gd name="connsiteY501" fmla="*/ 352239 h 564115"/>
                  <a:gd name="connsiteX502" fmla="*/ 204435 w 744632"/>
                  <a:gd name="connsiteY502" fmla="*/ 344116 h 564115"/>
                  <a:gd name="connsiteX503" fmla="*/ 206466 w 744632"/>
                  <a:gd name="connsiteY503" fmla="*/ 343213 h 564115"/>
                  <a:gd name="connsiteX504" fmla="*/ 216846 w 744632"/>
                  <a:gd name="connsiteY504" fmla="*/ 340054 h 564115"/>
                  <a:gd name="connsiteX505" fmla="*/ 222487 w 744632"/>
                  <a:gd name="connsiteY505" fmla="*/ 338249 h 564115"/>
                  <a:gd name="connsiteX506" fmla="*/ 224969 w 744632"/>
                  <a:gd name="connsiteY506" fmla="*/ 333059 h 564115"/>
                  <a:gd name="connsiteX507" fmla="*/ 226549 w 744632"/>
                  <a:gd name="connsiteY507" fmla="*/ 327192 h 564115"/>
                  <a:gd name="connsiteX508" fmla="*/ 230159 w 744632"/>
                  <a:gd name="connsiteY508" fmla="*/ 318618 h 564115"/>
                  <a:gd name="connsiteX509" fmla="*/ 246631 w 744632"/>
                  <a:gd name="connsiteY509" fmla="*/ 318392 h 564115"/>
                  <a:gd name="connsiteX510" fmla="*/ 249565 w 744632"/>
                  <a:gd name="connsiteY510" fmla="*/ 319295 h 564115"/>
                  <a:gd name="connsiteX511" fmla="*/ 255883 w 744632"/>
                  <a:gd name="connsiteY511" fmla="*/ 314105 h 564115"/>
                  <a:gd name="connsiteX512" fmla="*/ 263329 w 744632"/>
                  <a:gd name="connsiteY512" fmla="*/ 307787 h 564115"/>
                  <a:gd name="connsiteX513" fmla="*/ 275514 w 744632"/>
                  <a:gd name="connsiteY513" fmla="*/ 308464 h 564115"/>
                  <a:gd name="connsiteX514" fmla="*/ 293566 w 744632"/>
                  <a:gd name="connsiteY514" fmla="*/ 307335 h 564115"/>
                  <a:gd name="connsiteX515" fmla="*/ 295371 w 744632"/>
                  <a:gd name="connsiteY515" fmla="*/ 306884 h 564115"/>
                  <a:gd name="connsiteX516" fmla="*/ 315453 w 744632"/>
                  <a:gd name="connsiteY516" fmla="*/ 308238 h 564115"/>
                  <a:gd name="connsiteX517" fmla="*/ 315905 w 744632"/>
                  <a:gd name="connsiteY517" fmla="*/ 311397 h 564115"/>
                  <a:gd name="connsiteX518" fmla="*/ 312971 w 744632"/>
                  <a:gd name="connsiteY518" fmla="*/ 315233 h 564115"/>
                  <a:gd name="connsiteX519" fmla="*/ 310038 w 744632"/>
                  <a:gd name="connsiteY519" fmla="*/ 322905 h 564115"/>
                  <a:gd name="connsiteX520" fmla="*/ 309361 w 744632"/>
                  <a:gd name="connsiteY520" fmla="*/ 347049 h 564115"/>
                  <a:gd name="connsiteX521" fmla="*/ 311392 w 744632"/>
                  <a:gd name="connsiteY521" fmla="*/ 351336 h 564115"/>
                  <a:gd name="connsiteX522" fmla="*/ 315679 w 744632"/>
                  <a:gd name="connsiteY522" fmla="*/ 352690 h 564115"/>
                  <a:gd name="connsiteX523" fmla="*/ 319064 w 744632"/>
                  <a:gd name="connsiteY523" fmla="*/ 351111 h 564115"/>
                  <a:gd name="connsiteX524" fmla="*/ 346367 w 744632"/>
                  <a:gd name="connsiteY524" fmla="*/ 350208 h 564115"/>
                  <a:gd name="connsiteX525" fmla="*/ 352685 w 744632"/>
                  <a:gd name="connsiteY525" fmla="*/ 360814 h 564115"/>
                  <a:gd name="connsiteX526" fmla="*/ 355618 w 744632"/>
                  <a:gd name="connsiteY526" fmla="*/ 363296 h 564115"/>
                  <a:gd name="connsiteX527" fmla="*/ 360582 w 744632"/>
                  <a:gd name="connsiteY527" fmla="*/ 363747 h 564115"/>
                  <a:gd name="connsiteX528" fmla="*/ 373219 w 744632"/>
                  <a:gd name="connsiteY528" fmla="*/ 367357 h 564115"/>
                  <a:gd name="connsiteX529" fmla="*/ 373670 w 744632"/>
                  <a:gd name="connsiteY529" fmla="*/ 370968 h 564115"/>
                  <a:gd name="connsiteX530" fmla="*/ 372090 w 744632"/>
                  <a:gd name="connsiteY530" fmla="*/ 374803 h 564115"/>
                  <a:gd name="connsiteX531" fmla="*/ 372542 w 744632"/>
                  <a:gd name="connsiteY531" fmla="*/ 386311 h 564115"/>
                  <a:gd name="connsiteX532" fmla="*/ 375701 w 744632"/>
                  <a:gd name="connsiteY532" fmla="*/ 388342 h 564115"/>
                  <a:gd name="connsiteX533" fmla="*/ 384049 w 744632"/>
                  <a:gd name="connsiteY533" fmla="*/ 398722 h 564115"/>
                  <a:gd name="connsiteX534" fmla="*/ 386081 w 744632"/>
                  <a:gd name="connsiteY534" fmla="*/ 410456 h 564115"/>
                  <a:gd name="connsiteX535" fmla="*/ 385178 w 744632"/>
                  <a:gd name="connsiteY535" fmla="*/ 414969 h 564115"/>
                  <a:gd name="connsiteX536" fmla="*/ 375475 w 744632"/>
                  <a:gd name="connsiteY536" fmla="*/ 427605 h 564115"/>
                  <a:gd name="connsiteX537" fmla="*/ 373444 w 744632"/>
                  <a:gd name="connsiteY537" fmla="*/ 428733 h 564115"/>
                  <a:gd name="connsiteX538" fmla="*/ 371639 w 744632"/>
                  <a:gd name="connsiteY538" fmla="*/ 430087 h 564115"/>
                  <a:gd name="connsiteX539" fmla="*/ 368480 w 744632"/>
                  <a:gd name="connsiteY539" fmla="*/ 433246 h 564115"/>
                  <a:gd name="connsiteX540" fmla="*/ 361034 w 744632"/>
                  <a:gd name="connsiteY540" fmla="*/ 437308 h 564115"/>
                  <a:gd name="connsiteX541" fmla="*/ 353136 w 744632"/>
                  <a:gd name="connsiteY541" fmla="*/ 441143 h 564115"/>
                  <a:gd name="connsiteX542" fmla="*/ 353136 w 744632"/>
                  <a:gd name="connsiteY542" fmla="*/ 441595 h 564115"/>
                  <a:gd name="connsiteX543" fmla="*/ 354264 w 744632"/>
                  <a:gd name="connsiteY543" fmla="*/ 445431 h 564115"/>
                  <a:gd name="connsiteX544" fmla="*/ 354941 w 744632"/>
                  <a:gd name="connsiteY544" fmla="*/ 447687 h 564115"/>
                  <a:gd name="connsiteX545" fmla="*/ 356972 w 744632"/>
                  <a:gd name="connsiteY545" fmla="*/ 450846 h 564115"/>
                  <a:gd name="connsiteX546" fmla="*/ 362388 w 744632"/>
                  <a:gd name="connsiteY546" fmla="*/ 461226 h 564115"/>
                  <a:gd name="connsiteX547" fmla="*/ 354716 w 744632"/>
                  <a:gd name="connsiteY547" fmla="*/ 468221 h 564115"/>
                  <a:gd name="connsiteX548" fmla="*/ 351105 w 744632"/>
                  <a:gd name="connsiteY548" fmla="*/ 470252 h 564115"/>
                  <a:gd name="connsiteX549" fmla="*/ 348172 w 744632"/>
                  <a:gd name="connsiteY549" fmla="*/ 471154 h 564115"/>
                  <a:gd name="connsiteX550" fmla="*/ 342757 w 744632"/>
                  <a:gd name="connsiteY550" fmla="*/ 466190 h 564115"/>
                  <a:gd name="connsiteX551" fmla="*/ 341177 w 744632"/>
                  <a:gd name="connsiteY551" fmla="*/ 463934 h 564115"/>
                  <a:gd name="connsiteX552" fmla="*/ 339823 w 744632"/>
                  <a:gd name="connsiteY552" fmla="*/ 463708 h 564115"/>
                  <a:gd name="connsiteX553" fmla="*/ 335536 w 744632"/>
                  <a:gd name="connsiteY553" fmla="*/ 470026 h 564115"/>
                  <a:gd name="connsiteX554" fmla="*/ 335761 w 744632"/>
                  <a:gd name="connsiteY554" fmla="*/ 478601 h 564115"/>
                  <a:gd name="connsiteX555" fmla="*/ 336213 w 744632"/>
                  <a:gd name="connsiteY555" fmla="*/ 480857 h 564115"/>
                  <a:gd name="connsiteX556" fmla="*/ 336438 w 744632"/>
                  <a:gd name="connsiteY556" fmla="*/ 482211 h 564115"/>
                  <a:gd name="connsiteX557" fmla="*/ 334407 w 744632"/>
                  <a:gd name="connsiteY557" fmla="*/ 494396 h 564115"/>
                  <a:gd name="connsiteX558" fmla="*/ 336213 w 744632"/>
                  <a:gd name="connsiteY558" fmla="*/ 506129 h 564115"/>
                  <a:gd name="connsiteX559" fmla="*/ 337115 w 744632"/>
                  <a:gd name="connsiteY559" fmla="*/ 508386 h 564115"/>
                  <a:gd name="connsiteX560" fmla="*/ 334407 w 744632"/>
                  <a:gd name="connsiteY560" fmla="*/ 518766 h 564115"/>
                  <a:gd name="connsiteX561" fmla="*/ 337566 w 744632"/>
                  <a:gd name="connsiteY561" fmla="*/ 521699 h 564115"/>
                  <a:gd name="connsiteX562" fmla="*/ 340725 w 744632"/>
                  <a:gd name="connsiteY562" fmla="*/ 525310 h 564115"/>
                  <a:gd name="connsiteX563" fmla="*/ 341854 w 744632"/>
                  <a:gd name="connsiteY563" fmla="*/ 534335 h 564115"/>
                  <a:gd name="connsiteX564" fmla="*/ 340500 w 744632"/>
                  <a:gd name="connsiteY564" fmla="*/ 537720 h 564115"/>
                  <a:gd name="connsiteX565" fmla="*/ 342531 w 744632"/>
                  <a:gd name="connsiteY565" fmla="*/ 551710 h 564115"/>
                  <a:gd name="connsiteX566" fmla="*/ 344787 w 744632"/>
                  <a:gd name="connsiteY566" fmla="*/ 553741 h 564115"/>
                  <a:gd name="connsiteX567" fmla="*/ 351105 w 744632"/>
                  <a:gd name="connsiteY567" fmla="*/ 555772 h 564115"/>
                  <a:gd name="connsiteX568" fmla="*/ 357875 w 744632"/>
                  <a:gd name="connsiteY568" fmla="*/ 553290 h 564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</a:cxnLst>
                <a:rect l="l" t="t" r="r" b="b"/>
                <a:pathLst>
                  <a:path w="744632" h="564115">
                    <a:moveTo>
                      <a:pt x="369157" y="573823"/>
                    </a:moveTo>
                    <a:cubicBezTo>
                      <a:pt x="367803" y="573823"/>
                      <a:pt x="366224" y="573372"/>
                      <a:pt x="364870" y="572695"/>
                    </a:cubicBezTo>
                    <a:cubicBezTo>
                      <a:pt x="359680" y="570439"/>
                      <a:pt x="359454" y="567957"/>
                      <a:pt x="359906" y="563895"/>
                    </a:cubicBezTo>
                    <a:cubicBezTo>
                      <a:pt x="359906" y="562767"/>
                      <a:pt x="360131" y="561639"/>
                      <a:pt x="360131" y="560059"/>
                    </a:cubicBezTo>
                    <a:cubicBezTo>
                      <a:pt x="360131" y="558479"/>
                      <a:pt x="359680" y="557577"/>
                      <a:pt x="359003" y="557351"/>
                    </a:cubicBezTo>
                    <a:cubicBezTo>
                      <a:pt x="357649" y="556674"/>
                      <a:pt x="354716" y="557351"/>
                      <a:pt x="352234" y="559156"/>
                    </a:cubicBezTo>
                    <a:cubicBezTo>
                      <a:pt x="347495" y="562316"/>
                      <a:pt x="345239" y="560510"/>
                      <a:pt x="341177" y="556900"/>
                    </a:cubicBezTo>
                    <a:cubicBezTo>
                      <a:pt x="340500" y="556223"/>
                      <a:pt x="339823" y="555772"/>
                      <a:pt x="338920" y="554869"/>
                    </a:cubicBezTo>
                    <a:cubicBezTo>
                      <a:pt x="332151" y="549228"/>
                      <a:pt x="331925" y="547423"/>
                      <a:pt x="335761" y="536817"/>
                    </a:cubicBezTo>
                    <a:cubicBezTo>
                      <a:pt x="336213" y="535464"/>
                      <a:pt x="336664" y="534335"/>
                      <a:pt x="337115" y="533433"/>
                    </a:cubicBezTo>
                    <a:cubicBezTo>
                      <a:pt x="338469" y="530048"/>
                      <a:pt x="338469" y="530048"/>
                      <a:pt x="336664" y="528243"/>
                    </a:cubicBezTo>
                    <a:cubicBezTo>
                      <a:pt x="335761" y="527340"/>
                      <a:pt x="334633" y="526212"/>
                      <a:pt x="333279" y="524407"/>
                    </a:cubicBezTo>
                    <a:cubicBezTo>
                      <a:pt x="332377" y="523504"/>
                      <a:pt x="331023" y="522151"/>
                      <a:pt x="328992" y="520797"/>
                    </a:cubicBezTo>
                    <a:lnTo>
                      <a:pt x="327187" y="519443"/>
                    </a:lnTo>
                    <a:lnTo>
                      <a:pt x="328541" y="517863"/>
                    </a:lnTo>
                    <a:cubicBezTo>
                      <a:pt x="329218" y="517186"/>
                      <a:pt x="329669" y="516735"/>
                      <a:pt x="330120" y="516509"/>
                    </a:cubicBezTo>
                    <a:cubicBezTo>
                      <a:pt x="330571" y="515832"/>
                      <a:pt x="331925" y="510417"/>
                      <a:pt x="331925" y="509289"/>
                    </a:cubicBezTo>
                    <a:cubicBezTo>
                      <a:pt x="331925" y="509063"/>
                      <a:pt x="331700" y="508612"/>
                      <a:pt x="331248" y="507935"/>
                    </a:cubicBezTo>
                    <a:cubicBezTo>
                      <a:pt x="329669" y="504099"/>
                      <a:pt x="326510" y="497104"/>
                      <a:pt x="329895" y="492591"/>
                    </a:cubicBezTo>
                    <a:cubicBezTo>
                      <a:pt x="332377" y="489206"/>
                      <a:pt x="331700" y="486047"/>
                      <a:pt x="331248" y="483339"/>
                    </a:cubicBezTo>
                    <a:cubicBezTo>
                      <a:pt x="331248" y="482662"/>
                      <a:pt x="331023" y="482211"/>
                      <a:pt x="331023" y="481760"/>
                    </a:cubicBezTo>
                    <a:cubicBezTo>
                      <a:pt x="331023" y="481083"/>
                      <a:pt x="330797" y="480406"/>
                      <a:pt x="330571" y="479955"/>
                    </a:cubicBezTo>
                    <a:cubicBezTo>
                      <a:pt x="330120" y="477924"/>
                      <a:pt x="329669" y="475442"/>
                      <a:pt x="330346" y="470026"/>
                    </a:cubicBezTo>
                    <a:cubicBezTo>
                      <a:pt x="331023" y="464611"/>
                      <a:pt x="334407" y="461452"/>
                      <a:pt x="337115" y="460549"/>
                    </a:cubicBezTo>
                    <a:cubicBezTo>
                      <a:pt x="339146" y="459872"/>
                      <a:pt x="341177" y="460323"/>
                      <a:pt x="342305" y="461903"/>
                    </a:cubicBezTo>
                    <a:cubicBezTo>
                      <a:pt x="342982" y="462580"/>
                      <a:pt x="343433" y="463482"/>
                      <a:pt x="344110" y="464385"/>
                    </a:cubicBezTo>
                    <a:cubicBezTo>
                      <a:pt x="344787" y="465513"/>
                      <a:pt x="346367" y="467544"/>
                      <a:pt x="346818" y="467770"/>
                    </a:cubicBezTo>
                    <a:cubicBezTo>
                      <a:pt x="347721" y="466867"/>
                      <a:pt x="349526" y="465965"/>
                      <a:pt x="351331" y="465062"/>
                    </a:cubicBezTo>
                    <a:cubicBezTo>
                      <a:pt x="353136" y="464159"/>
                      <a:pt x="356747" y="462580"/>
                      <a:pt x="356747" y="461452"/>
                    </a:cubicBezTo>
                    <a:cubicBezTo>
                      <a:pt x="356747" y="459872"/>
                      <a:pt x="353587" y="455585"/>
                      <a:pt x="352008" y="453103"/>
                    </a:cubicBezTo>
                    <a:cubicBezTo>
                      <a:pt x="350203" y="450621"/>
                      <a:pt x="349526" y="449492"/>
                      <a:pt x="349300" y="448590"/>
                    </a:cubicBezTo>
                    <a:cubicBezTo>
                      <a:pt x="349300" y="448138"/>
                      <a:pt x="349075" y="447462"/>
                      <a:pt x="348623" y="447010"/>
                    </a:cubicBezTo>
                    <a:cubicBezTo>
                      <a:pt x="348172" y="445882"/>
                      <a:pt x="347495" y="444302"/>
                      <a:pt x="347269" y="442497"/>
                    </a:cubicBezTo>
                    <a:lnTo>
                      <a:pt x="345013" y="441143"/>
                    </a:lnTo>
                    <a:lnTo>
                      <a:pt x="347044" y="439564"/>
                    </a:lnTo>
                    <a:cubicBezTo>
                      <a:pt x="350654" y="436856"/>
                      <a:pt x="354264" y="435502"/>
                      <a:pt x="357423" y="434148"/>
                    </a:cubicBezTo>
                    <a:cubicBezTo>
                      <a:pt x="359906" y="433020"/>
                      <a:pt x="362162" y="432118"/>
                      <a:pt x="363741" y="430764"/>
                    </a:cubicBezTo>
                    <a:cubicBezTo>
                      <a:pt x="365321" y="429184"/>
                      <a:pt x="366224" y="428282"/>
                      <a:pt x="366901" y="427830"/>
                    </a:cubicBezTo>
                    <a:cubicBezTo>
                      <a:pt x="368029" y="426702"/>
                      <a:pt x="368254" y="426702"/>
                      <a:pt x="369834" y="425800"/>
                    </a:cubicBezTo>
                    <a:lnTo>
                      <a:pt x="371865" y="424671"/>
                    </a:lnTo>
                    <a:cubicBezTo>
                      <a:pt x="375249" y="423092"/>
                      <a:pt x="378408" y="421512"/>
                      <a:pt x="379537" y="414743"/>
                    </a:cubicBezTo>
                    <a:cubicBezTo>
                      <a:pt x="379988" y="412712"/>
                      <a:pt x="380214" y="411132"/>
                      <a:pt x="380439" y="410004"/>
                    </a:cubicBezTo>
                    <a:cubicBezTo>
                      <a:pt x="381342" y="406620"/>
                      <a:pt x="381342" y="406394"/>
                      <a:pt x="378634" y="400753"/>
                    </a:cubicBezTo>
                    <a:cubicBezTo>
                      <a:pt x="375701" y="394660"/>
                      <a:pt x="375701" y="394660"/>
                      <a:pt x="371639" y="391953"/>
                    </a:cubicBezTo>
                    <a:cubicBezTo>
                      <a:pt x="370736" y="391276"/>
                      <a:pt x="369834" y="390599"/>
                      <a:pt x="368480" y="389922"/>
                    </a:cubicBezTo>
                    <a:cubicBezTo>
                      <a:pt x="361259" y="384958"/>
                      <a:pt x="364644" y="378188"/>
                      <a:pt x="366901" y="373675"/>
                    </a:cubicBezTo>
                    <a:cubicBezTo>
                      <a:pt x="367577" y="372547"/>
                      <a:pt x="368029" y="371193"/>
                      <a:pt x="368254" y="370291"/>
                    </a:cubicBezTo>
                    <a:cubicBezTo>
                      <a:pt x="367352" y="368711"/>
                      <a:pt x="361711" y="368260"/>
                      <a:pt x="358326" y="368034"/>
                    </a:cubicBezTo>
                    <a:cubicBezTo>
                      <a:pt x="356521" y="367808"/>
                      <a:pt x="354716" y="367808"/>
                      <a:pt x="353136" y="367583"/>
                    </a:cubicBezTo>
                    <a:cubicBezTo>
                      <a:pt x="348623" y="366906"/>
                      <a:pt x="347946" y="365101"/>
                      <a:pt x="347044" y="362393"/>
                    </a:cubicBezTo>
                    <a:cubicBezTo>
                      <a:pt x="346592" y="360362"/>
                      <a:pt x="345690" y="357654"/>
                      <a:pt x="341628" y="353593"/>
                    </a:cubicBezTo>
                    <a:cubicBezTo>
                      <a:pt x="335310" y="347275"/>
                      <a:pt x="324930" y="352239"/>
                      <a:pt x="318612" y="355172"/>
                    </a:cubicBezTo>
                    <a:cubicBezTo>
                      <a:pt x="317033" y="355849"/>
                      <a:pt x="315905" y="356526"/>
                      <a:pt x="315002" y="356752"/>
                    </a:cubicBezTo>
                    <a:cubicBezTo>
                      <a:pt x="312294" y="357654"/>
                      <a:pt x="309135" y="356978"/>
                      <a:pt x="306653" y="354495"/>
                    </a:cubicBezTo>
                    <a:cubicBezTo>
                      <a:pt x="304396" y="352465"/>
                      <a:pt x="302817" y="348854"/>
                      <a:pt x="303494" y="346372"/>
                    </a:cubicBezTo>
                    <a:cubicBezTo>
                      <a:pt x="304848" y="342311"/>
                      <a:pt x="307104" y="329900"/>
                      <a:pt x="304622" y="325387"/>
                    </a:cubicBezTo>
                    <a:cubicBezTo>
                      <a:pt x="301689" y="320197"/>
                      <a:pt x="305525" y="316136"/>
                      <a:pt x="308007" y="313202"/>
                    </a:cubicBezTo>
                    <a:cubicBezTo>
                      <a:pt x="308684" y="312525"/>
                      <a:pt x="309361" y="311623"/>
                      <a:pt x="309812" y="311171"/>
                    </a:cubicBezTo>
                    <a:cubicBezTo>
                      <a:pt x="307330" y="310269"/>
                      <a:pt x="298530" y="310043"/>
                      <a:pt x="294017" y="311171"/>
                    </a:cubicBezTo>
                    <a:lnTo>
                      <a:pt x="292212" y="311623"/>
                    </a:lnTo>
                    <a:cubicBezTo>
                      <a:pt x="286571" y="313202"/>
                      <a:pt x="277996" y="315684"/>
                      <a:pt x="271452" y="312525"/>
                    </a:cubicBezTo>
                    <a:cubicBezTo>
                      <a:pt x="268745" y="311171"/>
                      <a:pt x="265360" y="310946"/>
                      <a:pt x="262201" y="312074"/>
                    </a:cubicBezTo>
                    <a:cubicBezTo>
                      <a:pt x="259719" y="312976"/>
                      <a:pt x="257913" y="314556"/>
                      <a:pt x="257011" y="316361"/>
                    </a:cubicBezTo>
                    <a:cubicBezTo>
                      <a:pt x="255206" y="320197"/>
                      <a:pt x="251595" y="323131"/>
                      <a:pt x="247985" y="323808"/>
                    </a:cubicBezTo>
                    <a:cubicBezTo>
                      <a:pt x="245503" y="324259"/>
                      <a:pt x="243247" y="323356"/>
                      <a:pt x="241667" y="321551"/>
                    </a:cubicBezTo>
                    <a:cubicBezTo>
                      <a:pt x="238282" y="317715"/>
                      <a:pt x="231964" y="321100"/>
                      <a:pt x="229933" y="322454"/>
                    </a:cubicBezTo>
                    <a:cubicBezTo>
                      <a:pt x="228128" y="323582"/>
                      <a:pt x="228128" y="324936"/>
                      <a:pt x="228128" y="327869"/>
                    </a:cubicBezTo>
                    <a:cubicBezTo>
                      <a:pt x="228128" y="330351"/>
                      <a:pt x="228128" y="333510"/>
                      <a:pt x="225646" y="336444"/>
                    </a:cubicBezTo>
                    <a:cubicBezTo>
                      <a:pt x="224518" y="337798"/>
                      <a:pt x="224292" y="338700"/>
                      <a:pt x="224066" y="339603"/>
                    </a:cubicBezTo>
                    <a:cubicBezTo>
                      <a:pt x="223390" y="343213"/>
                      <a:pt x="221585" y="344116"/>
                      <a:pt x="214815" y="344567"/>
                    </a:cubicBezTo>
                    <a:cubicBezTo>
                      <a:pt x="208948" y="344793"/>
                      <a:pt x="207820" y="345921"/>
                      <a:pt x="206917" y="346823"/>
                    </a:cubicBezTo>
                    <a:cubicBezTo>
                      <a:pt x="206015" y="347726"/>
                      <a:pt x="205112" y="348629"/>
                      <a:pt x="202630" y="348854"/>
                    </a:cubicBezTo>
                    <a:cubicBezTo>
                      <a:pt x="201051" y="349080"/>
                      <a:pt x="200148" y="351111"/>
                      <a:pt x="199020" y="354495"/>
                    </a:cubicBezTo>
                    <a:cubicBezTo>
                      <a:pt x="198343" y="356526"/>
                      <a:pt x="197666" y="358783"/>
                      <a:pt x="196312" y="360362"/>
                    </a:cubicBezTo>
                    <a:cubicBezTo>
                      <a:pt x="194733" y="362393"/>
                      <a:pt x="193379" y="364198"/>
                      <a:pt x="191122" y="364198"/>
                    </a:cubicBezTo>
                    <a:cubicBezTo>
                      <a:pt x="191122" y="364198"/>
                      <a:pt x="191122" y="364198"/>
                      <a:pt x="191122" y="364198"/>
                    </a:cubicBezTo>
                    <a:cubicBezTo>
                      <a:pt x="188866" y="364198"/>
                      <a:pt x="186835" y="362167"/>
                      <a:pt x="184804" y="359008"/>
                    </a:cubicBezTo>
                    <a:cubicBezTo>
                      <a:pt x="182773" y="355849"/>
                      <a:pt x="181419" y="351788"/>
                      <a:pt x="180291" y="348854"/>
                    </a:cubicBezTo>
                    <a:cubicBezTo>
                      <a:pt x="180066" y="348177"/>
                      <a:pt x="179840" y="347275"/>
                      <a:pt x="179614" y="346598"/>
                    </a:cubicBezTo>
                    <a:cubicBezTo>
                      <a:pt x="177809" y="347952"/>
                      <a:pt x="175101" y="349080"/>
                      <a:pt x="172168" y="349306"/>
                    </a:cubicBezTo>
                    <a:cubicBezTo>
                      <a:pt x="168783" y="349531"/>
                      <a:pt x="165850" y="348629"/>
                      <a:pt x="163819" y="346372"/>
                    </a:cubicBezTo>
                    <a:cubicBezTo>
                      <a:pt x="160660" y="342762"/>
                      <a:pt x="153665" y="340054"/>
                      <a:pt x="146896" y="342311"/>
                    </a:cubicBezTo>
                    <a:cubicBezTo>
                      <a:pt x="141029" y="344116"/>
                      <a:pt x="138772" y="343890"/>
                      <a:pt x="133808" y="342987"/>
                    </a:cubicBezTo>
                    <a:cubicBezTo>
                      <a:pt x="132003" y="342762"/>
                      <a:pt x="129747" y="342311"/>
                      <a:pt x="126813" y="341859"/>
                    </a:cubicBezTo>
                    <a:cubicBezTo>
                      <a:pt x="120721" y="341182"/>
                      <a:pt x="117110" y="342987"/>
                      <a:pt x="113726" y="345018"/>
                    </a:cubicBezTo>
                    <a:cubicBezTo>
                      <a:pt x="111469" y="346372"/>
                      <a:pt x="108987" y="347726"/>
                      <a:pt x="106054" y="347952"/>
                    </a:cubicBezTo>
                    <a:cubicBezTo>
                      <a:pt x="104248" y="348177"/>
                      <a:pt x="102669" y="347726"/>
                      <a:pt x="101766" y="346598"/>
                    </a:cubicBezTo>
                    <a:cubicBezTo>
                      <a:pt x="100187" y="345018"/>
                      <a:pt x="100412" y="342536"/>
                      <a:pt x="100412" y="340280"/>
                    </a:cubicBezTo>
                    <a:cubicBezTo>
                      <a:pt x="100638" y="338474"/>
                      <a:pt x="100638" y="336669"/>
                      <a:pt x="99961" y="335541"/>
                    </a:cubicBezTo>
                    <a:cubicBezTo>
                      <a:pt x="99059" y="333962"/>
                      <a:pt x="94997" y="334864"/>
                      <a:pt x="91387" y="335767"/>
                    </a:cubicBezTo>
                    <a:cubicBezTo>
                      <a:pt x="88679" y="336444"/>
                      <a:pt x="85971" y="336895"/>
                      <a:pt x="83263" y="336895"/>
                    </a:cubicBezTo>
                    <a:cubicBezTo>
                      <a:pt x="80330" y="336895"/>
                      <a:pt x="77848" y="338023"/>
                      <a:pt x="74915" y="339377"/>
                    </a:cubicBezTo>
                    <a:cubicBezTo>
                      <a:pt x="71755" y="340731"/>
                      <a:pt x="68371" y="342311"/>
                      <a:pt x="63858" y="342987"/>
                    </a:cubicBezTo>
                    <a:cubicBezTo>
                      <a:pt x="56186" y="343890"/>
                      <a:pt x="52124" y="346598"/>
                      <a:pt x="50996" y="351788"/>
                    </a:cubicBezTo>
                    <a:cubicBezTo>
                      <a:pt x="49642" y="358106"/>
                      <a:pt x="45355" y="363296"/>
                      <a:pt x="37457" y="368485"/>
                    </a:cubicBezTo>
                    <a:cubicBezTo>
                      <a:pt x="35426" y="369839"/>
                      <a:pt x="34975" y="370742"/>
                      <a:pt x="34975" y="371193"/>
                    </a:cubicBezTo>
                    <a:cubicBezTo>
                      <a:pt x="34749" y="372096"/>
                      <a:pt x="35878" y="373224"/>
                      <a:pt x="37006" y="374578"/>
                    </a:cubicBezTo>
                    <a:cubicBezTo>
                      <a:pt x="37683" y="375481"/>
                      <a:pt x="38360" y="376157"/>
                      <a:pt x="39037" y="377286"/>
                    </a:cubicBezTo>
                    <a:lnTo>
                      <a:pt x="39488" y="377962"/>
                    </a:lnTo>
                    <a:cubicBezTo>
                      <a:pt x="41745" y="381573"/>
                      <a:pt x="43550" y="384506"/>
                      <a:pt x="43550" y="387665"/>
                    </a:cubicBezTo>
                    <a:cubicBezTo>
                      <a:pt x="43550" y="390147"/>
                      <a:pt x="42873" y="392178"/>
                      <a:pt x="41293" y="393758"/>
                    </a:cubicBezTo>
                    <a:cubicBezTo>
                      <a:pt x="39262" y="395563"/>
                      <a:pt x="36103" y="396466"/>
                      <a:pt x="31816" y="396240"/>
                    </a:cubicBezTo>
                    <a:cubicBezTo>
                      <a:pt x="31365" y="396240"/>
                      <a:pt x="30913" y="396240"/>
                      <a:pt x="30462" y="396240"/>
                    </a:cubicBezTo>
                    <a:lnTo>
                      <a:pt x="28883" y="396466"/>
                    </a:lnTo>
                    <a:lnTo>
                      <a:pt x="28431" y="394886"/>
                    </a:lnTo>
                    <a:cubicBezTo>
                      <a:pt x="28206" y="393758"/>
                      <a:pt x="28206" y="392630"/>
                      <a:pt x="28206" y="391050"/>
                    </a:cubicBezTo>
                    <a:cubicBezTo>
                      <a:pt x="28206" y="387440"/>
                      <a:pt x="28206" y="382927"/>
                      <a:pt x="24370" y="379316"/>
                    </a:cubicBezTo>
                    <a:cubicBezTo>
                      <a:pt x="17149" y="372096"/>
                      <a:pt x="18277" y="363296"/>
                      <a:pt x="18728" y="360362"/>
                    </a:cubicBezTo>
                    <a:cubicBezTo>
                      <a:pt x="18954" y="358557"/>
                      <a:pt x="19857" y="355398"/>
                      <a:pt x="20759" y="351788"/>
                    </a:cubicBezTo>
                    <a:cubicBezTo>
                      <a:pt x="21888" y="347726"/>
                      <a:pt x="23016" y="342762"/>
                      <a:pt x="23016" y="341182"/>
                    </a:cubicBezTo>
                    <a:cubicBezTo>
                      <a:pt x="23016" y="339603"/>
                      <a:pt x="19405" y="334638"/>
                      <a:pt x="17375" y="331705"/>
                    </a:cubicBezTo>
                    <a:cubicBezTo>
                      <a:pt x="15569" y="329223"/>
                      <a:pt x="14216" y="327192"/>
                      <a:pt x="13313" y="325613"/>
                    </a:cubicBezTo>
                    <a:cubicBezTo>
                      <a:pt x="8574" y="316361"/>
                      <a:pt x="6769" y="314556"/>
                      <a:pt x="6092" y="314330"/>
                    </a:cubicBezTo>
                    <a:cubicBezTo>
                      <a:pt x="5415" y="314330"/>
                      <a:pt x="4287" y="314105"/>
                      <a:pt x="2933" y="313879"/>
                    </a:cubicBezTo>
                    <a:lnTo>
                      <a:pt x="0" y="313428"/>
                    </a:lnTo>
                    <a:lnTo>
                      <a:pt x="902" y="311171"/>
                    </a:lnTo>
                    <a:cubicBezTo>
                      <a:pt x="1805" y="309141"/>
                      <a:pt x="2708" y="307335"/>
                      <a:pt x="3836" y="305305"/>
                    </a:cubicBezTo>
                    <a:lnTo>
                      <a:pt x="4964" y="303499"/>
                    </a:lnTo>
                    <a:cubicBezTo>
                      <a:pt x="8574" y="296956"/>
                      <a:pt x="13764" y="287704"/>
                      <a:pt x="13764" y="276196"/>
                    </a:cubicBezTo>
                    <a:cubicBezTo>
                      <a:pt x="13764" y="269427"/>
                      <a:pt x="14667" y="264914"/>
                      <a:pt x="15569" y="260627"/>
                    </a:cubicBezTo>
                    <a:cubicBezTo>
                      <a:pt x="16472" y="256114"/>
                      <a:pt x="17375" y="251826"/>
                      <a:pt x="17375" y="245057"/>
                    </a:cubicBezTo>
                    <a:cubicBezTo>
                      <a:pt x="17375" y="243478"/>
                      <a:pt x="17149" y="242124"/>
                      <a:pt x="16923" y="240318"/>
                    </a:cubicBezTo>
                    <a:lnTo>
                      <a:pt x="16472" y="238288"/>
                    </a:lnTo>
                    <a:lnTo>
                      <a:pt x="18503" y="238062"/>
                    </a:lnTo>
                    <a:cubicBezTo>
                      <a:pt x="20308" y="237836"/>
                      <a:pt x="22339" y="237385"/>
                      <a:pt x="24821" y="236934"/>
                    </a:cubicBezTo>
                    <a:cubicBezTo>
                      <a:pt x="29334" y="236031"/>
                      <a:pt x="34975" y="234677"/>
                      <a:pt x="40391" y="234677"/>
                    </a:cubicBezTo>
                    <a:cubicBezTo>
                      <a:pt x="50545" y="234677"/>
                      <a:pt x="51222" y="234677"/>
                      <a:pt x="56412" y="228359"/>
                    </a:cubicBezTo>
                    <a:cubicBezTo>
                      <a:pt x="58668" y="225651"/>
                      <a:pt x="59796" y="223395"/>
                      <a:pt x="60699" y="221364"/>
                    </a:cubicBezTo>
                    <a:cubicBezTo>
                      <a:pt x="62278" y="218431"/>
                      <a:pt x="63407" y="215723"/>
                      <a:pt x="67242" y="213918"/>
                    </a:cubicBezTo>
                    <a:cubicBezTo>
                      <a:pt x="68371" y="213467"/>
                      <a:pt x="69273" y="212790"/>
                      <a:pt x="69950" y="212564"/>
                    </a:cubicBezTo>
                    <a:cubicBezTo>
                      <a:pt x="73561" y="210533"/>
                      <a:pt x="75591" y="209631"/>
                      <a:pt x="81684" y="209631"/>
                    </a:cubicBezTo>
                    <a:cubicBezTo>
                      <a:pt x="86874" y="209631"/>
                      <a:pt x="89581" y="213241"/>
                      <a:pt x="92063" y="216174"/>
                    </a:cubicBezTo>
                    <a:cubicBezTo>
                      <a:pt x="93417" y="217979"/>
                      <a:pt x="94771" y="219559"/>
                      <a:pt x="96125" y="220010"/>
                    </a:cubicBezTo>
                    <a:cubicBezTo>
                      <a:pt x="99736" y="221364"/>
                      <a:pt x="110792" y="225877"/>
                      <a:pt x="126587" y="222041"/>
                    </a:cubicBezTo>
                    <a:cubicBezTo>
                      <a:pt x="132003" y="220687"/>
                      <a:pt x="134485" y="219785"/>
                      <a:pt x="136516" y="219108"/>
                    </a:cubicBezTo>
                    <a:cubicBezTo>
                      <a:pt x="140126" y="217754"/>
                      <a:pt x="141254" y="217528"/>
                      <a:pt x="152085" y="217528"/>
                    </a:cubicBezTo>
                    <a:cubicBezTo>
                      <a:pt x="159532" y="217528"/>
                      <a:pt x="162916" y="214369"/>
                      <a:pt x="166301" y="211210"/>
                    </a:cubicBezTo>
                    <a:cubicBezTo>
                      <a:pt x="169912" y="207825"/>
                      <a:pt x="173747" y="204215"/>
                      <a:pt x="181645" y="207600"/>
                    </a:cubicBezTo>
                    <a:cubicBezTo>
                      <a:pt x="186609" y="209856"/>
                      <a:pt x="190220" y="212113"/>
                      <a:pt x="192927" y="213692"/>
                    </a:cubicBezTo>
                    <a:cubicBezTo>
                      <a:pt x="197892" y="216851"/>
                      <a:pt x="198343" y="216626"/>
                      <a:pt x="199471" y="215046"/>
                    </a:cubicBezTo>
                    <a:cubicBezTo>
                      <a:pt x="203307" y="209856"/>
                      <a:pt x="207820" y="205118"/>
                      <a:pt x="216620" y="208051"/>
                    </a:cubicBezTo>
                    <a:cubicBezTo>
                      <a:pt x="220456" y="209405"/>
                      <a:pt x="223615" y="208728"/>
                      <a:pt x="227902" y="208051"/>
                    </a:cubicBezTo>
                    <a:cubicBezTo>
                      <a:pt x="231287" y="207374"/>
                      <a:pt x="234898" y="206697"/>
                      <a:pt x="239862" y="206697"/>
                    </a:cubicBezTo>
                    <a:cubicBezTo>
                      <a:pt x="243247" y="206697"/>
                      <a:pt x="245277" y="203764"/>
                      <a:pt x="247985" y="199025"/>
                    </a:cubicBezTo>
                    <a:cubicBezTo>
                      <a:pt x="251144" y="193384"/>
                      <a:pt x="255206" y="185712"/>
                      <a:pt x="265811" y="191353"/>
                    </a:cubicBezTo>
                    <a:cubicBezTo>
                      <a:pt x="270775" y="194061"/>
                      <a:pt x="273709" y="196092"/>
                      <a:pt x="275740" y="197671"/>
                    </a:cubicBezTo>
                    <a:cubicBezTo>
                      <a:pt x="279124" y="200153"/>
                      <a:pt x="279576" y="200605"/>
                      <a:pt x="285442" y="199025"/>
                    </a:cubicBezTo>
                    <a:lnTo>
                      <a:pt x="285894" y="199025"/>
                    </a:lnTo>
                    <a:lnTo>
                      <a:pt x="286345" y="199025"/>
                    </a:lnTo>
                    <a:cubicBezTo>
                      <a:pt x="288150" y="199251"/>
                      <a:pt x="289053" y="198348"/>
                      <a:pt x="289053" y="198348"/>
                    </a:cubicBezTo>
                    <a:lnTo>
                      <a:pt x="289278" y="197897"/>
                    </a:lnTo>
                    <a:lnTo>
                      <a:pt x="289730" y="197671"/>
                    </a:lnTo>
                    <a:cubicBezTo>
                      <a:pt x="297627" y="195189"/>
                      <a:pt x="302140" y="193158"/>
                      <a:pt x="306653" y="190902"/>
                    </a:cubicBezTo>
                    <a:cubicBezTo>
                      <a:pt x="311617" y="188646"/>
                      <a:pt x="316356" y="186389"/>
                      <a:pt x="324479" y="184358"/>
                    </a:cubicBezTo>
                    <a:cubicBezTo>
                      <a:pt x="334859" y="181650"/>
                      <a:pt x="339598" y="178266"/>
                      <a:pt x="344336" y="174881"/>
                    </a:cubicBezTo>
                    <a:cubicBezTo>
                      <a:pt x="346141" y="173527"/>
                      <a:pt x="348172" y="172173"/>
                      <a:pt x="350428" y="170819"/>
                    </a:cubicBezTo>
                    <a:cubicBezTo>
                      <a:pt x="356972" y="166983"/>
                      <a:pt x="366449" y="169691"/>
                      <a:pt x="375927" y="172399"/>
                    </a:cubicBezTo>
                    <a:cubicBezTo>
                      <a:pt x="378408" y="173076"/>
                      <a:pt x="380890" y="173753"/>
                      <a:pt x="383147" y="174430"/>
                    </a:cubicBezTo>
                    <a:cubicBezTo>
                      <a:pt x="387886" y="175558"/>
                      <a:pt x="390819" y="176912"/>
                      <a:pt x="393301" y="178040"/>
                    </a:cubicBezTo>
                    <a:cubicBezTo>
                      <a:pt x="396235" y="179620"/>
                      <a:pt x="398491" y="180522"/>
                      <a:pt x="403455" y="180522"/>
                    </a:cubicBezTo>
                    <a:cubicBezTo>
                      <a:pt x="407968" y="180522"/>
                      <a:pt x="412030" y="178943"/>
                      <a:pt x="416543" y="177138"/>
                    </a:cubicBezTo>
                    <a:cubicBezTo>
                      <a:pt x="420604" y="175332"/>
                      <a:pt x="424892" y="173753"/>
                      <a:pt x="430307" y="173076"/>
                    </a:cubicBezTo>
                    <a:cubicBezTo>
                      <a:pt x="433692" y="172625"/>
                      <a:pt x="436174" y="172173"/>
                      <a:pt x="438430" y="171948"/>
                    </a:cubicBezTo>
                    <a:cubicBezTo>
                      <a:pt x="442943" y="171271"/>
                      <a:pt x="446554" y="170594"/>
                      <a:pt x="455580" y="170594"/>
                    </a:cubicBezTo>
                    <a:cubicBezTo>
                      <a:pt x="467087" y="170594"/>
                      <a:pt x="474759" y="166081"/>
                      <a:pt x="480626" y="162471"/>
                    </a:cubicBezTo>
                    <a:lnTo>
                      <a:pt x="482206" y="161568"/>
                    </a:lnTo>
                    <a:cubicBezTo>
                      <a:pt x="484236" y="160214"/>
                      <a:pt x="486493" y="159537"/>
                      <a:pt x="488298" y="158860"/>
                    </a:cubicBezTo>
                    <a:cubicBezTo>
                      <a:pt x="492586" y="157281"/>
                      <a:pt x="495068" y="156152"/>
                      <a:pt x="495745" y="152316"/>
                    </a:cubicBezTo>
                    <a:cubicBezTo>
                      <a:pt x="495970" y="150511"/>
                      <a:pt x="496196" y="148706"/>
                      <a:pt x="496196" y="146675"/>
                    </a:cubicBezTo>
                    <a:cubicBezTo>
                      <a:pt x="496422" y="140583"/>
                      <a:pt x="496647" y="133362"/>
                      <a:pt x="503868" y="126818"/>
                    </a:cubicBezTo>
                    <a:cubicBezTo>
                      <a:pt x="508606" y="122305"/>
                      <a:pt x="512217" y="118018"/>
                      <a:pt x="515376" y="113957"/>
                    </a:cubicBezTo>
                    <a:cubicBezTo>
                      <a:pt x="518083" y="110572"/>
                      <a:pt x="521017" y="107187"/>
                      <a:pt x="524401" y="103577"/>
                    </a:cubicBezTo>
                    <a:cubicBezTo>
                      <a:pt x="530945" y="97033"/>
                      <a:pt x="533653" y="92520"/>
                      <a:pt x="535233" y="89361"/>
                    </a:cubicBezTo>
                    <a:lnTo>
                      <a:pt x="535910" y="88233"/>
                    </a:lnTo>
                    <a:cubicBezTo>
                      <a:pt x="536135" y="87782"/>
                      <a:pt x="536135" y="87330"/>
                      <a:pt x="534330" y="85525"/>
                    </a:cubicBezTo>
                    <a:cubicBezTo>
                      <a:pt x="533202" y="84397"/>
                      <a:pt x="531848" y="82817"/>
                      <a:pt x="531171" y="81012"/>
                    </a:cubicBezTo>
                    <a:cubicBezTo>
                      <a:pt x="530268" y="78079"/>
                      <a:pt x="530043" y="71761"/>
                      <a:pt x="533202" y="69730"/>
                    </a:cubicBezTo>
                    <a:cubicBezTo>
                      <a:pt x="535458" y="68376"/>
                      <a:pt x="538166" y="69504"/>
                      <a:pt x="541099" y="72889"/>
                    </a:cubicBezTo>
                    <a:cubicBezTo>
                      <a:pt x="547869" y="80110"/>
                      <a:pt x="550576" y="80561"/>
                      <a:pt x="562085" y="75597"/>
                    </a:cubicBezTo>
                    <a:cubicBezTo>
                      <a:pt x="572239" y="71310"/>
                      <a:pt x="575398" y="69730"/>
                      <a:pt x="587357" y="64314"/>
                    </a:cubicBezTo>
                    <a:lnTo>
                      <a:pt x="594126" y="61155"/>
                    </a:lnTo>
                    <a:cubicBezTo>
                      <a:pt x="601347" y="57771"/>
                      <a:pt x="604506" y="55289"/>
                      <a:pt x="607214" y="53258"/>
                    </a:cubicBezTo>
                    <a:cubicBezTo>
                      <a:pt x="610824" y="50550"/>
                      <a:pt x="613306" y="48519"/>
                      <a:pt x="623460" y="46488"/>
                    </a:cubicBezTo>
                    <a:cubicBezTo>
                      <a:pt x="632938" y="44683"/>
                      <a:pt x="636999" y="40170"/>
                      <a:pt x="641061" y="35657"/>
                    </a:cubicBezTo>
                    <a:cubicBezTo>
                      <a:pt x="643994" y="32498"/>
                      <a:pt x="646702" y="29339"/>
                      <a:pt x="651215" y="27760"/>
                    </a:cubicBezTo>
                    <a:cubicBezTo>
                      <a:pt x="654825" y="26406"/>
                      <a:pt x="656405" y="25503"/>
                      <a:pt x="657533" y="24601"/>
                    </a:cubicBezTo>
                    <a:cubicBezTo>
                      <a:pt x="660015" y="23021"/>
                      <a:pt x="661369" y="22344"/>
                      <a:pt x="668815" y="22570"/>
                    </a:cubicBezTo>
                    <a:cubicBezTo>
                      <a:pt x="673779" y="22796"/>
                      <a:pt x="676487" y="23698"/>
                      <a:pt x="678292" y="24375"/>
                    </a:cubicBezTo>
                    <a:cubicBezTo>
                      <a:pt x="680323" y="25052"/>
                      <a:pt x="680774" y="25278"/>
                      <a:pt x="683257" y="23473"/>
                    </a:cubicBezTo>
                    <a:cubicBezTo>
                      <a:pt x="688898" y="19637"/>
                      <a:pt x="691154" y="18057"/>
                      <a:pt x="694539" y="12642"/>
                    </a:cubicBezTo>
                    <a:cubicBezTo>
                      <a:pt x="695216" y="11513"/>
                      <a:pt x="694990" y="11062"/>
                      <a:pt x="694087" y="9708"/>
                    </a:cubicBezTo>
                    <a:cubicBezTo>
                      <a:pt x="693411" y="9031"/>
                      <a:pt x="692508" y="7903"/>
                      <a:pt x="693185" y="6549"/>
                    </a:cubicBezTo>
                    <a:cubicBezTo>
                      <a:pt x="693862" y="4970"/>
                      <a:pt x="695893" y="4518"/>
                      <a:pt x="702436" y="4293"/>
                    </a:cubicBezTo>
                    <a:cubicBezTo>
                      <a:pt x="708980" y="4067"/>
                      <a:pt x="713042" y="4518"/>
                      <a:pt x="716201" y="4970"/>
                    </a:cubicBezTo>
                    <a:cubicBezTo>
                      <a:pt x="720488" y="5421"/>
                      <a:pt x="722519" y="5872"/>
                      <a:pt x="726806" y="3841"/>
                    </a:cubicBezTo>
                    <a:cubicBezTo>
                      <a:pt x="727709" y="3390"/>
                      <a:pt x="728160" y="3164"/>
                      <a:pt x="728611" y="2939"/>
                    </a:cubicBezTo>
                    <a:cubicBezTo>
                      <a:pt x="728386" y="2487"/>
                      <a:pt x="728611" y="1810"/>
                      <a:pt x="728611" y="1585"/>
                    </a:cubicBezTo>
                    <a:cubicBezTo>
                      <a:pt x="729063" y="231"/>
                      <a:pt x="729288" y="231"/>
                      <a:pt x="735606" y="5"/>
                    </a:cubicBezTo>
                    <a:cubicBezTo>
                      <a:pt x="736735" y="5"/>
                      <a:pt x="740345" y="-220"/>
                      <a:pt x="741699" y="2262"/>
                    </a:cubicBezTo>
                    <a:cubicBezTo>
                      <a:pt x="743504" y="5646"/>
                      <a:pt x="739442" y="10611"/>
                      <a:pt x="735381" y="15575"/>
                    </a:cubicBezTo>
                    <a:cubicBezTo>
                      <a:pt x="734027" y="17154"/>
                      <a:pt x="732899" y="18508"/>
                      <a:pt x="732222" y="19637"/>
                    </a:cubicBezTo>
                    <a:cubicBezTo>
                      <a:pt x="730868" y="21667"/>
                      <a:pt x="729063" y="23473"/>
                      <a:pt x="727483" y="25052"/>
                    </a:cubicBezTo>
                    <a:cubicBezTo>
                      <a:pt x="724324" y="28211"/>
                      <a:pt x="722293" y="30242"/>
                      <a:pt x="722519" y="33401"/>
                    </a:cubicBezTo>
                    <a:cubicBezTo>
                      <a:pt x="722745" y="35657"/>
                      <a:pt x="723196" y="37463"/>
                      <a:pt x="723873" y="39493"/>
                    </a:cubicBezTo>
                    <a:cubicBezTo>
                      <a:pt x="724775" y="42878"/>
                      <a:pt x="725678" y="46037"/>
                      <a:pt x="724324" y="49422"/>
                    </a:cubicBezTo>
                    <a:cubicBezTo>
                      <a:pt x="723196" y="51904"/>
                      <a:pt x="723421" y="52130"/>
                      <a:pt x="725904" y="55063"/>
                    </a:cubicBezTo>
                    <a:cubicBezTo>
                      <a:pt x="726581" y="55740"/>
                      <a:pt x="727257" y="56642"/>
                      <a:pt x="727934" y="57771"/>
                    </a:cubicBezTo>
                    <a:cubicBezTo>
                      <a:pt x="729288" y="59576"/>
                      <a:pt x="730416" y="60027"/>
                      <a:pt x="731545" y="60479"/>
                    </a:cubicBezTo>
                    <a:cubicBezTo>
                      <a:pt x="733801" y="61381"/>
                      <a:pt x="735381" y="62509"/>
                      <a:pt x="735832" y="66797"/>
                    </a:cubicBezTo>
                    <a:cubicBezTo>
                      <a:pt x="736058" y="67925"/>
                      <a:pt x="736058" y="69053"/>
                      <a:pt x="736058" y="70181"/>
                    </a:cubicBezTo>
                    <a:cubicBezTo>
                      <a:pt x="736509" y="74469"/>
                      <a:pt x="736735" y="77628"/>
                      <a:pt x="738088" y="79884"/>
                    </a:cubicBezTo>
                    <a:cubicBezTo>
                      <a:pt x="738991" y="81464"/>
                      <a:pt x="738765" y="80787"/>
                      <a:pt x="738765" y="80787"/>
                    </a:cubicBezTo>
                    <a:cubicBezTo>
                      <a:pt x="738991" y="80787"/>
                      <a:pt x="740119" y="80335"/>
                      <a:pt x="742602" y="77628"/>
                    </a:cubicBezTo>
                    <a:cubicBezTo>
                      <a:pt x="743730" y="76499"/>
                      <a:pt x="743504" y="75822"/>
                      <a:pt x="743278" y="75371"/>
                    </a:cubicBezTo>
                    <a:cubicBezTo>
                      <a:pt x="743053" y="74920"/>
                      <a:pt x="742827" y="73792"/>
                      <a:pt x="743730" y="72889"/>
                    </a:cubicBezTo>
                    <a:cubicBezTo>
                      <a:pt x="744858" y="71986"/>
                      <a:pt x="745535" y="72438"/>
                      <a:pt x="748468" y="73566"/>
                    </a:cubicBezTo>
                    <a:cubicBezTo>
                      <a:pt x="750950" y="74694"/>
                      <a:pt x="756592" y="77628"/>
                      <a:pt x="757720" y="82592"/>
                    </a:cubicBezTo>
                    <a:cubicBezTo>
                      <a:pt x="758171" y="84171"/>
                      <a:pt x="758171" y="86879"/>
                      <a:pt x="755915" y="89587"/>
                    </a:cubicBezTo>
                    <a:lnTo>
                      <a:pt x="755463" y="90264"/>
                    </a:lnTo>
                    <a:cubicBezTo>
                      <a:pt x="751402" y="95679"/>
                      <a:pt x="749597" y="97710"/>
                      <a:pt x="742827" y="99064"/>
                    </a:cubicBezTo>
                    <a:cubicBezTo>
                      <a:pt x="740345" y="99515"/>
                      <a:pt x="738314" y="99515"/>
                      <a:pt x="736960" y="99290"/>
                    </a:cubicBezTo>
                    <a:cubicBezTo>
                      <a:pt x="734704" y="99064"/>
                      <a:pt x="734252" y="99064"/>
                      <a:pt x="732673" y="101320"/>
                    </a:cubicBezTo>
                    <a:cubicBezTo>
                      <a:pt x="730868" y="104028"/>
                      <a:pt x="729514" y="104480"/>
                      <a:pt x="727483" y="104254"/>
                    </a:cubicBezTo>
                    <a:cubicBezTo>
                      <a:pt x="726355" y="104254"/>
                      <a:pt x="725001" y="104028"/>
                      <a:pt x="721616" y="107187"/>
                    </a:cubicBezTo>
                    <a:cubicBezTo>
                      <a:pt x="714396" y="113957"/>
                      <a:pt x="712816" y="114182"/>
                      <a:pt x="706498" y="112828"/>
                    </a:cubicBezTo>
                    <a:lnTo>
                      <a:pt x="705595" y="112603"/>
                    </a:lnTo>
                    <a:cubicBezTo>
                      <a:pt x="702436" y="111926"/>
                      <a:pt x="700180" y="109444"/>
                      <a:pt x="698600" y="107639"/>
                    </a:cubicBezTo>
                    <a:cubicBezTo>
                      <a:pt x="698375" y="107413"/>
                      <a:pt x="697923" y="106962"/>
                      <a:pt x="697698" y="106510"/>
                    </a:cubicBezTo>
                    <a:cubicBezTo>
                      <a:pt x="697472" y="106962"/>
                      <a:pt x="697246" y="107639"/>
                      <a:pt x="697021" y="108767"/>
                    </a:cubicBezTo>
                    <a:lnTo>
                      <a:pt x="696344" y="111249"/>
                    </a:lnTo>
                    <a:cubicBezTo>
                      <a:pt x="694539" y="118244"/>
                      <a:pt x="694539" y="118470"/>
                      <a:pt x="691154" y="122757"/>
                    </a:cubicBezTo>
                    <a:lnTo>
                      <a:pt x="690477" y="123659"/>
                    </a:lnTo>
                    <a:cubicBezTo>
                      <a:pt x="687995" y="126818"/>
                      <a:pt x="684610" y="127270"/>
                      <a:pt x="681677" y="127495"/>
                    </a:cubicBezTo>
                    <a:cubicBezTo>
                      <a:pt x="678518" y="127721"/>
                      <a:pt x="676262" y="127947"/>
                      <a:pt x="674230" y="131106"/>
                    </a:cubicBezTo>
                    <a:cubicBezTo>
                      <a:pt x="669943" y="138552"/>
                      <a:pt x="644220" y="158183"/>
                      <a:pt x="636322" y="159086"/>
                    </a:cubicBezTo>
                    <a:cubicBezTo>
                      <a:pt x="629101" y="159763"/>
                      <a:pt x="623686" y="161794"/>
                      <a:pt x="620978" y="169691"/>
                    </a:cubicBezTo>
                    <a:cubicBezTo>
                      <a:pt x="618722" y="176686"/>
                      <a:pt x="615111" y="178717"/>
                      <a:pt x="611050" y="181199"/>
                    </a:cubicBezTo>
                    <a:cubicBezTo>
                      <a:pt x="609245" y="182327"/>
                      <a:pt x="607439" y="183230"/>
                      <a:pt x="605183" y="185035"/>
                    </a:cubicBezTo>
                    <a:cubicBezTo>
                      <a:pt x="601573" y="187969"/>
                      <a:pt x="596383" y="190451"/>
                      <a:pt x="591418" y="192933"/>
                    </a:cubicBezTo>
                    <a:cubicBezTo>
                      <a:pt x="586680" y="195415"/>
                      <a:pt x="582167" y="197671"/>
                      <a:pt x="579459" y="199928"/>
                    </a:cubicBezTo>
                    <a:cubicBezTo>
                      <a:pt x="574044" y="204666"/>
                      <a:pt x="571110" y="210533"/>
                      <a:pt x="567951" y="216851"/>
                    </a:cubicBezTo>
                    <a:lnTo>
                      <a:pt x="567049" y="218656"/>
                    </a:lnTo>
                    <a:cubicBezTo>
                      <a:pt x="564566" y="223621"/>
                      <a:pt x="562987" y="226780"/>
                      <a:pt x="557571" y="225200"/>
                    </a:cubicBezTo>
                    <a:cubicBezTo>
                      <a:pt x="554638" y="224298"/>
                      <a:pt x="553961" y="220913"/>
                      <a:pt x="553510" y="218656"/>
                    </a:cubicBezTo>
                    <a:cubicBezTo>
                      <a:pt x="553510" y="218431"/>
                      <a:pt x="553510" y="218431"/>
                      <a:pt x="553510" y="218205"/>
                    </a:cubicBezTo>
                    <a:cubicBezTo>
                      <a:pt x="553284" y="218431"/>
                      <a:pt x="553059" y="218656"/>
                      <a:pt x="552833" y="219108"/>
                    </a:cubicBezTo>
                    <a:lnTo>
                      <a:pt x="551028" y="221590"/>
                    </a:lnTo>
                    <a:cubicBezTo>
                      <a:pt x="546064" y="228134"/>
                      <a:pt x="539520" y="236934"/>
                      <a:pt x="539520" y="241898"/>
                    </a:cubicBezTo>
                    <a:cubicBezTo>
                      <a:pt x="539520" y="245508"/>
                      <a:pt x="536587" y="247539"/>
                      <a:pt x="533427" y="249570"/>
                    </a:cubicBezTo>
                    <a:cubicBezTo>
                      <a:pt x="529366" y="252278"/>
                      <a:pt x="524853" y="255437"/>
                      <a:pt x="523725" y="262657"/>
                    </a:cubicBezTo>
                    <a:lnTo>
                      <a:pt x="523048" y="266945"/>
                    </a:lnTo>
                    <a:cubicBezTo>
                      <a:pt x="521694" y="276422"/>
                      <a:pt x="521694" y="276873"/>
                      <a:pt x="524627" y="282966"/>
                    </a:cubicBezTo>
                    <a:cubicBezTo>
                      <a:pt x="525304" y="284094"/>
                      <a:pt x="525981" y="285448"/>
                      <a:pt x="526658" y="286576"/>
                    </a:cubicBezTo>
                    <a:cubicBezTo>
                      <a:pt x="530494" y="293571"/>
                      <a:pt x="535233" y="302371"/>
                      <a:pt x="530945" y="309141"/>
                    </a:cubicBezTo>
                    <a:cubicBezTo>
                      <a:pt x="526207" y="316587"/>
                      <a:pt x="520114" y="322454"/>
                      <a:pt x="514924" y="324259"/>
                    </a:cubicBezTo>
                    <a:cubicBezTo>
                      <a:pt x="513571" y="324710"/>
                      <a:pt x="512442" y="324710"/>
                      <a:pt x="511540" y="324259"/>
                    </a:cubicBezTo>
                    <a:cubicBezTo>
                      <a:pt x="510186" y="323356"/>
                      <a:pt x="509735" y="321777"/>
                      <a:pt x="509509" y="320423"/>
                    </a:cubicBezTo>
                    <a:cubicBezTo>
                      <a:pt x="509058" y="317941"/>
                      <a:pt x="508606" y="317038"/>
                      <a:pt x="506576" y="316812"/>
                    </a:cubicBezTo>
                    <a:cubicBezTo>
                      <a:pt x="500483" y="316361"/>
                      <a:pt x="489652" y="320197"/>
                      <a:pt x="484913" y="326064"/>
                    </a:cubicBezTo>
                    <a:lnTo>
                      <a:pt x="482657" y="328997"/>
                    </a:lnTo>
                    <a:cubicBezTo>
                      <a:pt x="476790" y="336444"/>
                      <a:pt x="464154" y="351788"/>
                      <a:pt x="462800" y="356978"/>
                    </a:cubicBezTo>
                    <a:cubicBezTo>
                      <a:pt x="460995" y="362844"/>
                      <a:pt x="460995" y="364875"/>
                      <a:pt x="465057" y="371193"/>
                    </a:cubicBezTo>
                    <a:cubicBezTo>
                      <a:pt x="466185" y="372998"/>
                      <a:pt x="467539" y="374352"/>
                      <a:pt x="468893" y="375481"/>
                    </a:cubicBezTo>
                    <a:cubicBezTo>
                      <a:pt x="472052" y="378640"/>
                      <a:pt x="475211" y="381573"/>
                      <a:pt x="471600" y="390373"/>
                    </a:cubicBezTo>
                    <a:cubicBezTo>
                      <a:pt x="469344" y="396014"/>
                      <a:pt x="466636" y="399399"/>
                      <a:pt x="464154" y="402558"/>
                    </a:cubicBezTo>
                    <a:cubicBezTo>
                      <a:pt x="461898" y="405491"/>
                      <a:pt x="459867" y="407973"/>
                      <a:pt x="459190" y="411358"/>
                    </a:cubicBezTo>
                    <a:cubicBezTo>
                      <a:pt x="458739" y="412712"/>
                      <a:pt x="458513" y="414292"/>
                      <a:pt x="458062" y="415871"/>
                    </a:cubicBezTo>
                    <a:cubicBezTo>
                      <a:pt x="456257" y="422415"/>
                      <a:pt x="454451" y="429635"/>
                      <a:pt x="454903" y="433923"/>
                    </a:cubicBezTo>
                    <a:lnTo>
                      <a:pt x="455128" y="435502"/>
                    </a:lnTo>
                    <a:cubicBezTo>
                      <a:pt x="455805" y="440467"/>
                      <a:pt x="456257" y="445431"/>
                      <a:pt x="450390" y="449944"/>
                    </a:cubicBezTo>
                    <a:cubicBezTo>
                      <a:pt x="445200" y="454005"/>
                      <a:pt x="437076" y="465062"/>
                      <a:pt x="435271" y="469349"/>
                    </a:cubicBezTo>
                    <a:cubicBezTo>
                      <a:pt x="434594" y="471154"/>
                      <a:pt x="433466" y="472283"/>
                      <a:pt x="432564" y="472960"/>
                    </a:cubicBezTo>
                    <a:cubicBezTo>
                      <a:pt x="431435" y="474088"/>
                      <a:pt x="431210" y="474313"/>
                      <a:pt x="433241" y="477698"/>
                    </a:cubicBezTo>
                    <a:cubicBezTo>
                      <a:pt x="437076" y="483791"/>
                      <a:pt x="434143" y="488981"/>
                      <a:pt x="432338" y="492365"/>
                    </a:cubicBezTo>
                    <a:cubicBezTo>
                      <a:pt x="431661" y="493268"/>
                      <a:pt x="431210" y="494396"/>
                      <a:pt x="430984" y="495073"/>
                    </a:cubicBezTo>
                    <a:cubicBezTo>
                      <a:pt x="430533" y="496201"/>
                      <a:pt x="430307" y="496878"/>
                      <a:pt x="429856" y="497555"/>
                    </a:cubicBezTo>
                    <a:cubicBezTo>
                      <a:pt x="429179" y="498909"/>
                      <a:pt x="428953" y="499360"/>
                      <a:pt x="430758" y="503873"/>
                    </a:cubicBezTo>
                    <a:cubicBezTo>
                      <a:pt x="431661" y="505904"/>
                      <a:pt x="432564" y="507258"/>
                      <a:pt x="433466" y="508386"/>
                    </a:cubicBezTo>
                    <a:cubicBezTo>
                      <a:pt x="435497" y="511319"/>
                      <a:pt x="436625" y="513350"/>
                      <a:pt x="434594" y="518991"/>
                    </a:cubicBezTo>
                    <a:cubicBezTo>
                      <a:pt x="431887" y="526889"/>
                      <a:pt x="428502" y="531628"/>
                      <a:pt x="425343" y="531628"/>
                    </a:cubicBezTo>
                    <a:cubicBezTo>
                      <a:pt x="423763" y="531628"/>
                      <a:pt x="419702" y="532530"/>
                      <a:pt x="417220" y="533433"/>
                    </a:cubicBezTo>
                    <a:cubicBezTo>
                      <a:pt x="416092" y="533884"/>
                      <a:pt x="414963" y="534335"/>
                      <a:pt x="414060" y="534787"/>
                    </a:cubicBezTo>
                    <a:cubicBezTo>
                      <a:pt x="408419" y="537043"/>
                      <a:pt x="405486" y="537946"/>
                      <a:pt x="401650" y="530499"/>
                    </a:cubicBezTo>
                    <a:cubicBezTo>
                      <a:pt x="400296" y="528017"/>
                      <a:pt x="399394" y="525535"/>
                      <a:pt x="398717" y="523504"/>
                    </a:cubicBezTo>
                    <a:cubicBezTo>
                      <a:pt x="398265" y="522151"/>
                      <a:pt x="397588" y="520345"/>
                      <a:pt x="397137" y="519668"/>
                    </a:cubicBezTo>
                    <a:cubicBezTo>
                      <a:pt x="394881" y="521022"/>
                      <a:pt x="393978" y="523279"/>
                      <a:pt x="393752" y="531176"/>
                    </a:cubicBezTo>
                    <a:cubicBezTo>
                      <a:pt x="393301" y="540202"/>
                      <a:pt x="389240" y="544264"/>
                      <a:pt x="382922" y="549228"/>
                    </a:cubicBezTo>
                    <a:cubicBezTo>
                      <a:pt x="377280" y="553741"/>
                      <a:pt x="375927" y="557126"/>
                      <a:pt x="373219" y="564798"/>
                    </a:cubicBezTo>
                    <a:lnTo>
                      <a:pt x="372767" y="566377"/>
                    </a:lnTo>
                    <a:cubicBezTo>
                      <a:pt x="371188" y="570890"/>
                      <a:pt x="370285" y="573372"/>
                      <a:pt x="368029" y="574275"/>
                    </a:cubicBezTo>
                    <a:cubicBezTo>
                      <a:pt x="370285" y="573823"/>
                      <a:pt x="369834" y="573823"/>
                      <a:pt x="369157" y="573823"/>
                    </a:cubicBezTo>
                    <a:close/>
                    <a:moveTo>
                      <a:pt x="357875" y="553290"/>
                    </a:moveTo>
                    <a:cubicBezTo>
                      <a:pt x="359003" y="553290"/>
                      <a:pt x="359906" y="553515"/>
                      <a:pt x="360808" y="553967"/>
                    </a:cubicBezTo>
                    <a:cubicBezTo>
                      <a:pt x="362162" y="554643"/>
                      <a:pt x="363967" y="556449"/>
                      <a:pt x="363967" y="560059"/>
                    </a:cubicBezTo>
                    <a:cubicBezTo>
                      <a:pt x="363967" y="561639"/>
                      <a:pt x="363967" y="562992"/>
                      <a:pt x="363741" y="564121"/>
                    </a:cubicBezTo>
                    <a:cubicBezTo>
                      <a:pt x="363516" y="567731"/>
                      <a:pt x="363516" y="567731"/>
                      <a:pt x="366675" y="569310"/>
                    </a:cubicBezTo>
                    <a:cubicBezTo>
                      <a:pt x="368706" y="570213"/>
                      <a:pt x="369383" y="570213"/>
                      <a:pt x="369608" y="569987"/>
                    </a:cubicBezTo>
                    <a:cubicBezTo>
                      <a:pt x="370285" y="569762"/>
                      <a:pt x="371188" y="567054"/>
                      <a:pt x="372316" y="564346"/>
                    </a:cubicBezTo>
                    <a:lnTo>
                      <a:pt x="372767" y="562767"/>
                    </a:lnTo>
                    <a:cubicBezTo>
                      <a:pt x="375701" y="554643"/>
                      <a:pt x="377280" y="550582"/>
                      <a:pt x="383824" y="545618"/>
                    </a:cubicBezTo>
                    <a:cubicBezTo>
                      <a:pt x="389691" y="541105"/>
                      <a:pt x="392850" y="538171"/>
                      <a:pt x="393076" y="530499"/>
                    </a:cubicBezTo>
                    <a:cubicBezTo>
                      <a:pt x="393301" y="522376"/>
                      <a:pt x="394204" y="518314"/>
                      <a:pt x="398265" y="515832"/>
                    </a:cubicBezTo>
                    <a:cubicBezTo>
                      <a:pt x="399619" y="514930"/>
                      <a:pt x="400747" y="515155"/>
                      <a:pt x="401424" y="515381"/>
                    </a:cubicBezTo>
                    <a:cubicBezTo>
                      <a:pt x="403455" y="516058"/>
                      <a:pt x="404132" y="518314"/>
                      <a:pt x="405486" y="521699"/>
                    </a:cubicBezTo>
                    <a:cubicBezTo>
                      <a:pt x="406163" y="523504"/>
                      <a:pt x="407065" y="525761"/>
                      <a:pt x="408194" y="528243"/>
                    </a:cubicBezTo>
                    <a:cubicBezTo>
                      <a:pt x="410676" y="532981"/>
                      <a:pt x="410901" y="532756"/>
                      <a:pt x="415866" y="530725"/>
                    </a:cubicBezTo>
                    <a:cubicBezTo>
                      <a:pt x="416768" y="530274"/>
                      <a:pt x="417896" y="529822"/>
                      <a:pt x="419025" y="529371"/>
                    </a:cubicBezTo>
                    <a:cubicBezTo>
                      <a:pt x="421733" y="528243"/>
                      <a:pt x="426246" y="527340"/>
                      <a:pt x="428502" y="527340"/>
                    </a:cubicBezTo>
                    <a:cubicBezTo>
                      <a:pt x="428953" y="527340"/>
                      <a:pt x="431661" y="525084"/>
                      <a:pt x="434143" y="517412"/>
                    </a:cubicBezTo>
                    <a:cubicBezTo>
                      <a:pt x="435497" y="513125"/>
                      <a:pt x="435046" y="512448"/>
                      <a:pt x="433466" y="509966"/>
                    </a:cubicBezTo>
                    <a:cubicBezTo>
                      <a:pt x="432564" y="508837"/>
                      <a:pt x="431661" y="507258"/>
                      <a:pt x="430533" y="505001"/>
                    </a:cubicBezTo>
                    <a:cubicBezTo>
                      <a:pt x="428051" y="499586"/>
                      <a:pt x="428276" y="498006"/>
                      <a:pt x="429630" y="495524"/>
                    </a:cubicBezTo>
                    <a:cubicBezTo>
                      <a:pt x="429856" y="495073"/>
                      <a:pt x="430307" y="494396"/>
                      <a:pt x="430533" y="493719"/>
                    </a:cubicBezTo>
                    <a:cubicBezTo>
                      <a:pt x="430984" y="492591"/>
                      <a:pt x="431435" y="491463"/>
                      <a:pt x="432112" y="490334"/>
                    </a:cubicBezTo>
                    <a:cubicBezTo>
                      <a:pt x="433917" y="487175"/>
                      <a:pt x="435723" y="483791"/>
                      <a:pt x="433241" y="479729"/>
                    </a:cubicBezTo>
                    <a:cubicBezTo>
                      <a:pt x="430082" y="474765"/>
                      <a:pt x="430758" y="472734"/>
                      <a:pt x="433241" y="470252"/>
                    </a:cubicBezTo>
                    <a:cubicBezTo>
                      <a:pt x="433917" y="469575"/>
                      <a:pt x="434594" y="468898"/>
                      <a:pt x="435046" y="467995"/>
                    </a:cubicBezTo>
                    <a:cubicBezTo>
                      <a:pt x="437076" y="463482"/>
                      <a:pt x="445425" y="451749"/>
                      <a:pt x="451292" y="447236"/>
                    </a:cubicBezTo>
                    <a:cubicBezTo>
                      <a:pt x="455580" y="443851"/>
                      <a:pt x="455128" y="441143"/>
                      <a:pt x="454451" y="436179"/>
                    </a:cubicBezTo>
                    <a:lnTo>
                      <a:pt x="454225" y="434374"/>
                    </a:lnTo>
                    <a:cubicBezTo>
                      <a:pt x="453774" y="429410"/>
                      <a:pt x="455805" y="421738"/>
                      <a:pt x="457610" y="414969"/>
                    </a:cubicBezTo>
                    <a:cubicBezTo>
                      <a:pt x="458062" y="413389"/>
                      <a:pt x="458287" y="412035"/>
                      <a:pt x="458739" y="410681"/>
                    </a:cubicBezTo>
                    <a:cubicBezTo>
                      <a:pt x="459867" y="406620"/>
                      <a:pt x="462123" y="403461"/>
                      <a:pt x="464380" y="400527"/>
                    </a:cubicBezTo>
                    <a:cubicBezTo>
                      <a:pt x="466636" y="397594"/>
                      <a:pt x="469118" y="394209"/>
                      <a:pt x="471375" y="389245"/>
                    </a:cubicBezTo>
                    <a:cubicBezTo>
                      <a:pt x="474082" y="382927"/>
                      <a:pt x="472503" y="381347"/>
                      <a:pt x="469570" y="378414"/>
                    </a:cubicBezTo>
                    <a:cubicBezTo>
                      <a:pt x="468216" y="377060"/>
                      <a:pt x="466636" y="375481"/>
                      <a:pt x="465282" y="373450"/>
                    </a:cubicBezTo>
                    <a:cubicBezTo>
                      <a:pt x="460544" y="366229"/>
                      <a:pt x="460544" y="363070"/>
                      <a:pt x="462575" y="356300"/>
                    </a:cubicBezTo>
                    <a:cubicBezTo>
                      <a:pt x="464154" y="350885"/>
                      <a:pt x="474082" y="338474"/>
                      <a:pt x="483108" y="327192"/>
                    </a:cubicBezTo>
                    <a:lnTo>
                      <a:pt x="485365" y="324484"/>
                    </a:lnTo>
                    <a:cubicBezTo>
                      <a:pt x="491006" y="317264"/>
                      <a:pt x="502965" y="313202"/>
                      <a:pt x="510186" y="313653"/>
                    </a:cubicBezTo>
                    <a:cubicBezTo>
                      <a:pt x="515150" y="314105"/>
                      <a:pt x="516053" y="318166"/>
                      <a:pt x="516504" y="320197"/>
                    </a:cubicBezTo>
                    <a:cubicBezTo>
                      <a:pt x="516504" y="320649"/>
                      <a:pt x="516730" y="321100"/>
                      <a:pt x="516730" y="321325"/>
                    </a:cubicBezTo>
                    <a:cubicBezTo>
                      <a:pt x="516730" y="321325"/>
                      <a:pt x="516955" y="321325"/>
                      <a:pt x="516955" y="321325"/>
                    </a:cubicBezTo>
                    <a:cubicBezTo>
                      <a:pt x="521242" y="319746"/>
                      <a:pt x="526658" y="314330"/>
                      <a:pt x="531171" y="307561"/>
                    </a:cubicBezTo>
                    <a:cubicBezTo>
                      <a:pt x="534330" y="302597"/>
                      <a:pt x="530268" y="295376"/>
                      <a:pt x="526884" y="288832"/>
                    </a:cubicBezTo>
                    <a:cubicBezTo>
                      <a:pt x="526207" y="287479"/>
                      <a:pt x="525530" y="286350"/>
                      <a:pt x="524853" y="284996"/>
                    </a:cubicBezTo>
                    <a:cubicBezTo>
                      <a:pt x="521242" y="277776"/>
                      <a:pt x="521468" y="276647"/>
                      <a:pt x="522822" y="266719"/>
                    </a:cubicBezTo>
                    <a:lnTo>
                      <a:pt x="523499" y="262432"/>
                    </a:lnTo>
                    <a:cubicBezTo>
                      <a:pt x="524627" y="253632"/>
                      <a:pt x="530494" y="249570"/>
                      <a:pt x="534781" y="246637"/>
                    </a:cubicBezTo>
                    <a:cubicBezTo>
                      <a:pt x="537489" y="244831"/>
                      <a:pt x="539294" y="243478"/>
                      <a:pt x="539294" y="241898"/>
                    </a:cubicBezTo>
                    <a:cubicBezTo>
                      <a:pt x="539294" y="235580"/>
                      <a:pt x="545838" y="227005"/>
                      <a:pt x="551705" y="219333"/>
                    </a:cubicBezTo>
                    <a:lnTo>
                      <a:pt x="553510" y="216851"/>
                    </a:lnTo>
                    <a:cubicBezTo>
                      <a:pt x="554864" y="215046"/>
                      <a:pt x="556443" y="213241"/>
                      <a:pt x="558248" y="213692"/>
                    </a:cubicBezTo>
                    <a:cubicBezTo>
                      <a:pt x="560054" y="214144"/>
                      <a:pt x="560505" y="216174"/>
                      <a:pt x="560956" y="217979"/>
                    </a:cubicBezTo>
                    <a:cubicBezTo>
                      <a:pt x="561182" y="219333"/>
                      <a:pt x="561633" y="221590"/>
                      <a:pt x="562536" y="221815"/>
                    </a:cubicBezTo>
                    <a:cubicBezTo>
                      <a:pt x="564792" y="222492"/>
                      <a:pt x="565018" y="222267"/>
                      <a:pt x="567500" y="217077"/>
                    </a:cubicBezTo>
                    <a:lnTo>
                      <a:pt x="568403" y="215272"/>
                    </a:lnTo>
                    <a:cubicBezTo>
                      <a:pt x="571562" y="208954"/>
                      <a:pt x="574946" y="202410"/>
                      <a:pt x="580813" y="197220"/>
                    </a:cubicBezTo>
                    <a:cubicBezTo>
                      <a:pt x="583746" y="194512"/>
                      <a:pt x="588485" y="192256"/>
                      <a:pt x="593675" y="189548"/>
                    </a:cubicBezTo>
                    <a:cubicBezTo>
                      <a:pt x="598413" y="187066"/>
                      <a:pt x="603378" y="184809"/>
                      <a:pt x="606537" y="182102"/>
                    </a:cubicBezTo>
                    <a:cubicBezTo>
                      <a:pt x="608793" y="180297"/>
                      <a:pt x="611050" y="178943"/>
                      <a:pt x="612855" y="177814"/>
                    </a:cubicBezTo>
                    <a:cubicBezTo>
                      <a:pt x="616691" y="175558"/>
                      <a:pt x="619173" y="174204"/>
                      <a:pt x="620978" y="168337"/>
                    </a:cubicBezTo>
                    <a:cubicBezTo>
                      <a:pt x="624363" y="157958"/>
                      <a:pt x="632260" y="155701"/>
                      <a:pt x="639481" y="155250"/>
                    </a:cubicBezTo>
                    <a:cubicBezTo>
                      <a:pt x="645799" y="154573"/>
                      <a:pt x="670169" y="136521"/>
                      <a:pt x="674456" y="129301"/>
                    </a:cubicBezTo>
                    <a:cubicBezTo>
                      <a:pt x="677389" y="124336"/>
                      <a:pt x="681451" y="124111"/>
                      <a:pt x="684836" y="123885"/>
                    </a:cubicBezTo>
                    <a:cubicBezTo>
                      <a:pt x="687769" y="123659"/>
                      <a:pt x="689575" y="123434"/>
                      <a:pt x="690928" y="121629"/>
                    </a:cubicBezTo>
                    <a:lnTo>
                      <a:pt x="691605" y="120726"/>
                    </a:lnTo>
                    <a:cubicBezTo>
                      <a:pt x="694539" y="116890"/>
                      <a:pt x="694539" y="116890"/>
                      <a:pt x="696118" y="110572"/>
                    </a:cubicBezTo>
                    <a:lnTo>
                      <a:pt x="696795" y="107864"/>
                    </a:lnTo>
                    <a:cubicBezTo>
                      <a:pt x="697472" y="104931"/>
                      <a:pt x="698375" y="102900"/>
                      <a:pt x="700180" y="102449"/>
                    </a:cubicBezTo>
                    <a:cubicBezTo>
                      <a:pt x="702211" y="101997"/>
                      <a:pt x="703339" y="103577"/>
                      <a:pt x="704918" y="105156"/>
                    </a:cubicBezTo>
                    <a:cubicBezTo>
                      <a:pt x="706273" y="106736"/>
                      <a:pt x="707852" y="108541"/>
                      <a:pt x="709657" y="108992"/>
                    </a:cubicBezTo>
                    <a:lnTo>
                      <a:pt x="710560" y="109218"/>
                    </a:lnTo>
                    <a:cubicBezTo>
                      <a:pt x="715524" y="110346"/>
                      <a:pt x="715975" y="110346"/>
                      <a:pt x="722293" y="104480"/>
                    </a:cubicBezTo>
                    <a:cubicBezTo>
                      <a:pt x="726581" y="100418"/>
                      <a:pt x="729063" y="100418"/>
                      <a:pt x="731093" y="100418"/>
                    </a:cubicBezTo>
                    <a:cubicBezTo>
                      <a:pt x="731319" y="100418"/>
                      <a:pt x="731545" y="100418"/>
                      <a:pt x="731770" y="100418"/>
                    </a:cubicBezTo>
                    <a:cubicBezTo>
                      <a:pt x="731770" y="100418"/>
                      <a:pt x="731996" y="100192"/>
                      <a:pt x="732899" y="99064"/>
                    </a:cubicBezTo>
                    <a:cubicBezTo>
                      <a:pt x="735381" y="95002"/>
                      <a:pt x="737863" y="95002"/>
                      <a:pt x="740570" y="95228"/>
                    </a:cubicBezTo>
                    <a:cubicBezTo>
                      <a:pt x="741924" y="95228"/>
                      <a:pt x="743504" y="95454"/>
                      <a:pt x="745535" y="95002"/>
                    </a:cubicBezTo>
                    <a:cubicBezTo>
                      <a:pt x="750950" y="93874"/>
                      <a:pt x="751853" y="92520"/>
                      <a:pt x="755915" y="87556"/>
                    </a:cubicBezTo>
                    <a:lnTo>
                      <a:pt x="756366" y="86879"/>
                    </a:lnTo>
                    <a:cubicBezTo>
                      <a:pt x="757494" y="85525"/>
                      <a:pt x="757720" y="84397"/>
                      <a:pt x="757494" y="83043"/>
                    </a:cubicBezTo>
                    <a:cubicBezTo>
                      <a:pt x="757043" y="80787"/>
                      <a:pt x="754335" y="78305"/>
                      <a:pt x="750499" y="76725"/>
                    </a:cubicBezTo>
                    <a:cubicBezTo>
                      <a:pt x="750273" y="77628"/>
                      <a:pt x="749822" y="78756"/>
                      <a:pt x="748694" y="80110"/>
                    </a:cubicBezTo>
                    <a:cubicBezTo>
                      <a:pt x="746212" y="82592"/>
                      <a:pt x="743955" y="84623"/>
                      <a:pt x="741699" y="84397"/>
                    </a:cubicBezTo>
                    <a:cubicBezTo>
                      <a:pt x="739668" y="84171"/>
                      <a:pt x="738540" y="82366"/>
                      <a:pt x="738314" y="81689"/>
                    </a:cubicBezTo>
                    <a:cubicBezTo>
                      <a:pt x="736509" y="78756"/>
                      <a:pt x="736283" y="75145"/>
                      <a:pt x="735832" y="70407"/>
                    </a:cubicBezTo>
                    <a:cubicBezTo>
                      <a:pt x="735832" y="69279"/>
                      <a:pt x="735606" y="68150"/>
                      <a:pt x="735606" y="67022"/>
                    </a:cubicBezTo>
                    <a:cubicBezTo>
                      <a:pt x="735381" y="64540"/>
                      <a:pt x="734929" y="64314"/>
                      <a:pt x="733576" y="63863"/>
                    </a:cubicBezTo>
                    <a:cubicBezTo>
                      <a:pt x="732222" y="63186"/>
                      <a:pt x="730416" y="62509"/>
                      <a:pt x="728386" y="60027"/>
                    </a:cubicBezTo>
                    <a:cubicBezTo>
                      <a:pt x="727709" y="59125"/>
                      <a:pt x="727032" y="58222"/>
                      <a:pt x="726355" y="57545"/>
                    </a:cubicBezTo>
                    <a:cubicBezTo>
                      <a:pt x="723873" y="54612"/>
                      <a:pt x="722293" y="52581"/>
                      <a:pt x="724324" y="48068"/>
                    </a:cubicBezTo>
                    <a:cubicBezTo>
                      <a:pt x="725227" y="46037"/>
                      <a:pt x="724550" y="43555"/>
                      <a:pt x="723647" y="40622"/>
                    </a:cubicBezTo>
                    <a:cubicBezTo>
                      <a:pt x="723196" y="38591"/>
                      <a:pt x="722519" y="36334"/>
                      <a:pt x="722293" y="33852"/>
                    </a:cubicBezTo>
                    <a:cubicBezTo>
                      <a:pt x="721842" y="28888"/>
                      <a:pt x="725001" y="25729"/>
                      <a:pt x="728160" y="22570"/>
                    </a:cubicBezTo>
                    <a:cubicBezTo>
                      <a:pt x="729740" y="20990"/>
                      <a:pt x="731319" y="19411"/>
                      <a:pt x="732447" y="17606"/>
                    </a:cubicBezTo>
                    <a:cubicBezTo>
                      <a:pt x="733350" y="16252"/>
                      <a:pt x="734478" y="14898"/>
                      <a:pt x="735832" y="13093"/>
                    </a:cubicBezTo>
                    <a:cubicBezTo>
                      <a:pt x="737637" y="10836"/>
                      <a:pt x="742150" y="5195"/>
                      <a:pt x="741699" y="3841"/>
                    </a:cubicBezTo>
                    <a:lnTo>
                      <a:pt x="741699" y="3841"/>
                    </a:lnTo>
                    <a:cubicBezTo>
                      <a:pt x="741699" y="3841"/>
                      <a:pt x="741247" y="3390"/>
                      <a:pt x="738991" y="3616"/>
                    </a:cubicBezTo>
                    <a:cubicBezTo>
                      <a:pt x="737637" y="3616"/>
                      <a:pt x="736509" y="3841"/>
                      <a:pt x="735832" y="3841"/>
                    </a:cubicBezTo>
                    <a:cubicBezTo>
                      <a:pt x="735381" y="4970"/>
                      <a:pt x="734252" y="6098"/>
                      <a:pt x="731545" y="7226"/>
                    </a:cubicBezTo>
                    <a:cubicBezTo>
                      <a:pt x="726355" y="9708"/>
                      <a:pt x="723196" y="9257"/>
                      <a:pt x="718909" y="8580"/>
                    </a:cubicBezTo>
                    <a:cubicBezTo>
                      <a:pt x="715750" y="8129"/>
                      <a:pt x="711914" y="7677"/>
                      <a:pt x="705821" y="7903"/>
                    </a:cubicBezTo>
                    <a:cubicBezTo>
                      <a:pt x="703565" y="7903"/>
                      <a:pt x="701985" y="8129"/>
                      <a:pt x="701082" y="8129"/>
                    </a:cubicBezTo>
                    <a:cubicBezTo>
                      <a:pt x="701985" y="9482"/>
                      <a:pt x="702888" y="11739"/>
                      <a:pt x="701082" y="14447"/>
                    </a:cubicBezTo>
                    <a:cubicBezTo>
                      <a:pt x="697021" y="20539"/>
                      <a:pt x="694087" y="22570"/>
                      <a:pt x="688672" y="26180"/>
                    </a:cubicBezTo>
                    <a:cubicBezTo>
                      <a:pt x="684836" y="28662"/>
                      <a:pt x="683257" y="28437"/>
                      <a:pt x="680549" y="27534"/>
                    </a:cubicBezTo>
                    <a:cubicBezTo>
                      <a:pt x="678744" y="26857"/>
                      <a:pt x="676487" y="26180"/>
                      <a:pt x="671974" y="25955"/>
                    </a:cubicBezTo>
                    <a:cubicBezTo>
                      <a:pt x="665430" y="25503"/>
                      <a:pt x="664753" y="25955"/>
                      <a:pt x="662948" y="27308"/>
                    </a:cubicBezTo>
                    <a:cubicBezTo>
                      <a:pt x="661594" y="28211"/>
                      <a:pt x="659789" y="29339"/>
                      <a:pt x="655728" y="30919"/>
                    </a:cubicBezTo>
                    <a:cubicBezTo>
                      <a:pt x="652117" y="32273"/>
                      <a:pt x="649635" y="34980"/>
                      <a:pt x="646927" y="37914"/>
                    </a:cubicBezTo>
                    <a:cubicBezTo>
                      <a:pt x="642640" y="42652"/>
                      <a:pt x="637901" y="47842"/>
                      <a:pt x="627296" y="49873"/>
                    </a:cubicBezTo>
                    <a:cubicBezTo>
                      <a:pt x="618045" y="51678"/>
                      <a:pt x="616014" y="53258"/>
                      <a:pt x="612629" y="55740"/>
                    </a:cubicBezTo>
                    <a:cubicBezTo>
                      <a:pt x="609922" y="57771"/>
                      <a:pt x="606537" y="60479"/>
                      <a:pt x="598865" y="64089"/>
                    </a:cubicBezTo>
                    <a:lnTo>
                      <a:pt x="592095" y="67248"/>
                    </a:lnTo>
                    <a:cubicBezTo>
                      <a:pt x="580136" y="72889"/>
                      <a:pt x="576977" y="74243"/>
                      <a:pt x="566823" y="78530"/>
                    </a:cubicBezTo>
                    <a:cubicBezTo>
                      <a:pt x="554638" y="83720"/>
                      <a:pt x="549674" y="83946"/>
                      <a:pt x="541551" y="74920"/>
                    </a:cubicBezTo>
                    <a:cubicBezTo>
                      <a:pt x="539294" y="72438"/>
                      <a:pt x="538392" y="72438"/>
                      <a:pt x="538166" y="72438"/>
                    </a:cubicBezTo>
                    <a:cubicBezTo>
                      <a:pt x="537489" y="72663"/>
                      <a:pt x="536812" y="76725"/>
                      <a:pt x="537715" y="79207"/>
                    </a:cubicBezTo>
                    <a:cubicBezTo>
                      <a:pt x="538166" y="80335"/>
                      <a:pt x="539069" y="81464"/>
                      <a:pt x="539971" y="82366"/>
                    </a:cubicBezTo>
                    <a:cubicBezTo>
                      <a:pt x="541551" y="84171"/>
                      <a:pt x="543807" y="86428"/>
                      <a:pt x="542002" y="89587"/>
                    </a:cubicBezTo>
                    <a:lnTo>
                      <a:pt x="541325" y="90715"/>
                    </a:lnTo>
                    <a:cubicBezTo>
                      <a:pt x="539520" y="93874"/>
                      <a:pt x="536587" y="98838"/>
                      <a:pt x="529817" y="105608"/>
                    </a:cubicBezTo>
                    <a:cubicBezTo>
                      <a:pt x="526433" y="108992"/>
                      <a:pt x="523950" y="112151"/>
                      <a:pt x="521017" y="115536"/>
                    </a:cubicBezTo>
                    <a:cubicBezTo>
                      <a:pt x="517632" y="119823"/>
                      <a:pt x="514022" y="124111"/>
                      <a:pt x="509058" y="128849"/>
                    </a:cubicBezTo>
                    <a:cubicBezTo>
                      <a:pt x="502965" y="134490"/>
                      <a:pt x="502740" y="140132"/>
                      <a:pt x="502514" y="145998"/>
                    </a:cubicBezTo>
                    <a:cubicBezTo>
                      <a:pt x="502514" y="148029"/>
                      <a:pt x="502288" y="150060"/>
                      <a:pt x="502063" y="152091"/>
                    </a:cubicBezTo>
                    <a:cubicBezTo>
                      <a:pt x="500934" y="158409"/>
                      <a:pt x="496647" y="159988"/>
                      <a:pt x="492360" y="161568"/>
                    </a:cubicBezTo>
                    <a:cubicBezTo>
                      <a:pt x="490555" y="162245"/>
                      <a:pt x="488524" y="162922"/>
                      <a:pt x="486719" y="164050"/>
                    </a:cubicBezTo>
                    <a:lnTo>
                      <a:pt x="485139" y="164953"/>
                    </a:lnTo>
                    <a:cubicBezTo>
                      <a:pt x="479047" y="168563"/>
                      <a:pt x="470698" y="173753"/>
                      <a:pt x="458062" y="173753"/>
                    </a:cubicBezTo>
                    <a:cubicBezTo>
                      <a:pt x="449262" y="173753"/>
                      <a:pt x="446102" y="174204"/>
                      <a:pt x="441364" y="175107"/>
                    </a:cubicBezTo>
                    <a:cubicBezTo>
                      <a:pt x="439107" y="175558"/>
                      <a:pt x="436625" y="175784"/>
                      <a:pt x="433241" y="176235"/>
                    </a:cubicBezTo>
                    <a:cubicBezTo>
                      <a:pt x="428502" y="176686"/>
                      <a:pt x="424440" y="178491"/>
                      <a:pt x="420379" y="180071"/>
                    </a:cubicBezTo>
                    <a:cubicBezTo>
                      <a:pt x="415640" y="181876"/>
                      <a:pt x="411353" y="183681"/>
                      <a:pt x="405937" y="183681"/>
                    </a:cubicBezTo>
                    <a:cubicBezTo>
                      <a:pt x="400071" y="183681"/>
                      <a:pt x="397363" y="182327"/>
                      <a:pt x="394204" y="180748"/>
                    </a:cubicBezTo>
                    <a:cubicBezTo>
                      <a:pt x="391947" y="179620"/>
                      <a:pt x="389240" y="178266"/>
                      <a:pt x="384952" y="177363"/>
                    </a:cubicBezTo>
                    <a:cubicBezTo>
                      <a:pt x="382470" y="176686"/>
                      <a:pt x="379988" y="176009"/>
                      <a:pt x="377506" y="175332"/>
                    </a:cubicBezTo>
                    <a:cubicBezTo>
                      <a:pt x="368931" y="172850"/>
                      <a:pt x="360131" y="170368"/>
                      <a:pt x="354941" y="173302"/>
                    </a:cubicBezTo>
                    <a:cubicBezTo>
                      <a:pt x="352911" y="174430"/>
                      <a:pt x="351105" y="175784"/>
                      <a:pt x="349300" y="177138"/>
                    </a:cubicBezTo>
                    <a:cubicBezTo>
                      <a:pt x="344561" y="180522"/>
                      <a:pt x="339372" y="184584"/>
                      <a:pt x="328089" y="187292"/>
                    </a:cubicBezTo>
                    <a:cubicBezTo>
                      <a:pt x="320417" y="189322"/>
                      <a:pt x="315679" y="191353"/>
                      <a:pt x="310940" y="193610"/>
                    </a:cubicBezTo>
                    <a:cubicBezTo>
                      <a:pt x="306428" y="195640"/>
                      <a:pt x="301689" y="197897"/>
                      <a:pt x="294017" y="200379"/>
                    </a:cubicBezTo>
                    <a:cubicBezTo>
                      <a:pt x="293114" y="201282"/>
                      <a:pt x="291083" y="202184"/>
                      <a:pt x="288601" y="201959"/>
                    </a:cubicBezTo>
                    <a:cubicBezTo>
                      <a:pt x="281606" y="203764"/>
                      <a:pt x="280027" y="203087"/>
                      <a:pt x="275965" y="199928"/>
                    </a:cubicBezTo>
                    <a:cubicBezTo>
                      <a:pt x="273934" y="198574"/>
                      <a:pt x="271452" y="196543"/>
                      <a:pt x="266714" y="194061"/>
                    </a:cubicBezTo>
                    <a:cubicBezTo>
                      <a:pt x="259719" y="190451"/>
                      <a:pt x="257462" y="193835"/>
                      <a:pt x="253852" y="200153"/>
                    </a:cubicBezTo>
                    <a:cubicBezTo>
                      <a:pt x="251370" y="204666"/>
                      <a:pt x="248436" y="209856"/>
                      <a:pt x="242570" y="209856"/>
                    </a:cubicBezTo>
                    <a:cubicBezTo>
                      <a:pt x="238057" y="209856"/>
                      <a:pt x="234446" y="210533"/>
                      <a:pt x="231287" y="210984"/>
                    </a:cubicBezTo>
                    <a:cubicBezTo>
                      <a:pt x="226774" y="211887"/>
                      <a:pt x="222938" y="212564"/>
                      <a:pt x="218200" y="210984"/>
                    </a:cubicBezTo>
                    <a:cubicBezTo>
                      <a:pt x="212333" y="208954"/>
                      <a:pt x="209400" y="211210"/>
                      <a:pt x="205338" y="216626"/>
                    </a:cubicBezTo>
                    <a:cubicBezTo>
                      <a:pt x="201953" y="221139"/>
                      <a:pt x="198343" y="218882"/>
                      <a:pt x="193830" y="216174"/>
                    </a:cubicBezTo>
                    <a:cubicBezTo>
                      <a:pt x="191122" y="214595"/>
                      <a:pt x="187738" y="212338"/>
                      <a:pt x="182999" y="210308"/>
                    </a:cubicBezTo>
                    <a:cubicBezTo>
                      <a:pt x="177358" y="207825"/>
                      <a:pt x="175101" y="209856"/>
                      <a:pt x="171717" y="213241"/>
                    </a:cubicBezTo>
                    <a:cubicBezTo>
                      <a:pt x="168332" y="216400"/>
                      <a:pt x="163819" y="220462"/>
                      <a:pt x="155019" y="220462"/>
                    </a:cubicBezTo>
                    <a:cubicBezTo>
                      <a:pt x="144413" y="220462"/>
                      <a:pt x="143736" y="220687"/>
                      <a:pt x="140577" y="221815"/>
                    </a:cubicBezTo>
                    <a:cubicBezTo>
                      <a:pt x="138772" y="222492"/>
                      <a:pt x="136065" y="223395"/>
                      <a:pt x="130423" y="224749"/>
                    </a:cubicBezTo>
                    <a:cubicBezTo>
                      <a:pt x="113500" y="228810"/>
                      <a:pt x="101541" y="224072"/>
                      <a:pt x="97705" y="222492"/>
                    </a:cubicBezTo>
                    <a:cubicBezTo>
                      <a:pt x="95448" y="221590"/>
                      <a:pt x="93643" y="219333"/>
                      <a:pt x="92063" y="217303"/>
                    </a:cubicBezTo>
                    <a:cubicBezTo>
                      <a:pt x="90033" y="214595"/>
                      <a:pt x="88002" y="212113"/>
                      <a:pt x="84843" y="212113"/>
                    </a:cubicBezTo>
                    <a:cubicBezTo>
                      <a:pt x="79653" y="212113"/>
                      <a:pt x="78299" y="212790"/>
                      <a:pt x="74915" y="214595"/>
                    </a:cubicBezTo>
                    <a:cubicBezTo>
                      <a:pt x="74012" y="215046"/>
                      <a:pt x="73109" y="215497"/>
                      <a:pt x="71981" y="216174"/>
                    </a:cubicBezTo>
                    <a:cubicBezTo>
                      <a:pt x="69273" y="217528"/>
                      <a:pt x="68371" y="219108"/>
                      <a:pt x="67017" y="222041"/>
                    </a:cubicBezTo>
                    <a:cubicBezTo>
                      <a:pt x="65889" y="224072"/>
                      <a:pt x="64760" y="226780"/>
                      <a:pt x="62278" y="229939"/>
                    </a:cubicBezTo>
                    <a:cubicBezTo>
                      <a:pt x="55960" y="237611"/>
                      <a:pt x="53929" y="237611"/>
                      <a:pt x="43324" y="237611"/>
                    </a:cubicBezTo>
                    <a:cubicBezTo>
                      <a:pt x="38360" y="237611"/>
                      <a:pt x="33170" y="238739"/>
                      <a:pt x="28431" y="239641"/>
                    </a:cubicBezTo>
                    <a:cubicBezTo>
                      <a:pt x="26852" y="240093"/>
                      <a:pt x="25047" y="240318"/>
                      <a:pt x="23693" y="240544"/>
                    </a:cubicBezTo>
                    <a:cubicBezTo>
                      <a:pt x="23918" y="241672"/>
                      <a:pt x="23918" y="242801"/>
                      <a:pt x="23918" y="243929"/>
                    </a:cubicBezTo>
                    <a:cubicBezTo>
                      <a:pt x="23918" y="251149"/>
                      <a:pt x="23016" y="255888"/>
                      <a:pt x="21888" y="260401"/>
                    </a:cubicBezTo>
                    <a:cubicBezTo>
                      <a:pt x="20985" y="264914"/>
                      <a:pt x="20082" y="268975"/>
                      <a:pt x="20082" y="275294"/>
                    </a:cubicBezTo>
                    <a:cubicBezTo>
                      <a:pt x="20082" y="287704"/>
                      <a:pt x="14667" y="297407"/>
                      <a:pt x="10831" y="304402"/>
                    </a:cubicBezTo>
                    <a:lnTo>
                      <a:pt x="9703" y="306207"/>
                    </a:lnTo>
                    <a:cubicBezTo>
                      <a:pt x="9026" y="307335"/>
                      <a:pt x="8349" y="308464"/>
                      <a:pt x="7898" y="309592"/>
                    </a:cubicBezTo>
                    <a:cubicBezTo>
                      <a:pt x="8123" y="309592"/>
                      <a:pt x="8574" y="309592"/>
                      <a:pt x="8574" y="309592"/>
                    </a:cubicBezTo>
                    <a:cubicBezTo>
                      <a:pt x="11959" y="309592"/>
                      <a:pt x="15118" y="314556"/>
                      <a:pt x="19180" y="322905"/>
                    </a:cubicBezTo>
                    <a:cubicBezTo>
                      <a:pt x="19857" y="324259"/>
                      <a:pt x="21211" y="326290"/>
                      <a:pt x="22790" y="328546"/>
                    </a:cubicBezTo>
                    <a:cubicBezTo>
                      <a:pt x="26626" y="333962"/>
                      <a:pt x="29108" y="337798"/>
                      <a:pt x="29108" y="340280"/>
                    </a:cubicBezTo>
                    <a:cubicBezTo>
                      <a:pt x="29108" y="342311"/>
                      <a:pt x="28206" y="346146"/>
                      <a:pt x="26626" y="351788"/>
                    </a:cubicBezTo>
                    <a:cubicBezTo>
                      <a:pt x="25724" y="354947"/>
                      <a:pt x="25047" y="358331"/>
                      <a:pt x="24821" y="359685"/>
                    </a:cubicBezTo>
                    <a:cubicBezTo>
                      <a:pt x="24595" y="362167"/>
                      <a:pt x="23467" y="369614"/>
                      <a:pt x="29560" y="375481"/>
                    </a:cubicBezTo>
                    <a:cubicBezTo>
                      <a:pt x="34298" y="380219"/>
                      <a:pt x="34298" y="386086"/>
                      <a:pt x="34524" y="389922"/>
                    </a:cubicBezTo>
                    <a:cubicBezTo>
                      <a:pt x="34524" y="390373"/>
                      <a:pt x="34524" y="391050"/>
                      <a:pt x="34524" y="391501"/>
                    </a:cubicBezTo>
                    <a:cubicBezTo>
                      <a:pt x="37683" y="391727"/>
                      <a:pt x="40165" y="391276"/>
                      <a:pt x="41293" y="390147"/>
                    </a:cubicBezTo>
                    <a:cubicBezTo>
                      <a:pt x="41970" y="389470"/>
                      <a:pt x="42421" y="388342"/>
                      <a:pt x="42421" y="386988"/>
                    </a:cubicBezTo>
                    <a:cubicBezTo>
                      <a:pt x="42421" y="384958"/>
                      <a:pt x="40842" y="382476"/>
                      <a:pt x="38811" y="379316"/>
                    </a:cubicBezTo>
                    <a:lnTo>
                      <a:pt x="38360" y="378640"/>
                    </a:lnTo>
                    <a:cubicBezTo>
                      <a:pt x="37908" y="377962"/>
                      <a:pt x="37231" y="377060"/>
                      <a:pt x="36555" y="376383"/>
                    </a:cubicBezTo>
                    <a:cubicBezTo>
                      <a:pt x="34975" y="374578"/>
                      <a:pt x="33396" y="372547"/>
                      <a:pt x="33621" y="370065"/>
                    </a:cubicBezTo>
                    <a:cubicBezTo>
                      <a:pt x="33847" y="368034"/>
                      <a:pt x="35201" y="366455"/>
                      <a:pt x="37908" y="364649"/>
                    </a:cubicBezTo>
                    <a:cubicBezTo>
                      <a:pt x="44904" y="359911"/>
                      <a:pt x="48514" y="355624"/>
                      <a:pt x="49868" y="350208"/>
                    </a:cubicBezTo>
                    <a:cubicBezTo>
                      <a:pt x="51447" y="343213"/>
                      <a:pt x="56863" y="339377"/>
                      <a:pt x="66114" y="338474"/>
                    </a:cubicBezTo>
                    <a:cubicBezTo>
                      <a:pt x="69950" y="338023"/>
                      <a:pt x="73109" y="336669"/>
                      <a:pt x="76043" y="335315"/>
                    </a:cubicBezTo>
                    <a:cubicBezTo>
                      <a:pt x="79202" y="333736"/>
                      <a:pt x="82361" y="332382"/>
                      <a:pt x="85971" y="332382"/>
                    </a:cubicBezTo>
                    <a:cubicBezTo>
                      <a:pt x="88002" y="332382"/>
                      <a:pt x="90710" y="331705"/>
                      <a:pt x="93192" y="331254"/>
                    </a:cubicBezTo>
                    <a:cubicBezTo>
                      <a:pt x="98382" y="330126"/>
                      <a:pt x="103797" y="328997"/>
                      <a:pt x="105828" y="332833"/>
                    </a:cubicBezTo>
                    <a:cubicBezTo>
                      <a:pt x="106956" y="334864"/>
                      <a:pt x="106731" y="337346"/>
                      <a:pt x="106731" y="339603"/>
                    </a:cubicBezTo>
                    <a:cubicBezTo>
                      <a:pt x="106731" y="340731"/>
                      <a:pt x="106505" y="342536"/>
                      <a:pt x="106956" y="342987"/>
                    </a:cubicBezTo>
                    <a:cubicBezTo>
                      <a:pt x="106956" y="342987"/>
                      <a:pt x="107407" y="343213"/>
                      <a:pt x="108310" y="343213"/>
                    </a:cubicBezTo>
                    <a:cubicBezTo>
                      <a:pt x="110566" y="342987"/>
                      <a:pt x="112372" y="342085"/>
                      <a:pt x="114403" y="340731"/>
                    </a:cubicBezTo>
                    <a:cubicBezTo>
                      <a:pt x="118013" y="338700"/>
                      <a:pt x="122300" y="336218"/>
                      <a:pt x="129747" y="337121"/>
                    </a:cubicBezTo>
                    <a:cubicBezTo>
                      <a:pt x="132906" y="337572"/>
                      <a:pt x="135162" y="337798"/>
                      <a:pt x="136967" y="338249"/>
                    </a:cubicBezTo>
                    <a:cubicBezTo>
                      <a:pt x="141706" y="339152"/>
                      <a:pt x="143285" y="339377"/>
                      <a:pt x="148250" y="337798"/>
                    </a:cubicBezTo>
                    <a:cubicBezTo>
                      <a:pt x="156824" y="335090"/>
                      <a:pt x="165173" y="338700"/>
                      <a:pt x="169009" y="342987"/>
                    </a:cubicBezTo>
                    <a:cubicBezTo>
                      <a:pt x="170363" y="344567"/>
                      <a:pt x="172845" y="344793"/>
                      <a:pt x="174199" y="344567"/>
                    </a:cubicBezTo>
                    <a:cubicBezTo>
                      <a:pt x="177132" y="344341"/>
                      <a:pt x="179614" y="342987"/>
                      <a:pt x="180066" y="342085"/>
                    </a:cubicBezTo>
                    <a:cubicBezTo>
                      <a:pt x="180968" y="340731"/>
                      <a:pt x="182096" y="340731"/>
                      <a:pt x="182548" y="340731"/>
                    </a:cubicBezTo>
                    <a:cubicBezTo>
                      <a:pt x="184353" y="340957"/>
                      <a:pt x="185030" y="342987"/>
                      <a:pt x="186158" y="346598"/>
                    </a:cubicBezTo>
                    <a:cubicBezTo>
                      <a:pt x="187061" y="349531"/>
                      <a:pt x="188414" y="353141"/>
                      <a:pt x="190220" y="355624"/>
                    </a:cubicBezTo>
                    <a:cubicBezTo>
                      <a:pt x="192702" y="359008"/>
                      <a:pt x="193379" y="359234"/>
                      <a:pt x="193604" y="359234"/>
                    </a:cubicBezTo>
                    <a:cubicBezTo>
                      <a:pt x="193830" y="359234"/>
                      <a:pt x="194281" y="358783"/>
                      <a:pt x="195635" y="356978"/>
                    </a:cubicBezTo>
                    <a:cubicBezTo>
                      <a:pt x="196538" y="355849"/>
                      <a:pt x="197215" y="354044"/>
                      <a:pt x="197666" y="352239"/>
                    </a:cubicBezTo>
                    <a:cubicBezTo>
                      <a:pt x="198794" y="348629"/>
                      <a:pt x="200148" y="344567"/>
                      <a:pt x="204435" y="344116"/>
                    </a:cubicBezTo>
                    <a:cubicBezTo>
                      <a:pt x="205563" y="343890"/>
                      <a:pt x="205789" y="343664"/>
                      <a:pt x="206466" y="343213"/>
                    </a:cubicBezTo>
                    <a:cubicBezTo>
                      <a:pt x="208046" y="341634"/>
                      <a:pt x="210077" y="340280"/>
                      <a:pt x="216846" y="340054"/>
                    </a:cubicBezTo>
                    <a:cubicBezTo>
                      <a:pt x="222261" y="339828"/>
                      <a:pt x="222261" y="339377"/>
                      <a:pt x="222487" y="338249"/>
                    </a:cubicBezTo>
                    <a:cubicBezTo>
                      <a:pt x="222713" y="337121"/>
                      <a:pt x="222938" y="335315"/>
                      <a:pt x="224969" y="333059"/>
                    </a:cubicBezTo>
                    <a:cubicBezTo>
                      <a:pt x="226549" y="331254"/>
                      <a:pt x="226549" y="329449"/>
                      <a:pt x="226549" y="327192"/>
                    </a:cubicBezTo>
                    <a:cubicBezTo>
                      <a:pt x="226549" y="324484"/>
                      <a:pt x="226549" y="320874"/>
                      <a:pt x="230159" y="318618"/>
                    </a:cubicBezTo>
                    <a:cubicBezTo>
                      <a:pt x="236703" y="314330"/>
                      <a:pt x="243021" y="314330"/>
                      <a:pt x="246631" y="318392"/>
                    </a:cubicBezTo>
                    <a:cubicBezTo>
                      <a:pt x="247308" y="319295"/>
                      <a:pt x="248211" y="319520"/>
                      <a:pt x="249565" y="319295"/>
                    </a:cubicBezTo>
                    <a:cubicBezTo>
                      <a:pt x="252047" y="318843"/>
                      <a:pt x="254529" y="316812"/>
                      <a:pt x="255883" y="314105"/>
                    </a:cubicBezTo>
                    <a:cubicBezTo>
                      <a:pt x="257236" y="311397"/>
                      <a:pt x="259944" y="308915"/>
                      <a:pt x="263329" y="307787"/>
                    </a:cubicBezTo>
                    <a:cubicBezTo>
                      <a:pt x="267390" y="306433"/>
                      <a:pt x="271678" y="306658"/>
                      <a:pt x="275514" y="308464"/>
                    </a:cubicBezTo>
                    <a:cubicBezTo>
                      <a:pt x="280704" y="311171"/>
                      <a:pt x="288376" y="308915"/>
                      <a:pt x="293566" y="307335"/>
                    </a:cubicBezTo>
                    <a:lnTo>
                      <a:pt x="295371" y="306884"/>
                    </a:lnTo>
                    <a:cubicBezTo>
                      <a:pt x="299207" y="305756"/>
                      <a:pt x="312520" y="304853"/>
                      <a:pt x="315453" y="308238"/>
                    </a:cubicBezTo>
                    <a:cubicBezTo>
                      <a:pt x="316130" y="309141"/>
                      <a:pt x="316356" y="310269"/>
                      <a:pt x="315905" y="311397"/>
                    </a:cubicBezTo>
                    <a:cubicBezTo>
                      <a:pt x="315453" y="312751"/>
                      <a:pt x="314325" y="313879"/>
                      <a:pt x="312971" y="315233"/>
                    </a:cubicBezTo>
                    <a:cubicBezTo>
                      <a:pt x="310263" y="318166"/>
                      <a:pt x="308458" y="320423"/>
                      <a:pt x="310038" y="322905"/>
                    </a:cubicBezTo>
                    <a:cubicBezTo>
                      <a:pt x="314325" y="330126"/>
                      <a:pt x="309361" y="346823"/>
                      <a:pt x="309361" y="347049"/>
                    </a:cubicBezTo>
                    <a:cubicBezTo>
                      <a:pt x="309135" y="347726"/>
                      <a:pt x="309812" y="349757"/>
                      <a:pt x="311392" y="351336"/>
                    </a:cubicBezTo>
                    <a:cubicBezTo>
                      <a:pt x="312294" y="352239"/>
                      <a:pt x="313874" y="353367"/>
                      <a:pt x="315679" y="352690"/>
                    </a:cubicBezTo>
                    <a:cubicBezTo>
                      <a:pt x="316582" y="352465"/>
                      <a:pt x="317710" y="351788"/>
                      <a:pt x="319064" y="351111"/>
                    </a:cubicBezTo>
                    <a:cubicBezTo>
                      <a:pt x="325607" y="347952"/>
                      <a:pt x="338018" y="341859"/>
                      <a:pt x="346367" y="350208"/>
                    </a:cubicBezTo>
                    <a:cubicBezTo>
                      <a:pt x="351105" y="354947"/>
                      <a:pt x="352008" y="358557"/>
                      <a:pt x="352685" y="360814"/>
                    </a:cubicBezTo>
                    <a:cubicBezTo>
                      <a:pt x="353136" y="362844"/>
                      <a:pt x="353362" y="363070"/>
                      <a:pt x="355618" y="363296"/>
                    </a:cubicBezTo>
                    <a:cubicBezTo>
                      <a:pt x="357198" y="363521"/>
                      <a:pt x="358777" y="363521"/>
                      <a:pt x="360582" y="363747"/>
                    </a:cubicBezTo>
                    <a:cubicBezTo>
                      <a:pt x="366449" y="364198"/>
                      <a:pt x="371413" y="364649"/>
                      <a:pt x="373219" y="367357"/>
                    </a:cubicBezTo>
                    <a:cubicBezTo>
                      <a:pt x="373670" y="368034"/>
                      <a:pt x="374121" y="369162"/>
                      <a:pt x="373670" y="370968"/>
                    </a:cubicBezTo>
                    <a:cubicBezTo>
                      <a:pt x="373219" y="372096"/>
                      <a:pt x="372767" y="373450"/>
                      <a:pt x="372090" y="374803"/>
                    </a:cubicBezTo>
                    <a:cubicBezTo>
                      <a:pt x="369608" y="379993"/>
                      <a:pt x="368254" y="383378"/>
                      <a:pt x="372542" y="386311"/>
                    </a:cubicBezTo>
                    <a:cubicBezTo>
                      <a:pt x="373670" y="387214"/>
                      <a:pt x="374798" y="387891"/>
                      <a:pt x="375701" y="388342"/>
                    </a:cubicBezTo>
                    <a:cubicBezTo>
                      <a:pt x="380439" y="391501"/>
                      <a:pt x="380890" y="391953"/>
                      <a:pt x="384049" y="398722"/>
                    </a:cubicBezTo>
                    <a:cubicBezTo>
                      <a:pt x="386983" y="405040"/>
                      <a:pt x="386983" y="405943"/>
                      <a:pt x="386081" y="410456"/>
                    </a:cubicBezTo>
                    <a:cubicBezTo>
                      <a:pt x="385855" y="411584"/>
                      <a:pt x="385404" y="412938"/>
                      <a:pt x="385178" y="414969"/>
                    </a:cubicBezTo>
                    <a:cubicBezTo>
                      <a:pt x="383824" y="423543"/>
                      <a:pt x="379086" y="425800"/>
                      <a:pt x="375475" y="427605"/>
                    </a:cubicBezTo>
                    <a:lnTo>
                      <a:pt x="373444" y="428733"/>
                    </a:lnTo>
                    <a:cubicBezTo>
                      <a:pt x="372316" y="429410"/>
                      <a:pt x="372316" y="429410"/>
                      <a:pt x="371639" y="430087"/>
                    </a:cubicBezTo>
                    <a:cubicBezTo>
                      <a:pt x="370962" y="430764"/>
                      <a:pt x="370060" y="431666"/>
                      <a:pt x="368480" y="433246"/>
                    </a:cubicBezTo>
                    <a:cubicBezTo>
                      <a:pt x="366449" y="435051"/>
                      <a:pt x="363741" y="436179"/>
                      <a:pt x="361034" y="437308"/>
                    </a:cubicBezTo>
                    <a:cubicBezTo>
                      <a:pt x="358552" y="438210"/>
                      <a:pt x="355844" y="439338"/>
                      <a:pt x="353136" y="441143"/>
                    </a:cubicBezTo>
                    <a:cubicBezTo>
                      <a:pt x="353136" y="441369"/>
                      <a:pt x="353136" y="441369"/>
                      <a:pt x="353136" y="441595"/>
                    </a:cubicBezTo>
                    <a:cubicBezTo>
                      <a:pt x="353362" y="443174"/>
                      <a:pt x="353813" y="444302"/>
                      <a:pt x="354264" y="445431"/>
                    </a:cubicBezTo>
                    <a:cubicBezTo>
                      <a:pt x="354716" y="446333"/>
                      <a:pt x="354941" y="447010"/>
                      <a:pt x="354941" y="447687"/>
                    </a:cubicBezTo>
                    <a:cubicBezTo>
                      <a:pt x="355167" y="447913"/>
                      <a:pt x="356070" y="449492"/>
                      <a:pt x="356972" y="450846"/>
                    </a:cubicBezTo>
                    <a:cubicBezTo>
                      <a:pt x="360131" y="455134"/>
                      <a:pt x="362388" y="458744"/>
                      <a:pt x="362388" y="461226"/>
                    </a:cubicBezTo>
                    <a:cubicBezTo>
                      <a:pt x="362388" y="464611"/>
                      <a:pt x="358326" y="466416"/>
                      <a:pt x="354716" y="468221"/>
                    </a:cubicBezTo>
                    <a:cubicBezTo>
                      <a:pt x="353136" y="468898"/>
                      <a:pt x="351782" y="469575"/>
                      <a:pt x="351105" y="470252"/>
                    </a:cubicBezTo>
                    <a:cubicBezTo>
                      <a:pt x="349977" y="471154"/>
                      <a:pt x="349075" y="471380"/>
                      <a:pt x="348172" y="471154"/>
                    </a:cubicBezTo>
                    <a:cubicBezTo>
                      <a:pt x="345916" y="470929"/>
                      <a:pt x="344336" y="468447"/>
                      <a:pt x="342757" y="466190"/>
                    </a:cubicBezTo>
                    <a:cubicBezTo>
                      <a:pt x="342305" y="465288"/>
                      <a:pt x="341628" y="464611"/>
                      <a:pt x="341177" y="463934"/>
                    </a:cubicBezTo>
                    <a:cubicBezTo>
                      <a:pt x="340951" y="463482"/>
                      <a:pt x="340274" y="463708"/>
                      <a:pt x="339823" y="463708"/>
                    </a:cubicBezTo>
                    <a:cubicBezTo>
                      <a:pt x="338243" y="464159"/>
                      <a:pt x="336213" y="466416"/>
                      <a:pt x="335536" y="470026"/>
                    </a:cubicBezTo>
                    <a:cubicBezTo>
                      <a:pt x="334859" y="474765"/>
                      <a:pt x="335310" y="476570"/>
                      <a:pt x="335761" y="478601"/>
                    </a:cubicBezTo>
                    <a:cubicBezTo>
                      <a:pt x="335987" y="479278"/>
                      <a:pt x="335987" y="480180"/>
                      <a:pt x="336213" y="480857"/>
                    </a:cubicBezTo>
                    <a:cubicBezTo>
                      <a:pt x="336213" y="481308"/>
                      <a:pt x="336438" y="481760"/>
                      <a:pt x="336438" y="482211"/>
                    </a:cubicBezTo>
                    <a:cubicBezTo>
                      <a:pt x="336890" y="485144"/>
                      <a:pt x="337792" y="489883"/>
                      <a:pt x="334407" y="494396"/>
                    </a:cubicBezTo>
                    <a:cubicBezTo>
                      <a:pt x="332377" y="497329"/>
                      <a:pt x="334859" y="503196"/>
                      <a:pt x="336213" y="506129"/>
                    </a:cubicBezTo>
                    <a:cubicBezTo>
                      <a:pt x="336664" y="507258"/>
                      <a:pt x="336890" y="507709"/>
                      <a:pt x="337115" y="508386"/>
                    </a:cubicBezTo>
                    <a:cubicBezTo>
                      <a:pt x="337341" y="509966"/>
                      <a:pt x="335987" y="516284"/>
                      <a:pt x="334407" y="518766"/>
                    </a:cubicBezTo>
                    <a:cubicBezTo>
                      <a:pt x="335761" y="519894"/>
                      <a:pt x="336890" y="520797"/>
                      <a:pt x="337566" y="521699"/>
                    </a:cubicBezTo>
                    <a:cubicBezTo>
                      <a:pt x="338920" y="523279"/>
                      <a:pt x="340049" y="524407"/>
                      <a:pt x="340725" y="525310"/>
                    </a:cubicBezTo>
                    <a:cubicBezTo>
                      <a:pt x="343885" y="528694"/>
                      <a:pt x="343885" y="529371"/>
                      <a:pt x="341854" y="534335"/>
                    </a:cubicBezTo>
                    <a:cubicBezTo>
                      <a:pt x="341402" y="535238"/>
                      <a:pt x="340951" y="536366"/>
                      <a:pt x="340500" y="537720"/>
                    </a:cubicBezTo>
                    <a:cubicBezTo>
                      <a:pt x="337115" y="546972"/>
                      <a:pt x="337115" y="547197"/>
                      <a:pt x="342531" y="551710"/>
                    </a:cubicBezTo>
                    <a:cubicBezTo>
                      <a:pt x="343433" y="552387"/>
                      <a:pt x="344110" y="553064"/>
                      <a:pt x="344787" y="553741"/>
                    </a:cubicBezTo>
                    <a:cubicBezTo>
                      <a:pt x="348849" y="557351"/>
                      <a:pt x="349075" y="557351"/>
                      <a:pt x="351105" y="555772"/>
                    </a:cubicBezTo>
                    <a:cubicBezTo>
                      <a:pt x="352234" y="554643"/>
                      <a:pt x="355167" y="553290"/>
                      <a:pt x="357875" y="553290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xmlns="" id="{FE804252-9B63-4211-8CE4-A0C04CC38BD8}"/>
                  </a:ext>
                </a:extLst>
              </p:cNvPr>
              <p:cNvSpPr/>
              <p:nvPr/>
            </p:nvSpPr>
            <p:spPr>
              <a:xfrm>
                <a:off x="10946048" y="2810378"/>
                <a:ext cx="135388" cy="203081"/>
              </a:xfrm>
              <a:custGeom>
                <a:avLst/>
                <a:gdLst>
                  <a:gd name="connsiteX0" fmla="*/ 70275 w 135387"/>
                  <a:gd name="connsiteY0" fmla="*/ 224969 h 203081"/>
                  <a:gd name="connsiteX1" fmla="*/ 66890 w 135387"/>
                  <a:gd name="connsiteY1" fmla="*/ 224518 h 203081"/>
                  <a:gd name="connsiteX2" fmla="*/ 65536 w 135387"/>
                  <a:gd name="connsiteY2" fmla="*/ 224292 h 203081"/>
                  <a:gd name="connsiteX3" fmla="*/ 53351 w 135387"/>
                  <a:gd name="connsiteY3" fmla="*/ 217748 h 203081"/>
                  <a:gd name="connsiteX4" fmla="*/ 51546 w 135387"/>
                  <a:gd name="connsiteY4" fmla="*/ 204661 h 203081"/>
                  <a:gd name="connsiteX5" fmla="*/ 51997 w 135387"/>
                  <a:gd name="connsiteY5" fmla="*/ 201953 h 203081"/>
                  <a:gd name="connsiteX6" fmla="*/ 49290 w 135387"/>
                  <a:gd name="connsiteY6" fmla="*/ 199245 h 203081"/>
                  <a:gd name="connsiteX7" fmla="*/ 45228 w 135387"/>
                  <a:gd name="connsiteY7" fmla="*/ 193830 h 203081"/>
                  <a:gd name="connsiteX8" fmla="*/ 41843 w 135387"/>
                  <a:gd name="connsiteY8" fmla="*/ 189768 h 203081"/>
                  <a:gd name="connsiteX9" fmla="*/ 36879 w 135387"/>
                  <a:gd name="connsiteY9" fmla="*/ 188414 h 203081"/>
                  <a:gd name="connsiteX10" fmla="*/ 35976 w 135387"/>
                  <a:gd name="connsiteY10" fmla="*/ 189091 h 203081"/>
                  <a:gd name="connsiteX11" fmla="*/ 35751 w 135387"/>
                  <a:gd name="connsiteY11" fmla="*/ 192702 h 203081"/>
                  <a:gd name="connsiteX12" fmla="*/ 36202 w 135387"/>
                  <a:gd name="connsiteY12" fmla="*/ 196312 h 203081"/>
                  <a:gd name="connsiteX13" fmla="*/ 32592 w 135387"/>
                  <a:gd name="connsiteY13" fmla="*/ 208046 h 203081"/>
                  <a:gd name="connsiteX14" fmla="*/ 31689 w 135387"/>
                  <a:gd name="connsiteY14" fmla="*/ 208948 h 203081"/>
                  <a:gd name="connsiteX15" fmla="*/ 30110 w 135387"/>
                  <a:gd name="connsiteY15" fmla="*/ 208497 h 203081"/>
                  <a:gd name="connsiteX16" fmla="*/ 24017 w 135387"/>
                  <a:gd name="connsiteY16" fmla="*/ 195861 h 203081"/>
                  <a:gd name="connsiteX17" fmla="*/ 23792 w 135387"/>
                  <a:gd name="connsiteY17" fmla="*/ 182322 h 203081"/>
                  <a:gd name="connsiteX18" fmla="*/ 21986 w 135387"/>
                  <a:gd name="connsiteY18" fmla="*/ 180742 h 203081"/>
                  <a:gd name="connsiteX19" fmla="*/ 15668 w 135387"/>
                  <a:gd name="connsiteY19" fmla="*/ 173071 h 203081"/>
                  <a:gd name="connsiteX20" fmla="*/ 14314 w 135387"/>
                  <a:gd name="connsiteY20" fmla="*/ 170137 h 203081"/>
                  <a:gd name="connsiteX21" fmla="*/ 13186 w 135387"/>
                  <a:gd name="connsiteY21" fmla="*/ 162014 h 203081"/>
                  <a:gd name="connsiteX22" fmla="*/ 10253 w 135387"/>
                  <a:gd name="connsiteY22" fmla="*/ 156598 h 203081"/>
                  <a:gd name="connsiteX23" fmla="*/ 7319 w 135387"/>
                  <a:gd name="connsiteY23" fmla="*/ 152537 h 203081"/>
                  <a:gd name="connsiteX24" fmla="*/ 5063 w 135387"/>
                  <a:gd name="connsiteY24" fmla="*/ 148701 h 203081"/>
                  <a:gd name="connsiteX25" fmla="*/ 1678 w 135387"/>
                  <a:gd name="connsiteY25" fmla="*/ 141480 h 203081"/>
                  <a:gd name="connsiteX26" fmla="*/ 1001 w 135387"/>
                  <a:gd name="connsiteY26" fmla="*/ 138547 h 203081"/>
                  <a:gd name="connsiteX27" fmla="*/ 1227 w 135387"/>
                  <a:gd name="connsiteY27" fmla="*/ 127716 h 203081"/>
                  <a:gd name="connsiteX28" fmla="*/ 1678 w 135387"/>
                  <a:gd name="connsiteY28" fmla="*/ 118013 h 203081"/>
                  <a:gd name="connsiteX29" fmla="*/ 2581 w 135387"/>
                  <a:gd name="connsiteY29" fmla="*/ 107859 h 203081"/>
                  <a:gd name="connsiteX30" fmla="*/ 3709 w 135387"/>
                  <a:gd name="connsiteY30" fmla="*/ 103797 h 203081"/>
                  <a:gd name="connsiteX31" fmla="*/ 7094 w 135387"/>
                  <a:gd name="connsiteY31" fmla="*/ 97028 h 203081"/>
                  <a:gd name="connsiteX32" fmla="*/ 10704 w 135387"/>
                  <a:gd name="connsiteY32" fmla="*/ 95674 h 203081"/>
                  <a:gd name="connsiteX33" fmla="*/ 13186 w 135387"/>
                  <a:gd name="connsiteY33" fmla="*/ 93417 h 203081"/>
                  <a:gd name="connsiteX34" fmla="*/ 13638 w 135387"/>
                  <a:gd name="connsiteY34" fmla="*/ 89807 h 203081"/>
                  <a:gd name="connsiteX35" fmla="*/ 17248 w 135387"/>
                  <a:gd name="connsiteY35" fmla="*/ 80781 h 203081"/>
                  <a:gd name="connsiteX36" fmla="*/ 19956 w 135387"/>
                  <a:gd name="connsiteY36" fmla="*/ 77848 h 203081"/>
                  <a:gd name="connsiteX37" fmla="*/ 24468 w 135387"/>
                  <a:gd name="connsiteY37" fmla="*/ 73786 h 203081"/>
                  <a:gd name="connsiteX38" fmla="*/ 27402 w 135387"/>
                  <a:gd name="connsiteY38" fmla="*/ 69725 h 203081"/>
                  <a:gd name="connsiteX39" fmla="*/ 30787 w 135387"/>
                  <a:gd name="connsiteY39" fmla="*/ 66114 h 203081"/>
                  <a:gd name="connsiteX40" fmla="*/ 32140 w 135387"/>
                  <a:gd name="connsiteY40" fmla="*/ 65663 h 203081"/>
                  <a:gd name="connsiteX41" fmla="*/ 43423 w 135387"/>
                  <a:gd name="connsiteY41" fmla="*/ 64083 h 203081"/>
                  <a:gd name="connsiteX42" fmla="*/ 55833 w 135387"/>
                  <a:gd name="connsiteY42" fmla="*/ 59345 h 203081"/>
                  <a:gd name="connsiteX43" fmla="*/ 57864 w 135387"/>
                  <a:gd name="connsiteY43" fmla="*/ 54381 h 203081"/>
                  <a:gd name="connsiteX44" fmla="*/ 65536 w 135387"/>
                  <a:gd name="connsiteY44" fmla="*/ 45580 h 203081"/>
                  <a:gd name="connsiteX45" fmla="*/ 73660 w 135387"/>
                  <a:gd name="connsiteY45" fmla="*/ 46934 h 203081"/>
                  <a:gd name="connsiteX46" fmla="*/ 77495 w 135387"/>
                  <a:gd name="connsiteY46" fmla="*/ 47386 h 203081"/>
                  <a:gd name="connsiteX47" fmla="*/ 81557 w 135387"/>
                  <a:gd name="connsiteY47" fmla="*/ 44452 h 203081"/>
                  <a:gd name="connsiteX48" fmla="*/ 85619 w 135387"/>
                  <a:gd name="connsiteY48" fmla="*/ 40842 h 203081"/>
                  <a:gd name="connsiteX49" fmla="*/ 85167 w 135387"/>
                  <a:gd name="connsiteY49" fmla="*/ 37006 h 203081"/>
                  <a:gd name="connsiteX50" fmla="*/ 85619 w 135387"/>
                  <a:gd name="connsiteY50" fmla="*/ 27754 h 203081"/>
                  <a:gd name="connsiteX51" fmla="*/ 100060 w 135387"/>
                  <a:gd name="connsiteY51" fmla="*/ 18728 h 203081"/>
                  <a:gd name="connsiteX52" fmla="*/ 104573 w 135387"/>
                  <a:gd name="connsiteY52" fmla="*/ 18728 h 203081"/>
                  <a:gd name="connsiteX53" fmla="*/ 110440 w 135387"/>
                  <a:gd name="connsiteY53" fmla="*/ 17375 h 203081"/>
                  <a:gd name="connsiteX54" fmla="*/ 114501 w 135387"/>
                  <a:gd name="connsiteY54" fmla="*/ 9703 h 203081"/>
                  <a:gd name="connsiteX55" fmla="*/ 118337 w 135387"/>
                  <a:gd name="connsiteY55" fmla="*/ 2933 h 203081"/>
                  <a:gd name="connsiteX56" fmla="*/ 118337 w 135387"/>
                  <a:gd name="connsiteY56" fmla="*/ 2933 h 203081"/>
                  <a:gd name="connsiteX57" fmla="*/ 119691 w 135387"/>
                  <a:gd name="connsiteY57" fmla="*/ 1354 h 203081"/>
                  <a:gd name="connsiteX58" fmla="*/ 121271 w 135387"/>
                  <a:gd name="connsiteY58" fmla="*/ 0 h 203081"/>
                  <a:gd name="connsiteX59" fmla="*/ 121271 w 135387"/>
                  <a:gd name="connsiteY59" fmla="*/ 0 h 203081"/>
                  <a:gd name="connsiteX60" fmla="*/ 122173 w 135387"/>
                  <a:gd name="connsiteY60" fmla="*/ 1354 h 203081"/>
                  <a:gd name="connsiteX61" fmla="*/ 122399 w 135387"/>
                  <a:gd name="connsiteY61" fmla="*/ 1128 h 203081"/>
                  <a:gd name="connsiteX62" fmla="*/ 127363 w 135387"/>
                  <a:gd name="connsiteY62" fmla="*/ 5415 h 203081"/>
                  <a:gd name="connsiteX63" fmla="*/ 130522 w 135387"/>
                  <a:gd name="connsiteY63" fmla="*/ 9026 h 203081"/>
                  <a:gd name="connsiteX64" fmla="*/ 131650 w 135387"/>
                  <a:gd name="connsiteY64" fmla="*/ 18052 h 203081"/>
                  <a:gd name="connsiteX65" fmla="*/ 130297 w 135387"/>
                  <a:gd name="connsiteY65" fmla="*/ 21436 h 203081"/>
                  <a:gd name="connsiteX66" fmla="*/ 132327 w 135387"/>
                  <a:gd name="connsiteY66" fmla="*/ 35426 h 203081"/>
                  <a:gd name="connsiteX67" fmla="*/ 134584 w 135387"/>
                  <a:gd name="connsiteY67" fmla="*/ 37231 h 203081"/>
                  <a:gd name="connsiteX68" fmla="*/ 139097 w 135387"/>
                  <a:gd name="connsiteY68" fmla="*/ 40165 h 203081"/>
                  <a:gd name="connsiteX69" fmla="*/ 141353 w 135387"/>
                  <a:gd name="connsiteY69" fmla="*/ 39939 h 203081"/>
                  <a:gd name="connsiteX70" fmla="*/ 140902 w 135387"/>
                  <a:gd name="connsiteY70" fmla="*/ 42647 h 203081"/>
                  <a:gd name="connsiteX71" fmla="*/ 141579 w 135387"/>
                  <a:gd name="connsiteY71" fmla="*/ 57540 h 203081"/>
                  <a:gd name="connsiteX72" fmla="*/ 141804 w 135387"/>
                  <a:gd name="connsiteY72" fmla="*/ 58442 h 203081"/>
                  <a:gd name="connsiteX73" fmla="*/ 142030 w 135387"/>
                  <a:gd name="connsiteY73" fmla="*/ 83715 h 203081"/>
                  <a:gd name="connsiteX74" fmla="*/ 139774 w 135387"/>
                  <a:gd name="connsiteY74" fmla="*/ 98156 h 203081"/>
                  <a:gd name="connsiteX75" fmla="*/ 137517 w 135387"/>
                  <a:gd name="connsiteY75" fmla="*/ 114628 h 203081"/>
                  <a:gd name="connsiteX76" fmla="*/ 137292 w 135387"/>
                  <a:gd name="connsiteY76" fmla="*/ 115756 h 203081"/>
                  <a:gd name="connsiteX77" fmla="*/ 135261 w 135387"/>
                  <a:gd name="connsiteY77" fmla="*/ 116208 h 203081"/>
                  <a:gd name="connsiteX78" fmla="*/ 127363 w 135387"/>
                  <a:gd name="connsiteY78" fmla="*/ 115531 h 203081"/>
                  <a:gd name="connsiteX79" fmla="*/ 125784 w 135387"/>
                  <a:gd name="connsiteY79" fmla="*/ 113725 h 203081"/>
                  <a:gd name="connsiteX80" fmla="*/ 125332 w 135387"/>
                  <a:gd name="connsiteY80" fmla="*/ 113274 h 203081"/>
                  <a:gd name="connsiteX81" fmla="*/ 123753 w 135387"/>
                  <a:gd name="connsiteY81" fmla="*/ 114854 h 203081"/>
                  <a:gd name="connsiteX82" fmla="*/ 112019 w 135387"/>
                  <a:gd name="connsiteY82" fmla="*/ 120721 h 203081"/>
                  <a:gd name="connsiteX83" fmla="*/ 108860 w 135387"/>
                  <a:gd name="connsiteY83" fmla="*/ 119818 h 203081"/>
                  <a:gd name="connsiteX84" fmla="*/ 103445 w 135387"/>
                  <a:gd name="connsiteY84" fmla="*/ 121172 h 203081"/>
                  <a:gd name="connsiteX85" fmla="*/ 101639 w 135387"/>
                  <a:gd name="connsiteY85" fmla="*/ 130198 h 203081"/>
                  <a:gd name="connsiteX86" fmla="*/ 102316 w 135387"/>
                  <a:gd name="connsiteY86" fmla="*/ 132906 h 203081"/>
                  <a:gd name="connsiteX87" fmla="*/ 102768 w 135387"/>
                  <a:gd name="connsiteY87" fmla="*/ 135388 h 203081"/>
                  <a:gd name="connsiteX88" fmla="*/ 98480 w 135387"/>
                  <a:gd name="connsiteY88" fmla="*/ 151634 h 203081"/>
                  <a:gd name="connsiteX89" fmla="*/ 94870 w 135387"/>
                  <a:gd name="connsiteY89" fmla="*/ 155244 h 203081"/>
                  <a:gd name="connsiteX90" fmla="*/ 88778 w 135387"/>
                  <a:gd name="connsiteY90" fmla="*/ 165398 h 203081"/>
                  <a:gd name="connsiteX91" fmla="*/ 90583 w 135387"/>
                  <a:gd name="connsiteY91" fmla="*/ 173296 h 203081"/>
                  <a:gd name="connsiteX92" fmla="*/ 92614 w 135387"/>
                  <a:gd name="connsiteY92" fmla="*/ 184804 h 203081"/>
                  <a:gd name="connsiteX93" fmla="*/ 86296 w 135387"/>
                  <a:gd name="connsiteY93" fmla="*/ 206917 h 203081"/>
                  <a:gd name="connsiteX94" fmla="*/ 77947 w 135387"/>
                  <a:gd name="connsiteY94" fmla="*/ 218200 h 203081"/>
                  <a:gd name="connsiteX95" fmla="*/ 75464 w 135387"/>
                  <a:gd name="connsiteY95" fmla="*/ 221133 h 203081"/>
                  <a:gd name="connsiteX96" fmla="*/ 70275 w 135387"/>
                  <a:gd name="connsiteY96" fmla="*/ 224969 h 203081"/>
                  <a:gd name="connsiteX97" fmla="*/ 37330 w 135387"/>
                  <a:gd name="connsiteY97" fmla="*/ 184804 h 203081"/>
                  <a:gd name="connsiteX98" fmla="*/ 43649 w 135387"/>
                  <a:gd name="connsiteY98" fmla="*/ 186835 h 203081"/>
                  <a:gd name="connsiteX99" fmla="*/ 49064 w 135387"/>
                  <a:gd name="connsiteY99" fmla="*/ 194056 h 203081"/>
                  <a:gd name="connsiteX100" fmla="*/ 51546 w 135387"/>
                  <a:gd name="connsiteY100" fmla="*/ 196312 h 203081"/>
                  <a:gd name="connsiteX101" fmla="*/ 55833 w 135387"/>
                  <a:gd name="connsiteY101" fmla="*/ 201953 h 203081"/>
                  <a:gd name="connsiteX102" fmla="*/ 55382 w 135387"/>
                  <a:gd name="connsiteY102" fmla="*/ 205563 h 203081"/>
                  <a:gd name="connsiteX103" fmla="*/ 56510 w 135387"/>
                  <a:gd name="connsiteY103" fmla="*/ 215266 h 203081"/>
                  <a:gd name="connsiteX104" fmla="*/ 66213 w 135387"/>
                  <a:gd name="connsiteY104" fmla="*/ 220456 h 203081"/>
                  <a:gd name="connsiteX105" fmla="*/ 67567 w 135387"/>
                  <a:gd name="connsiteY105" fmla="*/ 220682 h 203081"/>
                  <a:gd name="connsiteX106" fmla="*/ 72531 w 135387"/>
                  <a:gd name="connsiteY106" fmla="*/ 219102 h 203081"/>
                  <a:gd name="connsiteX107" fmla="*/ 75239 w 135387"/>
                  <a:gd name="connsiteY107" fmla="*/ 215943 h 203081"/>
                  <a:gd name="connsiteX108" fmla="*/ 82911 w 135387"/>
                  <a:gd name="connsiteY108" fmla="*/ 205563 h 203081"/>
                  <a:gd name="connsiteX109" fmla="*/ 88778 w 135387"/>
                  <a:gd name="connsiteY109" fmla="*/ 184579 h 203081"/>
                  <a:gd name="connsiteX110" fmla="*/ 86973 w 135387"/>
                  <a:gd name="connsiteY110" fmla="*/ 174650 h 203081"/>
                  <a:gd name="connsiteX111" fmla="*/ 84942 w 135387"/>
                  <a:gd name="connsiteY111" fmla="*/ 165398 h 203081"/>
                  <a:gd name="connsiteX112" fmla="*/ 92388 w 135387"/>
                  <a:gd name="connsiteY112" fmla="*/ 152537 h 203081"/>
                  <a:gd name="connsiteX113" fmla="*/ 95998 w 135387"/>
                  <a:gd name="connsiteY113" fmla="*/ 149152 h 203081"/>
                  <a:gd name="connsiteX114" fmla="*/ 99383 w 135387"/>
                  <a:gd name="connsiteY114" fmla="*/ 136516 h 203081"/>
                  <a:gd name="connsiteX115" fmla="*/ 98932 w 135387"/>
                  <a:gd name="connsiteY115" fmla="*/ 134034 h 203081"/>
                  <a:gd name="connsiteX116" fmla="*/ 98480 w 135387"/>
                  <a:gd name="connsiteY116" fmla="*/ 131326 h 203081"/>
                  <a:gd name="connsiteX117" fmla="*/ 100737 w 135387"/>
                  <a:gd name="connsiteY117" fmla="*/ 119367 h 203081"/>
                  <a:gd name="connsiteX118" fmla="*/ 110665 w 135387"/>
                  <a:gd name="connsiteY118" fmla="*/ 116659 h 203081"/>
                  <a:gd name="connsiteX119" fmla="*/ 112470 w 135387"/>
                  <a:gd name="connsiteY119" fmla="*/ 117336 h 203081"/>
                  <a:gd name="connsiteX120" fmla="*/ 121271 w 135387"/>
                  <a:gd name="connsiteY120" fmla="*/ 112823 h 203081"/>
                  <a:gd name="connsiteX121" fmla="*/ 125784 w 135387"/>
                  <a:gd name="connsiteY121" fmla="*/ 109664 h 203081"/>
                  <a:gd name="connsiteX122" fmla="*/ 128943 w 135387"/>
                  <a:gd name="connsiteY122" fmla="*/ 111920 h 203081"/>
                  <a:gd name="connsiteX123" fmla="*/ 130071 w 135387"/>
                  <a:gd name="connsiteY123" fmla="*/ 113274 h 203081"/>
                  <a:gd name="connsiteX124" fmla="*/ 133907 w 135387"/>
                  <a:gd name="connsiteY124" fmla="*/ 113274 h 203081"/>
                  <a:gd name="connsiteX125" fmla="*/ 135938 w 135387"/>
                  <a:gd name="connsiteY125" fmla="*/ 98156 h 203081"/>
                  <a:gd name="connsiteX126" fmla="*/ 138194 w 135387"/>
                  <a:gd name="connsiteY126" fmla="*/ 83263 h 203081"/>
                  <a:gd name="connsiteX127" fmla="*/ 137743 w 135387"/>
                  <a:gd name="connsiteY127" fmla="*/ 59571 h 203081"/>
                  <a:gd name="connsiteX128" fmla="*/ 137517 w 135387"/>
                  <a:gd name="connsiteY128" fmla="*/ 58668 h 203081"/>
                  <a:gd name="connsiteX129" fmla="*/ 136615 w 135387"/>
                  <a:gd name="connsiteY129" fmla="*/ 44001 h 203081"/>
                  <a:gd name="connsiteX130" fmla="*/ 131650 w 135387"/>
                  <a:gd name="connsiteY130" fmla="*/ 40391 h 203081"/>
                  <a:gd name="connsiteX131" fmla="*/ 129620 w 135387"/>
                  <a:gd name="connsiteY131" fmla="*/ 38585 h 203081"/>
                  <a:gd name="connsiteX132" fmla="*/ 126461 w 135387"/>
                  <a:gd name="connsiteY132" fmla="*/ 20534 h 203081"/>
                  <a:gd name="connsiteX133" fmla="*/ 127814 w 135387"/>
                  <a:gd name="connsiteY133" fmla="*/ 17149 h 203081"/>
                  <a:gd name="connsiteX134" fmla="*/ 127363 w 135387"/>
                  <a:gd name="connsiteY134" fmla="*/ 11959 h 203081"/>
                  <a:gd name="connsiteX135" fmla="*/ 123979 w 135387"/>
                  <a:gd name="connsiteY135" fmla="*/ 8123 h 203081"/>
                  <a:gd name="connsiteX136" fmla="*/ 121045 w 135387"/>
                  <a:gd name="connsiteY136" fmla="*/ 5415 h 203081"/>
                  <a:gd name="connsiteX137" fmla="*/ 117660 w 135387"/>
                  <a:gd name="connsiteY137" fmla="*/ 11282 h 203081"/>
                  <a:gd name="connsiteX138" fmla="*/ 112922 w 135387"/>
                  <a:gd name="connsiteY138" fmla="*/ 20082 h 203081"/>
                  <a:gd name="connsiteX139" fmla="*/ 104122 w 135387"/>
                  <a:gd name="connsiteY139" fmla="*/ 23016 h 203081"/>
                  <a:gd name="connsiteX140" fmla="*/ 100060 w 135387"/>
                  <a:gd name="connsiteY140" fmla="*/ 23016 h 203081"/>
                  <a:gd name="connsiteX141" fmla="*/ 88778 w 135387"/>
                  <a:gd name="connsiteY141" fmla="*/ 30236 h 203081"/>
                  <a:gd name="connsiteX142" fmla="*/ 88778 w 135387"/>
                  <a:gd name="connsiteY142" fmla="*/ 36780 h 203081"/>
                  <a:gd name="connsiteX143" fmla="*/ 89229 w 135387"/>
                  <a:gd name="connsiteY143" fmla="*/ 42196 h 203081"/>
                  <a:gd name="connsiteX144" fmla="*/ 83362 w 135387"/>
                  <a:gd name="connsiteY144" fmla="*/ 48288 h 203081"/>
                  <a:gd name="connsiteX145" fmla="*/ 79752 w 135387"/>
                  <a:gd name="connsiteY145" fmla="*/ 50770 h 203081"/>
                  <a:gd name="connsiteX146" fmla="*/ 72080 w 135387"/>
                  <a:gd name="connsiteY146" fmla="*/ 50996 h 203081"/>
                  <a:gd name="connsiteX147" fmla="*/ 65987 w 135387"/>
                  <a:gd name="connsiteY147" fmla="*/ 49868 h 203081"/>
                  <a:gd name="connsiteX148" fmla="*/ 61249 w 135387"/>
                  <a:gd name="connsiteY148" fmla="*/ 55960 h 203081"/>
                  <a:gd name="connsiteX149" fmla="*/ 58767 w 135387"/>
                  <a:gd name="connsiteY149" fmla="*/ 61827 h 203081"/>
                  <a:gd name="connsiteX150" fmla="*/ 42972 w 135387"/>
                  <a:gd name="connsiteY150" fmla="*/ 68371 h 203081"/>
                  <a:gd name="connsiteX151" fmla="*/ 33043 w 135387"/>
                  <a:gd name="connsiteY151" fmla="*/ 69950 h 203081"/>
                  <a:gd name="connsiteX152" fmla="*/ 31689 w 135387"/>
                  <a:gd name="connsiteY152" fmla="*/ 70401 h 203081"/>
                  <a:gd name="connsiteX153" fmla="*/ 30787 w 135387"/>
                  <a:gd name="connsiteY153" fmla="*/ 71981 h 203081"/>
                  <a:gd name="connsiteX154" fmla="*/ 26725 w 135387"/>
                  <a:gd name="connsiteY154" fmla="*/ 77622 h 203081"/>
                  <a:gd name="connsiteX155" fmla="*/ 22663 w 135387"/>
                  <a:gd name="connsiteY155" fmla="*/ 81233 h 203081"/>
                  <a:gd name="connsiteX156" fmla="*/ 19504 w 135387"/>
                  <a:gd name="connsiteY156" fmla="*/ 84392 h 203081"/>
                  <a:gd name="connsiteX157" fmla="*/ 17248 w 135387"/>
                  <a:gd name="connsiteY157" fmla="*/ 90935 h 203081"/>
                  <a:gd name="connsiteX158" fmla="*/ 16797 w 135387"/>
                  <a:gd name="connsiteY158" fmla="*/ 94997 h 203081"/>
                  <a:gd name="connsiteX159" fmla="*/ 11607 w 135387"/>
                  <a:gd name="connsiteY159" fmla="*/ 99961 h 203081"/>
                  <a:gd name="connsiteX160" fmla="*/ 9125 w 135387"/>
                  <a:gd name="connsiteY160" fmla="*/ 100864 h 203081"/>
                  <a:gd name="connsiteX161" fmla="*/ 7545 w 135387"/>
                  <a:gd name="connsiteY161" fmla="*/ 105151 h 203081"/>
                  <a:gd name="connsiteX162" fmla="*/ 5740 w 135387"/>
                  <a:gd name="connsiteY162" fmla="*/ 110792 h 203081"/>
                  <a:gd name="connsiteX163" fmla="*/ 5514 w 135387"/>
                  <a:gd name="connsiteY163" fmla="*/ 118464 h 203081"/>
                  <a:gd name="connsiteX164" fmla="*/ 4612 w 135387"/>
                  <a:gd name="connsiteY164" fmla="*/ 130423 h 203081"/>
                  <a:gd name="connsiteX165" fmla="*/ 4837 w 135387"/>
                  <a:gd name="connsiteY165" fmla="*/ 138547 h 203081"/>
                  <a:gd name="connsiteX166" fmla="*/ 5514 w 135387"/>
                  <a:gd name="connsiteY166" fmla="*/ 142383 h 203081"/>
                  <a:gd name="connsiteX167" fmla="*/ 8222 w 135387"/>
                  <a:gd name="connsiteY167" fmla="*/ 147347 h 203081"/>
                  <a:gd name="connsiteX168" fmla="*/ 10930 w 135387"/>
                  <a:gd name="connsiteY168" fmla="*/ 152085 h 203081"/>
                  <a:gd name="connsiteX169" fmla="*/ 12960 w 135387"/>
                  <a:gd name="connsiteY169" fmla="*/ 154568 h 203081"/>
                  <a:gd name="connsiteX170" fmla="*/ 16797 w 135387"/>
                  <a:gd name="connsiteY170" fmla="*/ 163368 h 203081"/>
                  <a:gd name="connsiteX171" fmla="*/ 17699 w 135387"/>
                  <a:gd name="connsiteY171" fmla="*/ 169235 h 203081"/>
                  <a:gd name="connsiteX172" fmla="*/ 19053 w 135387"/>
                  <a:gd name="connsiteY172" fmla="*/ 172394 h 203081"/>
                  <a:gd name="connsiteX173" fmla="*/ 24243 w 135387"/>
                  <a:gd name="connsiteY173" fmla="*/ 178712 h 203081"/>
                  <a:gd name="connsiteX174" fmla="*/ 27176 w 135387"/>
                  <a:gd name="connsiteY174" fmla="*/ 182773 h 203081"/>
                  <a:gd name="connsiteX175" fmla="*/ 27402 w 135387"/>
                  <a:gd name="connsiteY175" fmla="*/ 196538 h 203081"/>
                  <a:gd name="connsiteX176" fmla="*/ 30335 w 135387"/>
                  <a:gd name="connsiteY176" fmla="*/ 204661 h 203081"/>
                  <a:gd name="connsiteX177" fmla="*/ 31915 w 135387"/>
                  <a:gd name="connsiteY177" fmla="*/ 197440 h 203081"/>
                  <a:gd name="connsiteX178" fmla="*/ 31463 w 135387"/>
                  <a:gd name="connsiteY178" fmla="*/ 194281 h 203081"/>
                  <a:gd name="connsiteX179" fmla="*/ 32140 w 135387"/>
                  <a:gd name="connsiteY179" fmla="*/ 188414 h 203081"/>
                  <a:gd name="connsiteX180" fmla="*/ 35074 w 135387"/>
                  <a:gd name="connsiteY180" fmla="*/ 185707 h 203081"/>
                  <a:gd name="connsiteX181" fmla="*/ 37330 w 135387"/>
                  <a:gd name="connsiteY181" fmla="*/ 184804 h 203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</a:cxnLst>
                <a:rect l="l" t="t" r="r" b="b"/>
                <a:pathLst>
                  <a:path w="135387" h="203081">
                    <a:moveTo>
                      <a:pt x="70275" y="224969"/>
                    </a:moveTo>
                    <a:cubicBezTo>
                      <a:pt x="69372" y="224969"/>
                      <a:pt x="68244" y="224744"/>
                      <a:pt x="66890" y="224518"/>
                    </a:cubicBezTo>
                    <a:lnTo>
                      <a:pt x="65536" y="224292"/>
                    </a:lnTo>
                    <a:cubicBezTo>
                      <a:pt x="60798" y="223615"/>
                      <a:pt x="57864" y="222938"/>
                      <a:pt x="53351" y="217748"/>
                    </a:cubicBezTo>
                    <a:cubicBezTo>
                      <a:pt x="49741" y="213236"/>
                      <a:pt x="50869" y="208046"/>
                      <a:pt x="51546" y="204661"/>
                    </a:cubicBezTo>
                    <a:cubicBezTo>
                      <a:pt x="51772" y="203533"/>
                      <a:pt x="51997" y="202630"/>
                      <a:pt x="51997" y="201953"/>
                    </a:cubicBezTo>
                    <a:cubicBezTo>
                      <a:pt x="51997" y="201276"/>
                      <a:pt x="50418" y="200148"/>
                      <a:pt x="49290" y="199245"/>
                    </a:cubicBezTo>
                    <a:cubicBezTo>
                      <a:pt x="47259" y="197892"/>
                      <a:pt x="45228" y="196312"/>
                      <a:pt x="45228" y="193830"/>
                    </a:cubicBezTo>
                    <a:cubicBezTo>
                      <a:pt x="45228" y="192025"/>
                      <a:pt x="44777" y="191573"/>
                      <a:pt x="41843" y="189768"/>
                    </a:cubicBezTo>
                    <a:cubicBezTo>
                      <a:pt x="38684" y="188189"/>
                      <a:pt x="37330" y="188189"/>
                      <a:pt x="36879" y="188414"/>
                    </a:cubicBezTo>
                    <a:cubicBezTo>
                      <a:pt x="36654" y="188414"/>
                      <a:pt x="36428" y="188640"/>
                      <a:pt x="35976" y="189091"/>
                    </a:cubicBezTo>
                    <a:cubicBezTo>
                      <a:pt x="35299" y="190671"/>
                      <a:pt x="35299" y="191122"/>
                      <a:pt x="35751" y="192702"/>
                    </a:cubicBezTo>
                    <a:cubicBezTo>
                      <a:pt x="35976" y="193604"/>
                      <a:pt x="36202" y="194733"/>
                      <a:pt x="36202" y="196312"/>
                    </a:cubicBezTo>
                    <a:cubicBezTo>
                      <a:pt x="36654" y="201276"/>
                      <a:pt x="33720" y="206917"/>
                      <a:pt x="32592" y="208046"/>
                    </a:cubicBezTo>
                    <a:lnTo>
                      <a:pt x="31689" y="208948"/>
                    </a:lnTo>
                    <a:lnTo>
                      <a:pt x="30110" y="208497"/>
                    </a:lnTo>
                    <a:cubicBezTo>
                      <a:pt x="27628" y="207594"/>
                      <a:pt x="24243" y="199922"/>
                      <a:pt x="24017" y="195861"/>
                    </a:cubicBezTo>
                    <a:cubicBezTo>
                      <a:pt x="23792" y="192927"/>
                      <a:pt x="23792" y="188189"/>
                      <a:pt x="23792" y="182322"/>
                    </a:cubicBezTo>
                    <a:cubicBezTo>
                      <a:pt x="23566" y="181871"/>
                      <a:pt x="22663" y="181194"/>
                      <a:pt x="21986" y="180742"/>
                    </a:cubicBezTo>
                    <a:cubicBezTo>
                      <a:pt x="19956" y="178937"/>
                      <a:pt x="17022" y="176455"/>
                      <a:pt x="15668" y="173071"/>
                    </a:cubicBezTo>
                    <a:cubicBezTo>
                      <a:pt x="15217" y="171942"/>
                      <a:pt x="14766" y="170814"/>
                      <a:pt x="14314" y="170137"/>
                    </a:cubicBezTo>
                    <a:cubicBezTo>
                      <a:pt x="13186" y="167429"/>
                      <a:pt x="12509" y="165850"/>
                      <a:pt x="13186" y="162014"/>
                    </a:cubicBezTo>
                    <a:cubicBezTo>
                      <a:pt x="13638" y="160434"/>
                      <a:pt x="12284" y="158629"/>
                      <a:pt x="10253" y="156598"/>
                    </a:cubicBezTo>
                    <a:cubicBezTo>
                      <a:pt x="8899" y="155244"/>
                      <a:pt x="7771" y="154116"/>
                      <a:pt x="7319" y="152537"/>
                    </a:cubicBezTo>
                    <a:cubicBezTo>
                      <a:pt x="7094" y="151634"/>
                      <a:pt x="5966" y="150055"/>
                      <a:pt x="5063" y="148701"/>
                    </a:cubicBezTo>
                    <a:cubicBezTo>
                      <a:pt x="3258" y="146219"/>
                      <a:pt x="1678" y="143736"/>
                      <a:pt x="1678" y="141480"/>
                    </a:cubicBezTo>
                    <a:cubicBezTo>
                      <a:pt x="1678" y="140803"/>
                      <a:pt x="1453" y="139675"/>
                      <a:pt x="1001" y="138547"/>
                    </a:cubicBezTo>
                    <a:cubicBezTo>
                      <a:pt x="99" y="135388"/>
                      <a:pt x="-804" y="131326"/>
                      <a:pt x="1227" y="127716"/>
                    </a:cubicBezTo>
                    <a:cubicBezTo>
                      <a:pt x="2355" y="125910"/>
                      <a:pt x="1904" y="121623"/>
                      <a:pt x="1678" y="118013"/>
                    </a:cubicBezTo>
                    <a:cubicBezTo>
                      <a:pt x="1453" y="113725"/>
                      <a:pt x="1227" y="109890"/>
                      <a:pt x="2581" y="107859"/>
                    </a:cubicBezTo>
                    <a:cubicBezTo>
                      <a:pt x="3258" y="106956"/>
                      <a:pt x="3483" y="105377"/>
                      <a:pt x="3709" y="103797"/>
                    </a:cubicBezTo>
                    <a:cubicBezTo>
                      <a:pt x="4160" y="101315"/>
                      <a:pt x="4612" y="98607"/>
                      <a:pt x="7094" y="97028"/>
                    </a:cubicBezTo>
                    <a:cubicBezTo>
                      <a:pt x="8448" y="96125"/>
                      <a:pt x="9801" y="95900"/>
                      <a:pt x="10704" y="95674"/>
                    </a:cubicBezTo>
                    <a:cubicBezTo>
                      <a:pt x="12284" y="95223"/>
                      <a:pt x="12735" y="95223"/>
                      <a:pt x="13186" y="93417"/>
                    </a:cubicBezTo>
                    <a:cubicBezTo>
                      <a:pt x="13412" y="92289"/>
                      <a:pt x="13638" y="90935"/>
                      <a:pt x="13638" y="89807"/>
                    </a:cubicBezTo>
                    <a:cubicBezTo>
                      <a:pt x="13863" y="86648"/>
                      <a:pt x="14314" y="83489"/>
                      <a:pt x="17248" y="80781"/>
                    </a:cubicBezTo>
                    <a:cubicBezTo>
                      <a:pt x="18602" y="79427"/>
                      <a:pt x="19279" y="78750"/>
                      <a:pt x="19956" y="77848"/>
                    </a:cubicBezTo>
                    <a:cubicBezTo>
                      <a:pt x="21084" y="76720"/>
                      <a:pt x="21986" y="75591"/>
                      <a:pt x="24468" y="73786"/>
                    </a:cubicBezTo>
                    <a:cubicBezTo>
                      <a:pt x="26274" y="72432"/>
                      <a:pt x="26725" y="71078"/>
                      <a:pt x="27402" y="69725"/>
                    </a:cubicBezTo>
                    <a:cubicBezTo>
                      <a:pt x="28079" y="68371"/>
                      <a:pt x="28756" y="66566"/>
                      <a:pt x="30787" y="66114"/>
                    </a:cubicBezTo>
                    <a:lnTo>
                      <a:pt x="32140" y="65663"/>
                    </a:lnTo>
                    <a:cubicBezTo>
                      <a:pt x="34848" y="64986"/>
                      <a:pt x="39135" y="63858"/>
                      <a:pt x="43423" y="64083"/>
                    </a:cubicBezTo>
                    <a:cubicBezTo>
                      <a:pt x="47710" y="64309"/>
                      <a:pt x="53126" y="63181"/>
                      <a:pt x="55833" y="59345"/>
                    </a:cubicBezTo>
                    <a:cubicBezTo>
                      <a:pt x="56736" y="57991"/>
                      <a:pt x="57413" y="56186"/>
                      <a:pt x="57864" y="54381"/>
                    </a:cubicBezTo>
                    <a:cubicBezTo>
                      <a:pt x="58992" y="50770"/>
                      <a:pt x="60346" y="46483"/>
                      <a:pt x="65536" y="45580"/>
                    </a:cubicBezTo>
                    <a:cubicBezTo>
                      <a:pt x="68921" y="45129"/>
                      <a:pt x="71403" y="46032"/>
                      <a:pt x="73660" y="46934"/>
                    </a:cubicBezTo>
                    <a:cubicBezTo>
                      <a:pt x="75916" y="47837"/>
                      <a:pt x="76819" y="48063"/>
                      <a:pt x="77495" y="47386"/>
                    </a:cubicBezTo>
                    <a:cubicBezTo>
                      <a:pt x="78849" y="46257"/>
                      <a:pt x="80203" y="45355"/>
                      <a:pt x="81557" y="44452"/>
                    </a:cubicBezTo>
                    <a:cubicBezTo>
                      <a:pt x="83362" y="43324"/>
                      <a:pt x="85393" y="41970"/>
                      <a:pt x="85619" y="40842"/>
                    </a:cubicBezTo>
                    <a:cubicBezTo>
                      <a:pt x="85844" y="39939"/>
                      <a:pt x="85393" y="38360"/>
                      <a:pt x="85167" y="37006"/>
                    </a:cubicBezTo>
                    <a:cubicBezTo>
                      <a:pt x="84490" y="34072"/>
                      <a:pt x="83814" y="30688"/>
                      <a:pt x="85619" y="27754"/>
                    </a:cubicBezTo>
                    <a:cubicBezTo>
                      <a:pt x="87875" y="23693"/>
                      <a:pt x="93065" y="18954"/>
                      <a:pt x="100060" y="18728"/>
                    </a:cubicBezTo>
                    <a:cubicBezTo>
                      <a:pt x="101639" y="18728"/>
                      <a:pt x="103219" y="18728"/>
                      <a:pt x="104573" y="18728"/>
                    </a:cubicBezTo>
                    <a:cubicBezTo>
                      <a:pt x="107957" y="18728"/>
                      <a:pt x="109311" y="18728"/>
                      <a:pt x="110440" y="17375"/>
                    </a:cubicBezTo>
                    <a:cubicBezTo>
                      <a:pt x="112696" y="14441"/>
                      <a:pt x="112922" y="13990"/>
                      <a:pt x="114501" y="9703"/>
                    </a:cubicBezTo>
                    <a:cubicBezTo>
                      <a:pt x="115404" y="7221"/>
                      <a:pt x="116984" y="4739"/>
                      <a:pt x="118337" y="2933"/>
                    </a:cubicBezTo>
                    <a:lnTo>
                      <a:pt x="118337" y="2933"/>
                    </a:lnTo>
                    <a:lnTo>
                      <a:pt x="119691" y="1354"/>
                    </a:lnTo>
                    <a:cubicBezTo>
                      <a:pt x="120368" y="677"/>
                      <a:pt x="120819" y="226"/>
                      <a:pt x="121271" y="0"/>
                    </a:cubicBezTo>
                    <a:lnTo>
                      <a:pt x="121271" y="0"/>
                    </a:lnTo>
                    <a:lnTo>
                      <a:pt x="122173" y="1354"/>
                    </a:lnTo>
                    <a:lnTo>
                      <a:pt x="122399" y="1128"/>
                    </a:lnTo>
                    <a:cubicBezTo>
                      <a:pt x="124655" y="2708"/>
                      <a:pt x="126235" y="4287"/>
                      <a:pt x="127363" y="5415"/>
                    </a:cubicBezTo>
                    <a:cubicBezTo>
                      <a:pt x="128717" y="6995"/>
                      <a:pt x="129845" y="8123"/>
                      <a:pt x="130522" y="9026"/>
                    </a:cubicBezTo>
                    <a:cubicBezTo>
                      <a:pt x="133681" y="12410"/>
                      <a:pt x="133681" y="13087"/>
                      <a:pt x="131650" y="18052"/>
                    </a:cubicBezTo>
                    <a:cubicBezTo>
                      <a:pt x="131199" y="18954"/>
                      <a:pt x="130748" y="20082"/>
                      <a:pt x="130297" y="21436"/>
                    </a:cubicBezTo>
                    <a:cubicBezTo>
                      <a:pt x="126912" y="30688"/>
                      <a:pt x="126912" y="30913"/>
                      <a:pt x="132327" y="35426"/>
                    </a:cubicBezTo>
                    <a:cubicBezTo>
                      <a:pt x="133230" y="36103"/>
                      <a:pt x="133907" y="36780"/>
                      <a:pt x="134584" y="37231"/>
                    </a:cubicBezTo>
                    <a:cubicBezTo>
                      <a:pt x="137066" y="39262"/>
                      <a:pt x="138194" y="40391"/>
                      <a:pt x="139097" y="40165"/>
                    </a:cubicBezTo>
                    <a:lnTo>
                      <a:pt x="141353" y="39939"/>
                    </a:lnTo>
                    <a:lnTo>
                      <a:pt x="140902" y="42647"/>
                    </a:lnTo>
                    <a:cubicBezTo>
                      <a:pt x="140451" y="46709"/>
                      <a:pt x="140225" y="48739"/>
                      <a:pt x="141579" y="57540"/>
                    </a:cubicBezTo>
                    <a:lnTo>
                      <a:pt x="141804" y="58442"/>
                    </a:lnTo>
                    <a:cubicBezTo>
                      <a:pt x="144061" y="71755"/>
                      <a:pt x="144512" y="74689"/>
                      <a:pt x="142030" y="83715"/>
                    </a:cubicBezTo>
                    <a:cubicBezTo>
                      <a:pt x="141128" y="87099"/>
                      <a:pt x="140451" y="92289"/>
                      <a:pt x="139774" y="98156"/>
                    </a:cubicBezTo>
                    <a:cubicBezTo>
                      <a:pt x="139322" y="103120"/>
                      <a:pt x="138645" y="108536"/>
                      <a:pt x="137517" y="114628"/>
                    </a:cubicBezTo>
                    <a:lnTo>
                      <a:pt x="137292" y="115756"/>
                    </a:lnTo>
                    <a:lnTo>
                      <a:pt x="135261" y="116208"/>
                    </a:lnTo>
                    <a:cubicBezTo>
                      <a:pt x="132102" y="117110"/>
                      <a:pt x="129620" y="117787"/>
                      <a:pt x="127363" y="115531"/>
                    </a:cubicBezTo>
                    <a:cubicBezTo>
                      <a:pt x="126686" y="114854"/>
                      <a:pt x="126235" y="114403"/>
                      <a:pt x="125784" y="113725"/>
                    </a:cubicBezTo>
                    <a:cubicBezTo>
                      <a:pt x="125784" y="113500"/>
                      <a:pt x="125558" y="113500"/>
                      <a:pt x="125332" y="113274"/>
                    </a:cubicBezTo>
                    <a:cubicBezTo>
                      <a:pt x="125107" y="113500"/>
                      <a:pt x="124655" y="113951"/>
                      <a:pt x="123753" y="114854"/>
                    </a:cubicBezTo>
                    <a:cubicBezTo>
                      <a:pt x="119691" y="120044"/>
                      <a:pt x="115178" y="120721"/>
                      <a:pt x="112019" y="120721"/>
                    </a:cubicBezTo>
                    <a:cubicBezTo>
                      <a:pt x="110891" y="120721"/>
                      <a:pt x="109763" y="120269"/>
                      <a:pt x="108860" y="119818"/>
                    </a:cubicBezTo>
                    <a:cubicBezTo>
                      <a:pt x="106604" y="118915"/>
                      <a:pt x="105250" y="118464"/>
                      <a:pt x="103445" y="121172"/>
                    </a:cubicBezTo>
                    <a:cubicBezTo>
                      <a:pt x="100737" y="125233"/>
                      <a:pt x="100737" y="125910"/>
                      <a:pt x="101639" y="130198"/>
                    </a:cubicBezTo>
                    <a:cubicBezTo>
                      <a:pt x="101865" y="130875"/>
                      <a:pt x="102091" y="131777"/>
                      <a:pt x="102316" y="132906"/>
                    </a:cubicBezTo>
                    <a:cubicBezTo>
                      <a:pt x="102542" y="133808"/>
                      <a:pt x="102768" y="134485"/>
                      <a:pt x="102768" y="135388"/>
                    </a:cubicBezTo>
                    <a:cubicBezTo>
                      <a:pt x="104122" y="141029"/>
                      <a:pt x="105024" y="145090"/>
                      <a:pt x="98480" y="151634"/>
                    </a:cubicBezTo>
                    <a:cubicBezTo>
                      <a:pt x="97127" y="152988"/>
                      <a:pt x="95998" y="154116"/>
                      <a:pt x="94870" y="155244"/>
                    </a:cubicBezTo>
                    <a:cubicBezTo>
                      <a:pt x="90583" y="159306"/>
                      <a:pt x="88778" y="161111"/>
                      <a:pt x="88778" y="165398"/>
                    </a:cubicBezTo>
                    <a:cubicBezTo>
                      <a:pt x="88778" y="168106"/>
                      <a:pt x="89680" y="170588"/>
                      <a:pt x="90583" y="173296"/>
                    </a:cubicBezTo>
                    <a:cubicBezTo>
                      <a:pt x="91711" y="176906"/>
                      <a:pt x="93065" y="180517"/>
                      <a:pt x="92614" y="184804"/>
                    </a:cubicBezTo>
                    <a:cubicBezTo>
                      <a:pt x="91711" y="191799"/>
                      <a:pt x="88326" y="202856"/>
                      <a:pt x="86296" y="206917"/>
                    </a:cubicBezTo>
                    <a:cubicBezTo>
                      <a:pt x="84265" y="210753"/>
                      <a:pt x="83362" y="212333"/>
                      <a:pt x="77947" y="218200"/>
                    </a:cubicBezTo>
                    <a:cubicBezTo>
                      <a:pt x="76819" y="219328"/>
                      <a:pt x="76142" y="220456"/>
                      <a:pt x="75464" y="221133"/>
                    </a:cubicBezTo>
                    <a:cubicBezTo>
                      <a:pt x="73434" y="224292"/>
                      <a:pt x="72531" y="224969"/>
                      <a:pt x="70275" y="224969"/>
                    </a:cubicBezTo>
                    <a:close/>
                    <a:moveTo>
                      <a:pt x="37330" y="184804"/>
                    </a:moveTo>
                    <a:cubicBezTo>
                      <a:pt x="39135" y="184804"/>
                      <a:pt x="41166" y="185481"/>
                      <a:pt x="43649" y="186835"/>
                    </a:cubicBezTo>
                    <a:cubicBezTo>
                      <a:pt x="46356" y="188414"/>
                      <a:pt x="49064" y="189768"/>
                      <a:pt x="49064" y="194056"/>
                    </a:cubicBezTo>
                    <a:cubicBezTo>
                      <a:pt x="49064" y="194507"/>
                      <a:pt x="50644" y="195635"/>
                      <a:pt x="51546" y="196312"/>
                    </a:cubicBezTo>
                    <a:cubicBezTo>
                      <a:pt x="53577" y="197666"/>
                      <a:pt x="55833" y="199245"/>
                      <a:pt x="55833" y="201953"/>
                    </a:cubicBezTo>
                    <a:cubicBezTo>
                      <a:pt x="55833" y="203081"/>
                      <a:pt x="55608" y="204210"/>
                      <a:pt x="55382" y="205563"/>
                    </a:cubicBezTo>
                    <a:cubicBezTo>
                      <a:pt x="54705" y="208723"/>
                      <a:pt x="53803" y="212333"/>
                      <a:pt x="56510" y="215266"/>
                    </a:cubicBezTo>
                    <a:cubicBezTo>
                      <a:pt x="59895" y="219554"/>
                      <a:pt x="61700" y="219779"/>
                      <a:pt x="66213" y="220456"/>
                    </a:cubicBezTo>
                    <a:lnTo>
                      <a:pt x="67567" y="220682"/>
                    </a:lnTo>
                    <a:cubicBezTo>
                      <a:pt x="70952" y="221133"/>
                      <a:pt x="70952" y="221133"/>
                      <a:pt x="72531" y="219102"/>
                    </a:cubicBezTo>
                    <a:cubicBezTo>
                      <a:pt x="73208" y="218200"/>
                      <a:pt x="74111" y="217297"/>
                      <a:pt x="75239" y="215943"/>
                    </a:cubicBezTo>
                    <a:cubicBezTo>
                      <a:pt x="80203" y="210528"/>
                      <a:pt x="81106" y="209174"/>
                      <a:pt x="82911" y="205563"/>
                    </a:cubicBezTo>
                    <a:cubicBezTo>
                      <a:pt x="84490" y="202179"/>
                      <a:pt x="87875" y="191573"/>
                      <a:pt x="88778" y="184579"/>
                    </a:cubicBezTo>
                    <a:cubicBezTo>
                      <a:pt x="89229" y="181194"/>
                      <a:pt x="88101" y="178035"/>
                      <a:pt x="86973" y="174650"/>
                    </a:cubicBezTo>
                    <a:cubicBezTo>
                      <a:pt x="86070" y="171717"/>
                      <a:pt x="84942" y="168783"/>
                      <a:pt x="84942" y="165398"/>
                    </a:cubicBezTo>
                    <a:cubicBezTo>
                      <a:pt x="84942" y="159306"/>
                      <a:pt x="87875" y="156598"/>
                      <a:pt x="92388" y="152537"/>
                    </a:cubicBezTo>
                    <a:cubicBezTo>
                      <a:pt x="93516" y="151634"/>
                      <a:pt x="94644" y="150506"/>
                      <a:pt x="95998" y="149152"/>
                    </a:cubicBezTo>
                    <a:cubicBezTo>
                      <a:pt x="100963" y="144188"/>
                      <a:pt x="100511" y="141706"/>
                      <a:pt x="99383" y="136516"/>
                    </a:cubicBezTo>
                    <a:cubicBezTo>
                      <a:pt x="99157" y="135839"/>
                      <a:pt x="98932" y="134936"/>
                      <a:pt x="98932" y="134034"/>
                    </a:cubicBezTo>
                    <a:cubicBezTo>
                      <a:pt x="98706" y="133131"/>
                      <a:pt x="98480" y="132228"/>
                      <a:pt x="98480" y="131326"/>
                    </a:cubicBezTo>
                    <a:cubicBezTo>
                      <a:pt x="97352" y="126136"/>
                      <a:pt x="97127" y="124557"/>
                      <a:pt x="100737" y="119367"/>
                    </a:cubicBezTo>
                    <a:cubicBezTo>
                      <a:pt x="104347" y="113951"/>
                      <a:pt x="108409" y="115531"/>
                      <a:pt x="110665" y="116659"/>
                    </a:cubicBezTo>
                    <a:cubicBezTo>
                      <a:pt x="111342" y="116885"/>
                      <a:pt x="112019" y="117336"/>
                      <a:pt x="112470" y="117336"/>
                    </a:cubicBezTo>
                    <a:cubicBezTo>
                      <a:pt x="115178" y="117336"/>
                      <a:pt x="118112" y="116885"/>
                      <a:pt x="121271" y="112823"/>
                    </a:cubicBezTo>
                    <a:cubicBezTo>
                      <a:pt x="122850" y="110792"/>
                      <a:pt x="124430" y="109438"/>
                      <a:pt x="125784" y="109664"/>
                    </a:cubicBezTo>
                    <a:cubicBezTo>
                      <a:pt x="127363" y="109664"/>
                      <a:pt x="128266" y="110792"/>
                      <a:pt x="128943" y="111920"/>
                    </a:cubicBezTo>
                    <a:cubicBezTo>
                      <a:pt x="129168" y="112372"/>
                      <a:pt x="129620" y="112823"/>
                      <a:pt x="130071" y="113274"/>
                    </a:cubicBezTo>
                    <a:cubicBezTo>
                      <a:pt x="130748" y="113951"/>
                      <a:pt x="131425" y="113951"/>
                      <a:pt x="133907" y="113274"/>
                    </a:cubicBezTo>
                    <a:cubicBezTo>
                      <a:pt x="134809" y="107859"/>
                      <a:pt x="135261" y="102669"/>
                      <a:pt x="135938" y="98156"/>
                    </a:cubicBezTo>
                    <a:cubicBezTo>
                      <a:pt x="136615" y="92063"/>
                      <a:pt x="137292" y="86874"/>
                      <a:pt x="138194" y="83263"/>
                    </a:cubicBezTo>
                    <a:cubicBezTo>
                      <a:pt x="140451" y="74915"/>
                      <a:pt x="139999" y="72884"/>
                      <a:pt x="137743" y="59571"/>
                    </a:cubicBezTo>
                    <a:lnTo>
                      <a:pt x="137517" y="58668"/>
                    </a:lnTo>
                    <a:cubicBezTo>
                      <a:pt x="136163" y="50319"/>
                      <a:pt x="136163" y="47386"/>
                      <a:pt x="136615" y="44001"/>
                    </a:cubicBezTo>
                    <a:cubicBezTo>
                      <a:pt x="135035" y="43324"/>
                      <a:pt x="133681" y="42196"/>
                      <a:pt x="131650" y="40391"/>
                    </a:cubicBezTo>
                    <a:cubicBezTo>
                      <a:pt x="130974" y="39939"/>
                      <a:pt x="130297" y="39262"/>
                      <a:pt x="129620" y="38585"/>
                    </a:cubicBezTo>
                    <a:cubicBezTo>
                      <a:pt x="122850" y="32944"/>
                      <a:pt x="122625" y="31139"/>
                      <a:pt x="126461" y="20534"/>
                    </a:cubicBezTo>
                    <a:cubicBezTo>
                      <a:pt x="126912" y="19180"/>
                      <a:pt x="127363" y="18052"/>
                      <a:pt x="127814" y="17149"/>
                    </a:cubicBezTo>
                    <a:cubicBezTo>
                      <a:pt x="129168" y="13764"/>
                      <a:pt x="129168" y="13764"/>
                      <a:pt x="127363" y="11959"/>
                    </a:cubicBezTo>
                    <a:cubicBezTo>
                      <a:pt x="126461" y="11057"/>
                      <a:pt x="125332" y="9928"/>
                      <a:pt x="123979" y="8123"/>
                    </a:cubicBezTo>
                    <a:cubicBezTo>
                      <a:pt x="123302" y="7446"/>
                      <a:pt x="122399" y="6544"/>
                      <a:pt x="121045" y="5415"/>
                    </a:cubicBezTo>
                    <a:cubicBezTo>
                      <a:pt x="119917" y="6769"/>
                      <a:pt x="118563" y="9026"/>
                      <a:pt x="117660" y="11282"/>
                    </a:cubicBezTo>
                    <a:cubicBezTo>
                      <a:pt x="116081" y="15795"/>
                      <a:pt x="115630" y="16698"/>
                      <a:pt x="112922" y="20082"/>
                    </a:cubicBezTo>
                    <a:cubicBezTo>
                      <a:pt x="110440" y="23016"/>
                      <a:pt x="107506" y="23016"/>
                      <a:pt x="104122" y="23016"/>
                    </a:cubicBezTo>
                    <a:cubicBezTo>
                      <a:pt x="102993" y="23016"/>
                      <a:pt x="101639" y="23016"/>
                      <a:pt x="100060" y="23016"/>
                    </a:cubicBezTo>
                    <a:cubicBezTo>
                      <a:pt x="94644" y="23242"/>
                      <a:pt x="90583" y="27077"/>
                      <a:pt x="88778" y="30236"/>
                    </a:cubicBezTo>
                    <a:cubicBezTo>
                      <a:pt x="87875" y="31816"/>
                      <a:pt x="88326" y="34298"/>
                      <a:pt x="88778" y="36780"/>
                    </a:cubicBezTo>
                    <a:cubicBezTo>
                      <a:pt x="89229" y="38811"/>
                      <a:pt x="89680" y="40616"/>
                      <a:pt x="89229" y="42196"/>
                    </a:cubicBezTo>
                    <a:cubicBezTo>
                      <a:pt x="88778" y="44904"/>
                      <a:pt x="86070" y="46709"/>
                      <a:pt x="83362" y="48288"/>
                    </a:cubicBezTo>
                    <a:cubicBezTo>
                      <a:pt x="82008" y="48965"/>
                      <a:pt x="80880" y="49868"/>
                      <a:pt x="79752" y="50770"/>
                    </a:cubicBezTo>
                    <a:cubicBezTo>
                      <a:pt x="77270" y="53027"/>
                      <a:pt x="74562" y="51899"/>
                      <a:pt x="72080" y="50996"/>
                    </a:cubicBezTo>
                    <a:cubicBezTo>
                      <a:pt x="70275" y="50319"/>
                      <a:pt x="68244" y="49642"/>
                      <a:pt x="65987" y="49868"/>
                    </a:cubicBezTo>
                    <a:cubicBezTo>
                      <a:pt x="63280" y="50319"/>
                      <a:pt x="62603" y="52350"/>
                      <a:pt x="61249" y="55960"/>
                    </a:cubicBezTo>
                    <a:cubicBezTo>
                      <a:pt x="60572" y="57991"/>
                      <a:pt x="59895" y="60022"/>
                      <a:pt x="58767" y="61827"/>
                    </a:cubicBezTo>
                    <a:cubicBezTo>
                      <a:pt x="55156" y="67242"/>
                      <a:pt x="48387" y="68596"/>
                      <a:pt x="42972" y="68371"/>
                    </a:cubicBezTo>
                    <a:cubicBezTo>
                      <a:pt x="39361" y="68145"/>
                      <a:pt x="35525" y="69048"/>
                      <a:pt x="33043" y="69950"/>
                    </a:cubicBezTo>
                    <a:lnTo>
                      <a:pt x="31689" y="70401"/>
                    </a:lnTo>
                    <a:cubicBezTo>
                      <a:pt x="31463" y="70401"/>
                      <a:pt x="31238" y="70853"/>
                      <a:pt x="30787" y="71981"/>
                    </a:cubicBezTo>
                    <a:cubicBezTo>
                      <a:pt x="30110" y="73561"/>
                      <a:pt x="29207" y="75817"/>
                      <a:pt x="26725" y="77622"/>
                    </a:cubicBezTo>
                    <a:cubicBezTo>
                      <a:pt x="24468" y="79427"/>
                      <a:pt x="23792" y="80330"/>
                      <a:pt x="22663" y="81233"/>
                    </a:cubicBezTo>
                    <a:cubicBezTo>
                      <a:pt x="21986" y="82135"/>
                      <a:pt x="21084" y="83038"/>
                      <a:pt x="19504" y="84392"/>
                    </a:cubicBezTo>
                    <a:cubicBezTo>
                      <a:pt x="17699" y="86197"/>
                      <a:pt x="17474" y="88228"/>
                      <a:pt x="17248" y="90935"/>
                    </a:cubicBezTo>
                    <a:cubicBezTo>
                      <a:pt x="17022" y="92289"/>
                      <a:pt x="17022" y="93643"/>
                      <a:pt x="16797" y="94997"/>
                    </a:cubicBezTo>
                    <a:cubicBezTo>
                      <a:pt x="15894" y="99059"/>
                      <a:pt x="13412" y="99510"/>
                      <a:pt x="11607" y="99961"/>
                    </a:cubicBezTo>
                    <a:cubicBezTo>
                      <a:pt x="10704" y="100187"/>
                      <a:pt x="9801" y="100412"/>
                      <a:pt x="9125" y="100864"/>
                    </a:cubicBezTo>
                    <a:cubicBezTo>
                      <a:pt x="8222" y="101541"/>
                      <a:pt x="7771" y="102895"/>
                      <a:pt x="7545" y="105151"/>
                    </a:cubicBezTo>
                    <a:cubicBezTo>
                      <a:pt x="7319" y="106956"/>
                      <a:pt x="6868" y="108987"/>
                      <a:pt x="5740" y="110792"/>
                    </a:cubicBezTo>
                    <a:cubicBezTo>
                      <a:pt x="5063" y="111695"/>
                      <a:pt x="5289" y="115756"/>
                      <a:pt x="5514" y="118464"/>
                    </a:cubicBezTo>
                    <a:cubicBezTo>
                      <a:pt x="5740" y="122977"/>
                      <a:pt x="6191" y="127490"/>
                      <a:pt x="4612" y="130423"/>
                    </a:cubicBezTo>
                    <a:cubicBezTo>
                      <a:pt x="3258" y="132680"/>
                      <a:pt x="4160" y="135839"/>
                      <a:pt x="4837" y="138547"/>
                    </a:cubicBezTo>
                    <a:cubicBezTo>
                      <a:pt x="5289" y="139901"/>
                      <a:pt x="5514" y="141254"/>
                      <a:pt x="5514" y="142383"/>
                    </a:cubicBezTo>
                    <a:cubicBezTo>
                      <a:pt x="5514" y="143511"/>
                      <a:pt x="7094" y="145767"/>
                      <a:pt x="8222" y="147347"/>
                    </a:cubicBezTo>
                    <a:cubicBezTo>
                      <a:pt x="9350" y="149152"/>
                      <a:pt x="10479" y="150732"/>
                      <a:pt x="10930" y="152085"/>
                    </a:cubicBezTo>
                    <a:cubicBezTo>
                      <a:pt x="11155" y="152762"/>
                      <a:pt x="12058" y="153665"/>
                      <a:pt x="12960" y="154568"/>
                    </a:cubicBezTo>
                    <a:cubicBezTo>
                      <a:pt x="14991" y="156598"/>
                      <a:pt x="17699" y="159532"/>
                      <a:pt x="16797" y="163368"/>
                    </a:cubicBezTo>
                    <a:cubicBezTo>
                      <a:pt x="16120" y="166075"/>
                      <a:pt x="16571" y="166752"/>
                      <a:pt x="17699" y="169235"/>
                    </a:cubicBezTo>
                    <a:cubicBezTo>
                      <a:pt x="18150" y="170137"/>
                      <a:pt x="18602" y="171040"/>
                      <a:pt x="19053" y="172394"/>
                    </a:cubicBezTo>
                    <a:cubicBezTo>
                      <a:pt x="19956" y="174876"/>
                      <a:pt x="22438" y="177132"/>
                      <a:pt x="24243" y="178712"/>
                    </a:cubicBezTo>
                    <a:cubicBezTo>
                      <a:pt x="26048" y="180291"/>
                      <a:pt x="27176" y="181419"/>
                      <a:pt x="27176" y="182773"/>
                    </a:cubicBezTo>
                    <a:cubicBezTo>
                      <a:pt x="27176" y="188866"/>
                      <a:pt x="27176" y="193604"/>
                      <a:pt x="27402" y="196538"/>
                    </a:cubicBezTo>
                    <a:cubicBezTo>
                      <a:pt x="27628" y="199020"/>
                      <a:pt x="29207" y="202856"/>
                      <a:pt x="30335" y="204661"/>
                    </a:cubicBezTo>
                    <a:cubicBezTo>
                      <a:pt x="31238" y="202856"/>
                      <a:pt x="32140" y="199922"/>
                      <a:pt x="31915" y="197440"/>
                    </a:cubicBezTo>
                    <a:cubicBezTo>
                      <a:pt x="31915" y="196086"/>
                      <a:pt x="31689" y="195184"/>
                      <a:pt x="31463" y="194281"/>
                    </a:cubicBezTo>
                    <a:cubicBezTo>
                      <a:pt x="31012" y="192476"/>
                      <a:pt x="30787" y="190897"/>
                      <a:pt x="32140" y="188414"/>
                    </a:cubicBezTo>
                    <a:cubicBezTo>
                      <a:pt x="32817" y="187060"/>
                      <a:pt x="33946" y="186158"/>
                      <a:pt x="35074" y="185707"/>
                    </a:cubicBezTo>
                    <a:cubicBezTo>
                      <a:pt x="36202" y="185030"/>
                      <a:pt x="36654" y="184804"/>
                      <a:pt x="37330" y="184804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xmlns="" id="{DE6F88CB-BDBA-4B41-8380-7378938B5F2C}"/>
                  </a:ext>
                </a:extLst>
              </p:cNvPr>
              <p:cNvSpPr/>
              <p:nvPr/>
            </p:nvSpPr>
            <p:spPr>
              <a:xfrm>
                <a:off x="11165153" y="2641341"/>
                <a:ext cx="203082" cy="225646"/>
              </a:xfrm>
              <a:custGeom>
                <a:avLst/>
                <a:gdLst>
                  <a:gd name="connsiteX0" fmla="*/ 133227 w 203081"/>
                  <a:gd name="connsiteY0" fmla="*/ 236957 h 225646"/>
                  <a:gd name="connsiteX1" fmla="*/ 133002 w 203081"/>
                  <a:gd name="connsiteY1" fmla="*/ 236957 h 225646"/>
                  <a:gd name="connsiteX2" fmla="*/ 105473 w 203081"/>
                  <a:gd name="connsiteY2" fmla="*/ 230638 h 225646"/>
                  <a:gd name="connsiteX3" fmla="*/ 99155 w 203081"/>
                  <a:gd name="connsiteY3" fmla="*/ 228382 h 225646"/>
                  <a:gd name="connsiteX4" fmla="*/ 85842 w 203081"/>
                  <a:gd name="connsiteY4" fmla="*/ 226803 h 225646"/>
                  <a:gd name="connsiteX5" fmla="*/ 80877 w 203081"/>
                  <a:gd name="connsiteY5" fmla="*/ 228833 h 225646"/>
                  <a:gd name="connsiteX6" fmla="*/ 70723 w 203081"/>
                  <a:gd name="connsiteY6" fmla="*/ 231315 h 225646"/>
                  <a:gd name="connsiteX7" fmla="*/ 60795 w 203081"/>
                  <a:gd name="connsiteY7" fmla="*/ 224546 h 225646"/>
                  <a:gd name="connsiteX8" fmla="*/ 59441 w 203081"/>
                  <a:gd name="connsiteY8" fmla="*/ 223192 h 225646"/>
                  <a:gd name="connsiteX9" fmla="*/ 50189 w 203081"/>
                  <a:gd name="connsiteY9" fmla="*/ 219582 h 225646"/>
                  <a:gd name="connsiteX10" fmla="*/ 48158 w 203081"/>
                  <a:gd name="connsiteY10" fmla="*/ 226126 h 225646"/>
                  <a:gd name="connsiteX11" fmla="*/ 48610 w 203081"/>
                  <a:gd name="connsiteY11" fmla="*/ 228833 h 225646"/>
                  <a:gd name="connsiteX12" fmla="*/ 45902 w 203081"/>
                  <a:gd name="connsiteY12" fmla="*/ 228156 h 225646"/>
                  <a:gd name="connsiteX13" fmla="*/ 41840 w 203081"/>
                  <a:gd name="connsiteY13" fmla="*/ 227479 h 225646"/>
                  <a:gd name="connsiteX14" fmla="*/ 36425 w 203081"/>
                  <a:gd name="connsiteY14" fmla="*/ 226577 h 225646"/>
                  <a:gd name="connsiteX15" fmla="*/ 15666 w 203081"/>
                  <a:gd name="connsiteY15" fmla="*/ 223418 h 225646"/>
                  <a:gd name="connsiteX16" fmla="*/ 4157 w 203081"/>
                  <a:gd name="connsiteY16" fmla="*/ 219582 h 225646"/>
                  <a:gd name="connsiteX17" fmla="*/ 2127 w 203081"/>
                  <a:gd name="connsiteY17" fmla="*/ 211910 h 225646"/>
                  <a:gd name="connsiteX18" fmla="*/ 2127 w 203081"/>
                  <a:gd name="connsiteY18" fmla="*/ 206043 h 225646"/>
                  <a:gd name="connsiteX19" fmla="*/ 4157 w 203081"/>
                  <a:gd name="connsiteY19" fmla="*/ 187089 h 225646"/>
                  <a:gd name="connsiteX20" fmla="*/ 2578 w 203081"/>
                  <a:gd name="connsiteY20" fmla="*/ 178514 h 225646"/>
                  <a:gd name="connsiteX21" fmla="*/ 1901 w 203081"/>
                  <a:gd name="connsiteY21" fmla="*/ 177612 h 225646"/>
                  <a:gd name="connsiteX22" fmla="*/ 2578 w 203081"/>
                  <a:gd name="connsiteY22" fmla="*/ 176483 h 225646"/>
                  <a:gd name="connsiteX23" fmla="*/ 5511 w 203081"/>
                  <a:gd name="connsiteY23" fmla="*/ 169940 h 225646"/>
                  <a:gd name="connsiteX24" fmla="*/ 4834 w 203081"/>
                  <a:gd name="connsiteY24" fmla="*/ 162493 h 225646"/>
                  <a:gd name="connsiteX25" fmla="*/ 1901 w 203081"/>
                  <a:gd name="connsiteY25" fmla="*/ 157529 h 225646"/>
                  <a:gd name="connsiteX26" fmla="*/ 998 w 203081"/>
                  <a:gd name="connsiteY26" fmla="*/ 148052 h 225646"/>
                  <a:gd name="connsiteX27" fmla="*/ 1901 w 203081"/>
                  <a:gd name="connsiteY27" fmla="*/ 146247 h 225646"/>
                  <a:gd name="connsiteX28" fmla="*/ 3481 w 203081"/>
                  <a:gd name="connsiteY28" fmla="*/ 142862 h 225646"/>
                  <a:gd name="connsiteX29" fmla="*/ 4609 w 203081"/>
                  <a:gd name="connsiteY29" fmla="*/ 132257 h 225646"/>
                  <a:gd name="connsiteX30" fmla="*/ 4609 w 203081"/>
                  <a:gd name="connsiteY30" fmla="*/ 122780 h 225646"/>
                  <a:gd name="connsiteX31" fmla="*/ 6414 w 203081"/>
                  <a:gd name="connsiteY31" fmla="*/ 120523 h 225646"/>
                  <a:gd name="connsiteX32" fmla="*/ 22661 w 203081"/>
                  <a:gd name="connsiteY32" fmla="*/ 99764 h 225646"/>
                  <a:gd name="connsiteX33" fmla="*/ 25820 w 203081"/>
                  <a:gd name="connsiteY33" fmla="*/ 88707 h 225646"/>
                  <a:gd name="connsiteX34" fmla="*/ 25594 w 203081"/>
                  <a:gd name="connsiteY34" fmla="*/ 86902 h 225646"/>
                  <a:gd name="connsiteX35" fmla="*/ 28979 w 203081"/>
                  <a:gd name="connsiteY35" fmla="*/ 67496 h 225646"/>
                  <a:gd name="connsiteX36" fmla="*/ 30107 w 203081"/>
                  <a:gd name="connsiteY36" fmla="*/ 63209 h 225646"/>
                  <a:gd name="connsiteX37" fmla="*/ 32815 w 203081"/>
                  <a:gd name="connsiteY37" fmla="*/ 56891 h 225646"/>
                  <a:gd name="connsiteX38" fmla="*/ 32589 w 203081"/>
                  <a:gd name="connsiteY38" fmla="*/ 56891 h 225646"/>
                  <a:gd name="connsiteX39" fmla="*/ 34168 w 203081"/>
                  <a:gd name="connsiteY39" fmla="*/ 54860 h 225646"/>
                  <a:gd name="connsiteX40" fmla="*/ 35748 w 203081"/>
                  <a:gd name="connsiteY40" fmla="*/ 52829 h 225646"/>
                  <a:gd name="connsiteX41" fmla="*/ 37102 w 203081"/>
                  <a:gd name="connsiteY41" fmla="*/ 51250 h 225646"/>
                  <a:gd name="connsiteX42" fmla="*/ 37327 w 203081"/>
                  <a:gd name="connsiteY42" fmla="*/ 50799 h 225646"/>
                  <a:gd name="connsiteX43" fmla="*/ 37327 w 203081"/>
                  <a:gd name="connsiteY43" fmla="*/ 50799 h 225646"/>
                  <a:gd name="connsiteX44" fmla="*/ 37327 w 203081"/>
                  <a:gd name="connsiteY44" fmla="*/ 50799 h 225646"/>
                  <a:gd name="connsiteX45" fmla="*/ 39810 w 203081"/>
                  <a:gd name="connsiteY45" fmla="*/ 52604 h 225646"/>
                  <a:gd name="connsiteX46" fmla="*/ 45451 w 203081"/>
                  <a:gd name="connsiteY46" fmla="*/ 51250 h 225646"/>
                  <a:gd name="connsiteX47" fmla="*/ 62826 w 203081"/>
                  <a:gd name="connsiteY47" fmla="*/ 51701 h 225646"/>
                  <a:gd name="connsiteX48" fmla="*/ 63954 w 203081"/>
                  <a:gd name="connsiteY48" fmla="*/ 52378 h 225646"/>
                  <a:gd name="connsiteX49" fmla="*/ 66887 w 203081"/>
                  <a:gd name="connsiteY49" fmla="*/ 53055 h 225646"/>
                  <a:gd name="connsiteX50" fmla="*/ 71851 w 203081"/>
                  <a:gd name="connsiteY50" fmla="*/ 46511 h 225646"/>
                  <a:gd name="connsiteX51" fmla="*/ 73431 w 203081"/>
                  <a:gd name="connsiteY51" fmla="*/ 43578 h 225646"/>
                  <a:gd name="connsiteX52" fmla="*/ 74333 w 203081"/>
                  <a:gd name="connsiteY52" fmla="*/ 41998 h 225646"/>
                  <a:gd name="connsiteX53" fmla="*/ 81554 w 203081"/>
                  <a:gd name="connsiteY53" fmla="*/ 27331 h 225646"/>
                  <a:gd name="connsiteX54" fmla="*/ 95093 w 203081"/>
                  <a:gd name="connsiteY54" fmla="*/ 9957 h 225646"/>
                  <a:gd name="connsiteX55" fmla="*/ 127812 w 203081"/>
                  <a:gd name="connsiteY55" fmla="*/ 10859 h 225646"/>
                  <a:gd name="connsiteX56" fmla="*/ 161884 w 203081"/>
                  <a:gd name="connsiteY56" fmla="*/ 1382 h 225646"/>
                  <a:gd name="connsiteX57" fmla="*/ 169556 w 203081"/>
                  <a:gd name="connsiteY57" fmla="*/ 705 h 225646"/>
                  <a:gd name="connsiteX58" fmla="*/ 177454 w 203081"/>
                  <a:gd name="connsiteY58" fmla="*/ 9505 h 225646"/>
                  <a:gd name="connsiteX59" fmla="*/ 182192 w 203081"/>
                  <a:gd name="connsiteY59" fmla="*/ 12439 h 225646"/>
                  <a:gd name="connsiteX60" fmla="*/ 191444 w 203081"/>
                  <a:gd name="connsiteY60" fmla="*/ 15823 h 225646"/>
                  <a:gd name="connsiteX61" fmla="*/ 192798 w 203081"/>
                  <a:gd name="connsiteY61" fmla="*/ 16500 h 225646"/>
                  <a:gd name="connsiteX62" fmla="*/ 192572 w 203081"/>
                  <a:gd name="connsiteY62" fmla="*/ 17854 h 225646"/>
                  <a:gd name="connsiteX63" fmla="*/ 192572 w 203081"/>
                  <a:gd name="connsiteY63" fmla="*/ 19434 h 225646"/>
                  <a:gd name="connsiteX64" fmla="*/ 191444 w 203081"/>
                  <a:gd name="connsiteY64" fmla="*/ 28234 h 225646"/>
                  <a:gd name="connsiteX65" fmla="*/ 190090 w 203081"/>
                  <a:gd name="connsiteY65" fmla="*/ 32070 h 225646"/>
                  <a:gd name="connsiteX66" fmla="*/ 190316 w 203081"/>
                  <a:gd name="connsiteY66" fmla="*/ 43352 h 225646"/>
                  <a:gd name="connsiteX67" fmla="*/ 203629 w 203081"/>
                  <a:gd name="connsiteY67" fmla="*/ 56214 h 225646"/>
                  <a:gd name="connsiteX68" fmla="*/ 204983 w 203081"/>
                  <a:gd name="connsiteY68" fmla="*/ 57117 h 225646"/>
                  <a:gd name="connsiteX69" fmla="*/ 204306 w 203081"/>
                  <a:gd name="connsiteY69" fmla="*/ 71558 h 225646"/>
                  <a:gd name="connsiteX70" fmla="*/ 199567 w 203081"/>
                  <a:gd name="connsiteY70" fmla="*/ 92317 h 225646"/>
                  <a:gd name="connsiteX71" fmla="*/ 190090 w 203081"/>
                  <a:gd name="connsiteY71" fmla="*/ 122103 h 225646"/>
                  <a:gd name="connsiteX72" fmla="*/ 187157 w 203081"/>
                  <a:gd name="connsiteY72" fmla="*/ 127518 h 225646"/>
                  <a:gd name="connsiteX73" fmla="*/ 179710 w 203081"/>
                  <a:gd name="connsiteY73" fmla="*/ 145796 h 225646"/>
                  <a:gd name="connsiteX74" fmla="*/ 176777 w 203081"/>
                  <a:gd name="connsiteY74" fmla="*/ 154144 h 225646"/>
                  <a:gd name="connsiteX75" fmla="*/ 170684 w 203081"/>
                  <a:gd name="connsiteY75" fmla="*/ 167909 h 225646"/>
                  <a:gd name="connsiteX76" fmla="*/ 160756 w 203081"/>
                  <a:gd name="connsiteY76" fmla="*/ 197694 h 225646"/>
                  <a:gd name="connsiteX77" fmla="*/ 161433 w 203081"/>
                  <a:gd name="connsiteY77" fmla="*/ 203561 h 225646"/>
                  <a:gd name="connsiteX78" fmla="*/ 161659 w 203081"/>
                  <a:gd name="connsiteY78" fmla="*/ 218905 h 225646"/>
                  <a:gd name="connsiteX79" fmla="*/ 133227 w 203081"/>
                  <a:gd name="connsiteY79" fmla="*/ 236957 h 225646"/>
                  <a:gd name="connsiteX80" fmla="*/ 89226 w 203081"/>
                  <a:gd name="connsiteY80" fmla="*/ 222741 h 225646"/>
                  <a:gd name="connsiteX81" fmla="*/ 100283 w 203081"/>
                  <a:gd name="connsiteY81" fmla="*/ 224997 h 225646"/>
                  <a:gd name="connsiteX82" fmla="*/ 106827 w 203081"/>
                  <a:gd name="connsiteY82" fmla="*/ 227254 h 225646"/>
                  <a:gd name="connsiteX83" fmla="*/ 133227 w 203081"/>
                  <a:gd name="connsiteY83" fmla="*/ 233346 h 225646"/>
                  <a:gd name="connsiteX84" fmla="*/ 133453 w 203081"/>
                  <a:gd name="connsiteY84" fmla="*/ 233346 h 225646"/>
                  <a:gd name="connsiteX85" fmla="*/ 158499 w 203081"/>
                  <a:gd name="connsiteY85" fmla="*/ 217325 h 225646"/>
                  <a:gd name="connsiteX86" fmla="*/ 158274 w 203081"/>
                  <a:gd name="connsiteY86" fmla="*/ 203561 h 225646"/>
                  <a:gd name="connsiteX87" fmla="*/ 157597 w 203081"/>
                  <a:gd name="connsiteY87" fmla="*/ 197468 h 225646"/>
                  <a:gd name="connsiteX88" fmla="*/ 167751 w 203081"/>
                  <a:gd name="connsiteY88" fmla="*/ 165652 h 225646"/>
                  <a:gd name="connsiteX89" fmla="*/ 173618 w 203081"/>
                  <a:gd name="connsiteY89" fmla="*/ 152339 h 225646"/>
                  <a:gd name="connsiteX90" fmla="*/ 176551 w 203081"/>
                  <a:gd name="connsiteY90" fmla="*/ 143990 h 225646"/>
                  <a:gd name="connsiteX91" fmla="*/ 183997 w 203081"/>
                  <a:gd name="connsiteY91" fmla="*/ 125262 h 225646"/>
                  <a:gd name="connsiteX92" fmla="*/ 186931 w 203081"/>
                  <a:gd name="connsiteY92" fmla="*/ 119846 h 225646"/>
                  <a:gd name="connsiteX93" fmla="*/ 195957 w 203081"/>
                  <a:gd name="connsiteY93" fmla="*/ 91866 h 225646"/>
                  <a:gd name="connsiteX94" fmla="*/ 200921 w 203081"/>
                  <a:gd name="connsiteY94" fmla="*/ 69753 h 225646"/>
                  <a:gd name="connsiteX95" fmla="*/ 202952 w 203081"/>
                  <a:gd name="connsiteY95" fmla="*/ 59824 h 225646"/>
                  <a:gd name="connsiteX96" fmla="*/ 201598 w 203081"/>
                  <a:gd name="connsiteY96" fmla="*/ 59147 h 225646"/>
                  <a:gd name="connsiteX97" fmla="*/ 186705 w 203081"/>
                  <a:gd name="connsiteY97" fmla="*/ 44706 h 225646"/>
                  <a:gd name="connsiteX98" fmla="*/ 186254 w 203081"/>
                  <a:gd name="connsiteY98" fmla="*/ 30490 h 225646"/>
                  <a:gd name="connsiteX99" fmla="*/ 187608 w 203081"/>
                  <a:gd name="connsiteY99" fmla="*/ 26654 h 225646"/>
                  <a:gd name="connsiteX100" fmla="*/ 188510 w 203081"/>
                  <a:gd name="connsiteY100" fmla="*/ 19208 h 225646"/>
                  <a:gd name="connsiteX101" fmla="*/ 188510 w 203081"/>
                  <a:gd name="connsiteY101" fmla="*/ 18306 h 225646"/>
                  <a:gd name="connsiteX102" fmla="*/ 181064 w 203081"/>
                  <a:gd name="connsiteY102" fmla="*/ 15598 h 225646"/>
                  <a:gd name="connsiteX103" fmla="*/ 173618 w 203081"/>
                  <a:gd name="connsiteY103" fmla="*/ 9731 h 225646"/>
                  <a:gd name="connsiteX104" fmla="*/ 167977 w 203081"/>
                  <a:gd name="connsiteY104" fmla="*/ 3639 h 225646"/>
                  <a:gd name="connsiteX105" fmla="*/ 163689 w 203081"/>
                  <a:gd name="connsiteY105" fmla="*/ 3864 h 225646"/>
                  <a:gd name="connsiteX106" fmla="*/ 127135 w 203081"/>
                  <a:gd name="connsiteY106" fmla="*/ 14018 h 225646"/>
                  <a:gd name="connsiteX107" fmla="*/ 94867 w 203081"/>
                  <a:gd name="connsiteY107" fmla="*/ 13116 h 225646"/>
                  <a:gd name="connsiteX108" fmla="*/ 84939 w 203081"/>
                  <a:gd name="connsiteY108" fmla="*/ 26654 h 225646"/>
                  <a:gd name="connsiteX109" fmla="*/ 77267 w 203081"/>
                  <a:gd name="connsiteY109" fmla="*/ 43352 h 225646"/>
                  <a:gd name="connsiteX110" fmla="*/ 76364 w 203081"/>
                  <a:gd name="connsiteY110" fmla="*/ 44932 h 225646"/>
                  <a:gd name="connsiteX111" fmla="*/ 74785 w 203081"/>
                  <a:gd name="connsiteY111" fmla="*/ 47639 h 225646"/>
                  <a:gd name="connsiteX112" fmla="*/ 67338 w 203081"/>
                  <a:gd name="connsiteY112" fmla="*/ 55988 h 225646"/>
                  <a:gd name="connsiteX113" fmla="*/ 61472 w 203081"/>
                  <a:gd name="connsiteY113" fmla="*/ 55086 h 225646"/>
                  <a:gd name="connsiteX114" fmla="*/ 60343 w 203081"/>
                  <a:gd name="connsiteY114" fmla="*/ 54409 h 225646"/>
                  <a:gd name="connsiteX115" fmla="*/ 46354 w 203081"/>
                  <a:gd name="connsiteY115" fmla="*/ 54409 h 225646"/>
                  <a:gd name="connsiteX116" fmla="*/ 37327 w 203081"/>
                  <a:gd name="connsiteY116" fmla="*/ 56214 h 225646"/>
                  <a:gd name="connsiteX117" fmla="*/ 33266 w 203081"/>
                  <a:gd name="connsiteY117" fmla="*/ 63660 h 225646"/>
                  <a:gd name="connsiteX118" fmla="*/ 32138 w 203081"/>
                  <a:gd name="connsiteY118" fmla="*/ 68173 h 225646"/>
                  <a:gd name="connsiteX119" fmla="*/ 28979 w 203081"/>
                  <a:gd name="connsiteY119" fmla="*/ 86225 h 225646"/>
                  <a:gd name="connsiteX120" fmla="*/ 29204 w 203081"/>
                  <a:gd name="connsiteY120" fmla="*/ 87804 h 225646"/>
                  <a:gd name="connsiteX121" fmla="*/ 24466 w 203081"/>
                  <a:gd name="connsiteY121" fmla="*/ 102246 h 225646"/>
                  <a:gd name="connsiteX122" fmla="*/ 9348 w 203081"/>
                  <a:gd name="connsiteY122" fmla="*/ 121651 h 225646"/>
                  <a:gd name="connsiteX123" fmla="*/ 6640 w 203081"/>
                  <a:gd name="connsiteY123" fmla="*/ 125262 h 225646"/>
                  <a:gd name="connsiteX124" fmla="*/ 7317 w 203081"/>
                  <a:gd name="connsiteY124" fmla="*/ 130000 h 225646"/>
                  <a:gd name="connsiteX125" fmla="*/ 6414 w 203081"/>
                  <a:gd name="connsiteY125" fmla="*/ 144667 h 225646"/>
                  <a:gd name="connsiteX126" fmla="*/ 5060 w 203081"/>
                  <a:gd name="connsiteY126" fmla="*/ 147375 h 225646"/>
                  <a:gd name="connsiteX127" fmla="*/ 3932 w 203081"/>
                  <a:gd name="connsiteY127" fmla="*/ 149857 h 225646"/>
                  <a:gd name="connsiteX128" fmla="*/ 4834 w 203081"/>
                  <a:gd name="connsiteY128" fmla="*/ 156175 h 225646"/>
                  <a:gd name="connsiteX129" fmla="*/ 7542 w 203081"/>
                  <a:gd name="connsiteY129" fmla="*/ 160688 h 225646"/>
                  <a:gd name="connsiteX130" fmla="*/ 8670 w 203081"/>
                  <a:gd name="connsiteY130" fmla="*/ 171294 h 225646"/>
                  <a:gd name="connsiteX131" fmla="*/ 5963 w 203081"/>
                  <a:gd name="connsiteY131" fmla="*/ 177612 h 225646"/>
                  <a:gd name="connsiteX132" fmla="*/ 7317 w 203081"/>
                  <a:gd name="connsiteY132" fmla="*/ 188443 h 225646"/>
                  <a:gd name="connsiteX133" fmla="*/ 5511 w 203081"/>
                  <a:gd name="connsiteY133" fmla="*/ 206043 h 225646"/>
                  <a:gd name="connsiteX134" fmla="*/ 5511 w 203081"/>
                  <a:gd name="connsiteY134" fmla="*/ 212361 h 225646"/>
                  <a:gd name="connsiteX135" fmla="*/ 6640 w 203081"/>
                  <a:gd name="connsiteY135" fmla="*/ 217325 h 225646"/>
                  <a:gd name="connsiteX136" fmla="*/ 15440 w 203081"/>
                  <a:gd name="connsiteY136" fmla="*/ 219808 h 225646"/>
                  <a:gd name="connsiteX137" fmla="*/ 37102 w 203081"/>
                  <a:gd name="connsiteY137" fmla="*/ 223192 h 225646"/>
                  <a:gd name="connsiteX138" fmla="*/ 42066 w 203081"/>
                  <a:gd name="connsiteY138" fmla="*/ 224095 h 225646"/>
                  <a:gd name="connsiteX139" fmla="*/ 43871 w 203081"/>
                  <a:gd name="connsiteY139" fmla="*/ 224320 h 225646"/>
                  <a:gd name="connsiteX140" fmla="*/ 48158 w 203081"/>
                  <a:gd name="connsiteY140" fmla="*/ 216423 h 225646"/>
                  <a:gd name="connsiteX141" fmla="*/ 61697 w 203081"/>
                  <a:gd name="connsiteY141" fmla="*/ 220710 h 225646"/>
                  <a:gd name="connsiteX142" fmla="*/ 63051 w 203081"/>
                  <a:gd name="connsiteY142" fmla="*/ 222290 h 225646"/>
                  <a:gd name="connsiteX143" fmla="*/ 70723 w 203081"/>
                  <a:gd name="connsiteY143" fmla="*/ 227931 h 225646"/>
                  <a:gd name="connsiteX144" fmla="*/ 78621 w 203081"/>
                  <a:gd name="connsiteY144" fmla="*/ 225674 h 225646"/>
                  <a:gd name="connsiteX145" fmla="*/ 84262 w 203081"/>
                  <a:gd name="connsiteY145" fmla="*/ 223418 h 225646"/>
                  <a:gd name="connsiteX146" fmla="*/ 89226 w 203081"/>
                  <a:gd name="connsiteY146" fmla="*/ 222741 h 225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</a:cxnLst>
                <a:rect l="l" t="t" r="r" b="b"/>
                <a:pathLst>
                  <a:path w="203081" h="225646">
                    <a:moveTo>
                      <a:pt x="133227" y="236957"/>
                    </a:moveTo>
                    <a:cubicBezTo>
                      <a:pt x="133227" y="236957"/>
                      <a:pt x="133002" y="236957"/>
                      <a:pt x="133002" y="236957"/>
                    </a:cubicBezTo>
                    <a:cubicBezTo>
                      <a:pt x="123299" y="236957"/>
                      <a:pt x="114273" y="233572"/>
                      <a:pt x="105473" y="230638"/>
                    </a:cubicBezTo>
                    <a:cubicBezTo>
                      <a:pt x="103442" y="229962"/>
                      <a:pt x="101185" y="229059"/>
                      <a:pt x="99155" y="228382"/>
                    </a:cubicBezTo>
                    <a:cubicBezTo>
                      <a:pt x="95093" y="227028"/>
                      <a:pt x="90129" y="225674"/>
                      <a:pt x="85842" y="226803"/>
                    </a:cubicBezTo>
                    <a:cubicBezTo>
                      <a:pt x="84262" y="227254"/>
                      <a:pt x="82683" y="227931"/>
                      <a:pt x="80877" y="228833"/>
                    </a:cubicBezTo>
                    <a:cubicBezTo>
                      <a:pt x="77718" y="230413"/>
                      <a:pt x="74333" y="231992"/>
                      <a:pt x="70723" y="231315"/>
                    </a:cubicBezTo>
                    <a:cubicBezTo>
                      <a:pt x="66436" y="230638"/>
                      <a:pt x="63503" y="227254"/>
                      <a:pt x="60795" y="224546"/>
                    </a:cubicBezTo>
                    <a:cubicBezTo>
                      <a:pt x="60343" y="224095"/>
                      <a:pt x="59892" y="223644"/>
                      <a:pt x="59441" y="223192"/>
                    </a:cubicBezTo>
                    <a:cubicBezTo>
                      <a:pt x="56959" y="220710"/>
                      <a:pt x="53123" y="218228"/>
                      <a:pt x="50189" y="219582"/>
                    </a:cubicBezTo>
                    <a:cubicBezTo>
                      <a:pt x="49513" y="220033"/>
                      <a:pt x="47256" y="221161"/>
                      <a:pt x="48158" y="226126"/>
                    </a:cubicBezTo>
                    <a:lnTo>
                      <a:pt x="48610" y="228833"/>
                    </a:lnTo>
                    <a:lnTo>
                      <a:pt x="45902" y="228156"/>
                    </a:lnTo>
                    <a:cubicBezTo>
                      <a:pt x="44548" y="227931"/>
                      <a:pt x="43195" y="227705"/>
                      <a:pt x="41840" y="227479"/>
                    </a:cubicBezTo>
                    <a:cubicBezTo>
                      <a:pt x="40035" y="227254"/>
                      <a:pt x="38230" y="227028"/>
                      <a:pt x="36425" y="226577"/>
                    </a:cubicBezTo>
                    <a:cubicBezTo>
                      <a:pt x="28076" y="224320"/>
                      <a:pt x="24466" y="223869"/>
                      <a:pt x="15666" y="223418"/>
                    </a:cubicBezTo>
                    <a:cubicBezTo>
                      <a:pt x="9573" y="223192"/>
                      <a:pt x="6188" y="222064"/>
                      <a:pt x="4157" y="219582"/>
                    </a:cubicBezTo>
                    <a:cubicBezTo>
                      <a:pt x="2578" y="217777"/>
                      <a:pt x="1901" y="215295"/>
                      <a:pt x="2127" y="211910"/>
                    </a:cubicBezTo>
                    <a:cubicBezTo>
                      <a:pt x="2352" y="210105"/>
                      <a:pt x="2127" y="208074"/>
                      <a:pt x="2127" y="206043"/>
                    </a:cubicBezTo>
                    <a:cubicBezTo>
                      <a:pt x="1901" y="201079"/>
                      <a:pt x="1450" y="195438"/>
                      <a:pt x="4157" y="187089"/>
                    </a:cubicBezTo>
                    <a:cubicBezTo>
                      <a:pt x="5060" y="184155"/>
                      <a:pt x="4609" y="181448"/>
                      <a:pt x="2578" y="178514"/>
                    </a:cubicBezTo>
                    <a:lnTo>
                      <a:pt x="1901" y="177612"/>
                    </a:lnTo>
                    <a:lnTo>
                      <a:pt x="2578" y="176483"/>
                    </a:lnTo>
                    <a:cubicBezTo>
                      <a:pt x="3706" y="174678"/>
                      <a:pt x="4609" y="172422"/>
                      <a:pt x="5511" y="169940"/>
                    </a:cubicBezTo>
                    <a:cubicBezTo>
                      <a:pt x="6865" y="165652"/>
                      <a:pt x="6414" y="164976"/>
                      <a:pt x="4834" y="162493"/>
                    </a:cubicBezTo>
                    <a:cubicBezTo>
                      <a:pt x="3932" y="161365"/>
                      <a:pt x="3029" y="159786"/>
                      <a:pt x="1901" y="157529"/>
                    </a:cubicBezTo>
                    <a:cubicBezTo>
                      <a:pt x="-581" y="152114"/>
                      <a:pt x="-355" y="150534"/>
                      <a:pt x="998" y="148052"/>
                    </a:cubicBezTo>
                    <a:cubicBezTo>
                      <a:pt x="1224" y="147601"/>
                      <a:pt x="1675" y="146924"/>
                      <a:pt x="1901" y="146247"/>
                    </a:cubicBezTo>
                    <a:cubicBezTo>
                      <a:pt x="2352" y="145119"/>
                      <a:pt x="2804" y="143990"/>
                      <a:pt x="3481" y="142862"/>
                    </a:cubicBezTo>
                    <a:cubicBezTo>
                      <a:pt x="5286" y="139703"/>
                      <a:pt x="7091" y="136318"/>
                      <a:pt x="4609" y="132257"/>
                    </a:cubicBezTo>
                    <a:cubicBezTo>
                      <a:pt x="1450" y="127293"/>
                      <a:pt x="2127" y="125262"/>
                      <a:pt x="4609" y="122780"/>
                    </a:cubicBezTo>
                    <a:cubicBezTo>
                      <a:pt x="5286" y="122103"/>
                      <a:pt x="5963" y="121426"/>
                      <a:pt x="6414" y="120523"/>
                    </a:cubicBezTo>
                    <a:cubicBezTo>
                      <a:pt x="8445" y="116010"/>
                      <a:pt x="16794" y="104277"/>
                      <a:pt x="22661" y="99764"/>
                    </a:cubicBezTo>
                    <a:cubicBezTo>
                      <a:pt x="26948" y="96379"/>
                      <a:pt x="26497" y="93671"/>
                      <a:pt x="25820" y="88707"/>
                    </a:cubicBezTo>
                    <a:lnTo>
                      <a:pt x="25594" y="86902"/>
                    </a:lnTo>
                    <a:cubicBezTo>
                      <a:pt x="25143" y="81938"/>
                      <a:pt x="27173" y="74266"/>
                      <a:pt x="28979" y="67496"/>
                    </a:cubicBezTo>
                    <a:cubicBezTo>
                      <a:pt x="29430" y="65917"/>
                      <a:pt x="29656" y="64563"/>
                      <a:pt x="30107" y="63209"/>
                    </a:cubicBezTo>
                    <a:cubicBezTo>
                      <a:pt x="30784" y="60727"/>
                      <a:pt x="31686" y="58922"/>
                      <a:pt x="32815" y="56891"/>
                    </a:cubicBezTo>
                    <a:lnTo>
                      <a:pt x="32589" y="56891"/>
                    </a:lnTo>
                    <a:lnTo>
                      <a:pt x="34168" y="54860"/>
                    </a:lnTo>
                    <a:cubicBezTo>
                      <a:pt x="34620" y="54183"/>
                      <a:pt x="35071" y="53506"/>
                      <a:pt x="35748" y="52829"/>
                    </a:cubicBezTo>
                    <a:cubicBezTo>
                      <a:pt x="36199" y="52378"/>
                      <a:pt x="36651" y="51701"/>
                      <a:pt x="37102" y="51250"/>
                    </a:cubicBezTo>
                    <a:cubicBezTo>
                      <a:pt x="37102" y="51024"/>
                      <a:pt x="37327" y="51024"/>
                      <a:pt x="37327" y="50799"/>
                    </a:cubicBezTo>
                    <a:cubicBezTo>
                      <a:pt x="37327" y="50799"/>
                      <a:pt x="37327" y="50799"/>
                      <a:pt x="37327" y="50799"/>
                    </a:cubicBezTo>
                    <a:lnTo>
                      <a:pt x="37327" y="50799"/>
                    </a:lnTo>
                    <a:lnTo>
                      <a:pt x="39810" y="52604"/>
                    </a:lnTo>
                    <a:cubicBezTo>
                      <a:pt x="42066" y="52378"/>
                      <a:pt x="44097" y="51927"/>
                      <a:pt x="45451" y="51250"/>
                    </a:cubicBezTo>
                    <a:cubicBezTo>
                      <a:pt x="55154" y="47639"/>
                      <a:pt x="56733" y="48091"/>
                      <a:pt x="62826" y="51701"/>
                    </a:cubicBezTo>
                    <a:lnTo>
                      <a:pt x="63954" y="52378"/>
                    </a:lnTo>
                    <a:cubicBezTo>
                      <a:pt x="65082" y="53055"/>
                      <a:pt x="66210" y="53281"/>
                      <a:pt x="66887" y="53055"/>
                    </a:cubicBezTo>
                    <a:cubicBezTo>
                      <a:pt x="68692" y="52604"/>
                      <a:pt x="70497" y="49445"/>
                      <a:pt x="71851" y="46511"/>
                    </a:cubicBezTo>
                    <a:cubicBezTo>
                      <a:pt x="72303" y="45609"/>
                      <a:pt x="72980" y="44480"/>
                      <a:pt x="73431" y="43578"/>
                    </a:cubicBezTo>
                    <a:lnTo>
                      <a:pt x="74333" y="41998"/>
                    </a:lnTo>
                    <a:cubicBezTo>
                      <a:pt x="77041" y="37485"/>
                      <a:pt x="81554" y="29813"/>
                      <a:pt x="81554" y="27331"/>
                    </a:cubicBezTo>
                    <a:cubicBezTo>
                      <a:pt x="81554" y="23947"/>
                      <a:pt x="84036" y="10408"/>
                      <a:pt x="95093" y="9957"/>
                    </a:cubicBezTo>
                    <a:cubicBezTo>
                      <a:pt x="103668" y="9505"/>
                      <a:pt x="113822" y="9731"/>
                      <a:pt x="127812" y="10859"/>
                    </a:cubicBezTo>
                    <a:cubicBezTo>
                      <a:pt x="139320" y="11762"/>
                      <a:pt x="157146" y="4767"/>
                      <a:pt x="161884" y="1382"/>
                    </a:cubicBezTo>
                    <a:cubicBezTo>
                      <a:pt x="164141" y="-197"/>
                      <a:pt x="166848" y="-423"/>
                      <a:pt x="169556" y="705"/>
                    </a:cubicBezTo>
                    <a:cubicBezTo>
                      <a:pt x="173392" y="2285"/>
                      <a:pt x="176777" y="6121"/>
                      <a:pt x="177454" y="9505"/>
                    </a:cubicBezTo>
                    <a:cubicBezTo>
                      <a:pt x="177679" y="11085"/>
                      <a:pt x="178356" y="11310"/>
                      <a:pt x="182192" y="12439"/>
                    </a:cubicBezTo>
                    <a:cubicBezTo>
                      <a:pt x="184449" y="13116"/>
                      <a:pt x="187382" y="14018"/>
                      <a:pt x="191444" y="15823"/>
                    </a:cubicBezTo>
                    <a:lnTo>
                      <a:pt x="192798" y="16500"/>
                    </a:lnTo>
                    <a:lnTo>
                      <a:pt x="192572" y="17854"/>
                    </a:lnTo>
                    <a:cubicBezTo>
                      <a:pt x="192572" y="18306"/>
                      <a:pt x="192572" y="18982"/>
                      <a:pt x="192572" y="19434"/>
                    </a:cubicBezTo>
                    <a:cubicBezTo>
                      <a:pt x="192572" y="21465"/>
                      <a:pt x="192798" y="24172"/>
                      <a:pt x="191444" y="28234"/>
                    </a:cubicBezTo>
                    <a:cubicBezTo>
                      <a:pt x="190992" y="29813"/>
                      <a:pt x="190541" y="30942"/>
                      <a:pt x="190090" y="32070"/>
                    </a:cubicBezTo>
                    <a:cubicBezTo>
                      <a:pt x="188510" y="36583"/>
                      <a:pt x="187833" y="37937"/>
                      <a:pt x="190316" y="43352"/>
                    </a:cubicBezTo>
                    <a:cubicBezTo>
                      <a:pt x="193249" y="49670"/>
                      <a:pt x="199116" y="53281"/>
                      <a:pt x="203629" y="56214"/>
                    </a:cubicBezTo>
                    <a:lnTo>
                      <a:pt x="204983" y="57117"/>
                    </a:lnTo>
                    <a:cubicBezTo>
                      <a:pt x="208819" y="59599"/>
                      <a:pt x="206788" y="64789"/>
                      <a:pt x="204306" y="71558"/>
                    </a:cubicBezTo>
                    <a:cubicBezTo>
                      <a:pt x="202049" y="77425"/>
                      <a:pt x="199567" y="84645"/>
                      <a:pt x="199567" y="92317"/>
                    </a:cubicBezTo>
                    <a:cubicBezTo>
                      <a:pt x="199567" y="105631"/>
                      <a:pt x="194377" y="114656"/>
                      <a:pt x="190090" y="122103"/>
                    </a:cubicBezTo>
                    <a:cubicBezTo>
                      <a:pt x="188962" y="123908"/>
                      <a:pt x="188059" y="125713"/>
                      <a:pt x="187157" y="127518"/>
                    </a:cubicBezTo>
                    <a:cubicBezTo>
                      <a:pt x="183997" y="134062"/>
                      <a:pt x="182644" y="137672"/>
                      <a:pt x="179710" y="145796"/>
                    </a:cubicBezTo>
                    <a:cubicBezTo>
                      <a:pt x="178808" y="148052"/>
                      <a:pt x="177905" y="150760"/>
                      <a:pt x="176777" y="154144"/>
                    </a:cubicBezTo>
                    <a:cubicBezTo>
                      <a:pt x="175423" y="158206"/>
                      <a:pt x="173167" y="162945"/>
                      <a:pt x="170684" y="167909"/>
                    </a:cubicBezTo>
                    <a:cubicBezTo>
                      <a:pt x="165720" y="178063"/>
                      <a:pt x="160079" y="189571"/>
                      <a:pt x="160756" y="197694"/>
                    </a:cubicBezTo>
                    <a:cubicBezTo>
                      <a:pt x="160981" y="199725"/>
                      <a:pt x="161207" y="201530"/>
                      <a:pt x="161433" y="203561"/>
                    </a:cubicBezTo>
                    <a:cubicBezTo>
                      <a:pt x="162110" y="208525"/>
                      <a:pt x="163013" y="213715"/>
                      <a:pt x="161659" y="218905"/>
                    </a:cubicBezTo>
                    <a:cubicBezTo>
                      <a:pt x="158725" y="230638"/>
                      <a:pt x="145186" y="236957"/>
                      <a:pt x="133227" y="236957"/>
                    </a:cubicBezTo>
                    <a:close/>
                    <a:moveTo>
                      <a:pt x="89226" y="222741"/>
                    </a:moveTo>
                    <a:cubicBezTo>
                      <a:pt x="93062" y="222741"/>
                      <a:pt x="96898" y="223869"/>
                      <a:pt x="100283" y="224997"/>
                    </a:cubicBezTo>
                    <a:cubicBezTo>
                      <a:pt x="102539" y="225674"/>
                      <a:pt x="104570" y="226351"/>
                      <a:pt x="106827" y="227254"/>
                    </a:cubicBezTo>
                    <a:cubicBezTo>
                      <a:pt x="115401" y="230187"/>
                      <a:pt x="124201" y="233346"/>
                      <a:pt x="133227" y="233346"/>
                    </a:cubicBezTo>
                    <a:cubicBezTo>
                      <a:pt x="133227" y="233346"/>
                      <a:pt x="133453" y="233346"/>
                      <a:pt x="133453" y="233346"/>
                    </a:cubicBezTo>
                    <a:cubicBezTo>
                      <a:pt x="143607" y="233346"/>
                      <a:pt x="155792" y="227705"/>
                      <a:pt x="158499" y="217325"/>
                    </a:cubicBezTo>
                    <a:cubicBezTo>
                      <a:pt x="159628" y="212812"/>
                      <a:pt x="158951" y="208300"/>
                      <a:pt x="158274" y="203561"/>
                    </a:cubicBezTo>
                    <a:cubicBezTo>
                      <a:pt x="158048" y="201530"/>
                      <a:pt x="157597" y="199499"/>
                      <a:pt x="157597" y="197468"/>
                    </a:cubicBezTo>
                    <a:cubicBezTo>
                      <a:pt x="156920" y="188443"/>
                      <a:pt x="162787" y="176483"/>
                      <a:pt x="167751" y="165652"/>
                    </a:cubicBezTo>
                    <a:cubicBezTo>
                      <a:pt x="170008" y="160688"/>
                      <a:pt x="172264" y="156175"/>
                      <a:pt x="173618" y="152339"/>
                    </a:cubicBezTo>
                    <a:cubicBezTo>
                      <a:pt x="174746" y="149180"/>
                      <a:pt x="175649" y="146473"/>
                      <a:pt x="176551" y="143990"/>
                    </a:cubicBezTo>
                    <a:cubicBezTo>
                      <a:pt x="179485" y="135641"/>
                      <a:pt x="180838" y="132031"/>
                      <a:pt x="183997" y="125262"/>
                    </a:cubicBezTo>
                    <a:cubicBezTo>
                      <a:pt x="184900" y="123457"/>
                      <a:pt x="186028" y="121651"/>
                      <a:pt x="186931" y="119846"/>
                    </a:cubicBezTo>
                    <a:cubicBezTo>
                      <a:pt x="191218" y="112400"/>
                      <a:pt x="195957" y="104051"/>
                      <a:pt x="195957" y="91866"/>
                    </a:cubicBezTo>
                    <a:cubicBezTo>
                      <a:pt x="195957" y="83743"/>
                      <a:pt x="198665" y="76071"/>
                      <a:pt x="200921" y="69753"/>
                    </a:cubicBezTo>
                    <a:cubicBezTo>
                      <a:pt x="202501" y="65466"/>
                      <a:pt x="204306" y="60501"/>
                      <a:pt x="202952" y="59824"/>
                    </a:cubicBezTo>
                    <a:lnTo>
                      <a:pt x="201598" y="59147"/>
                    </a:lnTo>
                    <a:cubicBezTo>
                      <a:pt x="196408" y="55988"/>
                      <a:pt x="190090" y="52153"/>
                      <a:pt x="186705" y="44706"/>
                    </a:cubicBezTo>
                    <a:cubicBezTo>
                      <a:pt x="183546" y="37937"/>
                      <a:pt x="184449" y="35455"/>
                      <a:pt x="186254" y="30490"/>
                    </a:cubicBezTo>
                    <a:cubicBezTo>
                      <a:pt x="186705" y="29362"/>
                      <a:pt x="187157" y="28234"/>
                      <a:pt x="187608" y="26654"/>
                    </a:cubicBezTo>
                    <a:cubicBezTo>
                      <a:pt x="188736" y="23270"/>
                      <a:pt x="188510" y="21013"/>
                      <a:pt x="188510" y="19208"/>
                    </a:cubicBezTo>
                    <a:cubicBezTo>
                      <a:pt x="188510" y="18982"/>
                      <a:pt x="188510" y="18531"/>
                      <a:pt x="188510" y="18306"/>
                    </a:cubicBezTo>
                    <a:cubicBezTo>
                      <a:pt x="185351" y="16952"/>
                      <a:pt x="183095" y="16275"/>
                      <a:pt x="181064" y="15598"/>
                    </a:cubicBezTo>
                    <a:cubicBezTo>
                      <a:pt x="177228" y="14469"/>
                      <a:pt x="174520" y="13567"/>
                      <a:pt x="173618" y="9731"/>
                    </a:cubicBezTo>
                    <a:cubicBezTo>
                      <a:pt x="173167" y="7474"/>
                      <a:pt x="170684" y="4767"/>
                      <a:pt x="167977" y="3639"/>
                    </a:cubicBezTo>
                    <a:cubicBezTo>
                      <a:pt x="166848" y="3187"/>
                      <a:pt x="165269" y="2736"/>
                      <a:pt x="163689" y="3864"/>
                    </a:cubicBezTo>
                    <a:cubicBezTo>
                      <a:pt x="158725" y="7249"/>
                      <a:pt x="139997" y="15147"/>
                      <a:pt x="127135" y="14018"/>
                    </a:cubicBezTo>
                    <a:cubicBezTo>
                      <a:pt x="113370" y="12890"/>
                      <a:pt x="103216" y="12664"/>
                      <a:pt x="94867" y="13116"/>
                    </a:cubicBezTo>
                    <a:cubicBezTo>
                      <a:pt x="86744" y="13567"/>
                      <a:pt x="84939" y="24624"/>
                      <a:pt x="84939" y="26654"/>
                    </a:cubicBezTo>
                    <a:cubicBezTo>
                      <a:pt x="84939" y="29813"/>
                      <a:pt x="81554" y="35906"/>
                      <a:pt x="77267" y="43352"/>
                    </a:cubicBezTo>
                    <a:lnTo>
                      <a:pt x="76364" y="44932"/>
                    </a:lnTo>
                    <a:cubicBezTo>
                      <a:pt x="75913" y="45834"/>
                      <a:pt x="75462" y="46737"/>
                      <a:pt x="74785" y="47639"/>
                    </a:cubicBezTo>
                    <a:cubicBezTo>
                      <a:pt x="72754" y="51250"/>
                      <a:pt x="70949" y="55086"/>
                      <a:pt x="67338" y="55988"/>
                    </a:cubicBezTo>
                    <a:cubicBezTo>
                      <a:pt x="65533" y="56440"/>
                      <a:pt x="63503" y="56214"/>
                      <a:pt x="61472" y="55086"/>
                    </a:cubicBezTo>
                    <a:lnTo>
                      <a:pt x="60343" y="54409"/>
                    </a:lnTo>
                    <a:cubicBezTo>
                      <a:pt x="55154" y="51475"/>
                      <a:pt x="54702" y="51024"/>
                      <a:pt x="46354" y="54409"/>
                    </a:cubicBezTo>
                    <a:cubicBezTo>
                      <a:pt x="44097" y="55312"/>
                      <a:pt x="40938" y="55763"/>
                      <a:pt x="37327" y="56214"/>
                    </a:cubicBezTo>
                    <a:cubicBezTo>
                      <a:pt x="35522" y="58696"/>
                      <a:pt x="34168" y="60727"/>
                      <a:pt x="33266" y="63660"/>
                    </a:cubicBezTo>
                    <a:cubicBezTo>
                      <a:pt x="32815" y="65014"/>
                      <a:pt x="32589" y="66594"/>
                      <a:pt x="32138" y="68173"/>
                    </a:cubicBezTo>
                    <a:cubicBezTo>
                      <a:pt x="30333" y="74717"/>
                      <a:pt x="28527" y="81938"/>
                      <a:pt x="28979" y="86225"/>
                    </a:cubicBezTo>
                    <a:lnTo>
                      <a:pt x="29204" y="87804"/>
                    </a:lnTo>
                    <a:cubicBezTo>
                      <a:pt x="29881" y="92769"/>
                      <a:pt x="30333" y="97733"/>
                      <a:pt x="24466" y="102246"/>
                    </a:cubicBezTo>
                    <a:cubicBezTo>
                      <a:pt x="19276" y="106307"/>
                      <a:pt x="11152" y="117364"/>
                      <a:pt x="9348" y="121651"/>
                    </a:cubicBezTo>
                    <a:cubicBezTo>
                      <a:pt x="8670" y="123457"/>
                      <a:pt x="7542" y="124585"/>
                      <a:pt x="6640" y="125262"/>
                    </a:cubicBezTo>
                    <a:cubicBezTo>
                      <a:pt x="5511" y="126390"/>
                      <a:pt x="5286" y="126616"/>
                      <a:pt x="7317" y="130000"/>
                    </a:cubicBezTo>
                    <a:cubicBezTo>
                      <a:pt x="11152" y="136093"/>
                      <a:pt x="8219" y="141283"/>
                      <a:pt x="6414" y="144667"/>
                    </a:cubicBezTo>
                    <a:cubicBezTo>
                      <a:pt x="5737" y="145570"/>
                      <a:pt x="5286" y="146698"/>
                      <a:pt x="5060" y="147375"/>
                    </a:cubicBezTo>
                    <a:cubicBezTo>
                      <a:pt x="4609" y="148503"/>
                      <a:pt x="4383" y="149180"/>
                      <a:pt x="3932" y="149857"/>
                    </a:cubicBezTo>
                    <a:cubicBezTo>
                      <a:pt x="3255" y="151211"/>
                      <a:pt x="3029" y="151662"/>
                      <a:pt x="4834" y="156175"/>
                    </a:cubicBezTo>
                    <a:cubicBezTo>
                      <a:pt x="5737" y="158206"/>
                      <a:pt x="6640" y="159560"/>
                      <a:pt x="7542" y="160688"/>
                    </a:cubicBezTo>
                    <a:cubicBezTo>
                      <a:pt x="9573" y="163622"/>
                      <a:pt x="10701" y="165652"/>
                      <a:pt x="8670" y="171294"/>
                    </a:cubicBezTo>
                    <a:cubicBezTo>
                      <a:pt x="7768" y="173776"/>
                      <a:pt x="6865" y="175806"/>
                      <a:pt x="5963" y="177612"/>
                    </a:cubicBezTo>
                    <a:cubicBezTo>
                      <a:pt x="7993" y="181222"/>
                      <a:pt x="8445" y="184832"/>
                      <a:pt x="7317" y="188443"/>
                    </a:cubicBezTo>
                    <a:cubicBezTo>
                      <a:pt x="4834" y="196340"/>
                      <a:pt x="5060" y="201530"/>
                      <a:pt x="5511" y="206043"/>
                    </a:cubicBezTo>
                    <a:cubicBezTo>
                      <a:pt x="5737" y="208300"/>
                      <a:pt x="5737" y="210330"/>
                      <a:pt x="5511" y="212361"/>
                    </a:cubicBezTo>
                    <a:cubicBezTo>
                      <a:pt x="5286" y="214618"/>
                      <a:pt x="5737" y="216197"/>
                      <a:pt x="6640" y="217325"/>
                    </a:cubicBezTo>
                    <a:cubicBezTo>
                      <a:pt x="7993" y="218905"/>
                      <a:pt x="10701" y="219582"/>
                      <a:pt x="15440" y="219808"/>
                    </a:cubicBezTo>
                    <a:cubicBezTo>
                      <a:pt x="24466" y="220259"/>
                      <a:pt x="28527" y="220710"/>
                      <a:pt x="37102" y="223192"/>
                    </a:cubicBezTo>
                    <a:cubicBezTo>
                      <a:pt x="38681" y="223644"/>
                      <a:pt x="40261" y="223869"/>
                      <a:pt x="42066" y="224095"/>
                    </a:cubicBezTo>
                    <a:cubicBezTo>
                      <a:pt x="42743" y="224095"/>
                      <a:pt x="43420" y="224320"/>
                      <a:pt x="43871" y="224320"/>
                    </a:cubicBezTo>
                    <a:cubicBezTo>
                      <a:pt x="43646" y="219582"/>
                      <a:pt x="45902" y="217325"/>
                      <a:pt x="48158" y="216423"/>
                    </a:cubicBezTo>
                    <a:cubicBezTo>
                      <a:pt x="52897" y="213941"/>
                      <a:pt x="58313" y="217100"/>
                      <a:pt x="61697" y="220710"/>
                    </a:cubicBezTo>
                    <a:cubicBezTo>
                      <a:pt x="62149" y="221161"/>
                      <a:pt x="62600" y="221613"/>
                      <a:pt x="63051" y="222290"/>
                    </a:cubicBezTo>
                    <a:cubicBezTo>
                      <a:pt x="65533" y="224997"/>
                      <a:pt x="67790" y="227479"/>
                      <a:pt x="70723" y="227931"/>
                    </a:cubicBezTo>
                    <a:cubicBezTo>
                      <a:pt x="73205" y="228382"/>
                      <a:pt x="75913" y="227028"/>
                      <a:pt x="78621" y="225674"/>
                    </a:cubicBezTo>
                    <a:cubicBezTo>
                      <a:pt x="80426" y="224772"/>
                      <a:pt x="82231" y="223869"/>
                      <a:pt x="84262" y="223418"/>
                    </a:cubicBezTo>
                    <a:cubicBezTo>
                      <a:pt x="86293" y="222967"/>
                      <a:pt x="87646" y="222741"/>
                      <a:pt x="89226" y="222741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xmlns="" id="{050CC555-80AA-42A5-BCBB-E08C0023CF00}"/>
                  </a:ext>
                </a:extLst>
              </p:cNvPr>
              <p:cNvSpPr/>
              <p:nvPr/>
            </p:nvSpPr>
            <p:spPr>
              <a:xfrm>
                <a:off x="11079504" y="2808822"/>
                <a:ext cx="135388" cy="338469"/>
              </a:xfrm>
              <a:custGeom>
                <a:avLst/>
                <a:gdLst>
                  <a:gd name="connsiteX0" fmla="*/ 112598 w 135387"/>
                  <a:gd name="connsiteY0" fmla="*/ 340927 h 338469"/>
                  <a:gd name="connsiteX1" fmla="*/ 108310 w 135387"/>
                  <a:gd name="connsiteY1" fmla="*/ 339799 h 338469"/>
                  <a:gd name="connsiteX2" fmla="*/ 94546 w 135387"/>
                  <a:gd name="connsiteY2" fmla="*/ 333707 h 338469"/>
                  <a:gd name="connsiteX3" fmla="*/ 92289 w 135387"/>
                  <a:gd name="connsiteY3" fmla="*/ 330773 h 338469"/>
                  <a:gd name="connsiteX4" fmla="*/ 90258 w 135387"/>
                  <a:gd name="connsiteY4" fmla="*/ 329420 h 338469"/>
                  <a:gd name="connsiteX5" fmla="*/ 85746 w 135387"/>
                  <a:gd name="connsiteY5" fmla="*/ 327389 h 338469"/>
                  <a:gd name="connsiteX6" fmla="*/ 83715 w 135387"/>
                  <a:gd name="connsiteY6" fmla="*/ 327389 h 338469"/>
                  <a:gd name="connsiteX7" fmla="*/ 81910 w 135387"/>
                  <a:gd name="connsiteY7" fmla="*/ 329871 h 338469"/>
                  <a:gd name="connsiteX8" fmla="*/ 74689 w 135387"/>
                  <a:gd name="connsiteY8" fmla="*/ 337768 h 338469"/>
                  <a:gd name="connsiteX9" fmla="*/ 67468 w 135387"/>
                  <a:gd name="connsiteY9" fmla="*/ 337768 h 338469"/>
                  <a:gd name="connsiteX10" fmla="*/ 62053 w 135387"/>
                  <a:gd name="connsiteY10" fmla="*/ 321296 h 338469"/>
                  <a:gd name="connsiteX11" fmla="*/ 60022 w 135387"/>
                  <a:gd name="connsiteY11" fmla="*/ 314301 h 338469"/>
                  <a:gd name="connsiteX12" fmla="*/ 56412 w 135387"/>
                  <a:gd name="connsiteY12" fmla="*/ 300311 h 338469"/>
                  <a:gd name="connsiteX13" fmla="*/ 54832 w 135387"/>
                  <a:gd name="connsiteY13" fmla="*/ 287675 h 338469"/>
                  <a:gd name="connsiteX14" fmla="*/ 53027 w 135387"/>
                  <a:gd name="connsiteY14" fmla="*/ 274136 h 338469"/>
                  <a:gd name="connsiteX15" fmla="*/ 43775 w 135387"/>
                  <a:gd name="connsiteY15" fmla="*/ 250218 h 338469"/>
                  <a:gd name="connsiteX16" fmla="*/ 38586 w 135387"/>
                  <a:gd name="connsiteY16" fmla="*/ 240741 h 338469"/>
                  <a:gd name="connsiteX17" fmla="*/ 18277 w 135387"/>
                  <a:gd name="connsiteY17" fmla="*/ 180267 h 338469"/>
                  <a:gd name="connsiteX18" fmla="*/ 18503 w 135387"/>
                  <a:gd name="connsiteY18" fmla="*/ 171016 h 338469"/>
                  <a:gd name="connsiteX19" fmla="*/ 22339 w 135387"/>
                  <a:gd name="connsiteY19" fmla="*/ 166954 h 338469"/>
                  <a:gd name="connsiteX20" fmla="*/ 7446 w 135387"/>
                  <a:gd name="connsiteY20" fmla="*/ 125661 h 338469"/>
                  <a:gd name="connsiteX21" fmla="*/ 8575 w 135387"/>
                  <a:gd name="connsiteY21" fmla="*/ 121148 h 338469"/>
                  <a:gd name="connsiteX22" fmla="*/ 9252 w 135387"/>
                  <a:gd name="connsiteY22" fmla="*/ 116861 h 338469"/>
                  <a:gd name="connsiteX23" fmla="*/ 8800 w 135387"/>
                  <a:gd name="connsiteY23" fmla="*/ 116861 h 338469"/>
                  <a:gd name="connsiteX24" fmla="*/ 7220 w 135387"/>
                  <a:gd name="connsiteY24" fmla="*/ 117086 h 338469"/>
                  <a:gd name="connsiteX25" fmla="*/ 2708 w 135387"/>
                  <a:gd name="connsiteY25" fmla="*/ 117989 h 338469"/>
                  <a:gd name="connsiteX26" fmla="*/ 0 w 135387"/>
                  <a:gd name="connsiteY26" fmla="*/ 118666 h 338469"/>
                  <a:gd name="connsiteX27" fmla="*/ 451 w 135387"/>
                  <a:gd name="connsiteY27" fmla="*/ 115733 h 338469"/>
                  <a:gd name="connsiteX28" fmla="*/ 2482 w 135387"/>
                  <a:gd name="connsiteY28" fmla="*/ 99486 h 338469"/>
                  <a:gd name="connsiteX29" fmla="*/ 4739 w 135387"/>
                  <a:gd name="connsiteY29" fmla="*/ 84594 h 338469"/>
                  <a:gd name="connsiteX30" fmla="*/ 4287 w 135387"/>
                  <a:gd name="connsiteY30" fmla="*/ 60901 h 338469"/>
                  <a:gd name="connsiteX31" fmla="*/ 4061 w 135387"/>
                  <a:gd name="connsiteY31" fmla="*/ 59998 h 338469"/>
                  <a:gd name="connsiteX32" fmla="*/ 3385 w 135387"/>
                  <a:gd name="connsiteY32" fmla="*/ 43977 h 338469"/>
                  <a:gd name="connsiteX33" fmla="*/ 3610 w 135387"/>
                  <a:gd name="connsiteY33" fmla="*/ 41946 h 338469"/>
                  <a:gd name="connsiteX34" fmla="*/ 5190 w 135387"/>
                  <a:gd name="connsiteY34" fmla="*/ 41721 h 338469"/>
                  <a:gd name="connsiteX35" fmla="*/ 7220 w 135387"/>
                  <a:gd name="connsiteY35" fmla="*/ 40818 h 338469"/>
                  <a:gd name="connsiteX36" fmla="*/ 17826 w 135387"/>
                  <a:gd name="connsiteY36" fmla="*/ 38787 h 338469"/>
                  <a:gd name="connsiteX37" fmla="*/ 20985 w 135387"/>
                  <a:gd name="connsiteY37" fmla="*/ 44880 h 338469"/>
                  <a:gd name="connsiteX38" fmla="*/ 20759 w 135387"/>
                  <a:gd name="connsiteY38" fmla="*/ 48941 h 338469"/>
                  <a:gd name="connsiteX39" fmla="*/ 23693 w 135387"/>
                  <a:gd name="connsiteY39" fmla="*/ 54131 h 338469"/>
                  <a:gd name="connsiteX40" fmla="*/ 26626 w 135387"/>
                  <a:gd name="connsiteY40" fmla="*/ 54808 h 338469"/>
                  <a:gd name="connsiteX41" fmla="*/ 29334 w 135387"/>
                  <a:gd name="connsiteY41" fmla="*/ 49167 h 338469"/>
                  <a:gd name="connsiteX42" fmla="*/ 29785 w 135387"/>
                  <a:gd name="connsiteY42" fmla="*/ 47587 h 338469"/>
                  <a:gd name="connsiteX43" fmla="*/ 40842 w 135387"/>
                  <a:gd name="connsiteY43" fmla="*/ 30438 h 338469"/>
                  <a:gd name="connsiteX44" fmla="*/ 50093 w 135387"/>
                  <a:gd name="connsiteY44" fmla="*/ 15320 h 338469"/>
                  <a:gd name="connsiteX45" fmla="*/ 55283 w 135387"/>
                  <a:gd name="connsiteY45" fmla="*/ 653 h 338469"/>
                  <a:gd name="connsiteX46" fmla="*/ 58442 w 135387"/>
                  <a:gd name="connsiteY46" fmla="*/ 202 h 338469"/>
                  <a:gd name="connsiteX47" fmla="*/ 62504 w 135387"/>
                  <a:gd name="connsiteY47" fmla="*/ 6520 h 338469"/>
                  <a:gd name="connsiteX48" fmla="*/ 65212 w 135387"/>
                  <a:gd name="connsiteY48" fmla="*/ 13064 h 338469"/>
                  <a:gd name="connsiteX49" fmla="*/ 72884 w 135387"/>
                  <a:gd name="connsiteY49" fmla="*/ 15546 h 338469"/>
                  <a:gd name="connsiteX50" fmla="*/ 76043 w 135387"/>
                  <a:gd name="connsiteY50" fmla="*/ 14192 h 338469"/>
                  <a:gd name="connsiteX51" fmla="*/ 85520 w 135387"/>
                  <a:gd name="connsiteY51" fmla="*/ 12161 h 338469"/>
                  <a:gd name="connsiteX52" fmla="*/ 88453 w 135387"/>
                  <a:gd name="connsiteY52" fmla="*/ 8776 h 338469"/>
                  <a:gd name="connsiteX53" fmla="*/ 90033 w 135387"/>
                  <a:gd name="connsiteY53" fmla="*/ 6294 h 338469"/>
                  <a:gd name="connsiteX54" fmla="*/ 91612 w 135387"/>
                  <a:gd name="connsiteY54" fmla="*/ 8776 h 338469"/>
                  <a:gd name="connsiteX55" fmla="*/ 93643 w 135387"/>
                  <a:gd name="connsiteY55" fmla="*/ 20736 h 338469"/>
                  <a:gd name="connsiteX56" fmla="*/ 91838 w 135387"/>
                  <a:gd name="connsiteY56" fmla="*/ 38336 h 338469"/>
                  <a:gd name="connsiteX57" fmla="*/ 91838 w 135387"/>
                  <a:gd name="connsiteY57" fmla="*/ 44654 h 338469"/>
                  <a:gd name="connsiteX58" fmla="*/ 92966 w 135387"/>
                  <a:gd name="connsiteY58" fmla="*/ 49618 h 338469"/>
                  <a:gd name="connsiteX59" fmla="*/ 101766 w 135387"/>
                  <a:gd name="connsiteY59" fmla="*/ 52100 h 338469"/>
                  <a:gd name="connsiteX60" fmla="*/ 123428 w 135387"/>
                  <a:gd name="connsiteY60" fmla="*/ 55485 h 338469"/>
                  <a:gd name="connsiteX61" fmla="*/ 128393 w 135387"/>
                  <a:gd name="connsiteY61" fmla="*/ 56388 h 338469"/>
                  <a:gd name="connsiteX62" fmla="*/ 132906 w 135387"/>
                  <a:gd name="connsiteY62" fmla="*/ 57065 h 338469"/>
                  <a:gd name="connsiteX63" fmla="*/ 134034 w 135387"/>
                  <a:gd name="connsiteY63" fmla="*/ 57290 h 338469"/>
                  <a:gd name="connsiteX64" fmla="*/ 134259 w 135387"/>
                  <a:gd name="connsiteY64" fmla="*/ 58418 h 338469"/>
                  <a:gd name="connsiteX65" fmla="*/ 136967 w 135387"/>
                  <a:gd name="connsiteY65" fmla="*/ 66090 h 338469"/>
                  <a:gd name="connsiteX66" fmla="*/ 137193 w 135387"/>
                  <a:gd name="connsiteY66" fmla="*/ 179591 h 338469"/>
                  <a:gd name="connsiteX67" fmla="*/ 130198 w 135387"/>
                  <a:gd name="connsiteY67" fmla="*/ 191550 h 338469"/>
                  <a:gd name="connsiteX68" fmla="*/ 120495 w 135387"/>
                  <a:gd name="connsiteY68" fmla="*/ 209601 h 338469"/>
                  <a:gd name="connsiteX69" fmla="*/ 120721 w 135387"/>
                  <a:gd name="connsiteY69" fmla="*/ 228556 h 338469"/>
                  <a:gd name="connsiteX70" fmla="*/ 123203 w 135387"/>
                  <a:gd name="connsiteY70" fmla="*/ 240064 h 338469"/>
                  <a:gd name="connsiteX71" fmla="*/ 122075 w 135387"/>
                  <a:gd name="connsiteY71" fmla="*/ 249541 h 338469"/>
                  <a:gd name="connsiteX72" fmla="*/ 124557 w 135387"/>
                  <a:gd name="connsiteY72" fmla="*/ 264433 h 338469"/>
                  <a:gd name="connsiteX73" fmla="*/ 134485 w 135387"/>
                  <a:gd name="connsiteY73" fmla="*/ 279777 h 338469"/>
                  <a:gd name="connsiteX74" fmla="*/ 134711 w 135387"/>
                  <a:gd name="connsiteY74" fmla="*/ 280680 h 338469"/>
                  <a:gd name="connsiteX75" fmla="*/ 133131 w 135387"/>
                  <a:gd name="connsiteY75" fmla="*/ 293542 h 338469"/>
                  <a:gd name="connsiteX76" fmla="*/ 134711 w 135387"/>
                  <a:gd name="connsiteY76" fmla="*/ 299409 h 338469"/>
                  <a:gd name="connsiteX77" fmla="*/ 134485 w 135387"/>
                  <a:gd name="connsiteY77" fmla="*/ 308660 h 338469"/>
                  <a:gd name="connsiteX78" fmla="*/ 132003 w 135387"/>
                  <a:gd name="connsiteY78" fmla="*/ 310014 h 338469"/>
                  <a:gd name="connsiteX79" fmla="*/ 126362 w 135387"/>
                  <a:gd name="connsiteY79" fmla="*/ 315881 h 338469"/>
                  <a:gd name="connsiteX80" fmla="*/ 122075 w 135387"/>
                  <a:gd name="connsiteY80" fmla="*/ 328066 h 338469"/>
                  <a:gd name="connsiteX81" fmla="*/ 120946 w 135387"/>
                  <a:gd name="connsiteY81" fmla="*/ 330773 h 338469"/>
                  <a:gd name="connsiteX82" fmla="*/ 120269 w 135387"/>
                  <a:gd name="connsiteY82" fmla="*/ 332579 h 338469"/>
                  <a:gd name="connsiteX83" fmla="*/ 115080 w 135387"/>
                  <a:gd name="connsiteY83" fmla="*/ 340025 h 338469"/>
                  <a:gd name="connsiteX84" fmla="*/ 112598 w 135387"/>
                  <a:gd name="connsiteY84" fmla="*/ 340927 h 338469"/>
                  <a:gd name="connsiteX85" fmla="*/ 95900 w 135387"/>
                  <a:gd name="connsiteY85" fmla="*/ 330322 h 338469"/>
                  <a:gd name="connsiteX86" fmla="*/ 109664 w 135387"/>
                  <a:gd name="connsiteY86" fmla="*/ 336414 h 338469"/>
                  <a:gd name="connsiteX87" fmla="*/ 113274 w 135387"/>
                  <a:gd name="connsiteY87" fmla="*/ 337091 h 338469"/>
                  <a:gd name="connsiteX88" fmla="*/ 116208 w 135387"/>
                  <a:gd name="connsiteY88" fmla="*/ 331902 h 338469"/>
                  <a:gd name="connsiteX89" fmla="*/ 116885 w 135387"/>
                  <a:gd name="connsiteY89" fmla="*/ 329871 h 338469"/>
                  <a:gd name="connsiteX90" fmla="*/ 118013 w 135387"/>
                  <a:gd name="connsiteY90" fmla="*/ 327163 h 338469"/>
                  <a:gd name="connsiteX91" fmla="*/ 122075 w 135387"/>
                  <a:gd name="connsiteY91" fmla="*/ 315655 h 338469"/>
                  <a:gd name="connsiteX92" fmla="*/ 129521 w 135387"/>
                  <a:gd name="connsiteY92" fmla="*/ 307306 h 338469"/>
                  <a:gd name="connsiteX93" fmla="*/ 131777 w 135387"/>
                  <a:gd name="connsiteY93" fmla="*/ 305952 h 338469"/>
                  <a:gd name="connsiteX94" fmla="*/ 130649 w 135387"/>
                  <a:gd name="connsiteY94" fmla="*/ 301665 h 338469"/>
                  <a:gd name="connsiteX95" fmla="*/ 129295 w 135387"/>
                  <a:gd name="connsiteY95" fmla="*/ 291736 h 338469"/>
                  <a:gd name="connsiteX96" fmla="*/ 130198 w 135387"/>
                  <a:gd name="connsiteY96" fmla="*/ 282034 h 338469"/>
                  <a:gd name="connsiteX97" fmla="*/ 129972 w 135387"/>
                  <a:gd name="connsiteY97" fmla="*/ 281131 h 338469"/>
                  <a:gd name="connsiteX98" fmla="*/ 121172 w 135387"/>
                  <a:gd name="connsiteY98" fmla="*/ 267367 h 338469"/>
                  <a:gd name="connsiteX99" fmla="*/ 117787 w 135387"/>
                  <a:gd name="connsiteY99" fmla="*/ 249089 h 338469"/>
                  <a:gd name="connsiteX100" fmla="*/ 118916 w 135387"/>
                  <a:gd name="connsiteY100" fmla="*/ 240515 h 338469"/>
                  <a:gd name="connsiteX101" fmla="*/ 116659 w 135387"/>
                  <a:gd name="connsiteY101" fmla="*/ 229909 h 338469"/>
                  <a:gd name="connsiteX102" fmla="*/ 116433 w 135387"/>
                  <a:gd name="connsiteY102" fmla="*/ 208473 h 338469"/>
                  <a:gd name="connsiteX103" fmla="*/ 126588 w 135387"/>
                  <a:gd name="connsiteY103" fmla="*/ 189745 h 338469"/>
                  <a:gd name="connsiteX104" fmla="*/ 133582 w 135387"/>
                  <a:gd name="connsiteY104" fmla="*/ 178011 h 338469"/>
                  <a:gd name="connsiteX105" fmla="*/ 133357 w 135387"/>
                  <a:gd name="connsiteY105" fmla="*/ 67896 h 338469"/>
                  <a:gd name="connsiteX106" fmla="*/ 130423 w 135387"/>
                  <a:gd name="connsiteY106" fmla="*/ 60449 h 338469"/>
                  <a:gd name="connsiteX107" fmla="*/ 127490 w 135387"/>
                  <a:gd name="connsiteY107" fmla="*/ 59998 h 338469"/>
                  <a:gd name="connsiteX108" fmla="*/ 122075 w 135387"/>
                  <a:gd name="connsiteY108" fmla="*/ 59095 h 338469"/>
                  <a:gd name="connsiteX109" fmla="*/ 101315 w 135387"/>
                  <a:gd name="connsiteY109" fmla="*/ 55936 h 338469"/>
                  <a:gd name="connsiteX110" fmla="*/ 89807 w 135387"/>
                  <a:gd name="connsiteY110" fmla="*/ 52100 h 338469"/>
                  <a:gd name="connsiteX111" fmla="*/ 87776 w 135387"/>
                  <a:gd name="connsiteY111" fmla="*/ 44428 h 338469"/>
                  <a:gd name="connsiteX112" fmla="*/ 87776 w 135387"/>
                  <a:gd name="connsiteY112" fmla="*/ 38562 h 338469"/>
                  <a:gd name="connsiteX113" fmla="*/ 89807 w 135387"/>
                  <a:gd name="connsiteY113" fmla="*/ 19607 h 338469"/>
                  <a:gd name="connsiteX114" fmla="*/ 89582 w 135387"/>
                  <a:gd name="connsiteY114" fmla="*/ 13515 h 338469"/>
                  <a:gd name="connsiteX115" fmla="*/ 85294 w 135387"/>
                  <a:gd name="connsiteY115" fmla="*/ 15997 h 338469"/>
                  <a:gd name="connsiteX116" fmla="*/ 77171 w 135387"/>
                  <a:gd name="connsiteY116" fmla="*/ 17802 h 338469"/>
                  <a:gd name="connsiteX117" fmla="*/ 74012 w 135387"/>
                  <a:gd name="connsiteY117" fmla="*/ 19156 h 338469"/>
                  <a:gd name="connsiteX118" fmla="*/ 61601 w 135387"/>
                  <a:gd name="connsiteY118" fmla="*/ 14869 h 338469"/>
                  <a:gd name="connsiteX119" fmla="*/ 58668 w 135387"/>
                  <a:gd name="connsiteY119" fmla="*/ 7874 h 338469"/>
                  <a:gd name="connsiteX120" fmla="*/ 57088 w 135387"/>
                  <a:gd name="connsiteY120" fmla="*/ 4038 h 338469"/>
                  <a:gd name="connsiteX121" fmla="*/ 53704 w 135387"/>
                  <a:gd name="connsiteY121" fmla="*/ 15546 h 338469"/>
                  <a:gd name="connsiteX122" fmla="*/ 42873 w 135387"/>
                  <a:gd name="connsiteY122" fmla="*/ 33597 h 338469"/>
                  <a:gd name="connsiteX123" fmla="*/ 33170 w 135387"/>
                  <a:gd name="connsiteY123" fmla="*/ 49167 h 338469"/>
                  <a:gd name="connsiteX124" fmla="*/ 32719 w 135387"/>
                  <a:gd name="connsiteY124" fmla="*/ 50747 h 338469"/>
                  <a:gd name="connsiteX125" fmla="*/ 27980 w 135387"/>
                  <a:gd name="connsiteY125" fmla="*/ 58644 h 338469"/>
                  <a:gd name="connsiteX126" fmla="*/ 21888 w 135387"/>
                  <a:gd name="connsiteY126" fmla="*/ 57967 h 338469"/>
                  <a:gd name="connsiteX127" fmla="*/ 16923 w 135387"/>
                  <a:gd name="connsiteY127" fmla="*/ 49167 h 338469"/>
                  <a:gd name="connsiteX128" fmla="*/ 17149 w 135387"/>
                  <a:gd name="connsiteY128" fmla="*/ 45331 h 338469"/>
                  <a:gd name="connsiteX129" fmla="*/ 16021 w 135387"/>
                  <a:gd name="connsiteY129" fmla="*/ 42623 h 338469"/>
                  <a:gd name="connsiteX130" fmla="*/ 9252 w 135387"/>
                  <a:gd name="connsiteY130" fmla="*/ 44428 h 338469"/>
                  <a:gd name="connsiteX131" fmla="*/ 6995 w 135387"/>
                  <a:gd name="connsiteY131" fmla="*/ 45557 h 338469"/>
                  <a:gd name="connsiteX132" fmla="*/ 7898 w 135387"/>
                  <a:gd name="connsiteY132" fmla="*/ 59772 h 338469"/>
                  <a:gd name="connsiteX133" fmla="*/ 8123 w 135387"/>
                  <a:gd name="connsiteY133" fmla="*/ 60675 h 338469"/>
                  <a:gd name="connsiteX134" fmla="*/ 8349 w 135387"/>
                  <a:gd name="connsiteY134" fmla="*/ 85947 h 338469"/>
                  <a:gd name="connsiteX135" fmla="*/ 6093 w 135387"/>
                  <a:gd name="connsiteY135" fmla="*/ 100389 h 338469"/>
                  <a:gd name="connsiteX136" fmla="*/ 4287 w 135387"/>
                  <a:gd name="connsiteY136" fmla="*/ 114153 h 338469"/>
                  <a:gd name="connsiteX137" fmla="*/ 6544 w 135387"/>
                  <a:gd name="connsiteY137" fmla="*/ 113702 h 338469"/>
                  <a:gd name="connsiteX138" fmla="*/ 11959 w 135387"/>
                  <a:gd name="connsiteY138" fmla="*/ 114830 h 338469"/>
                  <a:gd name="connsiteX139" fmla="*/ 11959 w 135387"/>
                  <a:gd name="connsiteY139" fmla="*/ 122502 h 338469"/>
                  <a:gd name="connsiteX140" fmla="*/ 11057 w 135387"/>
                  <a:gd name="connsiteY140" fmla="*/ 126789 h 338469"/>
                  <a:gd name="connsiteX141" fmla="*/ 27754 w 135387"/>
                  <a:gd name="connsiteY141" fmla="*/ 167180 h 338469"/>
                  <a:gd name="connsiteX142" fmla="*/ 27754 w 135387"/>
                  <a:gd name="connsiteY142" fmla="*/ 167180 h 338469"/>
                  <a:gd name="connsiteX143" fmla="*/ 26175 w 135387"/>
                  <a:gd name="connsiteY143" fmla="*/ 170565 h 338469"/>
                  <a:gd name="connsiteX144" fmla="*/ 26175 w 135387"/>
                  <a:gd name="connsiteY144" fmla="*/ 170565 h 338469"/>
                  <a:gd name="connsiteX145" fmla="*/ 24370 w 135387"/>
                  <a:gd name="connsiteY145" fmla="*/ 170565 h 338469"/>
                  <a:gd name="connsiteX146" fmla="*/ 22113 w 135387"/>
                  <a:gd name="connsiteY146" fmla="*/ 172821 h 338469"/>
                  <a:gd name="connsiteX147" fmla="*/ 22113 w 135387"/>
                  <a:gd name="connsiteY147" fmla="*/ 179816 h 338469"/>
                  <a:gd name="connsiteX148" fmla="*/ 42196 w 135387"/>
                  <a:gd name="connsiteY148" fmla="*/ 239161 h 338469"/>
                  <a:gd name="connsiteX149" fmla="*/ 47160 w 135387"/>
                  <a:gd name="connsiteY149" fmla="*/ 248412 h 338469"/>
                  <a:gd name="connsiteX150" fmla="*/ 56863 w 135387"/>
                  <a:gd name="connsiteY150" fmla="*/ 274136 h 338469"/>
                  <a:gd name="connsiteX151" fmla="*/ 58442 w 135387"/>
                  <a:gd name="connsiteY151" fmla="*/ 286772 h 338469"/>
                  <a:gd name="connsiteX152" fmla="*/ 60247 w 135387"/>
                  <a:gd name="connsiteY152" fmla="*/ 300311 h 338469"/>
                  <a:gd name="connsiteX153" fmla="*/ 63407 w 135387"/>
                  <a:gd name="connsiteY153" fmla="*/ 312270 h 338469"/>
                  <a:gd name="connsiteX154" fmla="*/ 65889 w 135387"/>
                  <a:gd name="connsiteY154" fmla="*/ 321522 h 338469"/>
                  <a:gd name="connsiteX155" fmla="*/ 69499 w 135387"/>
                  <a:gd name="connsiteY155" fmla="*/ 334609 h 338469"/>
                  <a:gd name="connsiteX156" fmla="*/ 72884 w 135387"/>
                  <a:gd name="connsiteY156" fmla="*/ 334384 h 338469"/>
                  <a:gd name="connsiteX157" fmla="*/ 78525 w 135387"/>
                  <a:gd name="connsiteY157" fmla="*/ 328291 h 338469"/>
                  <a:gd name="connsiteX158" fmla="*/ 81910 w 135387"/>
                  <a:gd name="connsiteY158" fmla="*/ 324004 h 338469"/>
                  <a:gd name="connsiteX159" fmla="*/ 87776 w 135387"/>
                  <a:gd name="connsiteY159" fmla="*/ 324004 h 338469"/>
                  <a:gd name="connsiteX160" fmla="*/ 91387 w 135387"/>
                  <a:gd name="connsiteY160" fmla="*/ 325583 h 338469"/>
                  <a:gd name="connsiteX161" fmla="*/ 95900 w 135387"/>
                  <a:gd name="connsiteY161" fmla="*/ 330322 h 338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35387" h="338469">
                    <a:moveTo>
                      <a:pt x="112598" y="340927"/>
                    </a:moveTo>
                    <a:cubicBezTo>
                      <a:pt x="111243" y="340927"/>
                      <a:pt x="109890" y="340476"/>
                      <a:pt x="108310" y="339799"/>
                    </a:cubicBezTo>
                    <a:cubicBezTo>
                      <a:pt x="102669" y="337091"/>
                      <a:pt x="96351" y="334158"/>
                      <a:pt x="94546" y="333707"/>
                    </a:cubicBezTo>
                    <a:cubicBezTo>
                      <a:pt x="92515" y="333255"/>
                      <a:pt x="92289" y="331450"/>
                      <a:pt x="92289" y="330773"/>
                    </a:cubicBezTo>
                    <a:cubicBezTo>
                      <a:pt x="92289" y="330322"/>
                      <a:pt x="92289" y="329871"/>
                      <a:pt x="90258" y="329420"/>
                    </a:cubicBezTo>
                    <a:cubicBezTo>
                      <a:pt x="88002" y="328743"/>
                      <a:pt x="86648" y="327840"/>
                      <a:pt x="85746" y="327389"/>
                    </a:cubicBezTo>
                    <a:cubicBezTo>
                      <a:pt x="84843" y="326712"/>
                      <a:pt x="84843" y="326712"/>
                      <a:pt x="83715" y="327389"/>
                    </a:cubicBezTo>
                    <a:cubicBezTo>
                      <a:pt x="83038" y="327840"/>
                      <a:pt x="82587" y="328517"/>
                      <a:pt x="81910" y="329871"/>
                    </a:cubicBezTo>
                    <a:cubicBezTo>
                      <a:pt x="80781" y="332127"/>
                      <a:pt x="79428" y="335061"/>
                      <a:pt x="74689" y="337768"/>
                    </a:cubicBezTo>
                    <a:cubicBezTo>
                      <a:pt x="71304" y="339574"/>
                      <a:pt x="69048" y="338671"/>
                      <a:pt x="67468" y="337768"/>
                    </a:cubicBezTo>
                    <a:cubicBezTo>
                      <a:pt x="63181" y="335061"/>
                      <a:pt x="61601" y="327614"/>
                      <a:pt x="62053" y="321296"/>
                    </a:cubicBezTo>
                    <a:cubicBezTo>
                      <a:pt x="62278" y="317912"/>
                      <a:pt x="61376" y="316332"/>
                      <a:pt x="60022" y="314301"/>
                    </a:cubicBezTo>
                    <a:cubicBezTo>
                      <a:pt x="58442" y="311593"/>
                      <a:pt x="56412" y="307983"/>
                      <a:pt x="56412" y="300311"/>
                    </a:cubicBezTo>
                    <a:cubicBezTo>
                      <a:pt x="56412" y="293993"/>
                      <a:pt x="55735" y="290834"/>
                      <a:pt x="54832" y="287675"/>
                    </a:cubicBezTo>
                    <a:cubicBezTo>
                      <a:pt x="53929" y="284290"/>
                      <a:pt x="53027" y="280906"/>
                      <a:pt x="53027" y="274136"/>
                    </a:cubicBezTo>
                    <a:cubicBezTo>
                      <a:pt x="53027" y="266013"/>
                      <a:pt x="48288" y="257890"/>
                      <a:pt x="43775" y="250218"/>
                    </a:cubicBezTo>
                    <a:cubicBezTo>
                      <a:pt x="41970" y="246833"/>
                      <a:pt x="40165" y="243674"/>
                      <a:pt x="38586" y="240741"/>
                    </a:cubicBezTo>
                    <a:cubicBezTo>
                      <a:pt x="28206" y="218853"/>
                      <a:pt x="21888" y="199673"/>
                      <a:pt x="18277" y="180267"/>
                    </a:cubicBezTo>
                    <a:cubicBezTo>
                      <a:pt x="17826" y="177334"/>
                      <a:pt x="17375" y="173949"/>
                      <a:pt x="18503" y="171016"/>
                    </a:cubicBezTo>
                    <a:cubicBezTo>
                      <a:pt x="19180" y="169211"/>
                      <a:pt x="20534" y="167857"/>
                      <a:pt x="22339" y="166954"/>
                    </a:cubicBezTo>
                    <a:cubicBezTo>
                      <a:pt x="14667" y="157703"/>
                      <a:pt x="5867" y="133559"/>
                      <a:pt x="7446" y="125661"/>
                    </a:cubicBezTo>
                    <a:cubicBezTo>
                      <a:pt x="7672" y="124082"/>
                      <a:pt x="8123" y="122502"/>
                      <a:pt x="8575" y="121148"/>
                    </a:cubicBezTo>
                    <a:cubicBezTo>
                      <a:pt x="9026" y="119569"/>
                      <a:pt x="9477" y="117538"/>
                      <a:pt x="9252" y="116861"/>
                    </a:cubicBezTo>
                    <a:cubicBezTo>
                      <a:pt x="9252" y="116861"/>
                      <a:pt x="9026" y="116861"/>
                      <a:pt x="8800" y="116861"/>
                    </a:cubicBezTo>
                    <a:cubicBezTo>
                      <a:pt x="8575" y="116861"/>
                      <a:pt x="7898" y="116861"/>
                      <a:pt x="7220" y="117086"/>
                    </a:cubicBezTo>
                    <a:cubicBezTo>
                      <a:pt x="5416" y="117312"/>
                      <a:pt x="3836" y="117763"/>
                      <a:pt x="2708" y="117989"/>
                    </a:cubicBezTo>
                    <a:lnTo>
                      <a:pt x="0" y="118666"/>
                    </a:lnTo>
                    <a:lnTo>
                      <a:pt x="451" y="115733"/>
                    </a:lnTo>
                    <a:cubicBezTo>
                      <a:pt x="1354" y="109866"/>
                      <a:pt x="2031" y="104225"/>
                      <a:pt x="2482" y="99486"/>
                    </a:cubicBezTo>
                    <a:cubicBezTo>
                      <a:pt x="3159" y="93394"/>
                      <a:pt x="3836" y="88204"/>
                      <a:pt x="4739" y="84594"/>
                    </a:cubicBezTo>
                    <a:cubicBezTo>
                      <a:pt x="6995" y="76245"/>
                      <a:pt x="6544" y="74214"/>
                      <a:pt x="4287" y="60901"/>
                    </a:cubicBezTo>
                    <a:lnTo>
                      <a:pt x="4061" y="59998"/>
                    </a:lnTo>
                    <a:cubicBezTo>
                      <a:pt x="2482" y="50521"/>
                      <a:pt x="2708" y="48264"/>
                      <a:pt x="3385" y="43977"/>
                    </a:cubicBezTo>
                    <a:lnTo>
                      <a:pt x="3610" y="41946"/>
                    </a:lnTo>
                    <a:lnTo>
                      <a:pt x="5190" y="41721"/>
                    </a:lnTo>
                    <a:cubicBezTo>
                      <a:pt x="5641" y="41721"/>
                      <a:pt x="6318" y="41269"/>
                      <a:pt x="7220" y="40818"/>
                    </a:cubicBezTo>
                    <a:cubicBezTo>
                      <a:pt x="10154" y="38787"/>
                      <a:pt x="14667" y="36982"/>
                      <a:pt x="17826" y="38787"/>
                    </a:cubicBezTo>
                    <a:cubicBezTo>
                      <a:pt x="19180" y="39464"/>
                      <a:pt x="20985" y="41269"/>
                      <a:pt x="20985" y="44880"/>
                    </a:cubicBezTo>
                    <a:cubicBezTo>
                      <a:pt x="20985" y="46459"/>
                      <a:pt x="20985" y="47813"/>
                      <a:pt x="20759" y="48941"/>
                    </a:cubicBezTo>
                    <a:cubicBezTo>
                      <a:pt x="20534" y="52552"/>
                      <a:pt x="20534" y="52552"/>
                      <a:pt x="23693" y="54131"/>
                    </a:cubicBezTo>
                    <a:cubicBezTo>
                      <a:pt x="25724" y="55034"/>
                      <a:pt x="26401" y="55034"/>
                      <a:pt x="26626" y="54808"/>
                    </a:cubicBezTo>
                    <a:cubicBezTo>
                      <a:pt x="27303" y="54583"/>
                      <a:pt x="28206" y="51875"/>
                      <a:pt x="29334" y="49167"/>
                    </a:cubicBezTo>
                    <a:lnTo>
                      <a:pt x="29785" y="47587"/>
                    </a:lnTo>
                    <a:cubicBezTo>
                      <a:pt x="32719" y="39464"/>
                      <a:pt x="34298" y="35403"/>
                      <a:pt x="40842" y="30438"/>
                    </a:cubicBezTo>
                    <a:cubicBezTo>
                      <a:pt x="46709" y="25925"/>
                      <a:pt x="49868" y="22992"/>
                      <a:pt x="50093" y="15320"/>
                    </a:cubicBezTo>
                    <a:cubicBezTo>
                      <a:pt x="50319" y="7197"/>
                      <a:pt x="51222" y="3135"/>
                      <a:pt x="55283" y="653"/>
                    </a:cubicBezTo>
                    <a:cubicBezTo>
                      <a:pt x="56637" y="-249"/>
                      <a:pt x="57765" y="-24"/>
                      <a:pt x="58442" y="202"/>
                    </a:cubicBezTo>
                    <a:cubicBezTo>
                      <a:pt x="60473" y="879"/>
                      <a:pt x="61150" y="3135"/>
                      <a:pt x="62504" y="6520"/>
                    </a:cubicBezTo>
                    <a:cubicBezTo>
                      <a:pt x="63181" y="8325"/>
                      <a:pt x="64083" y="10581"/>
                      <a:pt x="65212" y="13064"/>
                    </a:cubicBezTo>
                    <a:cubicBezTo>
                      <a:pt x="67694" y="17802"/>
                      <a:pt x="67919" y="17577"/>
                      <a:pt x="72884" y="15546"/>
                    </a:cubicBezTo>
                    <a:cubicBezTo>
                      <a:pt x="73786" y="15094"/>
                      <a:pt x="74914" y="14643"/>
                      <a:pt x="76043" y="14192"/>
                    </a:cubicBezTo>
                    <a:cubicBezTo>
                      <a:pt x="78751" y="13064"/>
                      <a:pt x="83263" y="12161"/>
                      <a:pt x="85520" y="12161"/>
                    </a:cubicBezTo>
                    <a:cubicBezTo>
                      <a:pt x="85746" y="12161"/>
                      <a:pt x="86874" y="11259"/>
                      <a:pt x="88453" y="8776"/>
                    </a:cubicBezTo>
                    <a:lnTo>
                      <a:pt x="90033" y="6294"/>
                    </a:lnTo>
                    <a:lnTo>
                      <a:pt x="91612" y="8776"/>
                    </a:lnTo>
                    <a:cubicBezTo>
                      <a:pt x="94320" y="12612"/>
                      <a:pt x="94997" y="16674"/>
                      <a:pt x="93643" y="20736"/>
                    </a:cubicBezTo>
                    <a:cubicBezTo>
                      <a:pt x="91161" y="28633"/>
                      <a:pt x="91387" y="33823"/>
                      <a:pt x="91838" y="38336"/>
                    </a:cubicBezTo>
                    <a:cubicBezTo>
                      <a:pt x="92064" y="40592"/>
                      <a:pt x="92064" y="42623"/>
                      <a:pt x="91838" y="44654"/>
                    </a:cubicBezTo>
                    <a:cubicBezTo>
                      <a:pt x="91612" y="46910"/>
                      <a:pt x="92064" y="48490"/>
                      <a:pt x="92966" y="49618"/>
                    </a:cubicBezTo>
                    <a:cubicBezTo>
                      <a:pt x="94320" y="51198"/>
                      <a:pt x="97028" y="51875"/>
                      <a:pt x="101766" y="52100"/>
                    </a:cubicBezTo>
                    <a:cubicBezTo>
                      <a:pt x="110792" y="52552"/>
                      <a:pt x="114854" y="53003"/>
                      <a:pt x="123428" y="55485"/>
                    </a:cubicBezTo>
                    <a:cubicBezTo>
                      <a:pt x="125008" y="55936"/>
                      <a:pt x="126588" y="56162"/>
                      <a:pt x="128393" y="56388"/>
                    </a:cubicBezTo>
                    <a:cubicBezTo>
                      <a:pt x="129747" y="56613"/>
                      <a:pt x="131326" y="56839"/>
                      <a:pt x="132906" y="57065"/>
                    </a:cubicBezTo>
                    <a:lnTo>
                      <a:pt x="134034" y="57290"/>
                    </a:lnTo>
                    <a:lnTo>
                      <a:pt x="134259" y="58418"/>
                    </a:lnTo>
                    <a:cubicBezTo>
                      <a:pt x="134711" y="60675"/>
                      <a:pt x="135613" y="63383"/>
                      <a:pt x="136967" y="66090"/>
                    </a:cubicBezTo>
                    <a:cubicBezTo>
                      <a:pt x="152311" y="95876"/>
                      <a:pt x="152311" y="150031"/>
                      <a:pt x="137193" y="179591"/>
                    </a:cubicBezTo>
                    <a:cubicBezTo>
                      <a:pt x="135162" y="183652"/>
                      <a:pt x="132454" y="187714"/>
                      <a:pt x="130198" y="191550"/>
                    </a:cubicBezTo>
                    <a:cubicBezTo>
                      <a:pt x="126588" y="197417"/>
                      <a:pt x="122977" y="203283"/>
                      <a:pt x="120495" y="209601"/>
                    </a:cubicBezTo>
                    <a:cubicBezTo>
                      <a:pt x="117336" y="217499"/>
                      <a:pt x="118916" y="222689"/>
                      <a:pt x="120721" y="228556"/>
                    </a:cubicBezTo>
                    <a:cubicBezTo>
                      <a:pt x="121849" y="231940"/>
                      <a:pt x="122752" y="235551"/>
                      <a:pt x="123203" y="240064"/>
                    </a:cubicBezTo>
                    <a:cubicBezTo>
                      <a:pt x="123428" y="243448"/>
                      <a:pt x="122752" y="246607"/>
                      <a:pt x="122075" y="249541"/>
                    </a:cubicBezTo>
                    <a:cubicBezTo>
                      <a:pt x="120946" y="255182"/>
                      <a:pt x="119818" y="259695"/>
                      <a:pt x="124557" y="264433"/>
                    </a:cubicBezTo>
                    <a:cubicBezTo>
                      <a:pt x="129521" y="269398"/>
                      <a:pt x="133357" y="275264"/>
                      <a:pt x="134485" y="279777"/>
                    </a:cubicBezTo>
                    <a:lnTo>
                      <a:pt x="134711" y="280680"/>
                    </a:lnTo>
                    <a:cubicBezTo>
                      <a:pt x="135613" y="284065"/>
                      <a:pt x="136742" y="288577"/>
                      <a:pt x="133131" y="293542"/>
                    </a:cubicBezTo>
                    <a:cubicBezTo>
                      <a:pt x="132229" y="294896"/>
                      <a:pt x="133131" y="296701"/>
                      <a:pt x="134711" y="299409"/>
                    </a:cubicBezTo>
                    <a:cubicBezTo>
                      <a:pt x="136290" y="302116"/>
                      <a:pt x="138547" y="306178"/>
                      <a:pt x="134485" y="308660"/>
                    </a:cubicBezTo>
                    <a:cubicBezTo>
                      <a:pt x="133582" y="309111"/>
                      <a:pt x="132906" y="309563"/>
                      <a:pt x="132003" y="310014"/>
                    </a:cubicBezTo>
                    <a:cubicBezTo>
                      <a:pt x="128393" y="312045"/>
                      <a:pt x="127039" y="312947"/>
                      <a:pt x="126362" y="315881"/>
                    </a:cubicBezTo>
                    <a:cubicBezTo>
                      <a:pt x="125459" y="319942"/>
                      <a:pt x="123880" y="324004"/>
                      <a:pt x="122075" y="328066"/>
                    </a:cubicBezTo>
                    <a:lnTo>
                      <a:pt x="120946" y="330773"/>
                    </a:lnTo>
                    <a:cubicBezTo>
                      <a:pt x="120721" y="331450"/>
                      <a:pt x="120495" y="331902"/>
                      <a:pt x="120269" y="332579"/>
                    </a:cubicBezTo>
                    <a:cubicBezTo>
                      <a:pt x="119141" y="335512"/>
                      <a:pt x="118013" y="338671"/>
                      <a:pt x="115080" y="340025"/>
                    </a:cubicBezTo>
                    <a:cubicBezTo>
                      <a:pt x="114177" y="340702"/>
                      <a:pt x="113274" y="340927"/>
                      <a:pt x="112598" y="340927"/>
                    </a:cubicBezTo>
                    <a:close/>
                    <a:moveTo>
                      <a:pt x="95900" y="330322"/>
                    </a:moveTo>
                    <a:cubicBezTo>
                      <a:pt x="98156" y="330999"/>
                      <a:pt x="102669" y="333030"/>
                      <a:pt x="109664" y="336414"/>
                    </a:cubicBezTo>
                    <a:cubicBezTo>
                      <a:pt x="111243" y="337091"/>
                      <a:pt x="112372" y="337317"/>
                      <a:pt x="113274" y="337091"/>
                    </a:cubicBezTo>
                    <a:cubicBezTo>
                      <a:pt x="114628" y="336640"/>
                      <a:pt x="115531" y="334158"/>
                      <a:pt x="116208" y="331902"/>
                    </a:cubicBezTo>
                    <a:cubicBezTo>
                      <a:pt x="116433" y="331225"/>
                      <a:pt x="116659" y="330548"/>
                      <a:pt x="116885" y="329871"/>
                    </a:cubicBezTo>
                    <a:lnTo>
                      <a:pt x="118013" y="327163"/>
                    </a:lnTo>
                    <a:cubicBezTo>
                      <a:pt x="119593" y="323327"/>
                      <a:pt x="121172" y="319265"/>
                      <a:pt x="122075" y="315655"/>
                    </a:cubicBezTo>
                    <a:cubicBezTo>
                      <a:pt x="122977" y="310917"/>
                      <a:pt x="126136" y="309337"/>
                      <a:pt x="129521" y="307306"/>
                    </a:cubicBezTo>
                    <a:cubicBezTo>
                      <a:pt x="130198" y="306855"/>
                      <a:pt x="131100" y="306404"/>
                      <a:pt x="131777" y="305952"/>
                    </a:cubicBezTo>
                    <a:cubicBezTo>
                      <a:pt x="132454" y="305501"/>
                      <a:pt x="132229" y="304824"/>
                      <a:pt x="130649" y="301665"/>
                    </a:cubicBezTo>
                    <a:cubicBezTo>
                      <a:pt x="129070" y="298732"/>
                      <a:pt x="127039" y="295121"/>
                      <a:pt x="129295" y="291736"/>
                    </a:cubicBezTo>
                    <a:cubicBezTo>
                      <a:pt x="131777" y="288126"/>
                      <a:pt x="131100" y="285418"/>
                      <a:pt x="130198" y="282034"/>
                    </a:cubicBezTo>
                    <a:lnTo>
                      <a:pt x="129972" y="281131"/>
                    </a:lnTo>
                    <a:cubicBezTo>
                      <a:pt x="129295" y="278198"/>
                      <a:pt x="126362" y="272782"/>
                      <a:pt x="121172" y="267367"/>
                    </a:cubicBezTo>
                    <a:cubicBezTo>
                      <a:pt x="115080" y="261274"/>
                      <a:pt x="116433" y="255182"/>
                      <a:pt x="117787" y="249089"/>
                    </a:cubicBezTo>
                    <a:cubicBezTo>
                      <a:pt x="118464" y="246382"/>
                      <a:pt x="118916" y="243448"/>
                      <a:pt x="118916" y="240515"/>
                    </a:cubicBezTo>
                    <a:cubicBezTo>
                      <a:pt x="118690" y="236453"/>
                      <a:pt x="117562" y="233069"/>
                      <a:pt x="116659" y="229909"/>
                    </a:cubicBezTo>
                    <a:cubicBezTo>
                      <a:pt x="114854" y="223817"/>
                      <a:pt x="113049" y="217725"/>
                      <a:pt x="116433" y="208473"/>
                    </a:cubicBezTo>
                    <a:cubicBezTo>
                      <a:pt x="118916" y="201704"/>
                      <a:pt x="122752" y="195611"/>
                      <a:pt x="126588" y="189745"/>
                    </a:cubicBezTo>
                    <a:cubicBezTo>
                      <a:pt x="129070" y="185909"/>
                      <a:pt x="131326" y="182073"/>
                      <a:pt x="133582" y="178011"/>
                    </a:cubicBezTo>
                    <a:cubicBezTo>
                      <a:pt x="148249" y="149354"/>
                      <a:pt x="148249" y="96778"/>
                      <a:pt x="133357" y="67896"/>
                    </a:cubicBezTo>
                    <a:cubicBezTo>
                      <a:pt x="132454" y="66090"/>
                      <a:pt x="131100" y="63383"/>
                      <a:pt x="130423" y="60449"/>
                    </a:cubicBezTo>
                    <a:cubicBezTo>
                      <a:pt x="129521" y="60224"/>
                      <a:pt x="128393" y="60224"/>
                      <a:pt x="127490" y="59998"/>
                    </a:cubicBezTo>
                    <a:cubicBezTo>
                      <a:pt x="125685" y="59772"/>
                      <a:pt x="123880" y="59547"/>
                      <a:pt x="122075" y="59095"/>
                    </a:cubicBezTo>
                    <a:cubicBezTo>
                      <a:pt x="113726" y="56839"/>
                      <a:pt x="110115" y="56388"/>
                      <a:pt x="101315" y="55936"/>
                    </a:cubicBezTo>
                    <a:cubicBezTo>
                      <a:pt x="95223" y="55711"/>
                      <a:pt x="91838" y="54583"/>
                      <a:pt x="89807" y="52100"/>
                    </a:cubicBezTo>
                    <a:cubicBezTo>
                      <a:pt x="88228" y="50295"/>
                      <a:pt x="87551" y="47813"/>
                      <a:pt x="87776" y="44428"/>
                    </a:cubicBezTo>
                    <a:cubicBezTo>
                      <a:pt x="88002" y="42623"/>
                      <a:pt x="87776" y="40592"/>
                      <a:pt x="87776" y="38562"/>
                    </a:cubicBezTo>
                    <a:cubicBezTo>
                      <a:pt x="87551" y="33597"/>
                      <a:pt x="87099" y="27956"/>
                      <a:pt x="89807" y="19607"/>
                    </a:cubicBezTo>
                    <a:cubicBezTo>
                      <a:pt x="90484" y="17577"/>
                      <a:pt x="90484" y="15546"/>
                      <a:pt x="89582" y="13515"/>
                    </a:cubicBezTo>
                    <a:cubicBezTo>
                      <a:pt x="88453" y="14869"/>
                      <a:pt x="86874" y="15997"/>
                      <a:pt x="85294" y="15997"/>
                    </a:cubicBezTo>
                    <a:cubicBezTo>
                      <a:pt x="83715" y="15997"/>
                      <a:pt x="79653" y="16900"/>
                      <a:pt x="77171" y="17802"/>
                    </a:cubicBezTo>
                    <a:cubicBezTo>
                      <a:pt x="76043" y="18253"/>
                      <a:pt x="74914" y="18705"/>
                      <a:pt x="74012" y="19156"/>
                    </a:cubicBezTo>
                    <a:cubicBezTo>
                      <a:pt x="68371" y="21413"/>
                      <a:pt x="65437" y="22315"/>
                      <a:pt x="61601" y="14869"/>
                    </a:cubicBezTo>
                    <a:cubicBezTo>
                      <a:pt x="60247" y="12387"/>
                      <a:pt x="59345" y="9905"/>
                      <a:pt x="58668" y="7874"/>
                    </a:cubicBezTo>
                    <a:cubicBezTo>
                      <a:pt x="58217" y="6520"/>
                      <a:pt x="57540" y="4715"/>
                      <a:pt x="57088" y="4038"/>
                    </a:cubicBezTo>
                    <a:cubicBezTo>
                      <a:pt x="54832" y="5392"/>
                      <a:pt x="53929" y="7648"/>
                      <a:pt x="53704" y="15546"/>
                    </a:cubicBezTo>
                    <a:cubicBezTo>
                      <a:pt x="53253" y="24572"/>
                      <a:pt x="49191" y="28633"/>
                      <a:pt x="42873" y="33597"/>
                    </a:cubicBezTo>
                    <a:cubicBezTo>
                      <a:pt x="37231" y="38110"/>
                      <a:pt x="35878" y="41495"/>
                      <a:pt x="33170" y="49167"/>
                    </a:cubicBezTo>
                    <a:lnTo>
                      <a:pt x="32719" y="50747"/>
                    </a:lnTo>
                    <a:cubicBezTo>
                      <a:pt x="31139" y="55259"/>
                      <a:pt x="30237" y="57742"/>
                      <a:pt x="27980" y="58644"/>
                    </a:cubicBezTo>
                    <a:cubicBezTo>
                      <a:pt x="26175" y="59547"/>
                      <a:pt x="23918" y="58644"/>
                      <a:pt x="21888" y="57967"/>
                    </a:cubicBezTo>
                    <a:cubicBezTo>
                      <a:pt x="16698" y="55711"/>
                      <a:pt x="16472" y="53229"/>
                      <a:pt x="16923" y="49167"/>
                    </a:cubicBezTo>
                    <a:cubicBezTo>
                      <a:pt x="16923" y="48039"/>
                      <a:pt x="17149" y="46910"/>
                      <a:pt x="17149" y="45331"/>
                    </a:cubicBezTo>
                    <a:cubicBezTo>
                      <a:pt x="17149" y="43751"/>
                      <a:pt x="16698" y="42849"/>
                      <a:pt x="16021" y="42623"/>
                    </a:cubicBezTo>
                    <a:cubicBezTo>
                      <a:pt x="14667" y="41946"/>
                      <a:pt x="11734" y="42623"/>
                      <a:pt x="9252" y="44428"/>
                    </a:cubicBezTo>
                    <a:cubicBezTo>
                      <a:pt x="8349" y="45105"/>
                      <a:pt x="7672" y="45331"/>
                      <a:pt x="6995" y="45557"/>
                    </a:cubicBezTo>
                    <a:cubicBezTo>
                      <a:pt x="6544" y="49167"/>
                      <a:pt x="6544" y="51424"/>
                      <a:pt x="7898" y="59772"/>
                    </a:cubicBezTo>
                    <a:lnTo>
                      <a:pt x="8123" y="60675"/>
                    </a:lnTo>
                    <a:cubicBezTo>
                      <a:pt x="10380" y="73988"/>
                      <a:pt x="10831" y="76921"/>
                      <a:pt x="8349" y="85947"/>
                    </a:cubicBezTo>
                    <a:cubicBezTo>
                      <a:pt x="7446" y="89332"/>
                      <a:pt x="6769" y="94522"/>
                      <a:pt x="6093" y="100389"/>
                    </a:cubicBezTo>
                    <a:cubicBezTo>
                      <a:pt x="5641" y="104450"/>
                      <a:pt x="5190" y="109189"/>
                      <a:pt x="4287" y="114153"/>
                    </a:cubicBezTo>
                    <a:cubicBezTo>
                      <a:pt x="4964" y="113927"/>
                      <a:pt x="5641" y="113927"/>
                      <a:pt x="6544" y="113702"/>
                    </a:cubicBezTo>
                    <a:cubicBezTo>
                      <a:pt x="8349" y="113476"/>
                      <a:pt x="10605" y="113250"/>
                      <a:pt x="11959" y="114830"/>
                    </a:cubicBezTo>
                    <a:cubicBezTo>
                      <a:pt x="13539" y="116635"/>
                      <a:pt x="12862" y="119117"/>
                      <a:pt x="11959" y="122502"/>
                    </a:cubicBezTo>
                    <a:cubicBezTo>
                      <a:pt x="11734" y="123856"/>
                      <a:pt x="11282" y="125210"/>
                      <a:pt x="11057" y="126789"/>
                    </a:cubicBezTo>
                    <a:cubicBezTo>
                      <a:pt x="9477" y="134912"/>
                      <a:pt x="21662" y="164247"/>
                      <a:pt x="27754" y="167180"/>
                    </a:cubicBezTo>
                    <a:lnTo>
                      <a:pt x="27754" y="167180"/>
                    </a:lnTo>
                    <a:lnTo>
                      <a:pt x="26175" y="170565"/>
                    </a:lnTo>
                    <a:lnTo>
                      <a:pt x="26175" y="170565"/>
                    </a:lnTo>
                    <a:cubicBezTo>
                      <a:pt x="25498" y="170339"/>
                      <a:pt x="24821" y="170339"/>
                      <a:pt x="24370" y="170565"/>
                    </a:cubicBezTo>
                    <a:cubicBezTo>
                      <a:pt x="23467" y="171016"/>
                      <a:pt x="22565" y="171918"/>
                      <a:pt x="22113" y="172821"/>
                    </a:cubicBezTo>
                    <a:cubicBezTo>
                      <a:pt x="21211" y="174852"/>
                      <a:pt x="21662" y="177334"/>
                      <a:pt x="22113" y="179816"/>
                    </a:cubicBezTo>
                    <a:cubicBezTo>
                      <a:pt x="25498" y="198770"/>
                      <a:pt x="32042" y="217725"/>
                      <a:pt x="42196" y="239161"/>
                    </a:cubicBezTo>
                    <a:cubicBezTo>
                      <a:pt x="43550" y="242094"/>
                      <a:pt x="45355" y="245253"/>
                      <a:pt x="47160" y="248412"/>
                    </a:cubicBezTo>
                    <a:cubicBezTo>
                      <a:pt x="51899" y="256536"/>
                      <a:pt x="56863" y="265110"/>
                      <a:pt x="56863" y="274136"/>
                    </a:cubicBezTo>
                    <a:cubicBezTo>
                      <a:pt x="56863" y="280454"/>
                      <a:pt x="57540" y="283613"/>
                      <a:pt x="58442" y="286772"/>
                    </a:cubicBezTo>
                    <a:cubicBezTo>
                      <a:pt x="59345" y="290157"/>
                      <a:pt x="60247" y="293542"/>
                      <a:pt x="60247" y="300311"/>
                    </a:cubicBezTo>
                    <a:cubicBezTo>
                      <a:pt x="60247" y="306855"/>
                      <a:pt x="61827" y="309788"/>
                      <a:pt x="63407" y="312270"/>
                    </a:cubicBezTo>
                    <a:cubicBezTo>
                      <a:pt x="64760" y="314527"/>
                      <a:pt x="66114" y="317009"/>
                      <a:pt x="65889" y="321522"/>
                    </a:cubicBezTo>
                    <a:cubicBezTo>
                      <a:pt x="65663" y="327389"/>
                      <a:pt x="67242" y="333030"/>
                      <a:pt x="69499" y="334609"/>
                    </a:cubicBezTo>
                    <a:cubicBezTo>
                      <a:pt x="70176" y="335061"/>
                      <a:pt x="71078" y="335286"/>
                      <a:pt x="72884" y="334384"/>
                    </a:cubicBezTo>
                    <a:cubicBezTo>
                      <a:pt x="76494" y="332353"/>
                      <a:pt x="77396" y="330322"/>
                      <a:pt x="78525" y="328291"/>
                    </a:cubicBezTo>
                    <a:cubicBezTo>
                      <a:pt x="79202" y="326712"/>
                      <a:pt x="80104" y="325132"/>
                      <a:pt x="81910" y="324004"/>
                    </a:cubicBezTo>
                    <a:cubicBezTo>
                      <a:pt x="84617" y="322424"/>
                      <a:pt x="85971" y="323101"/>
                      <a:pt x="87776" y="324004"/>
                    </a:cubicBezTo>
                    <a:cubicBezTo>
                      <a:pt x="88679" y="324455"/>
                      <a:pt x="89582" y="325132"/>
                      <a:pt x="91387" y="325583"/>
                    </a:cubicBezTo>
                    <a:cubicBezTo>
                      <a:pt x="94997" y="326937"/>
                      <a:pt x="95674" y="328743"/>
                      <a:pt x="95900" y="330322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xmlns="" id="{4C712F9E-EC32-410F-8919-DDEC2BCC71E0}"/>
                  </a:ext>
                </a:extLst>
              </p:cNvPr>
              <p:cNvSpPr/>
              <p:nvPr/>
            </p:nvSpPr>
            <p:spPr>
              <a:xfrm>
                <a:off x="8078334" y="1149039"/>
                <a:ext cx="3565209" cy="3993936"/>
              </a:xfrm>
              <a:custGeom>
                <a:avLst/>
                <a:gdLst>
                  <a:gd name="connsiteX0" fmla="*/ 1138687 w 3565209"/>
                  <a:gd name="connsiteY0" fmla="*/ 3991586 h 3993936"/>
                  <a:gd name="connsiteX1" fmla="*/ 1125600 w 3565209"/>
                  <a:gd name="connsiteY1" fmla="*/ 3988879 h 3993936"/>
                  <a:gd name="connsiteX2" fmla="*/ 1116348 w 3565209"/>
                  <a:gd name="connsiteY2" fmla="*/ 3986848 h 3993936"/>
                  <a:gd name="connsiteX3" fmla="*/ 1105743 w 3565209"/>
                  <a:gd name="connsiteY3" fmla="*/ 3983689 h 3993936"/>
                  <a:gd name="connsiteX4" fmla="*/ 1102584 w 3565209"/>
                  <a:gd name="connsiteY4" fmla="*/ 3982109 h 3993936"/>
                  <a:gd name="connsiteX5" fmla="*/ 1094009 w 3565209"/>
                  <a:gd name="connsiteY5" fmla="*/ 3974888 h 3993936"/>
                  <a:gd name="connsiteX6" fmla="*/ 1071670 w 3565209"/>
                  <a:gd name="connsiteY6" fmla="*/ 3956160 h 3993936"/>
                  <a:gd name="connsiteX7" fmla="*/ 1051813 w 3565209"/>
                  <a:gd name="connsiteY7" fmla="*/ 3939236 h 3993936"/>
                  <a:gd name="connsiteX8" fmla="*/ 1041433 w 3565209"/>
                  <a:gd name="connsiteY8" fmla="*/ 3928631 h 3993936"/>
                  <a:gd name="connsiteX9" fmla="*/ 1008940 w 3565209"/>
                  <a:gd name="connsiteY9" fmla="*/ 3882148 h 3993936"/>
                  <a:gd name="connsiteX10" fmla="*/ 1003299 w 3565209"/>
                  <a:gd name="connsiteY10" fmla="*/ 3874250 h 3993936"/>
                  <a:gd name="connsiteX11" fmla="*/ 995853 w 3565209"/>
                  <a:gd name="connsiteY11" fmla="*/ 3864096 h 3993936"/>
                  <a:gd name="connsiteX12" fmla="*/ 992920 w 3565209"/>
                  <a:gd name="connsiteY12" fmla="*/ 3855070 h 3993936"/>
                  <a:gd name="connsiteX13" fmla="*/ 979155 w 3565209"/>
                  <a:gd name="connsiteY13" fmla="*/ 3820772 h 3993936"/>
                  <a:gd name="connsiteX14" fmla="*/ 962457 w 3565209"/>
                  <a:gd name="connsiteY14" fmla="*/ 3767068 h 3993936"/>
                  <a:gd name="connsiteX15" fmla="*/ 960201 w 3565209"/>
                  <a:gd name="connsiteY15" fmla="*/ 3738637 h 3993936"/>
                  <a:gd name="connsiteX16" fmla="*/ 957719 w 3565209"/>
                  <a:gd name="connsiteY16" fmla="*/ 3710882 h 3993936"/>
                  <a:gd name="connsiteX17" fmla="*/ 939441 w 3565209"/>
                  <a:gd name="connsiteY17" fmla="*/ 3661917 h 3993936"/>
                  <a:gd name="connsiteX18" fmla="*/ 935380 w 3565209"/>
                  <a:gd name="connsiteY18" fmla="*/ 3652440 h 3993936"/>
                  <a:gd name="connsiteX19" fmla="*/ 915523 w 3565209"/>
                  <a:gd name="connsiteY19" fmla="*/ 3599865 h 3993936"/>
                  <a:gd name="connsiteX20" fmla="*/ 913266 w 3565209"/>
                  <a:gd name="connsiteY20" fmla="*/ 3588131 h 3993936"/>
                  <a:gd name="connsiteX21" fmla="*/ 908979 w 3565209"/>
                  <a:gd name="connsiteY21" fmla="*/ 3569402 h 3993936"/>
                  <a:gd name="connsiteX22" fmla="*/ 893184 w 3565209"/>
                  <a:gd name="connsiteY22" fmla="*/ 3525627 h 3993936"/>
                  <a:gd name="connsiteX23" fmla="*/ 890251 w 3565209"/>
                  <a:gd name="connsiteY23" fmla="*/ 3518858 h 3993936"/>
                  <a:gd name="connsiteX24" fmla="*/ 883481 w 3565209"/>
                  <a:gd name="connsiteY24" fmla="*/ 3507575 h 3993936"/>
                  <a:gd name="connsiteX25" fmla="*/ 870394 w 3565209"/>
                  <a:gd name="connsiteY25" fmla="*/ 3485236 h 3993936"/>
                  <a:gd name="connsiteX26" fmla="*/ 864753 w 3565209"/>
                  <a:gd name="connsiteY26" fmla="*/ 3474405 h 3993936"/>
                  <a:gd name="connsiteX27" fmla="*/ 863173 w 3565209"/>
                  <a:gd name="connsiteY27" fmla="*/ 3472600 h 3993936"/>
                  <a:gd name="connsiteX28" fmla="*/ 845121 w 3565209"/>
                  <a:gd name="connsiteY28" fmla="*/ 3449810 h 3993936"/>
                  <a:gd name="connsiteX29" fmla="*/ 809695 w 3565209"/>
                  <a:gd name="connsiteY29" fmla="*/ 3392947 h 3993936"/>
                  <a:gd name="connsiteX30" fmla="*/ 802474 w 3565209"/>
                  <a:gd name="connsiteY30" fmla="*/ 3379634 h 3993936"/>
                  <a:gd name="connsiteX31" fmla="*/ 792094 w 3565209"/>
                  <a:gd name="connsiteY31" fmla="*/ 3356844 h 3993936"/>
                  <a:gd name="connsiteX32" fmla="*/ 784648 w 3565209"/>
                  <a:gd name="connsiteY32" fmla="*/ 3329766 h 3993936"/>
                  <a:gd name="connsiteX33" fmla="*/ 780812 w 3565209"/>
                  <a:gd name="connsiteY33" fmla="*/ 3317130 h 3993936"/>
                  <a:gd name="connsiteX34" fmla="*/ 776751 w 3565209"/>
                  <a:gd name="connsiteY34" fmla="*/ 3304043 h 3993936"/>
                  <a:gd name="connsiteX35" fmla="*/ 769079 w 3565209"/>
                  <a:gd name="connsiteY35" fmla="*/ 3274934 h 3993936"/>
                  <a:gd name="connsiteX36" fmla="*/ 765468 w 3565209"/>
                  <a:gd name="connsiteY36" fmla="*/ 3259139 h 3993936"/>
                  <a:gd name="connsiteX37" fmla="*/ 761632 w 3565209"/>
                  <a:gd name="connsiteY37" fmla="*/ 3241538 h 3993936"/>
                  <a:gd name="connsiteX38" fmla="*/ 762309 w 3565209"/>
                  <a:gd name="connsiteY38" fmla="*/ 3231836 h 3993936"/>
                  <a:gd name="connsiteX39" fmla="*/ 762535 w 3565209"/>
                  <a:gd name="connsiteY39" fmla="*/ 3217846 h 3993936"/>
                  <a:gd name="connsiteX40" fmla="*/ 762084 w 3565209"/>
                  <a:gd name="connsiteY40" fmla="*/ 3210625 h 3993936"/>
                  <a:gd name="connsiteX41" fmla="*/ 758473 w 3565209"/>
                  <a:gd name="connsiteY41" fmla="*/ 3194830 h 3993936"/>
                  <a:gd name="connsiteX42" fmla="*/ 752606 w 3565209"/>
                  <a:gd name="connsiteY42" fmla="*/ 3170912 h 3993936"/>
                  <a:gd name="connsiteX43" fmla="*/ 748996 w 3565209"/>
                  <a:gd name="connsiteY43" fmla="*/ 3163465 h 3993936"/>
                  <a:gd name="connsiteX44" fmla="*/ 742904 w 3565209"/>
                  <a:gd name="connsiteY44" fmla="*/ 3152183 h 3993936"/>
                  <a:gd name="connsiteX45" fmla="*/ 738391 w 3565209"/>
                  <a:gd name="connsiteY45" fmla="*/ 3141126 h 3993936"/>
                  <a:gd name="connsiteX46" fmla="*/ 733426 w 3565209"/>
                  <a:gd name="connsiteY46" fmla="*/ 3128490 h 3993936"/>
                  <a:gd name="connsiteX47" fmla="*/ 732975 w 3565209"/>
                  <a:gd name="connsiteY47" fmla="*/ 3126910 h 3993936"/>
                  <a:gd name="connsiteX48" fmla="*/ 731621 w 3565209"/>
                  <a:gd name="connsiteY48" fmla="*/ 3115177 h 3993936"/>
                  <a:gd name="connsiteX49" fmla="*/ 728462 w 3565209"/>
                  <a:gd name="connsiteY49" fmla="*/ 3100510 h 3993936"/>
                  <a:gd name="connsiteX50" fmla="*/ 729816 w 3565209"/>
                  <a:gd name="connsiteY50" fmla="*/ 3087197 h 3993936"/>
                  <a:gd name="connsiteX51" fmla="*/ 730267 w 3565209"/>
                  <a:gd name="connsiteY51" fmla="*/ 3085843 h 3993936"/>
                  <a:gd name="connsiteX52" fmla="*/ 726657 w 3565209"/>
                  <a:gd name="connsiteY52" fmla="*/ 3078848 h 3993936"/>
                  <a:gd name="connsiteX53" fmla="*/ 722821 w 3565209"/>
                  <a:gd name="connsiteY53" fmla="*/ 3076366 h 3993936"/>
                  <a:gd name="connsiteX54" fmla="*/ 716277 w 3565209"/>
                  <a:gd name="connsiteY54" fmla="*/ 3070499 h 3993936"/>
                  <a:gd name="connsiteX55" fmla="*/ 714472 w 3565209"/>
                  <a:gd name="connsiteY55" fmla="*/ 3061022 h 3993936"/>
                  <a:gd name="connsiteX56" fmla="*/ 713570 w 3565209"/>
                  <a:gd name="connsiteY56" fmla="*/ 3055380 h 3993936"/>
                  <a:gd name="connsiteX57" fmla="*/ 702964 w 3565209"/>
                  <a:gd name="connsiteY57" fmla="*/ 3045001 h 3993936"/>
                  <a:gd name="connsiteX58" fmla="*/ 700256 w 3565209"/>
                  <a:gd name="connsiteY58" fmla="*/ 3042744 h 3993936"/>
                  <a:gd name="connsiteX59" fmla="*/ 698451 w 3565209"/>
                  <a:gd name="connsiteY59" fmla="*/ 3039585 h 3993936"/>
                  <a:gd name="connsiteX60" fmla="*/ 701159 w 3565209"/>
                  <a:gd name="connsiteY60" fmla="*/ 3035749 h 3993936"/>
                  <a:gd name="connsiteX61" fmla="*/ 702964 w 3565209"/>
                  <a:gd name="connsiteY61" fmla="*/ 3033944 h 3993936"/>
                  <a:gd name="connsiteX62" fmla="*/ 696646 w 3565209"/>
                  <a:gd name="connsiteY62" fmla="*/ 3023790 h 3993936"/>
                  <a:gd name="connsiteX63" fmla="*/ 693036 w 3565209"/>
                  <a:gd name="connsiteY63" fmla="*/ 3021759 h 3993936"/>
                  <a:gd name="connsiteX64" fmla="*/ 677918 w 3565209"/>
                  <a:gd name="connsiteY64" fmla="*/ 3011154 h 3993936"/>
                  <a:gd name="connsiteX65" fmla="*/ 672502 w 3565209"/>
                  <a:gd name="connsiteY65" fmla="*/ 3005061 h 3993936"/>
                  <a:gd name="connsiteX66" fmla="*/ 666410 w 3565209"/>
                  <a:gd name="connsiteY66" fmla="*/ 2996036 h 3993936"/>
                  <a:gd name="connsiteX67" fmla="*/ 666410 w 3565209"/>
                  <a:gd name="connsiteY67" fmla="*/ 2994682 h 3993936"/>
                  <a:gd name="connsiteX68" fmla="*/ 663251 w 3565209"/>
                  <a:gd name="connsiteY68" fmla="*/ 2964220 h 3993936"/>
                  <a:gd name="connsiteX69" fmla="*/ 660768 w 3565209"/>
                  <a:gd name="connsiteY69" fmla="*/ 2957676 h 3993936"/>
                  <a:gd name="connsiteX70" fmla="*/ 653999 w 3565209"/>
                  <a:gd name="connsiteY70" fmla="*/ 2943912 h 3993936"/>
                  <a:gd name="connsiteX71" fmla="*/ 643845 w 3565209"/>
                  <a:gd name="connsiteY71" fmla="*/ 2919316 h 3993936"/>
                  <a:gd name="connsiteX72" fmla="*/ 644071 w 3565209"/>
                  <a:gd name="connsiteY72" fmla="*/ 2914352 h 3993936"/>
                  <a:gd name="connsiteX73" fmla="*/ 643619 w 3565209"/>
                  <a:gd name="connsiteY73" fmla="*/ 2906680 h 3993936"/>
                  <a:gd name="connsiteX74" fmla="*/ 642717 w 3565209"/>
                  <a:gd name="connsiteY74" fmla="*/ 2904424 h 3993936"/>
                  <a:gd name="connsiteX75" fmla="*/ 635496 w 3565209"/>
                  <a:gd name="connsiteY75" fmla="*/ 2893367 h 3993936"/>
                  <a:gd name="connsiteX76" fmla="*/ 632111 w 3565209"/>
                  <a:gd name="connsiteY76" fmla="*/ 2889982 h 3993936"/>
                  <a:gd name="connsiteX77" fmla="*/ 621055 w 3565209"/>
                  <a:gd name="connsiteY77" fmla="*/ 2875315 h 3993936"/>
                  <a:gd name="connsiteX78" fmla="*/ 613383 w 3565209"/>
                  <a:gd name="connsiteY78" fmla="*/ 2850043 h 3993936"/>
                  <a:gd name="connsiteX79" fmla="*/ 611578 w 3565209"/>
                  <a:gd name="connsiteY79" fmla="*/ 2843048 h 3993936"/>
                  <a:gd name="connsiteX80" fmla="*/ 608419 w 3565209"/>
                  <a:gd name="connsiteY80" fmla="*/ 2836504 h 3993936"/>
                  <a:gd name="connsiteX81" fmla="*/ 604357 w 3565209"/>
                  <a:gd name="connsiteY81" fmla="*/ 2813939 h 3993936"/>
                  <a:gd name="connsiteX82" fmla="*/ 602552 w 3565209"/>
                  <a:gd name="connsiteY82" fmla="*/ 2774000 h 3993936"/>
                  <a:gd name="connsiteX83" fmla="*/ 601423 w 3565209"/>
                  <a:gd name="connsiteY83" fmla="*/ 2763846 h 3993936"/>
                  <a:gd name="connsiteX84" fmla="*/ 598716 w 3565209"/>
                  <a:gd name="connsiteY84" fmla="*/ 2743763 h 3993936"/>
                  <a:gd name="connsiteX85" fmla="*/ 596234 w 3565209"/>
                  <a:gd name="connsiteY85" fmla="*/ 2720071 h 3993936"/>
                  <a:gd name="connsiteX86" fmla="*/ 598490 w 3565209"/>
                  <a:gd name="connsiteY86" fmla="*/ 2710368 h 3993936"/>
                  <a:gd name="connsiteX87" fmla="*/ 599618 w 3565209"/>
                  <a:gd name="connsiteY87" fmla="*/ 2705855 h 3993936"/>
                  <a:gd name="connsiteX88" fmla="*/ 596008 w 3565209"/>
                  <a:gd name="connsiteY88" fmla="*/ 2691639 h 3993936"/>
                  <a:gd name="connsiteX89" fmla="*/ 592172 w 3565209"/>
                  <a:gd name="connsiteY89" fmla="*/ 2674716 h 3993936"/>
                  <a:gd name="connsiteX90" fmla="*/ 590141 w 3565209"/>
                  <a:gd name="connsiteY90" fmla="*/ 2654633 h 3993936"/>
                  <a:gd name="connsiteX91" fmla="*/ 588562 w 3565209"/>
                  <a:gd name="connsiteY91" fmla="*/ 2641997 h 3993936"/>
                  <a:gd name="connsiteX92" fmla="*/ 585403 w 3565209"/>
                  <a:gd name="connsiteY92" fmla="*/ 2632971 h 3993936"/>
                  <a:gd name="connsiteX93" fmla="*/ 579987 w 3565209"/>
                  <a:gd name="connsiteY93" fmla="*/ 2614694 h 3993936"/>
                  <a:gd name="connsiteX94" fmla="*/ 573895 w 3565209"/>
                  <a:gd name="connsiteY94" fmla="*/ 2597770 h 3993936"/>
                  <a:gd name="connsiteX95" fmla="*/ 569833 w 3565209"/>
                  <a:gd name="connsiteY95" fmla="*/ 2590098 h 3993936"/>
                  <a:gd name="connsiteX96" fmla="*/ 564643 w 3565209"/>
                  <a:gd name="connsiteY96" fmla="*/ 2561893 h 3993936"/>
                  <a:gd name="connsiteX97" fmla="*/ 562838 w 3565209"/>
                  <a:gd name="connsiteY97" fmla="*/ 2553092 h 3993936"/>
                  <a:gd name="connsiteX98" fmla="*/ 561033 w 3565209"/>
                  <a:gd name="connsiteY98" fmla="*/ 2537974 h 3993936"/>
                  <a:gd name="connsiteX99" fmla="*/ 560356 w 3565209"/>
                  <a:gd name="connsiteY99" fmla="*/ 2526015 h 3993936"/>
                  <a:gd name="connsiteX100" fmla="*/ 559002 w 3565209"/>
                  <a:gd name="connsiteY100" fmla="*/ 2514281 h 3993936"/>
                  <a:gd name="connsiteX101" fmla="*/ 556069 w 3565209"/>
                  <a:gd name="connsiteY101" fmla="*/ 2490363 h 3993936"/>
                  <a:gd name="connsiteX102" fmla="*/ 556294 w 3565209"/>
                  <a:gd name="connsiteY102" fmla="*/ 2473891 h 3993936"/>
                  <a:gd name="connsiteX103" fmla="*/ 555166 w 3565209"/>
                  <a:gd name="connsiteY103" fmla="*/ 2458321 h 3993936"/>
                  <a:gd name="connsiteX104" fmla="*/ 551330 w 3565209"/>
                  <a:gd name="connsiteY104" fmla="*/ 2434402 h 3993936"/>
                  <a:gd name="connsiteX105" fmla="*/ 550427 w 3565209"/>
                  <a:gd name="connsiteY105" fmla="*/ 2401684 h 3993936"/>
                  <a:gd name="connsiteX106" fmla="*/ 548397 w 3565209"/>
                  <a:gd name="connsiteY106" fmla="*/ 2375058 h 3993936"/>
                  <a:gd name="connsiteX107" fmla="*/ 544109 w 3565209"/>
                  <a:gd name="connsiteY107" fmla="*/ 2363098 h 3993936"/>
                  <a:gd name="connsiteX108" fmla="*/ 538920 w 3565209"/>
                  <a:gd name="connsiteY108" fmla="*/ 2344595 h 3993936"/>
                  <a:gd name="connsiteX109" fmla="*/ 549525 w 3565209"/>
                  <a:gd name="connsiteY109" fmla="*/ 2316841 h 3993936"/>
                  <a:gd name="connsiteX110" fmla="*/ 553361 w 3565209"/>
                  <a:gd name="connsiteY110" fmla="*/ 2305333 h 3993936"/>
                  <a:gd name="connsiteX111" fmla="*/ 556069 w 3565209"/>
                  <a:gd name="connsiteY111" fmla="*/ 2297210 h 3993936"/>
                  <a:gd name="connsiteX112" fmla="*/ 556746 w 3565209"/>
                  <a:gd name="connsiteY112" fmla="*/ 2284799 h 3993936"/>
                  <a:gd name="connsiteX113" fmla="*/ 557648 w 3565209"/>
                  <a:gd name="connsiteY113" fmla="*/ 2268778 h 3993936"/>
                  <a:gd name="connsiteX114" fmla="*/ 562161 w 3565209"/>
                  <a:gd name="connsiteY114" fmla="*/ 2260881 h 3993936"/>
                  <a:gd name="connsiteX115" fmla="*/ 569382 w 3565209"/>
                  <a:gd name="connsiteY115" fmla="*/ 2244634 h 3993936"/>
                  <a:gd name="connsiteX116" fmla="*/ 568930 w 3565209"/>
                  <a:gd name="connsiteY116" fmla="*/ 2237188 h 3993936"/>
                  <a:gd name="connsiteX117" fmla="*/ 570736 w 3565209"/>
                  <a:gd name="connsiteY117" fmla="*/ 2220490 h 3993936"/>
                  <a:gd name="connsiteX118" fmla="*/ 571638 w 3565209"/>
                  <a:gd name="connsiteY118" fmla="*/ 2204018 h 3993936"/>
                  <a:gd name="connsiteX119" fmla="*/ 565320 w 3565209"/>
                  <a:gd name="connsiteY119" fmla="*/ 2186417 h 3993936"/>
                  <a:gd name="connsiteX120" fmla="*/ 565546 w 3565209"/>
                  <a:gd name="connsiteY120" fmla="*/ 2185966 h 3993936"/>
                  <a:gd name="connsiteX121" fmla="*/ 560130 w 3565209"/>
                  <a:gd name="connsiteY121" fmla="*/ 2167463 h 3993936"/>
                  <a:gd name="connsiteX122" fmla="*/ 551104 w 3565209"/>
                  <a:gd name="connsiteY122" fmla="*/ 2163853 h 3993936"/>
                  <a:gd name="connsiteX123" fmla="*/ 539822 w 3565209"/>
                  <a:gd name="connsiteY123" fmla="*/ 2156858 h 3993936"/>
                  <a:gd name="connsiteX124" fmla="*/ 540499 w 3565209"/>
                  <a:gd name="connsiteY124" fmla="*/ 2149412 h 3993936"/>
                  <a:gd name="connsiteX125" fmla="*/ 543658 w 3565209"/>
                  <a:gd name="connsiteY125" fmla="*/ 2138806 h 3993936"/>
                  <a:gd name="connsiteX126" fmla="*/ 551781 w 3565209"/>
                  <a:gd name="connsiteY126" fmla="*/ 2125267 h 3993936"/>
                  <a:gd name="connsiteX127" fmla="*/ 553135 w 3565209"/>
                  <a:gd name="connsiteY127" fmla="*/ 2124139 h 3993936"/>
                  <a:gd name="connsiteX128" fmla="*/ 551781 w 3565209"/>
                  <a:gd name="connsiteY128" fmla="*/ 2118949 h 3993936"/>
                  <a:gd name="connsiteX129" fmla="*/ 552233 w 3565209"/>
                  <a:gd name="connsiteY129" fmla="*/ 2109923 h 3993936"/>
                  <a:gd name="connsiteX130" fmla="*/ 554940 w 3565209"/>
                  <a:gd name="connsiteY130" fmla="*/ 2108344 h 3993936"/>
                  <a:gd name="connsiteX131" fmla="*/ 565546 w 3565209"/>
                  <a:gd name="connsiteY131" fmla="*/ 2099544 h 3993936"/>
                  <a:gd name="connsiteX132" fmla="*/ 566223 w 3565209"/>
                  <a:gd name="connsiteY132" fmla="*/ 2097513 h 3993936"/>
                  <a:gd name="connsiteX133" fmla="*/ 566900 w 3565209"/>
                  <a:gd name="connsiteY133" fmla="*/ 2095031 h 3993936"/>
                  <a:gd name="connsiteX134" fmla="*/ 557422 w 3565209"/>
                  <a:gd name="connsiteY134" fmla="*/ 2093451 h 3993936"/>
                  <a:gd name="connsiteX135" fmla="*/ 539822 w 3565209"/>
                  <a:gd name="connsiteY135" fmla="*/ 2089615 h 3993936"/>
                  <a:gd name="connsiteX136" fmla="*/ 540273 w 3565209"/>
                  <a:gd name="connsiteY136" fmla="*/ 2083297 h 3993936"/>
                  <a:gd name="connsiteX137" fmla="*/ 542981 w 3565209"/>
                  <a:gd name="connsiteY137" fmla="*/ 2074723 h 3993936"/>
                  <a:gd name="connsiteX138" fmla="*/ 551781 w 3565209"/>
                  <a:gd name="connsiteY138" fmla="*/ 2058702 h 3993936"/>
                  <a:gd name="connsiteX139" fmla="*/ 554038 w 3565209"/>
                  <a:gd name="connsiteY139" fmla="*/ 2058702 h 3993936"/>
                  <a:gd name="connsiteX140" fmla="*/ 561484 w 3565209"/>
                  <a:gd name="connsiteY140" fmla="*/ 2056220 h 3993936"/>
                  <a:gd name="connsiteX141" fmla="*/ 565546 w 3565209"/>
                  <a:gd name="connsiteY141" fmla="*/ 2051255 h 3993936"/>
                  <a:gd name="connsiteX142" fmla="*/ 562387 w 3565209"/>
                  <a:gd name="connsiteY142" fmla="*/ 2050127 h 3993936"/>
                  <a:gd name="connsiteX143" fmla="*/ 547043 w 3565209"/>
                  <a:gd name="connsiteY143" fmla="*/ 2052158 h 3993936"/>
                  <a:gd name="connsiteX144" fmla="*/ 543884 w 3565209"/>
                  <a:gd name="connsiteY144" fmla="*/ 2053060 h 3993936"/>
                  <a:gd name="connsiteX145" fmla="*/ 539371 w 3565209"/>
                  <a:gd name="connsiteY145" fmla="*/ 2038168 h 3993936"/>
                  <a:gd name="connsiteX146" fmla="*/ 545463 w 3565209"/>
                  <a:gd name="connsiteY146" fmla="*/ 2020568 h 3993936"/>
                  <a:gd name="connsiteX147" fmla="*/ 550879 w 3565209"/>
                  <a:gd name="connsiteY147" fmla="*/ 2018537 h 3993936"/>
                  <a:gd name="connsiteX148" fmla="*/ 561935 w 3565209"/>
                  <a:gd name="connsiteY148" fmla="*/ 2021696 h 3993936"/>
                  <a:gd name="connsiteX149" fmla="*/ 572766 w 3565209"/>
                  <a:gd name="connsiteY149" fmla="*/ 2024629 h 3993936"/>
                  <a:gd name="connsiteX150" fmla="*/ 578859 w 3565209"/>
                  <a:gd name="connsiteY150" fmla="*/ 2017183 h 3993936"/>
                  <a:gd name="connsiteX151" fmla="*/ 580664 w 3565209"/>
                  <a:gd name="connsiteY151" fmla="*/ 2013798 h 3993936"/>
                  <a:gd name="connsiteX152" fmla="*/ 565320 w 3565209"/>
                  <a:gd name="connsiteY152" fmla="*/ 2012895 h 3993936"/>
                  <a:gd name="connsiteX153" fmla="*/ 551104 w 3565209"/>
                  <a:gd name="connsiteY153" fmla="*/ 2012444 h 3993936"/>
                  <a:gd name="connsiteX154" fmla="*/ 538017 w 3565209"/>
                  <a:gd name="connsiteY154" fmla="*/ 2012219 h 3993936"/>
                  <a:gd name="connsiteX155" fmla="*/ 531699 w 3565209"/>
                  <a:gd name="connsiteY155" fmla="*/ 2015152 h 3993936"/>
                  <a:gd name="connsiteX156" fmla="*/ 531473 w 3565209"/>
                  <a:gd name="connsiteY156" fmla="*/ 2015603 h 3993936"/>
                  <a:gd name="connsiteX157" fmla="*/ 530796 w 3565209"/>
                  <a:gd name="connsiteY157" fmla="*/ 2016957 h 3993936"/>
                  <a:gd name="connsiteX158" fmla="*/ 529442 w 3565209"/>
                  <a:gd name="connsiteY158" fmla="*/ 2018537 h 3993936"/>
                  <a:gd name="connsiteX159" fmla="*/ 527186 w 3565209"/>
                  <a:gd name="connsiteY159" fmla="*/ 2018311 h 3993936"/>
                  <a:gd name="connsiteX160" fmla="*/ 524478 w 3565209"/>
                  <a:gd name="connsiteY160" fmla="*/ 2017409 h 3993936"/>
                  <a:gd name="connsiteX161" fmla="*/ 519740 w 3565209"/>
                  <a:gd name="connsiteY161" fmla="*/ 2013121 h 3993936"/>
                  <a:gd name="connsiteX162" fmla="*/ 520642 w 3565209"/>
                  <a:gd name="connsiteY162" fmla="*/ 2005449 h 3993936"/>
                  <a:gd name="connsiteX163" fmla="*/ 520417 w 3565209"/>
                  <a:gd name="connsiteY163" fmla="*/ 2003644 h 3993936"/>
                  <a:gd name="connsiteX164" fmla="*/ 518386 w 3565209"/>
                  <a:gd name="connsiteY164" fmla="*/ 2002516 h 3993936"/>
                  <a:gd name="connsiteX165" fmla="*/ 507103 w 3565209"/>
                  <a:gd name="connsiteY165" fmla="*/ 2016957 h 3993936"/>
                  <a:gd name="connsiteX166" fmla="*/ 500334 w 3565209"/>
                  <a:gd name="connsiteY166" fmla="*/ 2032527 h 3993936"/>
                  <a:gd name="connsiteX167" fmla="*/ 492888 w 3565209"/>
                  <a:gd name="connsiteY167" fmla="*/ 2041101 h 3993936"/>
                  <a:gd name="connsiteX168" fmla="*/ 487472 w 3565209"/>
                  <a:gd name="connsiteY168" fmla="*/ 2044260 h 3993936"/>
                  <a:gd name="connsiteX169" fmla="*/ 484539 w 3565209"/>
                  <a:gd name="connsiteY169" fmla="*/ 2047194 h 3993936"/>
                  <a:gd name="connsiteX170" fmla="*/ 486795 w 3565209"/>
                  <a:gd name="connsiteY170" fmla="*/ 2053512 h 3993936"/>
                  <a:gd name="connsiteX171" fmla="*/ 487472 w 3565209"/>
                  <a:gd name="connsiteY171" fmla="*/ 2060281 h 3993936"/>
                  <a:gd name="connsiteX172" fmla="*/ 471000 w 3565209"/>
                  <a:gd name="connsiteY172" fmla="*/ 2063666 h 3993936"/>
                  <a:gd name="connsiteX173" fmla="*/ 472354 w 3565209"/>
                  <a:gd name="connsiteY173" fmla="*/ 2067051 h 3993936"/>
                  <a:gd name="connsiteX174" fmla="*/ 477318 w 3565209"/>
                  <a:gd name="connsiteY174" fmla="*/ 2070661 h 3993936"/>
                  <a:gd name="connsiteX175" fmla="*/ 481831 w 3565209"/>
                  <a:gd name="connsiteY175" fmla="*/ 2070210 h 3993936"/>
                  <a:gd name="connsiteX176" fmla="*/ 492211 w 3565209"/>
                  <a:gd name="connsiteY176" fmla="*/ 2074948 h 3993936"/>
                  <a:gd name="connsiteX177" fmla="*/ 494016 w 3565209"/>
                  <a:gd name="connsiteY177" fmla="*/ 2081943 h 3993936"/>
                  <a:gd name="connsiteX178" fmla="*/ 497401 w 3565209"/>
                  <a:gd name="connsiteY178" fmla="*/ 2086230 h 3993936"/>
                  <a:gd name="connsiteX179" fmla="*/ 502365 w 3565209"/>
                  <a:gd name="connsiteY179" fmla="*/ 2108795 h 3993936"/>
                  <a:gd name="connsiteX180" fmla="*/ 486570 w 3565209"/>
                  <a:gd name="connsiteY180" fmla="*/ 2129780 h 3993936"/>
                  <a:gd name="connsiteX181" fmla="*/ 484087 w 3565209"/>
                  <a:gd name="connsiteY181" fmla="*/ 2132037 h 3993936"/>
                  <a:gd name="connsiteX182" fmla="*/ 480251 w 3565209"/>
                  <a:gd name="connsiteY182" fmla="*/ 2135196 h 3993936"/>
                  <a:gd name="connsiteX183" fmla="*/ 475964 w 3565209"/>
                  <a:gd name="connsiteY183" fmla="*/ 2142191 h 3993936"/>
                  <a:gd name="connsiteX184" fmla="*/ 477092 w 3565209"/>
                  <a:gd name="connsiteY184" fmla="*/ 2150088 h 3993936"/>
                  <a:gd name="connsiteX185" fmla="*/ 466938 w 3565209"/>
                  <a:gd name="connsiteY185" fmla="*/ 2156858 h 3993936"/>
                  <a:gd name="connsiteX186" fmla="*/ 433994 w 3565209"/>
                  <a:gd name="connsiteY186" fmla="*/ 2171074 h 3993936"/>
                  <a:gd name="connsiteX187" fmla="*/ 419327 w 3565209"/>
                  <a:gd name="connsiteY187" fmla="*/ 2177617 h 3993936"/>
                  <a:gd name="connsiteX188" fmla="*/ 410752 w 3565209"/>
                  <a:gd name="connsiteY188" fmla="*/ 2177843 h 3993936"/>
                  <a:gd name="connsiteX189" fmla="*/ 401050 w 3565209"/>
                  <a:gd name="connsiteY189" fmla="*/ 2180551 h 3993936"/>
                  <a:gd name="connsiteX190" fmla="*/ 378034 w 3565209"/>
                  <a:gd name="connsiteY190" fmla="*/ 2191607 h 3993936"/>
                  <a:gd name="connsiteX191" fmla="*/ 367428 w 3565209"/>
                  <a:gd name="connsiteY191" fmla="*/ 2195895 h 3993936"/>
                  <a:gd name="connsiteX192" fmla="*/ 355695 w 3565209"/>
                  <a:gd name="connsiteY192" fmla="*/ 2199279 h 3993936"/>
                  <a:gd name="connsiteX193" fmla="*/ 343284 w 3565209"/>
                  <a:gd name="connsiteY193" fmla="*/ 2202664 h 3993936"/>
                  <a:gd name="connsiteX194" fmla="*/ 326361 w 3565209"/>
                  <a:gd name="connsiteY194" fmla="*/ 2204469 h 3993936"/>
                  <a:gd name="connsiteX195" fmla="*/ 318915 w 3565209"/>
                  <a:gd name="connsiteY195" fmla="*/ 2204695 h 3993936"/>
                  <a:gd name="connsiteX196" fmla="*/ 317786 w 3565209"/>
                  <a:gd name="connsiteY196" fmla="*/ 2210110 h 3993936"/>
                  <a:gd name="connsiteX197" fmla="*/ 303571 w 3565209"/>
                  <a:gd name="connsiteY197" fmla="*/ 2208305 h 3993936"/>
                  <a:gd name="connsiteX198" fmla="*/ 294545 w 3565209"/>
                  <a:gd name="connsiteY198" fmla="*/ 2205823 h 3993936"/>
                  <a:gd name="connsiteX199" fmla="*/ 274011 w 3565209"/>
                  <a:gd name="connsiteY199" fmla="*/ 2196346 h 3993936"/>
                  <a:gd name="connsiteX200" fmla="*/ 263631 w 3565209"/>
                  <a:gd name="connsiteY200" fmla="*/ 2188674 h 3993936"/>
                  <a:gd name="connsiteX201" fmla="*/ 218953 w 3565209"/>
                  <a:gd name="connsiteY201" fmla="*/ 2148283 h 3993936"/>
                  <a:gd name="connsiteX202" fmla="*/ 203158 w 3565209"/>
                  <a:gd name="connsiteY202" fmla="*/ 2128426 h 3993936"/>
                  <a:gd name="connsiteX203" fmla="*/ 189619 w 3565209"/>
                  <a:gd name="connsiteY203" fmla="*/ 2110600 h 3993936"/>
                  <a:gd name="connsiteX204" fmla="*/ 179691 w 3565209"/>
                  <a:gd name="connsiteY204" fmla="*/ 2097739 h 3993936"/>
                  <a:gd name="connsiteX205" fmla="*/ 144716 w 3565209"/>
                  <a:gd name="connsiteY205" fmla="*/ 2057122 h 3993936"/>
                  <a:gd name="connsiteX206" fmla="*/ 91689 w 3565209"/>
                  <a:gd name="connsiteY206" fmla="*/ 1993716 h 3993936"/>
                  <a:gd name="connsiteX207" fmla="*/ 87176 w 3565209"/>
                  <a:gd name="connsiteY207" fmla="*/ 1971377 h 3993936"/>
                  <a:gd name="connsiteX208" fmla="*/ 102069 w 3565209"/>
                  <a:gd name="connsiteY208" fmla="*/ 1951294 h 3993936"/>
                  <a:gd name="connsiteX209" fmla="*/ 105453 w 3565209"/>
                  <a:gd name="connsiteY209" fmla="*/ 1950843 h 3993936"/>
                  <a:gd name="connsiteX210" fmla="*/ 107484 w 3565209"/>
                  <a:gd name="connsiteY210" fmla="*/ 1958741 h 3993936"/>
                  <a:gd name="connsiteX211" fmla="*/ 107710 w 3565209"/>
                  <a:gd name="connsiteY211" fmla="*/ 1963930 h 3993936"/>
                  <a:gd name="connsiteX212" fmla="*/ 110192 w 3565209"/>
                  <a:gd name="connsiteY212" fmla="*/ 1963028 h 3993936"/>
                  <a:gd name="connsiteX213" fmla="*/ 114705 w 3565209"/>
                  <a:gd name="connsiteY213" fmla="*/ 1962351 h 3993936"/>
                  <a:gd name="connsiteX214" fmla="*/ 117187 w 3565209"/>
                  <a:gd name="connsiteY214" fmla="*/ 1965510 h 3993936"/>
                  <a:gd name="connsiteX215" fmla="*/ 114705 w 3565209"/>
                  <a:gd name="connsiteY215" fmla="*/ 1976341 h 3993936"/>
                  <a:gd name="connsiteX216" fmla="*/ 112448 w 3565209"/>
                  <a:gd name="connsiteY216" fmla="*/ 1982885 h 3993936"/>
                  <a:gd name="connsiteX217" fmla="*/ 113802 w 3565209"/>
                  <a:gd name="connsiteY217" fmla="*/ 1985818 h 3993936"/>
                  <a:gd name="connsiteX218" fmla="*/ 118541 w 3565209"/>
                  <a:gd name="connsiteY218" fmla="*/ 1985592 h 3993936"/>
                  <a:gd name="connsiteX219" fmla="*/ 121248 w 3565209"/>
                  <a:gd name="connsiteY219" fmla="*/ 1984013 h 3993936"/>
                  <a:gd name="connsiteX220" fmla="*/ 132531 w 3565209"/>
                  <a:gd name="connsiteY220" fmla="*/ 1979725 h 3993936"/>
                  <a:gd name="connsiteX221" fmla="*/ 146295 w 3565209"/>
                  <a:gd name="connsiteY221" fmla="*/ 1978372 h 3993936"/>
                  <a:gd name="connsiteX222" fmla="*/ 148326 w 3565209"/>
                  <a:gd name="connsiteY222" fmla="*/ 1978146 h 3993936"/>
                  <a:gd name="connsiteX223" fmla="*/ 148552 w 3565209"/>
                  <a:gd name="connsiteY223" fmla="*/ 1980177 h 3993936"/>
                  <a:gd name="connsiteX224" fmla="*/ 148552 w 3565209"/>
                  <a:gd name="connsiteY224" fmla="*/ 1980177 h 3993936"/>
                  <a:gd name="connsiteX225" fmla="*/ 148777 w 3565209"/>
                  <a:gd name="connsiteY225" fmla="*/ 1980403 h 3993936"/>
                  <a:gd name="connsiteX226" fmla="*/ 151936 w 3565209"/>
                  <a:gd name="connsiteY226" fmla="*/ 1979725 h 3993936"/>
                  <a:gd name="connsiteX227" fmla="*/ 153290 w 3565209"/>
                  <a:gd name="connsiteY227" fmla="*/ 1977920 h 3993936"/>
                  <a:gd name="connsiteX228" fmla="*/ 160737 w 3565209"/>
                  <a:gd name="connsiteY228" fmla="*/ 1973407 h 3993936"/>
                  <a:gd name="connsiteX229" fmla="*/ 172696 w 3565209"/>
                  <a:gd name="connsiteY229" fmla="*/ 1974084 h 3993936"/>
                  <a:gd name="connsiteX230" fmla="*/ 176983 w 3565209"/>
                  <a:gd name="connsiteY230" fmla="*/ 1974310 h 3993936"/>
                  <a:gd name="connsiteX231" fmla="*/ 176306 w 3565209"/>
                  <a:gd name="connsiteY231" fmla="*/ 1972279 h 3993936"/>
                  <a:gd name="connsiteX232" fmla="*/ 175855 w 3565209"/>
                  <a:gd name="connsiteY232" fmla="*/ 1965510 h 3993936"/>
                  <a:gd name="connsiteX233" fmla="*/ 180593 w 3565209"/>
                  <a:gd name="connsiteY233" fmla="*/ 1963253 h 3993936"/>
                  <a:gd name="connsiteX234" fmla="*/ 190973 w 3565209"/>
                  <a:gd name="connsiteY234" fmla="*/ 1967089 h 3993936"/>
                  <a:gd name="connsiteX235" fmla="*/ 195035 w 3565209"/>
                  <a:gd name="connsiteY235" fmla="*/ 1968895 h 3993936"/>
                  <a:gd name="connsiteX236" fmla="*/ 197066 w 3565209"/>
                  <a:gd name="connsiteY236" fmla="*/ 1967315 h 3993936"/>
                  <a:gd name="connsiteX237" fmla="*/ 205414 w 3565209"/>
                  <a:gd name="connsiteY237" fmla="*/ 1963705 h 3993936"/>
                  <a:gd name="connsiteX238" fmla="*/ 211507 w 3565209"/>
                  <a:gd name="connsiteY238" fmla="*/ 1957838 h 3993936"/>
                  <a:gd name="connsiteX239" fmla="*/ 216020 w 3565209"/>
                  <a:gd name="connsiteY239" fmla="*/ 1951294 h 3993936"/>
                  <a:gd name="connsiteX240" fmla="*/ 218502 w 3565209"/>
                  <a:gd name="connsiteY240" fmla="*/ 1949489 h 3993936"/>
                  <a:gd name="connsiteX241" fmla="*/ 222112 w 3565209"/>
                  <a:gd name="connsiteY241" fmla="*/ 1947909 h 3993936"/>
                  <a:gd name="connsiteX242" fmla="*/ 228656 w 3565209"/>
                  <a:gd name="connsiteY242" fmla="*/ 1953325 h 3993936"/>
                  <a:gd name="connsiteX243" fmla="*/ 236779 w 3565209"/>
                  <a:gd name="connsiteY243" fmla="*/ 1958966 h 3993936"/>
                  <a:gd name="connsiteX244" fmla="*/ 244903 w 3565209"/>
                  <a:gd name="connsiteY244" fmla="*/ 1951294 h 3993936"/>
                  <a:gd name="connsiteX245" fmla="*/ 257764 w 3565209"/>
                  <a:gd name="connsiteY245" fmla="*/ 1927601 h 3993936"/>
                  <a:gd name="connsiteX246" fmla="*/ 265888 w 3565209"/>
                  <a:gd name="connsiteY246" fmla="*/ 1912483 h 3993936"/>
                  <a:gd name="connsiteX247" fmla="*/ 270175 w 3565209"/>
                  <a:gd name="connsiteY247" fmla="*/ 1908873 h 3993936"/>
                  <a:gd name="connsiteX248" fmla="*/ 271754 w 3565209"/>
                  <a:gd name="connsiteY248" fmla="*/ 1912934 h 3993936"/>
                  <a:gd name="connsiteX249" fmla="*/ 272657 w 3565209"/>
                  <a:gd name="connsiteY249" fmla="*/ 1918350 h 3993936"/>
                  <a:gd name="connsiteX250" fmla="*/ 277170 w 3565209"/>
                  <a:gd name="connsiteY250" fmla="*/ 1914965 h 3993936"/>
                  <a:gd name="connsiteX251" fmla="*/ 284616 w 3565209"/>
                  <a:gd name="connsiteY251" fmla="*/ 1908873 h 3993936"/>
                  <a:gd name="connsiteX252" fmla="*/ 289129 w 3565209"/>
                  <a:gd name="connsiteY252" fmla="*/ 1900524 h 3993936"/>
                  <a:gd name="connsiteX253" fmla="*/ 290483 w 3565209"/>
                  <a:gd name="connsiteY253" fmla="*/ 1895560 h 3993936"/>
                  <a:gd name="connsiteX254" fmla="*/ 295222 w 3565209"/>
                  <a:gd name="connsiteY254" fmla="*/ 1892175 h 3993936"/>
                  <a:gd name="connsiteX255" fmla="*/ 300412 w 3565209"/>
                  <a:gd name="connsiteY255" fmla="*/ 1889693 h 3993936"/>
                  <a:gd name="connsiteX256" fmla="*/ 302668 w 3565209"/>
                  <a:gd name="connsiteY256" fmla="*/ 1888113 h 3993936"/>
                  <a:gd name="connsiteX257" fmla="*/ 317109 w 3565209"/>
                  <a:gd name="connsiteY257" fmla="*/ 1875928 h 3993936"/>
                  <a:gd name="connsiteX258" fmla="*/ 315304 w 3565209"/>
                  <a:gd name="connsiteY258" fmla="*/ 1869610 h 3993936"/>
                  <a:gd name="connsiteX259" fmla="*/ 311468 w 3565209"/>
                  <a:gd name="connsiteY259" fmla="*/ 1870287 h 3993936"/>
                  <a:gd name="connsiteX260" fmla="*/ 295447 w 3565209"/>
                  <a:gd name="connsiteY260" fmla="*/ 1875703 h 3993936"/>
                  <a:gd name="connsiteX261" fmla="*/ 279652 w 3565209"/>
                  <a:gd name="connsiteY261" fmla="*/ 1870513 h 3993936"/>
                  <a:gd name="connsiteX262" fmla="*/ 275365 w 3565209"/>
                  <a:gd name="connsiteY262" fmla="*/ 1867805 h 3993936"/>
                  <a:gd name="connsiteX263" fmla="*/ 264985 w 3565209"/>
                  <a:gd name="connsiteY263" fmla="*/ 1867580 h 3993936"/>
                  <a:gd name="connsiteX264" fmla="*/ 250544 w 3565209"/>
                  <a:gd name="connsiteY264" fmla="*/ 1881118 h 3993936"/>
                  <a:gd name="connsiteX265" fmla="*/ 251221 w 3565209"/>
                  <a:gd name="connsiteY265" fmla="*/ 1886534 h 3993936"/>
                  <a:gd name="connsiteX266" fmla="*/ 251221 w 3565209"/>
                  <a:gd name="connsiteY266" fmla="*/ 1895334 h 3993936"/>
                  <a:gd name="connsiteX267" fmla="*/ 247610 w 3565209"/>
                  <a:gd name="connsiteY267" fmla="*/ 1897365 h 3993936"/>
                  <a:gd name="connsiteX268" fmla="*/ 241292 w 3565209"/>
                  <a:gd name="connsiteY268" fmla="*/ 1897590 h 3993936"/>
                  <a:gd name="connsiteX269" fmla="*/ 236102 w 3565209"/>
                  <a:gd name="connsiteY269" fmla="*/ 1898944 h 3993936"/>
                  <a:gd name="connsiteX270" fmla="*/ 235200 w 3565209"/>
                  <a:gd name="connsiteY270" fmla="*/ 1900749 h 3993936"/>
                  <a:gd name="connsiteX271" fmla="*/ 222338 w 3565209"/>
                  <a:gd name="connsiteY271" fmla="*/ 1907293 h 3993936"/>
                  <a:gd name="connsiteX272" fmla="*/ 201127 w 3565209"/>
                  <a:gd name="connsiteY272" fmla="*/ 1911580 h 3993936"/>
                  <a:gd name="connsiteX273" fmla="*/ 193907 w 3565209"/>
                  <a:gd name="connsiteY273" fmla="*/ 1913386 h 3993936"/>
                  <a:gd name="connsiteX274" fmla="*/ 188491 w 3565209"/>
                  <a:gd name="connsiteY274" fmla="*/ 1915642 h 3993936"/>
                  <a:gd name="connsiteX275" fmla="*/ 178563 w 3565209"/>
                  <a:gd name="connsiteY275" fmla="*/ 1917222 h 3993936"/>
                  <a:gd name="connsiteX276" fmla="*/ 170214 w 3565209"/>
                  <a:gd name="connsiteY276" fmla="*/ 1915642 h 3993936"/>
                  <a:gd name="connsiteX277" fmla="*/ 157126 w 3565209"/>
                  <a:gd name="connsiteY277" fmla="*/ 1914288 h 3993936"/>
                  <a:gd name="connsiteX278" fmla="*/ 138849 w 3565209"/>
                  <a:gd name="connsiteY278" fmla="*/ 1913160 h 3993936"/>
                  <a:gd name="connsiteX279" fmla="*/ 119443 w 3565209"/>
                  <a:gd name="connsiteY279" fmla="*/ 1906842 h 3993936"/>
                  <a:gd name="connsiteX280" fmla="*/ 90561 w 3565209"/>
                  <a:gd name="connsiteY280" fmla="*/ 1886985 h 3993936"/>
                  <a:gd name="connsiteX281" fmla="*/ 83566 w 3565209"/>
                  <a:gd name="connsiteY281" fmla="*/ 1882472 h 3993936"/>
                  <a:gd name="connsiteX282" fmla="*/ 69124 w 3565209"/>
                  <a:gd name="connsiteY282" fmla="*/ 1871641 h 3993936"/>
                  <a:gd name="connsiteX283" fmla="*/ 62580 w 3565209"/>
                  <a:gd name="connsiteY283" fmla="*/ 1866677 h 3993936"/>
                  <a:gd name="connsiteX284" fmla="*/ 50396 w 3565209"/>
                  <a:gd name="connsiteY284" fmla="*/ 1850430 h 3993936"/>
                  <a:gd name="connsiteX285" fmla="*/ 47688 w 3565209"/>
                  <a:gd name="connsiteY285" fmla="*/ 1842758 h 3993936"/>
                  <a:gd name="connsiteX286" fmla="*/ 46108 w 3565209"/>
                  <a:gd name="connsiteY286" fmla="*/ 1837794 h 3993936"/>
                  <a:gd name="connsiteX287" fmla="*/ 46334 w 3565209"/>
                  <a:gd name="connsiteY287" fmla="*/ 1834184 h 3993936"/>
                  <a:gd name="connsiteX288" fmla="*/ 46560 w 3565209"/>
                  <a:gd name="connsiteY288" fmla="*/ 1831476 h 3993936"/>
                  <a:gd name="connsiteX289" fmla="*/ 43175 w 3565209"/>
                  <a:gd name="connsiteY289" fmla="*/ 1828091 h 3993936"/>
                  <a:gd name="connsiteX290" fmla="*/ 35729 w 3565209"/>
                  <a:gd name="connsiteY290" fmla="*/ 1820419 h 3993936"/>
                  <a:gd name="connsiteX291" fmla="*/ 34375 w 3565209"/>
                  <a:gd name="connsiteY291" fmla="*/ 1812296 h 3993936"/>
                  <a:gd name="connsiteX292" fmla="*/ 34600 w 3565209"/>
                  <a:gd name="connsiteY292" fmla="*/ 1807558 h 3993936"/>
                  <a:gd name="connsiteX293" fmla="*/ 35503 w 3565209"/>
                  <a:gd name="connsiteY293" fmla="*/ 1791988 h 3993936"/>
                  <a:gd name="connsiteX294" fmla="*/ 36631 w 3565209"/>
                  <a:gd name="connsiteY294" fmla="*/ 1790634 h 3993936"/>
                  <a:gd name="connsiteX295" fmla="*/ 42949 w 3565209"/>
                  <a:gd name="connsiteY295" fmla="*/ 1786347 h 3993936"/>
                  <a:gd name="connsiteX296" fmla="*/ 46560 w 3565209"/>
                  <a:gd name="connsiteY296" fmla="*/ 1785444 h 3993936"/>
                  <a:gd name="connsiteX297" fmla="*/ 58293 w 3565209"/>
                  <a:gd name="connsiteY297" fmla="*/ 1780480 h 3993936"/>
                  <a:gd name="connsiteX298" fmla="*/ 61227 w 3565209"/>
                  <a:gd name="connsiteY298" fmla="*/ 1776193 h 3993936"/>
                  <a:gd name="connsiteX299" fmla="*/ 69801 w 3565209"/>
                  <a:gd name="connsiteY299" fmla="*/ 1770552 h 3993936"/>
                  <a:gd name="connsiteX300" fmla="*/ 83566 w 3565209"/>
                  <a:gd name="connsiteY300" fmla="*/ 1762654 h 3993936"/>
                  <a:gd name="connsiteX301" fmla="*/ 84017 w 3565209"/>
                  <a:gd name="connsiteY301" fmla="*/ 1762203 h 3993936"/>
                  <a:gd name="connsiteX302" fmla="*/ 75668 w 3565209"/>
                  <a:gd name="connsiteY302" fmla="*/ 1762880 h 3993936"/>
                  <a:gd name="connsiteX303" fmla="*/ 66416 w 3565209"/>
                  <a:gd name="connsiteY303" fmla="*/ 1764910 h 3993936"/>
                  <a:gd name="connsiteX304" fmla="*/ 56262 w 3565209"/>
                  <a:gd name="connsiteY304" fmla="*/ 1768069 h 3993936"/>
                  <a:gd name="connsiteX305" fmla="*/ 53555 w 3565209"/>
                  <a:gd name="connsiteY305" fmla="*/ 1771905 h 3993936"/>
                  <a:gd name="connsiteX306" fmla="*/ 45206 w 3565209"/>
                  <a:gd name="connsiteY306" fmla="*/ 1778901 h 3993936"/>
                  <a:gd name="connsiteX307" fmla="*/ 44754 w 3565209"/>
                  <a:gd name="connsiteY307" fmla="*/ 1778901 h 3993936"/>
                  <a:gd name="connsiteX308" fmla="*/ 33923 w 3565209"/>
                  <a:gd name="connsiteY308" fmla="*/ 1782511 h 3993936"/>
                  <a:gd name="connsiteX309" fmla="*/ 23092 w 3565209"/>
                  <a:gd name="connsiteY309" fmla="*/ 1796501 h 3993936"/>
                  <a:gd name="connsiteX310" fmla="*/ 8425 w 3565209"/>
                  <a:gd name="connsiteY310" fmla="*/ 1798983 h 3993936"/>
                  <a:gd name="connsiteX311" fmla="*/ 6395 w 3565209"/>
                  <a:gd name="connsiteY311" fmla="*/ 1798983 h 3993936"/>
                  <a:gd name="connsiteX312" fmla="*/ 77 w 3565209"/>
                  <a:gd name="connsiteY312" fmla="*/ 1794470 h 3993936"/>
                  <a:gd name="connsiteX313" fmla="*/ 3912 w 3565209"/>
                  <a:gd name="connsiteY313" fmla="*/ 1787926 h 3993936"/>
                  <a:gd name="connsiteX314" fmla="*/ 14969 w 3565209"/>
                  <a:gd name="connsiteY314" fmla="*/ 1779577 h 3993936"/>
                  <a:gd name="connsiteX315" fmla="*/ 14292 w 3565209"/>
                  <a:gd name="connsiteY315" fmla="*/ 1778901 h 3993936"/>
                  <a:gd name="connsiteX316" fmla="*/ 11584 w 3565209"/>
                  <a:gd name="connsiteY316" fmla="*/ 1774388 h 3993936"/>
                  <a:gd name="connsiteX317" fmla="*/ 10682 w 3565209"/>
                  <a:gd name="connsiteY317" fmla="*/ 1770552 h 3993936"/>
                  <a:gd name="connsiteX318" fmla="*/ 8877 w 3565209"/>
                  <a:gd name="connsiteY318" fmla="*/ 1757464 h 3993936"/>
                  <a:gd name="connsiteX319" fmla="*/ 14067 w 3565209"/>
                  <a:gd name="connsiteY319" fmla="*/ 1749341 h 3993936"/>
                  <a:gd name="connsiteX320" fmla="*/ 35277 w 3565209"/>
                  <a:gd name="connsiteY320" fmla="*/ 1745054 h 3993936"/>
                  <a:gd name="connsiteX321" fmla="*/ 41144 w 3565209"/>
                  <a:gd name="connsiteY321" fmla="*/ 1747084 h 3993936"/>
                  <a:gd name="connsiteX322" fmla="*/ 55360 w 3565209"/>
                  <a:gd name="connsiteY322" fmla="*/ 1749115 h 3993936"/>
                  <a:gd name="connsiteX323" fmla="*/ 76119 w 3565209"/>
                  <a:gd name="connsiteY323" fmla="*/ 1745505 h 3993936"/>
                  <a:gd name="connsiteX324" fmla="*/ 78601 w 3565209"/>
                  <a:gd name="connsiteY324" fmla="*/ 1737382 h 3993936"/>
                  <a:gd name="connsiteX325" fmla="*/ 78827 w 3565209"/>
                  <a:gd name="connsiteY325" fmla="*/ 1733771 h 3993936"/>
                  <a:gd name="connsiteX326" fmla="*/ 81083 w 3565209"/>
                  <a:gd name="connsiteY326" fmla="*/ 1729258 h 3993936"/>
                  <a:gd name="connsiteX327" fmla="*/ 81986 w 3565209"/>
                  <a:gd name="connsiteY327" fmla="*/ 1724971 h 3993936"/>
                  <a:gd name="connsiteX328" fmla="*/ 81309 w 3565209"/>
                  <a:gd name="connsiteY328" fmla="*/ 1721361 h 3993936"/>
                  <a:gd name="connsiteX329" fmla="*/ 86725 w 3565209"/>
                  <a:gd name="connsiteY329" fmla="*/ 1704212 h 3993936"/>
                  <a:gd name="connsiteX330" fmla="*/ 96427 w 3565209"/>
                  <a:gd name="connsiteY330" fmla="*/ 1706243 h 3993936"/>
                  <a:gd name="connsiteX331" fmla="*/ 100489 w 3565209"/>
                  <a:gd name="connsiteY331" fmla="*/ 1710981 h 3993936"/>
                  <a:gd name="connsiteX332" fmla="*/ 104099 w 3565209"/>
                  <a:gd name="connsiteY332" fmla="*/ 1710078 h 3993936"/>
                  <a:gd name="connsiteX333" fmla="*/ 107484 w 3565209"/>
                  <a:gd name="connsiteY333" fmla="*/ 1707822 h 3993936"/>
                  <a:gd name="connsiteX334" fmla="*/ 111546 w 3565209"/>
                  <a:gd name="connsiteY334" fmla="*/ 1712335 h 3993936"/>
                  <a:gd name="connsiteX335" fmla="*/ 123279 w 3565209"/>
                  <a:gd name="connsiteY335" fmla="*/ 1716622 h 3993936"/>
                  <a:gd name="connsiteX336" fmla="*/ 136367 w 3565209"/>
                  <a:gd name="connsiteY336" fmla="*/ 1715720 h 3993936"/>
                  <a:gd name="connsiteX337" fmla="*/ 143587 w 3565209"/>
                  <a:gd name="connsiteY337" fmla="*/ 1716622 h 3993936"/>
                  <a:gd name="connsiteX338" fmla="*/ 153290 w 3565209"/>
                  <a:gd name="connsiteY338" fmla="*/ 1715945 h 3993936"/>
                  <a:gd name="connsiteX339" fmla="*/ 162542 w 3565209"/>
                  <a:gd name="connsiteY339" fmla="*/ 1713914 h 3993936"/>
                  <a:gd name="connsiteX340" fmla="*/ 187588 w 3565209"/>
                  <a:gd name="connsiteY340" fmla="*/ 1715268 h 3993936"/>
                  <a:gd name="connsiteX341" fmla="*/ 188942 w 3565209"/>
                  <a:gd name="connsiteY341" fmla="*/ 1715494 h 3993936"/>
                  <a:gd name="connsiteX342" fmla="*/ 198645 w 3565209"/>
                  <a:gd name="connsiteY342" fmla="*/ 1723166 h 3993936"/>
                  <a:gd name="connsiteX343" fmla="*/ 219630 w 3565209"/>
                  <a:gd name="connsiteY343" fmla="*/ 1732192 h 3993936"/>
                  <a:gd name="connsiteX344" fmla="*/ 227528 w 3565209"/>
                  <a:gd name="connsiteY344" fmla="*/ 1731966 h 3993936"/>
                  <a:gd name="connsiteX345" fmla="*/ 243097 w 3565209"/>
                  <a:gd name="connsiteY345" fmla="*/ 1730838 h 3993936"/>
                  <a:gd name="connsiteX346" fmla="*/ 249415 w 3565209"/>
                  <a:gd name="connsiteY346" fmla="*/ 1725874 h 3993936"/>
                  <a:gd name="connsiteX347" fmla="*/ 257539 w 3565209"/>
                  <a:gd name="connsiteY347" fmla="*/ 1719104 h 3993936"/>
                  <a:gd name="connsiteX348" fmla="*/ 279878 w 3565209"/>
                  <a:gd name="connsiteY348" fmla="*/ 1714140 h 3993936"/>
                  <a:gd name="connsiteX349" fmla="*/ 289129 w 3565209"/>
                  <a:gd name="connsiteY349" fmla="*/ 1712109 h 3993936"/>
                  <a:gd name="connsiteX350" fmla="*/ 294996 w 3565209"/>
                  <a:gd name="connsiteY350" fmla="*/ 1708725 h 3993936"/>
                  <a:gd name="connsiteX351" fmla="*/ 300863 w 3565209"/>
                  <a:gd name="connsiteY351" fmla="*/ 1705566 h 3993936"/>
                  <a:gd name="connsiteX352" fmla="*/ 313048 w 3565209"/>
                  <a:gd name="connsiteY352" fmla="*/ 1704212 h 3993936"/>
                  <a:gd name="connsiteX353" fmla="*/ 315304 w 3565209"/>
                  <a:gd name="connsiteY353" fmla="*/ 1707145 h 3993936"/>
                  <a:gd name="connsiteX354" fmla="*/ 312596 w 3565209"/>
                  <a:gd name="connsiteY354" fmla="*/ 1714140 h 3993936"/>
                  <a:gd name="connsiteX355" fmla="*/ 310566 w 3565209"/>
                  <a:gd name="connsiteY355" fmla="*/ 1722263 h 3993936"/>
                  <a:gd name="connsiteX356" fmla="*/ 331325 w 3565209"/>
                  <a:gd name="connsiteY356" fmla="*/ 1733320 h 3993936"/>
                  <a:gd name="connsiteX357" fmla="*/ 349377 w 3565209"/>
                  <a:gd name="connsiteY357" fmla="*/ 1729258 h 3993936"/>
                  <a:gd name="connsiteX358" fmla="*/ 352761 w 3565209"/>
                  <a:gd name="connsiteY358" fmla="*/ 1724745 h 3993936"/>
                  <a:gd name="connsiteX359" fmla="*/ 359756 w 3565209"/>
                  <a:gd name="connsiteY359" fmla="*/ 1718202 h 3993936"/>
                  <a:gd name="connsiteX360" fmla="*/ 362690 w 3565209"/>
                  <a:gd name="connsiteY360" fmla="*/ 1717525 h 3993936"/>
                  <a:gd name="connsiteX361" fmla="*/ 370362 w 3565209"/>
                  <a:gd name="connsiteY361" fmla="*/ 1717073 h 3993936"/>
                  <a:gd name="connsiteX362" fmla="*/ 376229 w 3565209"/>
                  <a:gd name="connsiteY362" fmla="*/ 1714591 h 3993936"/>
                  <a:gd name="connsiteX363" fmla="*/ 378485 w 3565209"/>
                  <a:gd name="connsiteY363" fmla="*/ 1711658 h 3993936"/>
                  <a:gd name="connsiteX364" fmla="*/ 379839 w 3565209"/>
                  <a:gd name="connsiteY364" fmla="*/ 1708725 h 3993936"/>
                  <a:gd name="connsiteX365" fmla="*/ 376229 w 3565209"/>
                  <a:gd name="connsiteY365" fmla="*/ 1704663 h 3993936"/>
                  <a:gd name="connsiteX366" fmla="*/ 366752 w 3565209"/>
                  <a:gd name="connsiteY366" fmla="*/ 1694283 h 3993936"/>
                  <a:gd name="connsiteX367" fmla="*/ 366752 w 3565209"/>
                  <a:gd name="connsiteY367" fmla="*/ 1693832 h 3993936"/>
                  <a:gd name="connsiteX368" fmla="*/ 371941 w 3565209"/>
                  <a:gd name="connsiteY368" fmla="*/ 1681647 h 3993936"/>
                  <a:gd name="connsiteX369" fmla="*/ 373747 w 3565209"/>
                  <a:gd name="connsiteY369" fmla="*/ 1679391 h 3993936"/>
                  <a:gd name="connsiteX370" fmla="*/ 377583 w 3565209"/>
                  <a:gd name="connsiteY370" fmla="*/ 1676457 h 3993936"/>
                  <a:gd name="connsiteX371" fmla="*/ 381193 w 3565209"/>
                  <a:gd name="connsiteY371" fmla="*/ 1675103 h 3993936"/>
                  <a:gd name="connsiteX372" fmla="*/ 382321 w 3565209"/>
                  <a:gd name="connsiteY372" fmla="*/ 1674201 h 3993936"/>
                  <a:gd name="connsiteX373" fmla="*/ 376229 w 3565209"/>
                  <a:gd name="connsiteY373" fmla="*/ 1664272 h 3993936"/>
                  <a:gd name="connsiteX374" fmla="*/ 372618 w 3565209"/>
                  <a:gd name="connsiteY374" fmla="*/ 1659534 h 3993936"/>
                  <a:gd name="connsiteX375" fmla="*/ 368105 w 3565209"/>
                  <a:gd name="connsiteY375" fmla="*/ 1648251 h 3993936"/>
                  <a:gd name="connsiteX376" fmla="*/ 362239 w 3565209"/>
                  <a:gd name="connsiteY376" fmla="*/ 1634261 h 3993936"/>
                  <a:gd name="connsiteX377" fmla="*/ 359080 w 3565209"/>
                  <a:gd name="connsiteY377" fmla="*/ 1613953 h 3993936"/>
                  <a:gd name="connsiteX378" fmla="*/ 359080 w 3565209"/>
                  <a:gd name="connsiteY378" fmla="*/ 1606507 h 3993936"/>
                  <a:gd name="connsiteX379" fmla="*/ 350956 w 3565209"/>
                  <a:gd name="connsiteY379" fmla="*/ 1599738 h 3993936"/>
                  <a:gd name="connsiteX380" fmla="*/ 339900 w 3565209"/>
                  <a:gd name="connsiteY380" fmla="*/ 1590486 h 3993936"/>
                  <a:gd name="connsiteX381" fmla="*/ 332905 w 3565209"/>
                  <a:gd name="connsiteY381" fmla="*/ 1551900 h 3993936"/>
                  <a:gd name="connsiteX382" fmla="*/ 332228 w 3565209"/>
                  <a:gd name="connsiteY382" fmla="*/ 1548290 h 3993936"/>
                  <a:gd name="connsiteX383" fmla="*/ 333130 w 3565209"/>
                  <a:gd name="connsiteY383" fmla="*/ 1533623 h 3993936"/>
                  <a:gd name="connsiteX384" fmla="*/ 334258 w 3565209"/>
                  <a:gd name="connsiteY384" fmla="*/ 1529336 h 3993936"/>
                  <a:gd name="connsiteX385" fmla="*/ 323879 w 3565209"/>
                  <a:gd name="connsiteY385" fmla="*/ 1529336 h 3993936"/>
                  <a:gd name="connsiteX386" fmla="*/ 314627 w 3565209"/>
                  <a:gd name="connsiteY386" fmla="*/ 1531592 h 3993936"/>
                  <a:gd name="connsiteX387" fmla="*/ 297252 w 3565209"/>
                  <a:gd name="connsiteY387" fmla="*/ 1532044 h 3993936"/>
                  <a:gd name="connsiteX388" fmla="*/ 285293 w 3565209"/>
                  <a:gd name="connsiteY388" fmla="*/ 1518956 h 3993936"/>
                  <a:gd name="connsiteX389" fmla="*/ 283262 w 3565209"/>
                  <a:gd name="connsiteY389" fmla="*/ 1515797 h 3993936"/>
                  <a:gd name="connsiteX390" fmla="*/ 277847 w 3565209"/>
                  <a:gd name="connsiteY390" fmla="*/ 1509479 h 3993936"/>
                  <a:gd name="connsiteX391" fmla="*/ 271078 w 3565209"/>
                  <a:gd name="connsiteY391" fmla="*/ 1501582 h 3993936"/>
                  <a:gd name="connsiteX392" fmla="*/ 268821 w 3565209"/>
                  <a:gd name="connsiteY392" fmla="*/ 1480145 h 3993936"/>
                  <a:gd name="connsiteX393" fmla="*/ 267467 w 3565209"/>
                  <a:gd name="connsiteY393" fmla="*/ 1478791 h 3993936"/>
                  <a:gd name="connsiteX394" fmla="*/ 263857 w 3565209"/>
                  <a:gd name="connsiteY394" fmla="*/ 1472473 h 3993936"/>
                  <a:gd name="connsiteX395" fmla="*/ 268595 w 3565209"/>
                  <a:gd name="connsiteY395" fmla="*/ 1466155 h 3993936"/>
                  <a:gd name="connsiteX396" fmla="*/ 280555 w 3565209"/>
                  <a:gd name="connsiteY396" fmla="*/ 1442688 h 3993936"/>
                  <a:gd name="connsiteX397" fmla="*/ 281006 w 3565209"/>
                  <a:gd name="connsiteY397" fmla="*/ 1440206 h 3993936"/>
                  <a:gd name="connsiteX398" fmla="*/ 280555 w 3565209"/>
                  <a:gd name="connsiteY398" fmla="*/ 1426216 h 3993936"/>
                  <a:gd name="connsiteX399" fmla="*/ 280780 w 3565209"/>
                  <a:gd name="connsiteY399" fmla="*/ 1416287 h 3993936"/>
                  <a:gd name="connsiteX400" fmla="*/ 277621 w 3565209"/>
                  <a:gd name="connsiteY400" fmla="*/ 1409518 h 3993936"/>
                  <a:gd name="connsiteX401" fmla="*/ 277170 w 3565209"/>
                  <a:gd name="connsiteY401" fmla="*/ 1409292 h 3993936"/>
                  <a:gd name="connsiteX402" fmla="*/ 275816 w 3565209"/>
                  <a:gd name="connsiteY402" fmla="*/ 1408390 h 3993936"/>
                  <a:gd name="connsiteX403" fmla="*/ 263406 w 3565209"/>
                  <a:gd name="connsiteY403" fmla="*/ 1404328 h 3993936"/>
                  <a:gd name="connsiteX404" fmla="*/ 261600 w 3565209"/>
                  <a:gd name="connsiteY404" fmla="*/ 1404554 h 3993936"/>
                  <a:gd name="connsiteX405" fmla="*/ 241744 w 3565209"/>
                  <a:gd name="connsiteY405" fmla="*/ 1404779 h 3993936"/>
                  <a:gd name="connsiteX406" fmla="*/ 229107 w 3565209"/>
                  <a:gd name="connsiteY406" fmla="*/ 1397333 h 3993936"/>
                  <a:gd name="connsiteX407" fmla="*/ 222564 w 3565209"/>
                  <a:gd name="connsiteY407" fmla="*/ 1391917 h 3993936"/>
                  <a:gd name="connsiteX408" fmla="*/ 214892 w 3565209"/>
                  <a:gd name="connsiteY408" fmla="*/ 1388307 h 3993936"/>
                  <a:gd name="connsiteX409" fmla="*/ 206543 w 3565209"/>
                  <a:gd name="connsiteY409" fmla="*/ 1381763 h 3993936"/>
                  <a:gd name="connsiteX410" fmla="*/ 203609 w 3565209"/>
                  <a:gd name="connsiteY410" fmla="*/ 1356491 h 3993936"/>
                  <a:gd name="connsiteX411" fmla="*/ 213763 w 3565209"/>
                  <a:gd name="connsiteY411" fmla="*/ 1328962 h 3993936"/>
                  <a:gd name="connsiteX412" fmla="*/ 219179 w 3565209"/>
                  <a:gd name="connsiteY412" fmla="*/ 1319259 h 3993936"/>
                  <a:gd name="connsiteX413" fmla="*/ 226851 w 3565209"/>
                  <a:gd name="connsiteY413" fmla="*/ 1308428 h 3993936"/>
                  <a:gd name="connsiteX414" fmla="*/ 236554 w 3565209"/>
                  <a:gd name="connsiteY414" fmla="*/ 1301659 h 3993936"/>
                  <a:gd name="connsiteX415" fmla="*/ 247159 w 3565209"/>
                  <a:gd name="connsiteY415" fmla="*/ 1293536 h 3993936"/>
                  <a:gd name="connsiteX416" fmla="*/ 258441 w 3565209"/>
                  <a:gd name="connsiteY416" fmla="*/ 1284961 h 3993936"/>
                  <a:gd name="connsiteX417" fmla="*/ 265211 w 3565209"/>
                  <a:gd name="connsiteY417" fmla="*/ 1279771 h 3993936"/>
                  <a:gd name="connsiteX418" fmla="*/ 270852 w 3565209"/>
                  <a:gd name="connsiteY418" fmla="*/ 1275033 h 3993936"/>
                  <a:gd name="connsiteX419" fmla="*/ 277170 w 3565209"/>
                  <a:gd name="connsiteY419" fmla="*/ 1269843 h 3993936"/>
                  <a:gd name="connsiteX420" fmla="*/ 283488 w 3565209"/>
                  <a:gd name="connsiteY420" fmla="*/ 1252468 h 3993936"/>
                  <a:gd name="connsiteX421" fmla="*/ 283714 w 3565209"/>
                  <a:gd name="connsiteY421" fmla="*/ 1251791 h 3993936"/>
                  <a:gd name="connsiteX422" fmla="*/ 294093 w 3565209"/>
                  <a:gd name="connsiteY422" fmla="*/ 1231257 h 3993936"/>
                  <a:gd name="connsiteX423" fmla="*/ 303345 w 3565209"/>
                  <a:gd name="connsiteY423" fmla="*/ 1225842 h 3993936"/>
                  <a:gd name="connsiteX424" fmla="*/ 311017 w 3565209"/>
                  <a:gd name="connsiteY424" fmla="*/ 1221103 h 3993936"/>
                  <a:gd name="connsiteX425" fmla="*/ 319140 w 3565209"/>
                  <a:gd name="connsiteY425" fmla="*/ 1215462 h 3993936"/>
                  <a:gd name="connsiteX426" fmla="*/ 330197 w 3565209"/>
                  <a:gd name="connsiteY426" fmla="*/ 1209595 h 3993936"/>
                  <a:gd name="connsiteX427" fmla="*/ 352084 w 3565209"/>
                  <a:gd name="connsiteY427" fmla="*/ 1214560 h 3993936"/>
                  <a:gd name="connsiteX428" fmla="*/ 358403 w 3565209"/>
                  <a:gd name="connsiteY428" fmla="*/ 1233514 h 3993936"/>
                  <a:gd name="connsiteX429" fmla="*/ 361787 w 3565209"/>
                  <a:gd name="connsiteY429" fmla="*/ 1247504 h 3993936"/>
                  <a:gd name="connsiteX430" fmla="*/ 366075 w 3565209"/>
                  <a:gd name="connsiteY430" fmla="*/ 1253596 h 3993936"/>
                  <a:gd name="connsiteX431" fmla="*/ 369008 w 3565209"/>
                  <a:gd name="connsiteY431" fmla="*/ 1258335 h 3993936"/>
                  <a:gd name="connsiteX432" fmla="*/ 391573 w 3565209"/>
                  <a:gd name="connsiteY432" fmla="*/ 1255627 h 3993936"/>
                  <a:gd name="connsiteX433" fmla="*/ 413912 w 3565209"/>
                  <a:gd name="connsiteY433" fmla="*/ 1247278 h 3993936"/>
                  <a:gd name="connsiteX434" fmla="*/ 423614 w 3565209"/>
                  <a:gd name="connsiteY434" fmla="*/ 1243894 h 3993936"/>
                  <a:gd name="connsiteX435" fmla="*/ 443697 w 3565209"/>
                  <a:gd name="connsiteY435" fmla="*/ 1242540 h 3993936"/>
                  <a:gd name="connsiteX436" fmla="*/ 450241 w 3565209"/>
                  <a:gd name="connsiteY436" fmla="*/ 1242765 h 3993936"/>
                  <a:gd name="connsiteX437" fmla="*/ 457461 w 3565209"/>
                  <a:gd name="connsiteY437" fmla="*/ 1243442 h 3993936"/>
                  <a:gd name="connsiteX438" fmla="*/ 469646 w 3565209"/>
                  <a:gd name="connsiteY438" fmla="*/ 1243668 h 3993936"/>
                  <a:gd name="connsiteX439" fmla="*/ 485893 w 3565209"/>
                  <a:gd name="connsiteY439" fmla="*/ 1237801 h 3993936"/>
                  <a:gd name="connsiteX440" fmla="*/ 492211 w 3565209"/>
                  <a:gd name="connsiteY440" fmla="*/ 1234868 h 3993936"/>
                  <a:gd name="connsiteX441" fmla="*/ 501914 w 3565209"/>
                  <a:gd name="connsiteY441" fmla="*/ 1228324 h 3993936"/>
                  <a:gd name="connsiteX442" fmla="*/ 502590 w 3565209"/>
                  <a:gd name="connsiteY442" fmla="*/ 1226745 h 3993936"/>
                  <a:gd name="connsiteX443" fmla="*/ 508006 w 3565209"/>
                  <a:gd name="connsiteY443" fmla="*/ 1212078 h 3993936"/>
                  <a:gd name="connsiteX444" fmla="*/ 517257 w 3565209"/>
                  <a:gd name="connsiteY444" fmla="*/ 1198539 h 3993936"/>
                  <a:gd name="connsiteX445" fmla="*/ 519740 w 3565209"/>
                  <a:gd name="connsiteY445" fmla="*/ 1196282 h 3993936"/>
                  <a:gd name="connsiteX446" fmla="*/ 534858 w 3565209"/>
                  <a:gd name="connsiteY446" fmla="*/ 1185451 h 3993936"/>
                  <a:gd name="connsiteX447" fmla="*/ 545915 w 3565209"/>
                  <a:gd name="connsiteY447" fmla="*/ 1174620 h 3993936"/>
                  <a:gd name="connsiteX448" fmla="*/ 547494 w 3565209"/>
                  <a:gd name="connsiteY448" fmla="*/ 1172364 h 3993936"/>
                  <a:gd name="connsiteX449" fmla="*/ 552684 w 3565209"/>
                  <a:gd name="connsiteY449" fmla="*/ 1160630 h 3993936"/>
                  <a:gd name="connsiteX450" fmla="*/ 557422 w 3565209"/>
                  <a:gd name="connsiteY450" fmla="*/ 1149348 h 3993936"/>
                  <a:gd name="connsiteX451" fmla="*/ 559453 w 3565209"/>
                  <a:gd name="connsiteY451" fmla="*/ 1142579 h 3993936"/>
                  <a:gd name="connsiteX452" fmla="*/ 567125 w 3565209"/>
                  <a:gd name="connsiteY452" fmla="*/ 1127686 h 3993936"/>
                  <a:gd name="connsiteX453" fmla="*/ 597588 w 3565209"/>
                  <a:gd name="connsiteY453" fmla="*/ 1109860 h 3993936"/>
                  <a:gd name="connsiteX454" fmla="*/ 609772 w 3565209"/>
                  <a:gd name="connsiteY454" fmla="*/ 1103993 h 3993936"/>
                  <a:gd name="connsiteX455" fmla="*/ 620603 w 3565209"/>
                  <a:gd name="connsiteY455" fmla="*/ 1098578 h 3993936"/>
                  <a:gd name="connsiteX456" fmla="*/ 628275 w 3565209"/>
                  <a:gd name="connsiteY456" fmla="*/ 1097675 h 3993936"/>
                  <a:gd name="connsiteX457" fmla="*/ 633014 w 3565209"/>
                  <a:gd name="connsiteY457" fmla="*/ 1097449 h 3993936"/>
                  <a:gd name="connsiteX458" fmla="*/ 637753 w 3565209"/>
                  <a:gd name="connsiteY458" fmla="*/ 1087521 h 3993936"/>
                  <a:gd name="connsiteX459" fmla="*/ 641814 w 3565209"/>
                  <a:gd name="connsiteY459" fmla="*/ 1077367 h 3993936"/>
                  <a:gd name="connsiteX460" fmla="*/ 645876 w 3565209"/>
                  <a:gd name="connsiteY460" fmla="*/ 1071951 h 3993936"/>
                  <a:gd name="connsiteX461" fmla="*/ 658512 w 3565209"/>
                  <a:gd name="connsiteY461" fmla="*/ 1057510 h 3993936"/>
                  <a:gd name="connsiteX462" fmla="*/ 670471 w 3565209"/>
                  <a:gd name="connsiteY462" fmla="*/ 1039909 h 3993936"/>
                  <a:gd name="connsiteX463" fmla="*/ 674758 w 3565209"/>
                  <a:gd name="connsiteY463" fmla="*/ 1032238 h 3993936"/>
                  <a:gd name="connsiteX464" fmla="*/ 688523 w 3565209"/>
                  <a:gd name="connsiteY464" fmla="*/ 1007191 h 3993936"/>
                  <a:gd name="connsiteX465" fmla="*/ 691005 w 3565209"/>
                  <a:gd name="connsiteY465" fmla="*/ 993652 h 3993936"/>
                  <a:gd name="connsiteX466" fmla="*/ 692359 w 3565209"/>
                  <a:gd name="connsiteY466" fmla="*/ 985077 h 3993936"/>
                  <a:gd name="connsiteX467" fmla="*/ 693036 w 3565209"/>
                  <a:gd name="connsiteY467" fmla="*/ 979662 h 3993936"/>
                  <a:gd name="connsiteX468" fmla="*/ 696646 w 3565209"/>
                  <a:gd name="connsiteY468" fmla="*/ 969057 h 3993936"/>
                  <a:gd name="connsiteX469" fmla="*/ 724401 w 3565209"/>
                  <a:gd name="connsiteY469" fmla="*/ 959580 h 3993936"/>
                  <a:gd name="connsiteX470" fmla="*/ 731621 w 3565209"/>
                  <a:gd name="connsiteY470" fmla="*/ 960708 h 3993936"/>
                  <a:gd name="connsiteX471" fmla="*/ 742904 w 3565209"/>
                  <a:gd name="connsiteY471" fmla="*/ 957323 h 3993936"/>
                  <a:gd name="connsiteX472" fmla="*/ 758022 w 3565209"/>
                  <a:gd name="connsiteY472" fmla="*/ 944461 h 3993936"/>
                  <a:gd name="connsiteX473" fmla="*/ 758925 w 3565209"/>
                  <a:gd name="connsiteY473" fmla="*/ 943559 h 3993936"/>
                  <a:gd name="connsiteX474" fmla="*/ 763889 w 3565209"/>
                  <a:gd name="connsiteY474" fmla="*/ 940400 h 3993936"/>
                  <a:gd name="connsiteX475" fmla="*/ 767725 w 3565209"/>
                  <a:gd name="connsiteY475" fmla="*/ 936564 h 3993936"/>
                  <a:gd name="connsiteX476" fmla="*/ 767273 w 3565209"/>
                  <a:gd name="connsiteY476" fmla="*/ 932953 h 3993936"/>
                  <a:gd name="connsiteX477" fmla="*/ 765468 w 3565209"/>
                  <a:gd name="connsiteY477" fmla="*/ 930697 h 3993936"/>
                  <a:gd name="connsiteX478" fmla="*/ 761632 w 3565209"/>
                  <a:gd name="connsiteY478" fmla="*/ 913096 h 3993936"/>
                  <a:gd name="connsiteX479" fmla="*/ 762986 w 3565209"/>
                  <a:gd name="connsiteY479" fmla="*/ 905424 h 3993936"/>
                  <a:gd name="connsiteX480" fmla="*/ 766597 w 3565209"/>
                  <a:gd name="connsiteY480" fmla="*/ 896624 h 3993936"/>
                  <a:gd name="connsiteX481" fmla="*/ 773366 w 3565209"/>
                  <a:gd name="connsiteY481" fmla="*/ 892111 h 3993936"/>
                  <a:gd name="connsiteX482" fmla="*/ 781715 w 3565209"/>
                  <a:gd name="connsiteY482" fmla="*/ 886696 h 3993936"/>
                  <a:gd name="connsiteX483" fmla="*/ 786453 w 3565209"/>
                  <a:gd name="connsiteY483" fmla="*/ 882409 h 3993936"/>
                  <a:gd name="connsiteX484" fmla="*/ 789838 w 3565209"/>
                  <a:gd name="connsiteY484" fmla="*/ 876316 h 3993936"/>
                  <a:gd name="connsiteX485" fmla="*/ 795930 w 3565209"/>
                  <a:gd name="connsiteY485" fmla="*/ 869772 h 3993936"/>
                  <a:gd name="connsiteX486" fmla="*/ 798864 w 3565209"/>
                  <a:gd name="connsiteY486" fmla="*/ 867065 h 3993936"/>
                  <a:gd name="connsiteX487" fmla="*/ 801346 w 3565209"/>
                  <a:gd name="connsiteY487" fmla="*/ 861875 h 3993936"/>
                  <a:gd name="connsiteX488" fmla="*/ 807664 w 3565209"/>
                  <a:gd name="connsiteY488" fmla="*/ 852172 h 3993936"/>
                  <a:gd name="connsiteX489" fmla="*/ 812177 w 3565209"/>
                  <a:gd name="connsiteY489" fmla="*/ 845854 h 3993936"/>
                  <a:gd name="connsiteX490" fmla="*/ 815336 w 3565209"/>
                  <a:gd name="connsiteY490" fmla="*/ 839761 h 3993936"/>
                  <a:gd name="connsiteX491" fmla="*/ 817141 w 3565209"/>
                  <a:gd name="connsiteY491" fmla="*/ 837956 h 3993936"/>
                  <a:gd name="connsiteX492" fmla="*/ 827295 w 3565209"/>
                  <a:gd name="connsiteY492" fmla="*/ 831864 h 3993936"/>
                  <a:gd name="connsiteX493" fmla="*/ 836998 w 3565209"/>
                  <a:gd name="connsiteY493" fmla="*/ 827125 h 3993936"/>
                  <a:gd name="connsiteX494" fmla="*/ 841737 w 3565209"/>
                  <a:gd name="connsiteY494" fmla="*/ 824417 h 3993936"/>
                  <a:gd name="connsiteX495" fmla="*/ 844896 w 3565209"/>
                  <a:gd name="connsiteY495" fmla="*/ 823289 h 3993936"/>
                  <a:gd name="connsiteX496" fmla="*/ 846250 w 3565209"/>
                  <a:gd name="connsiteY496" fmla="*/ 822838 h 3993936"/>
                  <a:gd name="connsiteX497" fmla="*/ 845573 w 3565209"/>
                  <a:gd name="connsiteY497" fmla="*/ 821258 h 3993936"/>
                  <a:gd name="connsiteX498" fmla="*/ 843767 w 3565209"/>
                  <a:gd name="connsiteY498" fmla="*/ 817874 h 3993936"/>
                  <a:gd name="connsiteX499" fmla="*/ 838803 w 3565209"/>
                  <a:gd name="connsiteY499" fmla="*/ 806817 h 3993936"/>
                  <a:gd name="connsiteX500" fmla="*/ 838578 w 3565209"/>
                  <a:gd name="connsiteY500" fmla="*/ 805914 h 3993936"/>
                  <a:gd name="connsiteX501" fmla="*/ 838126 w 3565209"/>
                  <a:gd name="connsiteY501" fmla="*/ 788991 h 3993936"/>
                  <a:gd name="connsiteX502" fmla="*/ 839932 w 3565209"/>
                  <a:gd name="connsiteY502" fmla="*/ 784929 h 3993936"/>
                  <a:gd name="connsiteX503" fmla="*/ 846701 w 3565209"/>
                  <a:gd name="connsiteY503" fmla="*/ 776129 h 3993936"/>
                  <a:gd name="connsiteX504" fmla="*/ 852116 w 3565209"/>
                  <a:gd name="connsiteY504" fmla="*/ 772293 h 3993936"/>
                  <a:gd name="connsiteX505" fmla="*/ 847152 w 3565209"/>
                  <a:gd name="connsiteY505" fmla="*/ 751985 h 3993936"/>
                  <a:gd name="connsiteX506" fmla="*/ 844896 w 3565209"/>
                  <a:gd name="connsiteY506" fmla="*/ 749729 h 3993936"/>
                  <a:gd name="connsiteX507" fmla="*/ 838352 w 3565209"/>
                  <a:gd name="connsiteY507" fmla="*/ 729420 h 3993936"/>
                  <a:gd name="connsiteX508" fmla="*/ 843767 w 3565209"/>
                  <a:gd name="connsiteY508" fmla="*/ 720395 h 3993936"/>
                  <a:gd name="connsiteX509" fmla="*/ 851665 w 3565209"/>
                  <a:gd name="connsiteY509" fmla="*/ 708887 h 3993936"/>
                  <a:gd name="connsiteX510" fmla="*/ 876712 w 3565209"/>
                  <a:gd name="connsiteY510" fmla="*/ 692866 h 3993936"/>
                  <a:gd name="connsiteX511" fmla="*/ 878743 w 3565209"/>
                  <a:gd name="connsiteY511" fmla="*/ 691512 h 3993936"/>
                  <a:gd name="connsiteX512" fmla="*/ 896343 w 3565209"/>
                  <a:gd name="connsiteY512" fmla="*/ 686322 h 3993936"/>
                  <a:gd name="connsiteX513" fmla="*/ 910333 w 3565209"/>
                  <a:gd name="connsiteY513" fmla="*/ 686096 h 3993936"/>
                  <a:gd name="connsiteX514" fmla="*/ 919359 w 3565209"/>
                  <a:gd name="connsiteY514" fmla="*/ 685419 h 3993936"/>
                  <a:gd name="connsiteX515" fmla="*/ 934026 w 3565209"/>
                  <a:gd name="connsiteY515" fmla="*/ 676168 h 3993936"/>
                  <a:gd name="connsiteX516" fmla="*/ 937636 w 3565209"/>
                  <a:gd name="connsiteY516" fmla="*/ 668045 h 3993936"/>
                  <a:gd name="connsiteX517" fmla="*/ 939667 w 3565209"/>
                  <a:gd name="connsiteY517" fmla="*/ 664209 h 3993936"/>
                  <a:gd name="connsiteX518" fmla="*/ 933800 w 3565209"/>
                  <a:gd name="connsiteY518" fmla="*/ 647737 h 3993936"/>
                  <a:gd name="connsiteX519" fmla="*/ 926805 w 3565209"/>
                  <a:gd name="connsiteY519" fmla="*/ 642547 h 3993936"/>
                  <a:gd name="connsiteX520" fmla="*/ 910107 w 3565209"/>
                  <a:gd name="connsiteY520" fmla="*/ 631716 h 3993936"/>
                  <a:gd name="connsiteX521" fmla="*/ 900405 w 3565209"/>
                  <a:gd name="connsiteY521" fmla="*/ 631716 h 3993936"/>
                  <a:gd name="connsiteX522" fmla="*/ 878968 w 3565209"/>
                  <a:gd name="connsiteY522" fmla="*/ 630587 h 3993936"/>
                  <a:gd name="connsiteX523" fmla="*/ 875358 w 3565209"/>
                  <a:gd name="connsiteY523" fmla="*/ 629459 h 3993936"/>
                  <a:gd name="connsiteX524" fmla="*/ 866783 w 3565209"/>
                  <a:gd name="connsiteY524" fmla="*/ 624269 h 3993936"/>
                  <a:gd name="connsiteX525" fmla="*/ 865655 w 3565209"/>
                  <a:gd name="connsiteY525" fmla="*/ 622690 h 3993936"/>
                  <a:gd name="connsiteX526" fmla="*/ 862722 w 3565209"/>
                  <a:gd name="connsiteY526" fmla="*/ 611633 h 3993936"/>
                  <a:gd name="connsiteX527" fmla="*/ 862947 w 3565209"/>
                  <a:gd name="connsiteY527" fmla="*/ 590648 h 3993936"/>
                  <a:gd name="connsiteX528" fmla="*/ 857757 w 3565209"/>
                  <a:gd name="connsiteY528" fmla="*/ 589971 h 3993936"/>
                  <a:gd name="connsiteX529" fmla="*/ 834967 w 3565209"/>
                  <a:gd name="connsiteY529" fmla="*/ 586361 h 3993936"/>
                  <a:gd name="connsiteX530" fmla="*/ 805633 w 3565209"/>
                  <a:gd name="connsiteY530" fmla="*/ 572145 h 3993936"/>
                  <a:gd name="connsiteX531" fmla="*/ 802023 w 3565209"/>
                  <a:gd name="connsiteY531" fmla="*/ 569212 h 3993936"/>
                  <a:gd name="connsiteX532" fmla="*/ 800443 w 3565209"/>
                  <a:gd name="connsiteY532" fmla="*/ 568084 h 3993936"/>
                  <a:gd name="connsiteX533" fmla="*/ 781940 w 3565209"/>
                  <a:gd name="connsiteY533" fmla="*/ 557704 h 3993936"/>
                  <a:gd name="connsiteX534" fmla="*/ 762535 w 3565209"/>
                  <a:gd name="connsiteY534" fmla="*/ 549581 h 3993936"/>
                  <a:gd name="connsiteX535" fmla="*/ 745837 w 3565209"/>
                  <a:gd name="connsiteY535" fmla="*/ 522052 h 3993936"/>
                  <a:gd name="connsiteX536" fmla="*/ 744258 w 3565209"/>
                  <a:gd name="connsiteY536" fmla="*/ 514831 h 3993936"/>
                  <a:gd name="connsiteX537" fmla="*/ 742227 w 3565209"/>
                  <a:gd name="connsiteY537" fmla="*/ 471281 h 3993936"/>
                  <a:gd name="connsiteX538" fmla="*/ 744032 w 3565209"/>
                  <a:gd name="connsiteY538" fmla="*/ 417352 h 3993936"/>
                  <a:gd name="connsiteX539" fmla="*/ 743355 w 3565209"/>
                  <a:gd name="connsiteY539" fmla="*/ 410583 h 3993936"/>
                  <a:gd name="connsiteX540" fmla="*/ 740196 w 3565209"/>
                  <a:gd name="connsiteY540" fmla="*/ 386213 h 3993936"/>
                  <a:gd name="connsiteX541" fmla="*/ 737037 w 3565209"/>
                  <a:gd name="connsiteY541" fmla="*/ 376736 h 3993936"/>
                  <a:gd name="connsiteX542" fmla="*/ 735457 w 3565209"/>
                  <a:gd name="connsiteY542" fmla="*/ 350335 h 3993936"/>
                  <a:gd name="connsiteX543" fmla="*/ 755314 w 3565209"/>
                  <a:gd name="connsiteY543" fmla="*/ 334765 h 3993936"/>
                  <a:gd name="connsiteX544" fmla="*/ 759827 w 3565209"/>
                  <a:gd name="connsiteY544" fmla="*/ 332283 h 3993936"/>
                  <a:gd name="connsiteX545" fmla="*/ 759150 w 3565209"/>
                  <a:gd name="connsiteY545" fmla="*/ 325288 h 3993936"/>
                  <a:gd name="connsiteX546" fmla="*/ 758925 w 3565209"/>
                  <a:gd name="connsiteY546" fmla="*/ 312426 h 3993936"/>
                  <a:gd name="connsiteX547" fmla="*/ 767499 w 3565209"/>
                  <a:gd name="connsiteY547" fmla="*/ 308365 h 3993936"/>
                  <a:gd name="connsiteX548" fmla="*/ 789612 w 3565209"/>
                  <a:gd name="connsiteY548" fmla="*/ 292344 h 3993936"/>
                  <a:gd name="connsiteX549" fmla="*/ 797736 w 3565209"/>
                  <a:gd name="connsiteY549" fmla="*/ 283092 h 3993936"/>
                  <a:gd name="connsiteX550" fmla="*/ 800218 w 3565209"/>
                  <a:gd name="connsiteY550" fmla="*/ 275872 h 3993936"/>
                  <a:gd name="connsiteX551" fmla="*/ 783971 w 3565209"/>
                  <a:gd name="connsiteY551" fmla="*/ 244733 h 3993936"/>
                  <a:gd name="connsiteX552" fmla="*/ 770207 w 3565209"/>
                  <a:gd name="connsiteY552" fmla="*/ 227584 h 3993936"/>
                  <a:gd name="connsiteX553" fmla="*/ 761181 w 3565209"/>
                  <a:gd name="connsiteY553" fmla="*/ 215173 h 3993936"/>
                  <a:gd name="connsiteX554" fmla="*/ 743581 w 3565209"/>
                  <a:gd name="connsiteY554" fmla="*/ 206598 h 3993936"/>
                  <a:gd name="connsiteX555" fmla="*/ 726883 w 3565209"/>
                  <a:gd name="connsiteY555" fmla="*/ 198926 h 3993936"/>
                  <a:gd name="connsiteX556" fmla="*/ 711539 w 3565209"/>
                  <a:gd name="connsiteY556" fmla="*/ 180875 h 3993936"/>
                  <a:gd name="connsiteX557" fmla="*/ 684010 w 3565209"/>
                  <a:gd name="connsiteY557" fmla="*/ 153346 h 3993936"/>
                  <a:gd name="connsiteX558" fmla="*/ 676789 w 3565209"/>
                  <a:gd name="connsiteY558" fmla="*/ 153120 h 3993936"/>
                  <a:gd name="connsiteX559" fmla="*/ 645199 w 3565209"/>
                  <a:gd name="connsiteY559" fmla="*/ 147254 h 3993936"/>
                  <a:gd name="connsiteX560" fmla="*/ 634368 w 3565209"/>
                  <a:gd name="connsiteY560" fmla="*/ 111827 h 3993936"/>
                  <a:gd name="connsiteX561" fmla="*/ 642265 w 3565209"/>
                  <a:gd name="connsiteY561" fmla="*/ 95129 h 3993936"/>
                  <a:gd name="connsiteX562" fmla="*/ 661671 w 3565209"/>
                  <a:gd name="connsiteY562" fmla="*/ 84073 h 3993936"/>
                  <a:gd name="connsiteX563" fmla="*/ 681077 w 3565209"/>
                  <a:gd name="connsiteY563" fmla="*/ 72790 h 3993936"/>
                  <a:gd name="connsiteX564" fmla="*/ 691682 w 3565209"/>
                  <a:gd name="connsiteY564" fmla="*/ 54513 h 3993936"/>
                  <a:gd name="connsiteX565" fmla="*/ 698000 w 3565209"/>
                  <a:gd name="connsiteY565" fmla="*/ 41877 h 3993936"/>
                  <a:gd name="connsiteX566" fmla="*/ 727108 w 3565209"/>
                  <a:gd name="connsiteY566" fmla="*/ 29918 h 3993936"/>
                  <a:gd name="connsiteX567" fmla="*/ 753283 w 3565209"/>
                  <a:gd name="connsiteY567" fmla="*/ 31723 h 3993936"/>
                  <a:gd name="connsiteX568" fmla="*/ 784422 w 3565209"/>
                  <a:gd name="connsiteY568" fmla="*/ 32625 h 3993936"/>
                  <a:gd name="connsiteX569" fmla="*/ 807213 w 3565209"/>
                  <a:gd name="connsiteY569" fmla="*/ 23148 h 3993936"/>
                  <a:gd name="connsiteX570" fmla="*/ 816013 w 3565209"/>
                  <a:gd name="connsiteY570" fmla="*/ 18410 h 3993936"/>
                  <a:gd name="connsiteX571" fmla="*/ 817592 w 3565209"/>
                  <a:gd name="connsiteY571" fmla="*/ 17733 h 3993936"/>
                  <a:gd name="connsiteX572" fmla="*/ 857757 w 3565209"/>
                  <a:gd name="connsiteY572" fmla="*/ 3968 h 3993936"/>
                  <a:gd name="connsiteX573" fmla="*/ 875809 w 3565209"/>
                  <a:gd name="connsiteY573" fmla="*/ 2163 h 3993936"/>
                  <a:gd name="connsiteX574" fmla="*/ 890251 w 3565209"/>
                  <a:gd name="connsiteY574" fmla="*/ 132 h 3993936"/>
                  <a:gd name="connsiteX575" fmla="*/ 906271 w 3565209"/>
                  <a:gd name="connsiteY575" fmla="*/ 3743 h 3993936"/>
                  <a:gd name="connsiteX576" fmla="*/ 923195 w 3565209"/>
                  <a:gd name="connsiteY576" fmla="*/ 8932 h 3993936"/>
                  <a:gd name="connsiteX577" fmla="*/ 943729 w 3565209"/>
                  <a:gd name="connsiteY577" fmla="*/ 6676 h 3993936"/>
                  <a:gd name="connsiteX578" fmla="*/ 965165 w 3565209"/>
                  <a:gd name="connsiteY578" fmla="*/ 8707 h 3993936"/>
                  <a:gd name="connsiteX579" fmla="*/ 977801 w 3565209"/>
                  <a:gd name="connsiteY579" fmla="*/ 23374 h 3993936"/>
                  <a:gd name="connsiteX580" fmla="*/ 1013228 w 3565209"/>
                  <a:gd name="connsiteY580" fmla="*/ 59928 h 3993936"/>
                  <a:gd name="connsiteX581" fmla="*/ 1035792 w 3565209"/>
                  <a:gd name="connsiteY581" fmla="*/ 72790 h 3993936"/>
                  <a:gd name="connsiteX582" fmla="*/ 1059485 w 3565209"/>
                  <a:gd name="connsiteY582" fmla="*/ 86329 h 3993936"/>
                  <a:gd name="connsiteX583" fmla="*/ 1082275 w 3565209"/>
                  <a:gd name="connsiteY583" fmla="*/ 106412 h 3993936"/>
                  <a:gd name="connsiteX584" fmla="*/ 1095137 w 3565209"/>
                  <a:gd name="connsiteY584" fmla="*/ 118822 h 3993936"/>
                  <a:gd name="connsiteX585" fmla="*/ 1099876 w 3565209"/>
                  <a:gd name="connsiteY585" fmla="*/ 122207 h 3993936"/>
                  <a:gd name="connsiteX586" fmla="*/ 1124020 w 3565209"/>
                  <a:gd name="connsiteY586" fmla="*/ 148156 h 3993936"/>
                  <a:gd name="connsiteX587" fmla="*/ 1126276 w 3565209"/>
                  <a:gd name="connsiteY587" fmla="*/ 156731 h 3993936"/>
                  <a:gd name="connsiteX588" fmla="*/ 1132820 w 3565209"/>
                  <a:gd name="connsiteY588" fmla="*/ 177039 h 3993936"/>
                  <a:gd name="connsiteX589" fmla="*/ 1183365 w 3565209"/>
                  <a:gd name="connsiteY589" fmla="*/ 197347 h 3993936"/>
                  <a:gd name="connsiteX590" fmla="*/ 1199611 w 3565209"/>
                  <a:gd name="connsiteY590" fmla="*/ 210886 h 3993936"/>
                  <a:gd name="connsiteX591" fmla="*/ 1221048 w 3565209"/>
                  <a:gd name="connsiteY591" fmla="*/ 221040 h 3993936"/>
                  <a:gd name="connsiteX592" fmla="*/ 1262567 w 3565209"/>
                  <a:gd name="connsiteY592" fmla="*/ 212014 h 3993936"/>
                  <a:gd name="connsiteX593" fmla="*/ 1274300 w 3565209"/>
                  <a:gd name="connsiteY593" fmla="*/ 203214 h 3993936"/>
                  <a:gd name="connsiteX594" fmla="*/ 1318753 w 3565209"/>
                  <a:gd name="connsiteY594" fmla="*/ 174105 h 3993936"/>
                  <a:gd name="connsiteX595" fmla="*/ 1360497 w 3565209"/>
                  <a:gd name="connsiteY595" fmla="*/ 171849 h 3993936"/>
                  <a:gd name="connsiteX596" fmla="*/ 1386446 w 3565209"/>
                  <a:gd name="connsiteY596" fmla="*/ 170946 h 3993936"/>
                  <a:gd name="connsiteX597" fmla="*/ 1392088 w 3565209"/>
                  <a:gd name="connsiteY597" fmla="*/ 167336 h 3993936"/>
                  <a:gd name="connsiteX598" fmla="*/ 1408560 w 3565209"/>
                  <a:gd name="connsiteY598" fmla="*/ 162146 h 3993936"/>
                  <a:gd name="connsiteX599" fmla="*/ 1436314 w 3565209"/>
                  <a:gd name="connsiteY599" fmla="*/ 173880 h 3993936"/>
                  <a:gd name="connsiteX600" fmla="*/ 1467905 w 3565209"/>
                  <a:gd name="connsiteY600" fmla="*/ 189224 h 3993936"/>
                  <a:gd name="connsiteX601" fmla="*/ 1504008 w 3565209"/>
                  <a:gd name="connsiteY601" fmla="*/ 207727 h 3993936"/>
                  <a:gd name="connsiteX602" fmla="*/ 1508295 w 3565209"/>
                  <a:gd name="connsiteY602" fmla="*/ 211563 h 3993936"/>
                  <a:gd name="connsiteX603" fmla="*/ 1506265 w 3565209"/>
                  <a:gd name="connsiteY603" fmla="*/ 259400 h 3993936"/>
                  <a:gd name="connsiteX604" fmla="*/ 1487310 w 3565209"/>
                  <a:gd name="connsiteY604" fmla="*/ 310847 h 3993936"/>
                  <a:gd name="connsiteX605" fmla="*/ 1486859 w 3565209"/>
                  <a:gd name="connsiteY605" fmla="*/ 312426 h 3993936"/>
                  <a:gd name="connsiteX606" fmla="*/ 1467228 w 3565209"/>
                  <a:gd name="connsiteY606" fmla="*/ 339730 h 3993936"/>
                  <a:gd name="connsiteX607" fmla="*/ 1461812 w 3565209"/>
                  <a:gd name="connsiteY607" fmla="*/ 342663 h 3993936"/>
                  <a:gd name="connsiteX608" fmla="*/ 1451884 w 3565209"/>
                  <a:gd name="connsiteY608" fmla="*/ 353720 h 3993936"/>
                  <a:gd name="connsiteX609" fmla="*/ 1439248 w 3565209"/>
                  <a:gd name="connsiteY609" fmla="*/ 364776 h 3993936"/>
                  <a:gd name="connsiteX610" fmla="*/ 1431576 w 3565209"/>
                  <a:gd name="connsiteY610" fmla="*/ 367935 h 3993936"/>
                  <a:gd name="connsiteX611" fmla="*/ 1423001 w 3565209"/>
                  <a:gd name="connsiteY611" fmla="*/ 389823 h 3993936"/>
                  <a:gd name="connsiteX612" fmla="*/ 1415780 w 3565209"/>
                  <a:gd name="connsiteY612" fmla="*/ 416224 h 3993936"/>
                  <a:gd name="connsiteX613" fmla="*/ 1397954 w 3565209"/>
                  <a:gd name="connsiteY613" fmla="*/ 420962 h 3993936"/>
                  <a:gd name="connsiteX614" fmla="*/ 1377872 w 3565209"/>
                  <a:gd name="connsiteY614" fmla="*/ 423670 h 3993936"/>
                  <a:gd name="connsiteX615" fmla="*/ 1356661 w 3565209"/>
                  <a:gd name="connsiteY615" fmla="*/ 438788 h 3993936"/>
                  <a:gd name="connsiteX616" fmla="*/ 1363205 w 3565209"/>
                  <a:gd name="connsiteY616" fmla="*/ 455260 h 3993936"/>
                  <a:gd name="connsiteX617" fmla="*/ 1370200 w 3565209"/>
                  <a:gd name="connsiteY617" fmla="*/ 477825 h 3993936"/>
                  <a:gd name="connsiteX618" fmla="*/ 1364333 w 3565209"/>
                  <a:gd name="connsiteY618" fmla="*/ 484143 h 3993936"/>
                  <a:gd name="connsiteX619" fmla="*/ 1356661 w 3565209"/>
                  <a:gd name="connsiteY619" fmla="*/ 498359 h 3993936"/>
                  <a:gd name="connsiteX620" fmla="*/ 1356661 w 3565209"/>
                  <a:gd name="connsiteY620" fmla="*/ 500390 h 3993936"/>
                  <a:gd name="connsiteX621" fmla="*/ 1367718 w 3565209"/>
                  <a:gd name="connsiteY621" fmla="*/ 518441 h 3993936"/>
                  <a:gd name="connsiteX622" fmla="*/ 1372005 w 3565209"/>
                  <a:gd name="connsiteY622" fmla="*/ 519344 h 3993936"/>
                  <a:gd name="connsiteX623" fmla="*/ 1411042 w 3565209"/>
                  <a:gd name="connsiteY623" fmla="*/ 534011 h 3993936"/>
                  <a:gd name="connsiteX624" fmla="*/ 1410816 w 3565209"/>
                  <a:gd name="connsiteY624" fmla="*/ 548904 h 3993936"/>
                  <a:gd name="connsiteX625" fmla="*/ 1413298 w 3565209"/>
                  <a:gd name="connsiteY625" fmla="*/ 571694 h 3993936"/>
                  <a:gd name="connsiteX626" fmla="*/ 1416232 w 3565209"/>
                  <a:gd name="connsiteY626" fmla="*/ 574627 h 3993936"/>
                  <a:gd name="connsiteX627" fmla="*/ 1428191 w 3565209"/>
                  <a:gd name="connsiteY627" fmla="*/ 606669 h 3993936"/>
                  <a:gd name="connsiteX628" fmla="*/ 1411268 w 3565209"/>
                  <a:gd name="connsiteY628" fmla="*/ 626300 h 3993936"/>
                  <a:gd name="connsiteX629" fmla="*/ 1407657 w 3565209"/>
                  <a:gd name="connsiteY629" fmla="*/ 625849 h 3993936"/>
                  <a:gd name="connsiteX630" fmla="*/ 1390282 w 3565209"/>
                  <a:gd name="connsiteY630" fmla="*/ 633295 h 3993936"/>
                  <a:gd name="connsiteX631" fmla="*/ 1387123 w 3565209"/>
                  <a:gd name="connsiteY631" fmla="*/ 636906 h 3993936"/>
                  <a:gd name="connsiteX632" fmla="*/ 1364333 w 3565209"/>
                  <a:gd name="connsiteY632" fmla="*/ 652250 h 3993936"/>
                  <a:gd name="connsiteX633" fmla="*/ 1346507 w 3565209"/>
                  <a:gd name="connsiteY633" fmla="*/ 642547 h 3993936"/>
                  <a:gd name="connsiteX634" fmla="*/ 1343348 w 3565209"/>
                  <a:gd name="connsiteY634" fmla="*/ 640065 h 3993936"/>
                  <a:gd name="connsiteX635" fmla="*/ 1338158 w 3565209"/>
                  <a:gd name="connsiteY635" fmla="*/ 632393 h 3993936"/>
                  <a:gd name="connsiteX636" fmla="*/ 1328004 w 3565209"/>
                  <a:gd name="connsiteY636" fmla="*/ 619531 h 3993936"/>
                  <a:gd name="connsiteX637" fmla="*/ 1310178 w 3565209"/>
                  <a:gd name="connsiteY637" fmla="*/ 622915 h 3993936"/>
                  <a:gd name="connsiteX638" fmla="*/ 1303183 w 3565209"/>
                  <a:gd name="connsiteY638" fmla="*/ 624946 h 3993936"/>
                  <a:gd name="connsiteX639" fmla="*/ 1298670 w 3565209"/>
                  <a:gd name="connsiteY639" fmla="*/ 628557 h 3993936"/>
                  <a:gd name="connsiteX640" fmla="*/ 1298896 w 3565209"/>
                  <a:gd name="connsiteY640" fmla="*/ 637131 h 3993936"/>
                  <a:gd name="connsiteX641" fmla="*/ 1301829 w 3565209"/>
                  <a:gd name="connsiteY641" fmla="*/ 650896 h 3993936"/>
                  <a:gd name="connsiteX642" fmla="*/ 1303183 w 3565209"/>
                  <a:gd name="connsiteY642" fmla="*/ 661275 h 3993936"/>
                  <a:gd name="connsiteX643" fmla="*/ 1319655 w 3565209"/>
                  <a:gd name="connsiteY643" fmla="*/ 686096 h 3993936"/>
                  <a:gd name="connsiteX644" fmla="*/ 1322137 w 3565209"/>
                  <a:gd name="connsiteY644" fmla="*/ 689255 h 3993936"/>
                  <a:gd name="connsiteX645" fmla="*/ 1332968 w 3565209"/>
                  <a:gd name="connsiteY645" fmla="*/ 724682 h 3993936"/>
                  <a:gd name="connsiteX646" fmla="*/ 1331163 w 3565209"/>
                  <a:gd name="connsiteY646" fmla="*/ 735062 h 3993936"/>
                  <a:gd name="connsiteX647" fmla="*/ 1332517 w 3565209"/>
                  <a:gd name="connsiteY647" fmla="*/ 746118 h 3993936"/>
                  <a:gd name="connsiteX648" fmla="*/ 1338609 w 3565209"/>
                  <a:gd name="connsiteY648" fmla="*/ 770037 h 3993936"/>
                  <a:gd name="connsiteX649" fmla="*/ 1344928 w 3565209"/>
                  <a:gd name="connsiteY649" fmla="*/ 794407 h 3993936"/>
                  <a:gd name="connsiteX650" fmla="*/ 1359143 w 3565209"/>
                  <a:gd name="connsiteY650" fmla="*/ 798017 h 3993936"/>
                  <a:gd name="connsiteX651" fmla="*/ 1361851 w 3565209"/>
                  <a:gd name="connsiteY651" fmla="*/ 796437 h 3993936"/>
                  <a:gd name="connsiteX652" fmla="*/ 1381257 w 3565209"/>
                  <a:gd name="connsiteY652" fmla="*/ 791473 h 3993936"/>
                  <a:gd name="connsiteX653" fmla="*/ 1399083 w 3565209"/>
                  <a:gd name="connsiteY653" fmla="*/ 814715 h 3993936"/>
                  <a:gd name="connsiteX654" fmla="*/ 1399985 w 3565209"/>
                  <a:gd name="connsiteY654" fmla="*/ 816294 h 3993936"/>
                  <a:gd name="connsiteX655" fmla="*/ 1433381 w 3565209"/>
                  <a:gd name="connsiteY655" fmla="*/ 843146 h 3993936"/>
                  <a:gd name="connsiteX656" fmla="*/ 1447371 w 3565209"/>
                  <a:gd name="connsiteY656" fmla="*/ 843597 h 3993936"/>
                  <a:gd name="connsiteX657" fmla="*/ 1461361 w 3565209"/>
                  <a:gd name="connsiteY657" fmla="*/ 846079 h 3993936"/>
                  <a:gd name="connsiteX658" fmla="*/ 1484151 w 3565209"/>
                  <a:gd name="connsiteY658" fmla="*/ 860521 h 3993936"/>
                  <a:gd name="connsiteX659" fmla="*/ 1492951 w 3565209"/>
                  <a:gd name="connsiteY659" fmla="*/ 866388 h 3993936"/>
                  <a:gd name="connsiteX660" fmla="*/ 1504685 w 3565209"/>
                  <a:gd name="connsiteY660" fmla="*/ 877219 h 3993936"/>
                  <a:gd name="connsiteX661" fmla="*/ 1511680 w 3565209"/>
                  <a:gd name="connsiteY661" fmla="*/ 884891 h 3993936"/>
                  <a:gd name="connsiteX662" fmla="*/ 1517773 w 3565209"/>
                  <a:gd name="connsiteY662" fmla="*/ 891209 h 3993936"/>
                  <a:gd name="connsiteX663" fmla="*/ 1533342 w 3565209"/>
                  <a:gd name="connsiteY663" fmla="*/ 904071 h 3993936"/>
                  <a:gd name="connsiteX664" fmla="*/ 1560194 w 3565209"/>
                  <a:gd name="connsiteY664" fmla="*/ 915127 h 3993936"/>
                  <a:gd name="connsiteX665" fmla="*/ 1580276 w 3565209"/>
                  <a:gd name="connsiteY665" fmla="*/ 936789 h 3993936"/>
                  <a:gd name="connsiteX666" fmla="*/ 1582533 w 3565209"/>
                  <a:gd name="connsiteY666" fmla="*/ 940851 h 3993936"/>
                  <a:gd name="connsiteX667" fmla="*/ 1566963 w 3565209"/>
                  <a:gd name="connsiteY667" fmla="*/ 978534 h 3993936"/>
                  <a:gd name="connsiteX668" fmla="*/ 1561773 w 3565209"/>
                  <a:gd name="connsiteY668" fmla="*/ 985077 h 3993936"/>
                  <a:gd name="connsiteX669" fmla="*/ 1550265 w 3565209"/>
                  <a:gd name="connsiteY669" fmla="*/ 994555 h 3993936"/>
                  <a:gd name="connsiteX670" fmla="*/ 1537404 w 3565209"/>
                  <a:gd name="connsiteY670" fmla="*/ 1008093 h 3993936"/>
                  <a:gd name="connsiteX671" fmla="*/ 1533793 w 3565209"/>
                  <a:gd name="connsiteY671" fmla="*/ 1022084 h 3993936"/>
                  <a:gd name="connsiteX672" fmla="*/ 1522737 w 3565209"/>
                  <a:gd name="connsiteY672" fmla="*/ 1046453 h 3993936"/>
                  <a:gd name="connsiteX673" fmla="*/ 1508295 w 3565209"/>
                  <a:gd name="connsiteY673" fmla="*/ 1078721 h 3993936"/>
                  <a:gd name="connsiteX674" fmla="*/ 1497690 w 3565209"/>
                  <a:gd name="connsiteY674" fmla="*/ 1115050 h 3993936"/>
                  <a:gd name="connsiteX675" fmla="*/ 1492274 w 3565209"/>
                  <a:gd name="connsiteY675" fmla="*/ 1129040 h 3993936"/>
                  <a:gd name="connsiteX676" fmla="*/ 1529732 w 3565209"/>
                  <a:gd name="connsiteY676" fmla="*/ 1161758 h 3993936"/>
                  <a:gd name="connsiteX677" fmla="*/ 1550040 w 3565209"/>
                  <a:gd name="connsiteY677" fmla="*/ 1168979 h 3993936"/>
                  <a:gd name="connsiteX678" fmla="*/ 1596749 w 3565209"/>
                  <a:gd name="connsiteY678" fmla="*/ 1189287 h 3993936"/>
                  <a:gd name="connsiteX679" fmla="*/ 1615929 w 3565209"/>
                  <a:gd name="connsiteY679" fmla="*/ 1200795 h 3993936"/>
                  <a:gd name="connsiteX680" fmla="*/ 1647970 w 3565209"/>
                  <a:gd name="connsiteY680" fmla="*/ 1225842 h 3993936"/>
                  <a:gd name="connsiteX681" fmla="*/ 1668278 w 3565209"/>
                  <a:gd name="connsiteY681" fmla="*/ 1243894 h 3993936"/>
                  <a:gd name="connsiteX682" fmla="*/ 1681140 w 3565209"/>
                  <a:gd name="connsiteY682" fmla="*/ 1253596 h 3993936"/>
                  <a:gd name="connsiteX683" fmla="*/ 1717921 w 3565209"/>
                  <a:gd name="connsiteY683" fmla="*/ 1268940 h 3993936"/>
                  <a:gd name="connsiteX684" fmla="*/ 1749285 w 3565209"/>
                  <a:gd name="connsiteY684" fmla="*/ 1278869 h 3993936"/>
                  <a:gd name="connsiteX685" fmla="*/ 1750639 w 3565209"/>
                  <a:gd name="connsiteY685" fmla="*/ 1279546 h 3993936"/>
                  <a:gd name="connsiteX686" fmla="*/ 1763727 w 3565209"/>
                  <a:gd name="connsiteY686" fmla="*/ 1286315 h 3993936"/>
                  <a:gd name="connsiteX687" fmla="*/ 1785163 w 3565209"/>
                  <a:gd name="connsiteY687" fmla="*/ 1296920 h 3993936"/>
                  <a:gd name="connsiteX688" fmla="*/ 1836159 w 3565209"/>
                  <a:gd name="connsiteY688" fmla="*/ 1320839 h 3993936"/>
                  <a:gd name="connsiteX689" fmla="*/ 1836159 w 3565209"/>
                  <a:gd name="connsiteY689" fmla="*/ 1320839 h 3993936"/>
                  <a:gd name="connsiteX690" fmla="*/ 1856016 w 3565209"/>
                  <a:gd name="connsiteY690" fmla="*/ 1321290 h 3993936"/>
                  <a:gd name="connsiteX691" fmla="*/ 1856919 w 3565209"/>
                  <a:gd name="connsiteY691" fmla="*/ 1321065 h 3993936"/>
                  <a:gd name="connsiteX692" fmla="*/ 1875422 w 3565209"/>
                  <a:gd name="connsiteY692" fmla="*/ 1325803 h 3993936"/>
                  <a:gd name="connsiteX693" fmla="*/ 1887832 w 3565209"/>
                  <a:gd name="connsiteY693" fmla="*/ 1338665 h 3993936"/>
                  <a:gd name="connsiteX694" fmla="*/ 1887155 w 3565209"/>
                  <a:gd name="connsiteY694" fmla="*/ 1334152 h 3993936"/>
                  <a:gd name="connsiteX695" fmla="*/ 1888058 w 3565209"/>
                  <a:gd name="connsiteY695" fmla="*/ 1320613 h 3993936"/>
                  <a:gd name="connsiteX696" fmla="*/ 1893022 w 3565209"/>
                  <a:gd name="connsiteY696" fmla="*/ 1318131 h 3993936"/>
                  <a:gd name="connsiteX697" fmla="*/ 1894602 w 3565209"/>
                  <a:gd name="connsiteY697" fmla="*/ 1317906 h 3993936"/>
                  <a:gd name="connsiteX698" fmla="*/ 1929577 w 3565209"/>
                  <a:gd name="connsiteY698" fmla="*/ 1320839 h 3993936"/>
                  <a:gd name="connsiteX699" fmla="*/ 1937023 w 3565209"/>
                  <a:gd name="connsiteY699" fmla="*/ 1326254 h 3993936"/>
                  <a:gd name="connsiteX700" fmla="*/ 1946951 w 3565209"/>
                  <a:gd name="connsiteY700" fmla="*/ 1334378 h 3993936"/>
                  <a:gd name="connsiteX701" fmla="*/ 1947177 w 3565209"/>
                  <a:gd name="connsiteY701" fmla="*/ 1333926 h 3993936"/>
                  <a:gd name="connsiteX702" fmla="*/ 1961393 w 3565209"/>
                  <a:gd name="connsiteY702" fmla="*/ 1319936 h 3993936"/>
                  <a:gd name="connsiteX703" fmla="*/ 1963875 w 3565209"/>
                  <a:gd name="connsiteY703" fmla="*/ 1320388 h 3993936"/>
                  <a:gd name="connsiteX704" fmla="*/ 1974706 w 3565209"/>
                  <a:gd name="connsiteY704" fmla="*/ 1317454 h 3993936"/>
                  <a:gd name="connsiteX705" fmla="*/ 1975383 w 3565209"/>
                  <a:gd name="connsiteY705" fmla="*/ 1316777 h 3993936"/>
                  <a:gd name="connsiteX706" fmla="*/ 1996819 w 3565209"/>
                  <a:gd name="connsiteY706" fmla="*/ 1315198 h 3993936"/>
                  <a:gd name="connsiteX707" fmla="*/ 2001783 w 3565209"/>
                  <a:gd name="connsiteY707" fmla="*/ 1323998 h 3993936"/>
                  <a:gd name="connsiteX708" fmla="*/ 2006973 w 3565209"/>
                  <a:gd name="connsiteY708" fmla="*/ 1330316 h 3993936"/>
                  <a:gd name="connsiteX709" fmla="*/ 2014194 w 3565209"/>
                  <a:gd name="connsiteY709" fmla="*/ 1328962 h 3993936"/>
                  <a:gd name="connsiteX710" fmla="*/ 2025251 w 3565209"/>
                  <a:gd name="connsiteY710" fmla="*/ 1327157 h 3993936"/>
                  <a:gd name="connsiteX711" fmla="*/ 2045107 w 3565209"/>
                  <a:gd name="connsiteY711" fmla="*/ 1338439 h 3993936"/>
                  <a:gd name="connsiteX712" fmla="*/ 2050072 w 3565209"/>
                  <a:gd name="connsiteY712" fmla="*/ 1359650 h 3993936"/>
                  <a:gd name="connsiteX713" fmla="*/ 2048492 w 3565209"/>
                  <a:gd name="connsiteY713" fmla="*/ 1363937 h 3993936"/>
                  <a:gd name="connsiteX714" fmla="*/ 2046236 w 3565209"/>
                  <a:gd name="connsiteY714" fmla="*/ 1373866 h 3993936"/>
                  <a:gd name="connsiteX715" fmla="*/ 2047364 w 3565209"/>
                  <a:gd name="connsiteY715" fmla="*/ 1374317 h 3993936"/>
                  <a:gd name="connsiteX716" fmla="*/ 2095201 w 3565209"/>
                  <a:gd name="connsiteY716" fmla="*/ 1388758 h 3993936"/>
                  <a:gd name="connsiteX717" fmla="*/ 2101519 w 3565209"/>
                  <a:gd name="connsiteY717" fmla="*/ 1393497 h 3993936"/>
                  <a:gd name="connsiteX718" fmla="*/ 2143715 w 3565209"/>
                  <a:gd name="connsiteY718" fmla="*/ 1402748 h 3993936"/>
                  <a:gd name="connsiteX719" fmla="*/ 2148228 w 3565209"/>
                  <a:gd name="connsiteY719" fmla="*/ 1399815 h 3993936"/>
                  <a:gd name="connsiteX720" fmla="*/ 2173049 w 3565209"/>
                  <a:gd name="connsiteY720" fmla="*/ 1394851 h 3993936"/>
                  <a:gd name="connsiteX721" fmla="*/ 2178239 w 3565209"/>
                  <a:gd name="connsiteY721" fmla="*/ 1410195 h 3993936"/>
                  <a:gd name="connsiteX722" fmla="*/ 2180270 w 3565209"/>
                  <a:gd name="connsiteY722" fmla="*/ 1421026 h 3993936"/>
                  <a:gd name="connsiteX723" fmla="*/ 2198998 w 3565209"/>
                  <a:gd name="connsiteY723" fmla="*/ 1428021 h 3993936"/>
                  <a:gd name="connsiteX724" fmla="*/ 2210732 w 3565209"/>
                  <a:gd name="connsiteY724" fmla="*/ 1425087 h 3993936"/>
                  <a:gd name="connsiteX725" fmla="*/ 2221789 w 3565209"/>
                  <a:gd name="connsiteY725" fmla="*/ 1422154 h 3993936"/>
                  <a:gd name="connsiteX726" fmla="*/ 2268497 w 3565209"/>
                  <a:gd name="connsiteY726" fmla="*/ 1432082 h 3993936"/>
                  <a:gd name="connsiteX727" fmla="*/ 2272333 w 3565209"/>
                  <a:gd name="connsiteY727" fmla="*/ 1433662 h 3993936"/>
                  <a:gd name="connsiteX728" fmla="*/ 2320621 w 3565209"/>
                  <a:gd name="connsiteY728" fmla="*/ 1438175 h 3993936"/>
                  <a:gd name="connsiteX729" fmla="*/ 2354920 w 3565209"/>
                  <a:gd name="connsiteY729" fmla="*/ 1439980 h 3993936"/>
                  <a:gd name="connsiteX730" fmla="*/ 2359207 w 3565209"/>
                  <a:gd name="connsiteY730" fmla="*/ 1442914 h 3993936"/>
                  <a:gd name="connsiteX731" fmla="*/ 2378161 w 3565209"/>
                  <a:gd name="connsiteY731" fmla="*/ 1445170 h 3993936"/>
                  <a:gd name="connsiteX732" fmla="*/ 2396213 w 3565209"/>
                  <a:gd name="connsiteY732" fmla="*/ 1439078 h 3993936"/>
                  <a:gd name="connsiteX733" fmla="*/ 2404336 w 3565209"/>
                  <a:gd name="connsiteY733" fmla="*/ 1443365 h 3993936"/>
                  <a:gd name="connsiteX734" fmla="*/ 2408398 w 3565209"/>
                  <a:gd name="connsiteY734" fmla="*/ 1445847 h 3993936"/>
                  <a:gd name="connsiteX735" fmla="*/ 2414265 w 3565209"/>
                  <a:gd name="connsiteY735" fmla="*/ 1444944 h 3993936"/>
                  <a:gd name="connsiteX736" fmla="*/ 2417649 w 3565209"/>
                  <a:gd name="connsiteY736" fmla="*/ 1443590 h 3993936"/>
                  <a:gd name="connsiteX737" fmla="*/ 2424419 w 3565209"/>
                  <a:gd name="connsiteY737" fmla="*/ 1438626 h 3993936"/>
                  <a:gd name="connsiteX738" fmla="*/ 2424193 w 3565209"/>
                  <a:gd name="connsiteY738" fmla="*/ 1436595 h 3993936"/>
                  <a:gd name="connsiteX739" fmla="*/ 2424419 w 3565209"/>
                  <a:gd name="connsiteY739" fmla="*/ 1433211 h 3993936"/>
                  <a:gd name="connsiteX740" fmla="*/ 2430511 w 3565209"/>
                  <a:gd name="connsiteY740" fmla="*/ 1430954 h 3993936"/>
                  <a:gd name="connsiteX741" fmla="*/ 2434799 w 3565209"/>
                  <a:gd name="connsiteY741" fmla="*/ 1430277 h 3993936"/>
                  <a:gd name="connsiteX742" fmla="*/ 2447435 w 3565209"/>
                  <a:gd name="connsiteY742" fmla="*/ 1434113 h 3993936"/>
                  <a:gd name="connsiteX743" fmla="*/ 2454204 w 3565209"/>
                  <a:gd name="connsiteY743" fmla="*/ 1441334 h 3993936"/>
                  <a:gd name="connsiteX744" fmla="*/ 2456461 w 3565209"/>
                  <a:gd name="connsiteY744" fmla="*/ 1442688 h 3993936"/>
                  <a:gd name="connsiteX745" fmla="*/ 2458943 w 3565209"/>
                  <a:gd name="connsiteY745" fmla="*/ 1444042 h 3993936"/>
                  <a:gd name="connsiteX746" fmla="*/ 2461650 w 3565209"/>
                  <a:gd name="connsiteY746" fmla="*/ 1436144 h 3993936"/>
                  <a:gd name="connsiteX747" fmla="*/ 2467517 w 3565209"/>
                  <a:gd name="connsiteY747" fmla="*/ 1421477 h 3993936"/>
                  <a:gd name="connsiteX748" fmla="*/ 2470450 w 3565209"/>
                  <a:gd name="connsiteY748" fmla="*/ 1414256 h 3993936"/>
                  <a:gd name="connsiteX749" fmla="*/ 2474738 w 3565209"/>
                  <a:gd name="connsiteY749" fmla="*/ 1405456 h 3993936"/>
                  <a:gd name="connsiteX750" fmla="*/ 2475866 w 3565209"/>
                  <a:gd name="connsiteY750" fmla="*/ 1385599 h 3993936"/>
                  <a:gd name="connsiteX751" fmla="*/ 2475189 w 3565209"/>
                  <a:gd name="connsiteY751" fmla="*/ 1383794 h 3993936"/>
                  <a:gd name="connsiteX752" fmla="*/ 2462327 w 3565209"/>
                  <a:gd name="connsiteY752" fmla="*/ 1365066 h 3993936"/>
                  <a:gd name="connsiteX753" fmla="*/ 2447435 w 3565209"/>
                  <a:gd name="connsiteY753" fmla="*/ 1343404 h 3993936"/>
                  <a:gd name="connsiteX754" fmla="*/ 2453076 w 3565209"/>
                  <a:gd name="connsiteY754" fmla="*/ 1333475 h 3993936"/>
                  <a:gd name="connsiteX755" fmla="*/ 2455558 w 3565209"/>
                  <a:gd name="connsiteY755" fmla="*/ 1330542 h 3993936"/>
                  <a:gd name="connsiteX756" fmla="*/ 2454881 w 3565209"/>
                  <a:gd name="connsiteY756" fmla="*/ 1328511 h 3993936"/>
                  <a:gd name="connsiteX757" fmla="*/ 2452173 w 3565209"/>
                  <a:gd name="connsiteY757" fmla="*/ 1310685 h 3993936"/>
                  <a:gd name="connsiteX758" fmla="*/ 2456686 w 3565209"/>
                  <a:gd name="connsiteY758" fmla="*/ 1290602 h 3993936"/>
                  <a:gd name="connsiteX759" fmla="*/ 2458040 w 3565209"/>
                  <a:gd name="connsiteY759" fmla="*/ 1287895 h 3993936"/>
                  <a:gd name="connsiteX760" fmla="*/ 2458943 w 3565209"/>
                  <a:gd name="connsiteY760" fmla="*/ 1279997 h 3993936"/>
                  <a:gd name="connsiteX761" fmla="*/ 2461876 w 3565209"/>
                  <a:gd name="connsiteY761" fmla="*/ 1269392 h 3993936"/>
                  <a:gd name="connsiteX762" fmla="*/ 2465938 w 3565209"/>
                  <a:gd name="connsiteY762" fmla="*/ 1263299 h 3993936"/>
                  <a:gd name="connsiteX763" fmla="*/ 2468645 w 3565209"/>
                  <a:gd name="connsiteY763" fmla="*/ 1258109 h 3993936"/>
                  <a:gd name="connsiteX764" fmla="*/ 2467066 w 3565209"/>
                  <a:gd name="connsiteY764" fmla="*/ 1252242 h 3993936"/>
                  <a:gd name="connsiteX765" fmla="*/ 2463907 w 3565209"/>
                  <a:gd name="connsiteY765" fmla="*/ 1247278 h 3993936"/>
                  <a:gd name="connsiteX766" fmla="*/ 2460973 w 3565209"/>
                  <a:gd name="connsiteY766" fmla="*/ 1242540 h 3993936"/>
                  <a:gd name="connsiteX767" fmla="*/ 2458266 w 3565209"/>
                  <a:gd name="connsiteY767" fmla="*/ 1234191 h 3993936"/>
                  <a:gd name="connsiteX768" fmla="*/ 2474061 w 3565209"/>
                  <a:gd name="connsiteY768" fmla="*/ 1229227 h 3993936"/>
                  <a:gd name="connsiteX769" fmla="*/ 2481056 w 3565209"/>
                  <a:gd name="connsiteY769" fmla="*/ 1230355 h 3993936"/>
                  <a:gd name="connsiteX770" fmla="*/ 2488954 w 3565209"/>
                  <a:gd name="connsiteY770" fmla="*/ 1229678 h 3993936"/>
                  <a:gd name="connsiteX771" fmla="*/ 2500913 w 3565209"/>
                  <a:gd name="connsiteY771" fmla="*/ 1219073 h 3993936"/>
                  <a:gd name="connsiteX772" fmla="*/ 2503620 w 3565209"/>
                  <a:gd name="connsiteY772" fmla="*/ 1215237 h 3993936"/>
                  <a:gd name="connsiteX773" fmla="*/ 2512872 w 3565209"/>
                  <a:gd name="connsiteY773" fmla="*/ 1208918 h 3993936"/>
                  <a:gd name="connsiteX774" fmla="*/ 2515580 w 3565209"/>
                  <a:gd name="connsiteY774" fmla="*/ 1207790 h 3993936"/>
                  <a:gd name="connsiteX775" fmla="*/ 2527765 w 3565209"/>
                  <a:gd name="connsiteY775" fmla="*/ 1208693 h 3993936"/>
                  <a:gd name="connsiteX776" fmla="*/ 2551683 w 3565209"/>
                  <a:gd name="connsiteY776" fmla="*/ 1222909 h 3993936"/>
                  <a:gd name="connsiteX777" fmla="*/ 2552134 w 3565209"/>
                  <a:gd name="connsiteY777" fmla="*/ 1223360 h 3993936"/>
                  <a:gd name="connsiteX778" fmla="*/ 2557099 w 3565209"/>
                  <a:gd name="connsiteY778" fmla="*/ 1245699 h 3993936"/>
                  <a:gd name="connsiteX779" fmla="*/ 2553037 w 3565209"/>
                  <a:gd name="connsiteY779" fmla="*/ 1266910 h 3993936"/>
                  <a:gd name="connsiteX780" fmla="*/ 2552811 w 3565209"/>
                  <a:gd name="connsiteY780" fmla="*/ 1269166 h 3993936"/>
                  <a:gd name="connsiteX781" fmla="*/ 2548750 w 3565209"/>
                  <a:gd name="connsiteY781" fmla="*/ 1277741 h 3993936"/>
                  <a:gd name="connsiteX782" fmla="*/ 2545591 w 3565209"/>
                  <a:gd name="connsiteY782" fmla="*/ 1282479 h 3993936"/>
                  <a:gd name="connsiteX783" fmla="*/ 2546268 w 3565209"/>
                  <a:gd name="connsiteY783" fmla="*/ 1295341 h 3993936"/>
                  <a:gd name="connsiteX784" fmla="*/ 2548298 w 3565209"/>
                  <a:gd name="connsiteY784" fmla="*/ 1298726 h 3993936"/>
                  <a:gd name="connsiteX785" fmla="*/ 2553263 w 3565209"/>
                  <a:gd name="connsiteY785" fmla="*/ 1303239 h 3993936"/>
                  <a:gd name="connsiteX786" fmla="*/ 2558227 w 3565209"/>
                  <a:gd name="connsiteY786" fmla="*/ 1308428 h 3993936"/>
                  <a:gd name="connsiteX787" fmla="*/ 2554842 w 3565209"/>
                  <a:gd name="connsiteY787" fmla="*/ 1317003 h 3993936"/>
                  <a:gd name="connsiteX788" fmla="*/ 2550781 w 3565209"/>
                  <a:gd name="connsiteY788" fmla="*/ 1321967 h 3993936"/>
                  <a:gd name="connsiteX789" fmla="*/ 2542883 w 3565209"/>
                  <a:gd name="connsiteY789" fmla="*/ 1332347 h 3993936"/>
                  <a:gd name="connsiteX790" fmla="*/ 2548524 w 3565209"/>
                  <a:gd name="connsiteY790" fmla="*/ 1334378 h 3993936"/>
                  <a:gd name="connsiteX791" fmla="*/ 2549652 w 3565209"/>
                  <a:gd name="connsiteY791" fmla="*/ 1334603 h 3993936"/>
                  <a:gd name="connsiteX792" fmla="*/ 2561837 w 3565209"/>
                  <a:gd name="connsiteY792" fmla="*/ 1350624 h 3993936"/>
                  <a:gd name="connsiteX793" fmla="*/ 2560483 w 3565209"/>
                  <a:gd name="connsiteY793" fmla="*/ 1355363 h 3993936"/>
                  <a:gd name="connsiteX794" fmla="*/ 2559581 w 3565209"/>
                  <a:gd name="connsiteY794" fmla="*/ 1358296 h 3993936"/>
                  <a:gd name="connsiteX795" fmla="*/ 2563417 w 3565209"/>
                  <a:gd name="connsiteY795" fmla="*/ 1358973 h 3993936"/>
                  <a:gd name="connsiteX796" fmla="*/ 2578761 w 3565209"/>
                  <a:gd name="connsiteY796" fmla="*/ 1363035 h 3993936"/>
                  <a:gd name="connsiteX797" fmla="*/ 2581469 w 3565209"/>
                  <a:gd name="connsiteY797" fmla="*/ 1364840 h 3993936"/>
                  <a:gd name="connsiteX798" fmla="*/ 2589140 w 3565209"/>
                  <a:gd name="connsiteY798" fmla="*/ 1370255 h 3993936"/>
                  <a:gd name="connsiteX799" fmla="*/ 2597489 w 3565209"/>
                  <a:gd name="connsiteY799" fmla="*/ 1375897 h 3993936"/>
                  <a:gd name="connsiteX800" fmla="*/ 2597489 w 3565209"/>
                  <a:gd name="connsiteY800" fmla="*/ 1375897 h 3993936"/>
                  <a:gd name="connsiteX801" fmla="*/ 2599971 w 3565209"/>
                  <a:gd name="connsiteY801" fmla="*/ 1377476 h 3993936"/>
                  <a:gd name="connsiteX802" fmla="*/ 2602905 w 3565209"/>
                  <a:gd name="connsiteY802" fmla="*/ 1376122 h 3993936"/>
                  <a:gd name="connsiteX803" fmla="*/ 2608772 w 3565209"/>
                  <a:gd name="connsiteY803" fmla="*/ 1371609 h 3993936"/>
                  <a:gd name="connsiteX804" fmla="*/ 2618474 w 3565209"/>
                  <a:gd name="connsiteY804" fmla="*/ 1366645 h 3993936"/>
                  <a:gd name="connsiteX805" fmla="*/ 2620731 w 3565209"/>
                  <a:gd name="connsiteY805" fmla="*/ 1366645 h 3993936"/>
                  <a:gd name="connsiteX806" fmla="*/ 2636075 w 3565209"/>
                  <a:gd name="connsiteY806" fmla="*/ 1371835 h 3993936"/>
                  <a:gd name="connsiteX807" fmla="*/ 2641039 w 3565209"/>
                  <a:gd name="connsiteY807" fmla="*/ 1376348 h 3993936"/>
                  <a:gd name="connsiteX808" fmla="*/ 2650516 w 3565209"/>
                  <a:gd name="connsiteY808" fmla="*/ 1380861 h 3993936"/>
                  <a:gd name="connsiteX809" fmla="*/ 2656157 w 3565209"/>
                  <a:gd name="connsiteY809" fmla="*/ 1380635 h 3993936"/>
                  <a:gd name="connsiteX810" fmla="*/ 2664732 w 3565209"/>
                  <a:gd name="connsiteY810" fmla="*/ 1381989 h 3993936"/>
                  <a:gd name="connsiteX811" fmla="*/ 2671501 w 3565209"/>
                  <a:gd name="connsiteY811" fmla="*/ 1383343 h 3993936"/>
                  <a:gd name="connsiteX812" fmla="*/ 2677594 w 3565209"/>
                  <a:gd name="connsiteY812" fmla="*/ 1384246 h 3993936"/>
                  <a:gd name="connsiteX813" fmla="*/ 2686620 w 3565209"/>
                  <a:gd name="connsiteY813" fmla="*/ 1383117 h 3993936"/>
                  <a:gd name="connsiteX814" fmla="*/ 2702189 w 3565209"/>
                  <a:gd name="connsiteY814" fmla="*/ 1380861 h 3993936"/>
                  <a:gd name="connsiteX815" fmla="*/ 2718210 w 3565209"/>
                  <a:gd name="connsiteY815" fmla="*/ 1374543 h 3993936"/>
                  <a:gd name="connsiteX816" fmla="*/ 2722497 w 3565209"/>
                  <a:gd name="connsiteY816" fmla="*/ 1367548 h 3993936"/>
                  <a:gd name="connsiteX817" fmla="*/ 2729041 w 3565209"/>
                  <a:gd name="connsiteY817" fmla="*/ 1360101 h 3993936"/>
                  <a:gd name="connsiteX818" fmla="*/ 2731749 w 3565209"/>
                  <a:gd name="connsiteY818" fmla="*/ 1358747 h 3993936"/>
                  <a:gd name="connsiteX819" fmla="*/ 2743482 w 3565209"/>
                  <a:gd name="connsiteY819" fmla="*/ 1355814 h 3993936"/>
                  <a:gd name="connsiteX820" fmla="*/ 2753862 w 3565209"/>
                  <a:gd name="connsiteY820" fmla="*/ 1362358 h 3993936"/>
                  <a:gd name="connsiteX821" fmla="*/ 2757924 w 3565209"/>
                  <a:gd name="connsiteY821" fmla="*/ 1366194 h 3993936"/>
                  <a:gd name="connsiteX822" fmla="*/ 2788386 w 3565209"/>
                  <a:gd name="connsiteY822" fmla="*/ 1368225 h 3993936"/>
                  <a:gd name="connsiteX823" fmla="*/ 2798314 w 3565209"/>
                  <a:gd name="connsiteY823" fmla="*/ 1365291 h 3993936"/>
                  <a:gd name="connsiteX824" fmla="*/ 2813884 w 3565209"/>
                  <a:gd name="connsiteY824" fmla="*/ 1363712 h 3993936"/>
                  <a:gd name="connsiteX825" fmla="*/ 2828100 w 3565209"/>
                  <a:gd name="connsiteY825" fmla="*/ 1357394 h 3993936"/>
                  <a:gd name="connsiteX826" fmla="*/ 2843444 w 3565209"/>
                  <a:gd name="connsiteY826" fmla="*/ 1353783 h 3993936"/>
                  <a:gd name="connsiteX827" fmla="*/ 2854726 w 3565209"/>
                  <a:gd name="connsiteY827" fmla="*/ 1359876 h 3993936"/>
                  <a:gd name="connsiteX828" fmla="*/ 2861270 w 3565209"/>
                  <a:gd name="connsiteY828" fmla="*/ 1361230 h 3993936"/>
                  <a:gd name="connsiteX829" fmla="*/ 2878419 w 3565209"/>
                  <a:gd name="connsiteY829" fmla="*/ 1354235 h 3993936"/>
                  <a:gd name="connsiteX830" fmla="*/ 2889701 w 3565209"/>
                  <a:gd name="connsiteY830" fmla="*/ 1354235 h 3993936"/>
                  <a:gd name="connsiteX831" fmla="*/ 2901660 w 3565209"/>
                  <a:gd name="connsiteY831" fmla="*/ 1352881 h 3993936"/>
                  <a:gd name="connsiteX832" fmla="*/ 2909784 w 3565209"/>
                  <a:gd name="connsiteY832" fmla="*/ 1345209 h 3993936"/>
                  <a:gd name="connsiteX833" fmla="*/ 2927610 w 3565209"/>
                  <a:gd name="connsiteY833" fmla="*/ 1337537 h 3993936"/>
                  <a:gd name="connsiteX834" fmla="*/ 2937538 w 3565209"/>
                  <a:gd name="connsiteY834" fmla="*/ 1343855 h 3993936"/>
                  <a:gd name="connsiteX835" fmla="*/ 2948143 w 3565209"/>
                  <a:gd name="connsiteY835" fmla="*/ 1344983 h 3993936"/>
                  <a:gd name="connsiteX836" fmla="*/ 2949497 w 3565209"/>
                  <a:gd name="connsiteY836" fmla="*/ 1331896 h 3993936"/>
                  <a:gd name="connsiteX837" fmla="*/ 2943856 w 3565209"/>
                  <a:gd name="connsiteY837" fmla="*/ 1317906 h 3993936"/>
                  <a:gd name="connsiteX838" fmla="*/ 2938892 w 3565209"/>
                  <a:gd name="connsiteY838" fmla="*/ 1301208 h 3993936"/>
                  <a:gd name="connsiteX839" fmla="*/ 2942954 w 3565209"/>
                  <a:gd name="connsiteY839" fmla="*/ 1286089 h 3993936"/>
                  <a:gd name="connsiteX840" fmla="*/ 2935733 w 3565209"/>
                  <a:gd name="connsiteY840" fmla="*/ 1271197 h 3993936"/>
                  <a:gd name="connsiteX841" fmla="*/ 2934153 w 3565209"/>
                  <a:gd name="connsiteY841" fmla="*/ 1268715 h 3993936"/>
                  <a:gd name="connsiteX842" fmla="*/ 2924451 w 3565209"/>
                  <a:gd name="connsiteY842" fmla="*/ 1262171 h 3993936"/>
                  <a:gd name="connsiteX843" fmla="*/ 2923322 w 3565209"/>
                  <a:gd name="connsiteY843" fmla="*/ 1262397 h 3993936"/>
                  <a:gd name="connsiteX844" fmla="*/ 2903014 w 3565209"/>
                  <a:gd name="connsiteY844" fmla="*/ 1264879 h 3993936"/>
                  <a:gd name="connsiteX845" fmla="*/ 2901435 w 3565209"/>
                  <a:gd name="connsiteY845" fmla="*/ 1265556 h 3993936"/>
                  <a:gd name="connsiteX846" fmla="*/ 2899404 w 3565209"/>
                  <a:gd name="connsiteY846" fmla="*/ 1267361 h 3993936"/>
                  <a:gd name="connsiteX847" fmla="*/ 2896470 w 3565209"/>
                  <a:gd name="connsiteY847" fmla="*/ 1266007 h 3993936"/>
                  <a:gd name="connsiteX848" fmla="*/ 2887445 w 3565209"/>
                  <a:gd name="connsiteY848" fmla="*/ 1261945 h 3993936"/>
                  <a:gd name="connsiteX849" fmla="*/ 2876162 w 3565209"/>
                  <a:gd name="connsiteY849" fmla="*/ 1248858 h 3993936"/>
                  <a:gd name="connsiteX850" fmla="*/ 2875711 w 3565209"/>
                  <a:gd name="connsiteY850" fmla="*/ 1245473 h 3993936"/>
                  <a:gd name="connsiteX851" fmla="*/ 2878870 w 3565209"/>
                  <a:gd name="connsiteY851" fmla="*/ 1235319 h 3993936"/>
                  <a:gd name="connsiteX852" fmla="*/ 2881352 w 3565209"/>
                  <a:gd name="connsiteY852" fmla="*/ 1230806 h 3993936"/>
                  <a:gd name="connsiteX853" fmla="*/ 2883157 w 3565209"/>
                  <a:gd name="connsiteY853" fmla="*/ 1225842 h 3993936"/>
                  <a:gd name="connsiteX854" fmla="*/ 2882029 w 3565209"/>
                  <a:gd name="connsiteY854" fmla="*/ 1222683 h 3993936"/>
                  <a:gd name="connsiteX855" fmla="*/ 2880901 w 3565209"/>
                  <a:gd name="connsiteY855" fmla="*/ 1216139 h 3993936"/>
                  <a:gd name="connsiteX856" fmla="*/ 2884286 w 3565209"/>
                  <a:gd name="connsiteY856" fmla="*/ 1213883 h 3993936"/>
                  <a:gd name="connsiteX857" fmla="*/ 2904819 w 3565209"/>
                  <a:gd name="connsiteY857" fmla="*/ 1221780 h 3993936"/>
                  <a:gd name="connsiteX858" fmla="*/ 2909558 w 3565209"/>
                  <a:gd name="connsiteY858" fmla="*/ 1228098 h 3993936"/>
                  <a:gd name="connsiteX859" fmla="*/ 2914296 w 3565209"/>
                  <a:gd name="connsiteY859" fmla="*/ 1229678 h 3993936"/>
                  <a:gd name="connsiteX860" fmla="*/ 2925128 w 3565209"/>
                  <a:gd name="connsiteY860" fmla="*/ 1224037 h 3993936"/>
                  <a:gd name="connsiteX861" fmla="*/ 2933702 w 3565209"/>
                  <a:gd name="connsiteY861" fmla="*/ 1219298 h 3993936"/>
                  <a:gd name="connsiteX862" fmla="*/ 2937312 w 3565209"/>
                  <a:gd name="connsiteY862" fmla="*/ 1215914 h 3993936"/>
                  <a:gd name="connsiteX863" fmla="*/ 2944533 w 3565209"/>
                  <a:gd name="connsiteY863" fmla="*/ 1208242 h 3993936"/>
                  <a:gd name="connsiteX864" fmla="*/ 2947241 w 3565209"/>
                  <a:gd name="connsiteY864" fmla="*/ 1206436 h 3993936"/>
                  <a:gd name="connsiteX865" fmla="*/ 2951979 w 3565209"/>
                  <a:gd name="connsiteY865" fmla="*/ 1204180 h 3993936"/>
                  <a:gd name="connsiteX866" fmla="*/ 2961457 w 3565209"/>
                  <a:gd name="connsiteY866" fmla="*/ 1208918 h 3993936"/>
                  <a:gd name="connsiteX867" fmla="*/ 2964390 w 3565209"/>
                  <a:gd name="connsiteY867" fmla="*/ 1211626 h 3993936"/>
                  <a:gd name="connsiteX868" fmla="*/ 2983344 w 3565209"/>
                  <a:gd name="connsiteY868" fmla="*/ 1206211 h 3993936"/>
                  <a:gd name="connsiteX869" fmla="*/ 2992821 w 3565209"/>
                  <a:gd name="connsiteY869" fmla="*/ 1202826 h 3993936"/>
                  <a:gd name="connsiteX870" fmla="*/ 3004781 w 3565209"/>
                  <a:gd name="connsiteY870" fmla="*/ 1190416 h 3993936"/>
                  <a:gd name="connsiteX871" fmla="*/ 3065028 w 3565209"/>
                  <a:gd name="connsiteY871" fmla="*/ 1132650 h 3993936"/>
                  <a:gd name="connsiteX872" fmla="*/ 3084434 w 3565209"/>
                  <a:gd name="connsiteY872" fmla="*/ 1085716 h 3993936"/>
                  <a:gd name="connsiteX873" fmla="*/ 3108352 w 3565209"/>
                  <a:gd name="connsiteY873" fmla="*/ 1079398 h 3993936"/>
                  <a:gd name="connsiteX874" fmla="*/ 3122117 w 3565209"/>
                  <a:gd name="connsiteY874" fmla="*/ 1077367 h 3993936"/>
                  <a:gd name="connsiteX875" fmla="*/ 3171307 w 3565209"/>
                  <a:gd name="connsiteY875" fmla="*/ 1030884 h 3993936"/>
                  <a:gd name="connsiteX876" fmla="*/ 3188231 w 3565209"/>
                  <a:gd name="connsiteY876" fmla="*/ 1006740 h 3993936"/>
                  <a:gd name="connsiteX877" fmla="*/ 3214406 w 3565209"/>
                  <a:gd name="connsiteY877" fmla="*/ 987108 h 3993936"/>
                  <a:gd name="connsiteX878" fmla="*/ 3244191 w 3565209"/>
                  <a:gd name="connsiteY878" fmla="*/ 991170 h 3993936"/>
                  <a:gd name="connsiteX879" fmla="*/ 3270140 w 3565209"/>
                  <a:gd name="connsiteY879" fmla="*/ 996360 h 3993936"/>
                  <a:gd name="connsiteX880" fmla="*/ 3292931 w 3565209"/>
                  <a:gd name="connsiteY880" fmla="*/ 1001324 h 3993936"/>
                  <a:gd name="connsiteX881" fmla="*/ 3298572 w 3565209"/>
                  <a:gd name="connsiteY881" fmla="*/ 1004709 h 3993936"/>
                  <a:gd name="connsiteX882" fmla="*/ 3303987 w 3565209"/>
                  <a:gd name="connsiteY882" fmla="*/ 1007416 h 3993936"/>
                  <a:gd name="connsiteX883" fmla="*/ 3307823 w 3565209"/>
                  <a:gd name="connsiteY883" fmla="*/ 1009447 h 3993936"/>
                  <a:gd name="connsiteX884" fmla="*/ 3313690 w 3565209"/>
                  <a:gd name="connsiteY884" fmla="*/ 1010576 h 3993936"/>
                  <a:gd name="connsiteX885" fmla="*/ 3314818 w 3565209"/>
                  <a:gd name="connsiteY885" fmla="*/ 1007191 h 3993936"/>
                  <a:gd name="connsiteX886" fmla="*/ 3321362 w 3565209"/>
                  <a:gd name="connsiteY886" fmla="*/ 997037 h 3993936"/>
                  <a:gd name="connsiteX887" fmla="*/ 3328132 w 3565209"/>
                  <a:gd name="connsiteY887" fmla="*/ 989590 h 3993936"/>
                  <a:gd name="connsiteX888" fmla="*/ 3331742 w 3565209"/>
                  <a:gd name="connsiteY888" fmla="*/ 982144 h 3993936"/>
                  <a:gd name="connsiteX889" fmla="*/ 3364235 w 3565209"/>
                  <a:gd name="connsiteY889" fmla="*/ 961836 h 3993936"/>
                  <a:gd name="connsiteX890" fmla="*/ 3374163 w 3565209"/>
                  <a:gd name="connsiteY890" fmla="*/ 955067 h 3993936"/>
                  <a:gd name="connsiteX891" fmla="*/ 3394471 w 3565209"/>
                  <a:gd name="connsiteY891" fmla="*/ 943333 h 3993936"/>
                  <a:gd name="connsiteX892" fmla="*/ 3395600 w 3565209"/>
                  <a:gd name="connsiteY892" fmla="*/ 943333 h 3993936"/>
                  <a:gd name="connsiteX893" fmla="*/ 3409139 w 3565209"/>
                  <a:gd name="connsiteY893" fmla="*/ 952133 h 3993936"/>
                  <a:gd name="connsiteX894" fmla="*/ 3410944 w 3565209"/>
                  <a:gd name="connsiteY894" fmla="*/ 961385 h 3993936"/>
                  <a:gd name="connsiteX895" fmla="*/ 3410718 w 3565209"/>
                  <a:gd name="connsiteY895" fmla="*/ 962739 h 3993936"/>
                  <a:gd name="connsiteX896" fmla="*/ 3415457 w 3565209"/>
                  <a:gd name="connsiteY896" fmla="*/ 963415 h 3993936"/>
                  <a:gd name="connsiteX897" fmla="*/ 3423129 w 3565209"/>
                  <a:gd name="connsiteY897" fmla="*/ 967251 h 3993936"/>
                  <a:gd name="connsiteX898" fmla="*/ 3415682 w 3565209"/>
                  <a:gd name="connsiteY898" fmla="*/ 983949 h 3993936"/>
                  <a:gd name="connsiteX899" fmla="*/ 3410718 w 3565209"/>
                  <a:gd name="connsiteY899" fmla="*/ 988462 h 3993936"/>
                  <a:gd name="connsiteX900" fmla="*/ 3408913 w 3565209"/>
                  <a:gd name="connsiteY900" fmla="*/ 994103 h 3993936"/>
                  <a:gd name="connsiteX901" fmla="*/ 3410041 w 3565209"/>
                  <a:gd name="connsiteY901" fmla="*/ 1000873 h 3993936"/>
                  <a:gd name="connsiteX902" fmla="*/ 3412072 w 3565209"/>
                  <a:gd name="connsiteY902" fmla="*/ 1007416 h 3993936"/>
                  <a:gd name="connsiteX903" fmla="*/ 3412749 w 3565209"/>
                  <a:gd name="connsiteY903" fmla="*/ 1008319 h 3993936"/>
                  <a:gd name="connsiteX904" fmla="*/ 3421549 w 3565209"/>
                  <a:gd name="connsiteY904" fmla="*/ 1000873 h 3993936"/>
                  <a:gd name="connsiteX905" fmla="*/ 3423129 w 3565209"/>
                  <a:gd name="connsiteY905" fmla="*/ 999068 h 3993936"/>
                  <a:gd name="connsiteX906" fmla="*/ 3425836 w 3565209"/>
                  <a:gd name="connsiteY906" fmla="*/ 995232 h 3993936"/>
                  <a:gd name="connsiteX907" fmla="*/ 3435990 w 3565209"/>
                  <a:gd name="connsiteY907" fmla="*/ 990944 h 3993936"/>
                  <a:gd name="connsiteX908" fmla="*/ 3444791 w 3565209"/>
                  <a:gd name="connsiteY908" fmla="*/ 1000421 h 3993936"/>
                  <a:gd name="connsiteX909" fmla="*/ 3449529 w 3565209"/>
                  <a:gd name="connsiteY909" fmla="*/ 1008093 h 3993936"/>
                  <a:gd name="connsiteX910" fmla="*/ 3463068 w 3565209"/>
                  <a:gd name="connsiteY910" fmla="*/ 1028853 h 3993936"/>
                  <a:gd name="connsiteX911" fmla="*/ 3456524 w 3565209"/>
                  <a:gd name="connsiteY911" fmla="*/ 1046228 h 3993936"/>
                  <a:gd name="connsiteX912" fmla="*/ 3451786 w 3565209"/>
                  <a:gd name="connsiteY912" fmla="*/ 1052546 h 3993936"/>
                  <a:gd name="connsiteX913" fmla="*/ 3444114 w 3565209"/>
                  <a:gd name="connsiteY913" fmla="*/ 1061797 h 3993936"/>
                  <a:gd name="connsiteX914" fmla="*/ 3439601 w 3565209"/>
                  <a:gd name="connsiteY914" fmla="*/ 1073080 h 3993936"/>
                  <a:gd name="connsiteX915" fmla="*/ 3439601 w 3565209"/>
                  <a:gd name="connsiteY915" fmla="*/ 1077141 h 3993936"/>
                  <a:gd name="connsiteX916" fmla="*/ 3440729 w 3565209"/>
                  <a:gd name="connsiteY916" fmla="*/ 1083008 h 3993936"/>
                  <a:gd name="connsiteX917" fmla="*/ 3443888 w 3565209"/>
                  <a:gd name="connsiteY917" fmla="*/ 1084136 h 3993936"/>
                  <a:gd name="connsiteX918" fmla="*/ 3456524 w 3565209"/>
                  <a:gd name="connsiteY918" fmla="*/ 1078721 h 3993936"/>
                  <a:gd name="connsiteX919" fmla="*/ 3461263 w 3565209"/>
                  <a:gd name="connsiteY919" fmla="*/ 1074433 h 3993936"/>
                  <a:gd name="connsiteX920" fmla="*/ 3473673 w 3565209"/>
                  <a:gd name="connsiteY920" fmla="*/ 1070146 h 3993936"/>
                  <a:gd name="connsiteX921" fmla="*/ 3487212 w 3565209"/>
                  <a:gd name="connsiteY921" fmla="*/ 1076464 h 3993936"/>
                  <a:gd name="connsiteX922" fmla="*/ 3500074 w 3565209"/>
                  <a:gd name="connsiteY922" fmla="*/ 1081880 h 3993936"/>
                  <a:gd name="connsiteX923" fmla="*/ 3505490 w 3565209"/>
                  <a:gd name="connsiteY923" fmla="*/ 1081880 h 3993936"/>
                  <a:gd name="connsiteX924" fmla="*/ 3518803 w 3565209"/>
                  <a:gd name="connsiteY924" fmla="*/ 1078721 h 3993936"/>
                  <a:gd name="connsiteX925" fmla="*/ 3534372 w 3565209"/>
                  <a:gd name="connsiteY925" fmla="*/ 1078044 h 3993936"/>
                  <a:gd name="connsiteX926" fmla="*/ 3538885 w 3565209"/>
                  <a:gd name="connsiteY926" fmla="*/ 1079849 h 3993936"/>
                  <a:gd name="connsiteX927" fmla="*/ 3554229 w 3565209"/>
                  <a:gd name="connsiteY927" fmla="*/ 1082557 h 3993936"/>
                  <a:gd name="connsiteX928" fmla="*/ 3569122 w 3565209"/>
                  <a:gd name="connsiteY928" fmla="*/ 1089326 h 3993936"/>
                  <a:gd name="connsiteX929" fmla="*/ 3568896 w 3565209"/>
                  <a:gd name="connsiteY929" fmla="*/ 1099254 h 3993936"/>
                  <a:gd name="connsiteX930" fmla="*/ 3566188 w 3565209"/>
                  <a:gd name="connsiteY930" fmla="*/ 1104896 h 3993936"/>
                  <a:gd name="connsiteX931" fmla="*/ 3566639 w 3565209"/>
                  <a:gd name="connsiteY931" fmla="*/ 1110085 h 3993936"/>
                  <a:gd name="connsiteX932" fmla="*/ 3568219 w 3565209"/>
                  <a:gd name="connsiteY932" fmla="*/ 1113244 h 3993936"/>
                  <a:gd name="connsiteX933" fmla="*/ 3564834 w 3565209"/>
                  <a:gd name="connsiteY933" fmla="*/ 1128814 h 3993936"/>
                  <a:gd name="connsiteX934" fmla="*/ 3560321 w 3565209"/>
                  <a:gd name="connsiteY934" fmla="*/ 1135358 h 3993936"/>
                  <a:gd name="connsiteX935" fmla="*/ 3554680 w 3565209"/>
                  <a:gd name="connsiteY935" fmla="*/ 1144158 h 3993936"/>
                  <a:gd name="connsiteX936" fmla="*/ 3548814 w 3565209"/>
                  <a:gd name="connsiteY936" fmla="*/ 1151153 h 3993936"/>
                  <a:gd name="connsiteX937" fmla="*/ 3543172 w 3565209"/>
                  <a:gd name="connsiteY937" fmla="*/ 1159953 h 3993936"/>
                  <a:gd name="connsiteX938" fmla="*/ 3534823 w 3565209"/>
                  <a:gd name="connsiteY938" fmla="*/ 1169882 h 3993936"/>
                  <a:gd name="connsiteX939" fmla="*/ 3527828 w 3565209"/>
                  <a:gd name="connsiteY939" fmla="*/ 1179133 h 3993936"/>
                  <a:gd name="connsiteX940" fmla="*/ 3526249 w 3565209"/>
                  <a:gd name="connsiteY940" fmla="*/ 1182969 h 3993936"/>
                  <a:gd name="connsiteX941" fmla="*/ 3524895 w 3565209"/>
                  <a:gd name="connsiteY941" fmla="*/ 1193575 h 3993936"/>
                  <a:gd name="connsiteX942" fmla="*/ 3525121 w 3565209"/>
                  <a:gd name="connsiteY942" fmla="*/ 1195831 h 3993936"/>
                  <a:gd name="connsiteX943" fmla="*/ 3525121 w 3565209"/>
                  <a:gd name="connsiteY943" fmla="*/ 1200795 h 3993936"/>
                  <a:gd name="connsiteX944" fmla="*/ 3532116 w 3565209"/>
                  <a:gd name="connsiteY944" fmla="*/ 1214560 h 3993936"/>
                  <a:gd name="connsiteX945" fmla="*/ 3547911 w 3565209"/>
                  <a:gd name="connsiteY945" fmla="*/ 1230355 h 3993936"/>
                  <a:gd name="connsiteX946" fmla="*/ 3548588 w 3565209"/>
                  <a:gd name="connsiteY946" fmla="*/ 1231934 h 3993936"/>
                  <a:gd name="connsiteX947" fmla="*/ 3548814 w 3565209"/>
                  <a:gd name="connsiteY947" fmla="*/ 1245022 h 3993936"/>
                  <a:gd name="connsiteX948" fmla="*/ 3538208 w 3565209"/>
                  <a:gd name="connsiteY948" fmla="*/ 1248632 h 3993936"/>
                  <a:gd name="connsiteX949" fmla="*/ 3523315 w 3565209"/>
                  <a:gd name="connsiteY949" fmla="*/ 1240960 h 3993936"/>
                  <a:gd name="connsiteX950" fmla="*/ 3519705 w 3565209"/>
                  <a:gd name="connsiteY950" fmla="*/ 1236899 h 3993936"/>
                  <a:gd name="connsiteX951" fmla="*/ 3518577 w 3565209"/>
                  <a:gd name="connsiteY951" fmla="*/ 1235770 h 3993936"/>
                  <a:gd name="connsiteX952" fmla="*/ 3502331 w 3565209"/>
                  <a:gd name="connsiteY952" fmla="*/ 1225165 h 3993936"/>
                  <a:gd name="connsiteX953" fmla="*/ 3477961 w 3565209"/>
                  <a:gd name="connsiteY953" fmla="*/ 1231032 h 3993936"/>
                  <a:gd name="connsiteX954" fmla="*/ 3455622 w 3565209"/>
                  <a:gd name="connsiteY954" fmla="*/ 1237124 h 3993936"/>
                  <a:gd name="connsiteX955" fmla="*/ 3431026 w 3565209"/>
                  <a:gd name="connsiteY955" fmla="*/ 1252017 h 3993936"/>
                  <a:gd name="connsiteX956" fmla="*/ 3383640 w 3565209"/>
                  <a:gd name="connsiteY956" fmla="*/ 1298951 h 3993936"/>
                  <a:gd name="connsiteX957" fmla="*/ 3371907 w 3565209"/>
                  <a:gd name="connsiteY957" fmla="*/ 1310459 h 3993936"/>
                  <a:gd name="connsiteX958" fmla="*/ 3364686 w 3565209"/>
                  <a:gd name="connsiteY958" fmla="*/ 1318131 h 3993936"/>
                  <a:gd name="connsiteX959" fmla="*/ 3344378 w 3565209"/>
                  <a:gd name="connsiteY959" fmla="*/ 1336183 h 3993936"/>
                  <a:gd name="connsiteX960" fmla="*/ 3336255 w 3565209"/>
                  <a:gd name="connsiteY960" fmla="*/ 1336860 h 3993936"/>
                  <a:gd name="connsiteX961" fmla="*/ 3329937 w 3565209"/>
                  <a:gd name="connsiteY961" fmla="*/ 1338891 h 3993936"/>
                  <a:gd name="connsiteX962" fmla="*/ 3322039 w 3565209"/>
                  <a:gd name="connsiteY962" fmla="*/ 1367322 h 3993936"/>
                  <a:gd name="connsiteX963" fmla="*/ 3327229 w 3565209"/>
                  <a:gd name="connsiteY963" fmla="*/ 1377702 h 3993936"/>
                  <a:gd name="connsiteX964" fmla="*/ 3330388 w 3565209"/>
                  <a:gd name="connsiteY964" fmla="*/ 1383117 h 3993936"/>
                  <a:gd name="connsiteX965" fmla="*/ 3330162 w 3565209"/>
                  <a:gd name="connsiteY965" fmla="*/ 1396656 h 3993936"/>
                  <a:gd name="connsiteX966" fmla="*/ 3329937 w 3565209"/>
                  <a:gd name="connsiteY966" fmla="*/ 1400266 h 3993936"/>
                  <a:gd name="connsiteX967" fmla="*/ 3332870 w 3565209"/>
                  <a:gd name="connsiteY967" fmla="*/ 1405908 h 3993936"/>
                  <a:gd name="connsiteX968" fmla="*/ 3336706 w 3565209"/>
                  <a:gd name="connsiteY968" fmla="*/ 1412451 h 3993936"/>
                  <a:gd name="connsiteX969" fmla="*/ 3333773 w 3565209"/>
                  <a:gd name="connsiteY969" fmla="*/ 1427570 h 3993936"/>
                  <a:gd name="connsiteX970" fmla="*/ 3330162 w 3565209"/>
                  <a:gd name="connsiteY970" fmla="*/ 1432759 h 3993936"/>
                  <a:gd name="connsiteX971" fmla="*/ 3324973 w 3565209"/>
                  <a:gd name="connsiteY971" fmla="*/ 1448103 h 3993936"/>
                  <a:gd name="connsiteX972" fmla="*/ 3325875 w 3565209"/>
                  <a:gd name="connsiteY972" fmla="*/ 1458934 h 3993936"/>
                  <a:gd name="connsiteX973" fmla="*/ 3323618 w 3565209"/>
                  <a:gd name="connsiteY973" fmla="*/ 1472247 h 3993936"/>
                  <a:gd name="connsiteX974" fmla="*/ 3319331 w 3565209"/>
                  <a:gd name="connsiteY974" fmla="*/ 1479017 h 3993936"/>
                  <a:gd name="connsiteX975" fmla="*/ 3313690 w 3565209"/>
                  <a:gd name="connsiteY975" fmla="*/ 1487366 h 3993936"/>
                  <a:gd name="connsiteX976" fmla="*/ 3299700 w 3565209"/>
                  <a:gd name="connsiteY976" fmla="*/ 1501130 h 3993936"/>
                  <a:gd name="connsiteX977" fmla="*/ 3281874 w 3565209"/>
                  <a:gd name="connsiteY977" fmla="*/ 1510833 h 3993936"/>
                  <a:gd name="connsiteX978" fmla="*/ 3281423 w 3565209"/>
                  <a:gd name="connsiteY978" fmla="*/ 1511059 h 3993936"/>
                  <a:gd name="connsiteX979" fmla="*/ 3281423 w 3565209"/>
                  <a:gd name="connsiteY979" fmla="*/ 1513090 h 3993936"/>
                  <a:gd name="connsiteX980" fmla="*/ 3280294 w 3565209"/>
                  <a:gd name="connsiteY980" fmla="*/ 1521890 h 3993936"/>
                  <a:gd name="connsiteX981" fmla="*/ 3278941 w 3565209"/>
                  <a:gd name="connsiteY981" fmla="*/ 1525726 h 3993936"/>
                  <a:gd name="connsiteX982" fmla="*/ 3279166 w 3565209"/>
                  <a:gd name="connsiteY982" fmla="*/ 1537008 h 3993936"/>
                  <a:gd name="connsiteX983" fmla="*/ 3292480 w 3565209"/>
                  <a:gd name="connsiteY983" fmla="*/ 1549870 h 3993936"/>
                  <a:gd name="connsiteX984" fmla="*/ 3293833 w 3565209"/>
                  <a:gd name="connsiteY984" fmla="*/ 1550772 h 3993936"/>
                  <a:gd name="connsiteX985" fmla="*/ 3293156 w 3565209"/>
                  <a:gd name="connsiteY985" fmla="*/ 1565214 h 3993936"/>
                  <a:gd name="connsiteX986" fmla="*/ 3288418 w 3565209"/>
                  <a:gd name="connsiteY986" fmla="*/ 1585973 h 3993936"/>
                  <a:gd name="connsiteX987" fmla="*/ 3278941 w 3565209"/>
                  <a:gd name="connsiteY987" fmla="*/ 1615758 h 3993936"/>
                  <a:gd name="connsiteX988" fmla="*/ 3276007 w 3565209"/>
                  <a:gd name="connsiteY988" fmla="*/ 1621174 h 3993936"/>
                  <a:gd name="connsiteX989" fmla="*/ 3268561 w 3565209"/>
                  <a:gd name="connsiteY989" fmla="*/ 1639451 h 3993936"/>
                  <a:gd name="connsiteX990" fmla="*/ 3265628 w 3565209"/>
                  <a:gd name="connsiteY990" fmla="*/ 1647800 h 3993936"/>
                  <a:gd name="connsiteX991" fmla="*/ 3259535 w 3565209"/>
                  <a:gd name="connsiteY991" fmla="*/ 1661565 h 3993936"/>
                  <a:gd name="connsiteX992" fmla="*/ 3249607 w 3565209"/>
                  <a:gd name="connsiteY992" fmla="*/ 1691350 h 3993936"/>
                  <a:gd name="connsiteX993" fmla="*/ 3250283 w 3565209"/>
                  <a:gd name="connsiteY993" fmla="*/ 1697217 h 3993936"/>
                  <a:gd name="connsiteX994" fmla="*/ 3250509 w 3565209"/>
                  <a:gd name="connsiteY994" fmla="*/ 1712561 h 3993936"/>
                  <a:gd name="connsiteX995" fmla="*/ 3221852 w 3565209"/>
                  <a:gd name="connsiteY995" fmla="*/ 1731289 h 3993936"/>
                  <a:gd name="connsiteX996" fmla="*/ 3221627 w 3565209"/>
                  <a:gd name="connsiteY996" fmla="*/ 1731289 h 3993936"/>
                  <a:gd name="connsiteX997" fmla="*/ 3194098 w 3565209"/>
                  <a:gd name="connsiteY997" fmla="*/ 1724971 h 3993936"/>
                  <a:gd name="connsiteX998" fmla="*/ 3187780 w 3565209"/>
                  <a:gd name="connsiteY998" fmla="*/ 1722715 h 3993936"/>
                  <a:gd name="connsiteX999" fmla="*/ 3174466 w 3565209"/>
                  <a:gd name="connsiteY999" fmla="*/ 1721135 h 3993936"/>
                  <a:gd name="connsiteX1000" fmla="*/ 3169502 w 3565209"/>
                  <a:gd name="connsiteY1000" fmla="*/ 1723166 h 3993936"/>
                  <a:gd name="connsiteX1001" fmla="*/ 3159348 w 3565209"/>
                  <a:gd name="connsiteY1001" fmla="*/ 1725648 h 3993936"/>
                  <a:gd name="connsiteX1002" fmla="*/ 3149420 w 3565209"/>
                  <a:gd name="connsiteY1002" fmla="*/ 1718879 h 3993936"/>
                  <a:gd name="connsiteX1003" fmla="*/ 3148066 w 3565209"/>
                  <a:gd name="connsiteY1003" fmla="*/ 1717525 h 3993936"/>
                  <a:gd name="connsiteX1004" fmla="*/ 3138815 w 3565209"/>
                  <a:gd name="connsiteY1004" fmla="*/ 1713914 h 3993936"/>
                  <a:gd name="connsiteX1005" fmla="*/ 3139717 w 3565209"/>
                  <a:gd name="connsiteY1005" fmla="*/ 1728356 h 3993936"/>
                  <a:gd name="connsiteX1006" fmla="*/ 3139943 w 3565209"/>
                  <a:gd name="connsiteY1006" fmla="*/ 1841856 h 3993936"/>
                  <a:gd name="connsiteX1007" fmla="*/ 3132948 w 3565209"/>
                  <a:gd name="connsiteY1007" fmla="*/ 1853815 h 3993936"/>
                  <a:gd name="connsiteX1008" fmla="*/ 3123245 w 3565209"/>
                  <a:gd name="connsiteY1008" fmla="*/ 1871867 h 3993936"/>
                  <a:gd name="connsiteX1009" fmla="*/ 3123470 w 3565209"/>
                  <a:gd name="connsiteY1009" fmla="*/ 1890821 h 3993936"/>
                  <a:gd name="connsiteX1010" fmla="*/ 3125953 w 3565209"/>
                  <a:gd name="connsiteY1010" fmla="*/ 1902329 h 3993936"/>
                  <a:gd name="connsiteX1011" fmla="*/ 3124824 w 3565209"/>
                  <a:gd name="connsiteY1011" fmla="*/ 1911806 h 3993936"/>
                  <a:gd name="connsiteX1012" fmla="*/ 3127306 w 3565209"/>
                  <a:gd name="connsiteY1012" fmla="*/ 1926699 h 3993936"/>
                  <a:gd name="connsiteX1013" fmla="*/ 3137235 w 3565209"/>
                  <a:gd name="connsiteY1013" fmla="*/ 1942043 h 3993936"/>
                  <a:gd name="connsiteX1014" fmla="*/ 3137460 w 3565209"/>
                  <a:gd name="connsiteY1014" fmla="*/ 1942945 h 3993936"/>
                  <a:gd name="connsiteX1015" fmla="*/ 3135881 w 3565209"/>
                  <a:gd name="connsiteY1015" fmla="*/ 1955807 h 3993936"/>
                  <a:gd name="connsiteX1016" fmla="*/ 3137460 w 3565209"/>
                  <a:gd name="connsiteY1016" fmla="*/ 1961674 h 3993936"/>
                  <a:gd name="connsiteX1017" fmla="*/ 3137235 w 3565209"/>
                  <a:gd name="connsiteY1017" fmla="*/ 1970925 h 3993936"/>
                  <a:gd name="connsiteX1018" fmla="*/ 3134753 w 3565209"/>
                  <a:gd name="connsiteY1018" fmla="*/ 1972279 h 3993936"/>
                  <a:gd name="connsiteX1019" fmla="*/ 3129112 w 3565209"/>
                  <a:gd name="connsiteY1019" fmla="*/ 1978146 h 3993936"/>
                  <a:gd name="connsiteX1020" fmla="*/ 3124824 w 3565209"/>
                  <a:gd name="connsiteY1020" fmla="*/ 1990331 h 3993936"/>
                  <a:gd name="connsiteX1021" fmla="*/ 3123696 w 3565209"/>
                  <a:gd name="connsiteY1021" fmla="*/ 1993039 h 3993936"/>
                  <a:gd name="connsiteX1022" fmla="*/ 3123019 w 3565209"/>
                  <a:gd name="connsiteY1022" fmla="*/ 1994844 h 3993936"/>
                  <a:gd name="connsiteX1023" fmla="*/ 3117829 w 3565209"/>
                  <a:gd name="connsiteY1023" fmla="*/ 2002290 h 3993936"/>
                  <a:gd name="connsiteX1024" fmla="*/ 3111286 w 3565209"/>
                  <a:gd name="connsiteY1024" fmla="*/ 2001613 h 3993936"/>
                  <a:gd name="connsiteX1025" fmla="*/ 3097521 w 3565209"/>
                  <a:gd name="connsiteY1025" fmla="*/ 1995521 h 3993936"/>
                  <a:gd name="connsiteX1026" fmla="*/ 3095265 w 3565209"/>
                  <a:gd name="connsiteY1026" fmla="*/ 1992587 h 3993936"/>
                  <a:gd name="connsiteX1027" fmla="*/ 3093234 w 3565209"/>
                  <a:gd name="connsiteY1027" fmla="*/ 1991233 h 3993936"/>
                  <a:gd name="connsiteX1028" fmla="*/ 3088721 w 3565209"/>
                  <a:gd name="connsiteY1028" fmla="*/ 1989203 h 3993936"/>
                  <a:gd name="connsiteX1029" fmla="*/ 3086690 w 3565209"/>
                  <a:gd name="connsiteY1029" fmla="*/ 1989203 h 3993936"/>
                  <a:gd name="connsiteX1030" fmla="*/ 3084885 w 3565209"/>
                  <a:gd name="connsiteY1030" fmla="*/ 1991685 h 3993936"/>
                  <a:gd name="connsiteX1031" fmla="*/ 3077664 w 3565209"/>
                  <a:gd name="connsiteY1031" fmla="*/ 1999582 h 3993936"/>
                  <a:gd name="connsiteX1032" fmla="*/ 3070443 w 3565209"/>
                  <a:gd name="connsiteY1032" fmla="*/ 1999582 h 3993936"/>
                  <a:gd name="connsiteX1033" fmla="*/ 3065028 w 3565209"/>
                  <a:gd name="connsiteY1033" fmla="*/ 1983110 h 3993936"/>
                  <a:gd name="connsiteX1034" fmla="*/ 3062997 w 3565209"/>
                  <a:gd name="connsiteY1034" fmla="*/ 1976115 h 3993936"/>
                  <a:gd name="connsiteX1035" fmla="*/ 3059387 w 3565209"/>
                  <a:gd name="connsiteY1035" fmla="*/ 1962125 h 3993936"/>
                  <a:gd name="connsiteX1036" fmla="*/ 3057807 w 3565209"/>
                  <a:gd name="connsiteY1036" fmla="*/ 1949489 h 3993936"/>
                  <a:gd name="connsiteX1037" fmla="*/ 3056002 w 3565209"/>
                  <a:gd name="connsiteY1037" fmla="*/ 1935950 h 3993936"/>
                  <a:gd name="connsiteX1038" fmla="*/ 3046751 w 3565209"/>
                  <a:gd name="connsiteY1038" fmla="*/ 1912032 h 3993936"/>
                  <a:gd name="connsiteX1039" fmla="*/ 3041561 w 3565209"/>
                  <a:gd name="connsiteY1039" fmla="*/ 1902555 h 3993936"/>
                  <a:gd name="connsiteX1040" fmla="*/ 3021253 w 3565209"/>
                  <a:gd name="connsiteY1040" fmla="*/ 1842081 h 3993936"/>
                  <a:gd name="connsiteX1041" fmla="*/ 3021478 w 3565209"/>
                  <a:gd name="connsiteY1041" fmla="*/ 1832830 h 3993936"/>
                  <a:gd name="connsiteX1042" fmla="*/ 3025314 w 3565209"/>
                  <a:gd name="connsiteY1042" fmla="*/ 1828768 h 3993936"/>
                  <a:gd name="connsiteX1043" fmla="*/ 3010422 w 3565209"/>
                  <a:gd name="connsiteY1043" fmla="*/ 1787475 h 3993936"/>
                  <a:gd name="connsiteX1044" fmla="*/ 3011550 w 3565209"/>
                  <a:gd name="connsiteY1044" fmla="*/ 1782962 h 3993936"/>
                  <a:gd name="connsiteX1045" fmla="*/ 3012227 w 3565209"/>
                  <a:gd name="connsiteY1045" fmla="*/ 1778675 h 3993936"/>
                  <a:gd name="connsiteX1046" fmla="*/ 3011776 w 3565209"/>
                  <a:gd name="connsiteY1046" fmla="*/ 1778675 h 3993936"/>
                  <a:gd name="connsiteX1047" fmla="*/ 3010196 w 3565209"/>
                  <a:gd name="connsiteY1047" fmla="*/ 1778901 h 3993936"/>
                  <a:gd name="connsiteX1048" fmla="*/ 3004781 w 3565209"/>
                  <a:gd name="connsiteY1048" fmla="*/ 1780029 h 3993936"/>
                  <a:gd name="connsiteX1049" fmla="*/ 2996883 w 3565209"/>
                  <a:gd name="connsiteY1049" fmla="*/ 1779352 h 3993936"/>
                  <a:gd name="connsiteX1050" fmla="*/ 2995304 w 3565209"/>
                  <a:gd name="connsiteY1050" fmla="*/ 1777547 h 3993936"/>
                  <a:gd name="connsiteX1051" fmla="*/ 2994852 w 3565209"/>
                  <a:gd name="connsiteY1051" fmla="*/ 1777095 h 3993936"/>
                  <a:gd name="connsiteX1052" fmla="*/ 2993273 w 3565209"/>
                  <a:gd name="connsiteY1052" fmla="*/ 1778675 h 3993936"/>
                  <a:gd name="connsiteX1053" fmla="*/ 2981539 w 3565209"/>
                  <a:gd name="connsiteY1053" fmla="*/ 1784542 h 3993936"/>
                  <a:gd name="connsiteX1054" fmla="*/ 2978380 w 3565209"/>
                  <a:gd name="connsiteY1054" fmla="*/ 1783639 h 3993936"/>
                  <a:gd name="connsiteX1055" fmla="*/ 2972965 w 3565209"/>
                  <a:gd name="connsiteY1055" fmla="*/ 1784993 h 3993936"/>
                  <a:gd name="connsiteX1056" fmla="*/ 2971159 w 3565209"/>
                  <a:gd name="connsiteY1056" fmla="*/ 1794019 h 3993936"/>
                  <a:gd name="connsiteX1057" fmla="*/ 2971836 w 3565209"/>
                  <a:gd name="connsiteY1057" fmla="*/ 1796727 h 3993936"/>
                  <a:gd name="connsiteX1058" fmla="*/ 2972288 w 3565209"/>
                  <a:gd name="connsiteY1058" fmla="*/ 1799209 h 3993936"/>
                  <a:gd name="connsiteX1059" fmla="*/ 2968000 w 3565209"/>
                  <a:gd name="connsiteY1059" fmla="*/ 1815455 h 3993936"/>
                  <a:gd name="connsiteX1060" fmla="*/ 2964390 w 3565209"/>
                  <a:gd name="connsiteY1060" fmla="*/ 1819066 h 3993936"/>
                  <a:gd name="connsiteX1061" fmla="*/ 2958298 w 3565209"/>
                  <a:gd name="connsiteY1061" fmla="*/ 1829220 h 3993936"/>
                  <a:gd name="connsiteX1062" fmla="*/ 2960103 w 3565209"/>
                  <a:gd name="connsiteY1062" fmla="*/ 1837117 h 3993936"/>
                  <a:gd name="connsiteX1063" fmla="*/ 2962134 w 3565209"/>
                  <a:gd name="connsiteY1063" fmla="*/ 1848625 h 3993936"/>
                  <a:gd name="connsiteX1064" fmla="*/ 2955816 w 3565209"/>
                  <a:gd name="connsiteY1064" fmla="*/ 1870739 h 3993936"/>
                  <a:gd name="connsiteX1065" fmla="*/ 2947466 w 3565209"/>
                  <a:gd name="connsiteY1065" fmla="*/ 1882021 h 3993936"/>
                  <a:gd name="connsiteX1066" fmla="*/ 2944984 w 3565209"/>
                  <a:gd name="connsiteY1066" fmla="*/ 1884954 h 3993936"/>
                  <a:gd name="connsiteX1067" fmla="*/ 2936410 w 3565209"/>
                  <a:gd name="connsiteY1067" fmla="*/ 1887888 h 3993936"/>
                  <a:gd name="connsiteX1068" fmla="*/ 2935056 w 3565209"/>
                  <a:gd name="connsiteY1068" fmla="*/ 1887662 h 3993936"/>
                  <a:gd name="connsiteX1069" fmla="*/ 2922871 w 3565209"/>
                  <a:gd name="connsiteY1069" fmla="*/ 1881118 h 3993936"/>
                  <a:gd name="connsiteX1070" fmla="*/ 2921066 w 3565209"/>
                  <a:gd name="connsiteY1070" fmla="*/ 1868031 h 3993936"/>
                  <a:gd name="connsiteX1071" fmla="*/ 2921517 w 3565209"/>
                  <a:gd name="connsiteY1071" fmla="*/ 1865323 h 3993936"/>
                  <a:gd name="connsiteX1072" fmla="*/ 2918810 w 3565209"/>
                  <a:gd name="connsiteY1072" fmla="*/ 1862615 h 3993936"/>
                  <a:gd name="connsiteX1073" fmla="*/ 2914748 w 3565209"/>
                  <a:gd name="connsiteY1073" fmla="*/ 1857200 h 3993936"/>
                  <a:gd name="connsiteX1074" fmla="*/ 2911363 w 3565209"/>
                  <a:gd name="connsiteY1074" fmla="*/ 1853138 h 3993936"/>
                  <a:gd name="connsiteX1075" fmla="*/ 2906399 w 3565209"/>
                  <a:gd name="connsiteY1075" fmla="*/ 1851784 h 3993936"/>
                  <a:gd name="connsiteX1076" fmla="*/ 2905496 w 3565209"/>
                  <a:gd name="connsiteY1076" fmla="*/ 1852461 h 3993936"/>
                  <a:gd name="connsiteX1077" fmla="*/ 2905271 w 3565209"/>
                  <a:gd name="connsiteY1077" fmla="*/ 1856072 h 3993936"/>
                  <a:gd name="connsiteX1078" fmla="*/ 2905722 w 3565209"/>
                  <a:gd name="connsiteY1078" fmla="*/ 1859682 h 3993936"/>
                  <a:gd name="connsiteX1079" fmla="*/ 2902112 w 3565209"/>
                  <a:gd name="connsiteY1079" fmla="*/ 1871415 h 3993936"/>
                  <a:gd name="connsiteX1080" fmla="*/ 2901209 w 3565209"/>
                  <a:gd name="connsiteY1080" fmla="*/ 1872318 h 3993936"/>
                  <a:gd name="connsiteX1081" fmla="*/ 2899630 w 3565209"/>
                  <a:gd name="connsiteY1081" fmla="*/ 1871867 h 3993936"/>
                  <a:gd name="connsiteX1082" fmla="*/ 2893537 w 3565209"/>
                  <a:gd name="connsiteY1082" fmla="*/ 1859231 h 3993936"/>
                  <a:gd name="connsiteX1083" fmla="*/ 2893311 w 3565209"/>
                  <a:gd name="connsiteY1083" fmla="*/ 1845692 h 3993936"/>
                  <a:gd name="connsiteX1084" fmla="*/ 2891506 w 3565209"/>
                  <a:gd name="connsiteY1084" fmla="*/ 1844112 h 3993936"/>
                  <a:gd name="connsiteX1085" fmla="*/ 2885188 w 3565209"/>
                  <a:gd name="connsiteY1085" fmla="*/ 1836440 h 3993936"/>
                  <a:gd name="connsiteX1086" fmla="*/ 2883834 w 3565209"/>
                  <a:gd name="connsiteY1086" fmla="*/ 1833507 h 3993936"/>
                  <a:gd name="connsiteX1087" fmla="*/ 2882706 w 3565209"/>
                  <a:gd name="connsiteY1087" fmla="*/ 1825384 h 3993936"/>
                  <a:gd name="connsiteX1088" fmla="*/ 2879773 w 3565209"/>
                  <a:gd name="connsiteY1088" fmla="*/ 1819968 h 3993936"/>
                  <a:gd name="connsiteX1089" fmla="*/ 2876839 w 3565209"/>
                  <a:gd name="connsiteY1089" fmla="*/ 1815907 h 3993936"/>
                  <a:gd name="connsiteX1090" fmla="*/ 2874583 w 3565209"/>
                  <a:gd name="connsiteY1090" fmla="*/ 1812071 h 3993936"/>
                  <a:gd name="connsiteX1091" fmla="*/ 2871198 w 3565209"/>
                  <a:gd name="connsiteY1091" fmla="*/ 1804850 h 3993936"/>
                  <a:gd name="connsiteX1092" fmla="*/ 2870521 w 3565209"/>
                  <a:gd name="connsiteY1092" fmla="*/ 1801916 h 3993936"/>
                  <a:gd name="connsiteX1093" fmla="*/ 2870747 w 3565209"/>
                  <a:gd name="connsiteY1093" fmla="*/ 1791085 h 3993936"/>
                  <a:gd name="connsiteX1094" fmla="*/ 2871198 w 3565209"/>
                  <a:gd name="connsiteY1094" fmla="*/ 1781383 h 3993936"/>
                  <a:gd name="connsiteX1095" fmla="*/ 2872101 w 3565209"/>
                  <a:gd name="connsiteY1095" fmla="*/ 1771229 h 3993936"/>
                  <a:gd name="connsiteX1096" fmla="*/ 2873229 w 3565209"/>
                  <a:gd name="connsiteY1096" fmla="*/ 1767167 h 3993936"/>
                  <a:gd name="connsiteX1097" fmla="*/ 2876614 w 3565209"/>
                  <a:gd name="connsiteY1097" fmla="*/ 1760398 h 3993936"/>
                  <a:gd name="connsiteX1098" fmla="*/ 2880224 w 3565209"/>
                  <a:gd name="connsiteY1098" fmla="*/ 1759044 h 3993936"/>
                  <a:gd name="connsiteX1099" fmla="*/ 2882706 w 3565209"/>
                  <a:gd name="connsiteY1099" fmla="*/ 1756787 h 3993936"/>
                  <a:gd name="connsiteX1100" fmla="*/ 2883157 w 3565209"/>
                  <a:gd name="connsiteY1100" fmla="*/ 1753177 h 3993936"/>
                  <a:gd name="connsiteX1101" fmla="*/ 2886768 w 3565209"/>
                  <a:gd name="connsiteY1101" fmla="*/ 1744151 h 3993936"/>
                  <a:gd name="connsiteX1102" fmla="*/ 2889476 w 3565209"/>
                  <a:gd name="connsiteY1102" fmla="*/ 1741218 h 3993936"/>
                  <a:gd name="connsiteX1103" fmla="*/ 2893988 w 3565209"/>
                  <a:gd name="connsiteY1103" fmla="*/ 1737156 h 3993936"/>
                  <a:gd name="connsiteX1104" fmla="*/ 2896922 w 3565209"/>
                  <a:gd name="connsiteY1104" fmla="*/ 1733094 h 3993936"/>
                  <a:gd name="connsiteX1105" fmla="*/ 2900306 w 3565209"/>
                  <a:gd name="connsiteY1105" fmla="*/ 1729484 h 3993936"/>
                  <a:gd name="connsiteX1106" fmla="*/ 2901660 w 3565209"/>
                  <a:gd name="connsiteY1106" fmla="*/ 1729033 h 3993936"/>
                  <a:gd name="connsiteX1107" fmla="*/ 2912943 w 3565209"/>
                  <a:gd name="connsiteY1107" fmla="*/ 1727453 h 3993936"/>
                  <a:gd name="connsiteX1108" fmla="*/ 2925353 w 3565209"/>
                  <a:gd name="connsiteY1108" fmla="*/ 1722715 h 3993936"/>
                  <a:gd name="connsiteX1109" fmla="*/ 2927384 w 3565209"/>
                  <a:gd name="connsiteY1109" fmla="*/ 1717751 h 3993936"/>
                  <a:gd name="connsiteX1110" fmla="*/ 2935056 w 3565209"/>
                  <a:gd name="connsiteY1110" fmla="*/ 1708950 h 3993936"/>
                  <a:gd name="connsiteX1111" fmla="*/ 2943179 w 3565209"/>
                  <a:gd name="connsiteY1111" fmla="*/ 1710304 h 3993936"/>
                  <a:gd name="connsiteX1112" fmla="*/ 2947015 w 3565209"/>
                  <a:gd name="connsiteY1112" fmla="*/ 1710755 h 3993936"/>
                  <a:gd name="connsiteX1113" fmla="*/ 2951077 w 3565209"/>
                  <a:gd name="connsiteY1113" fmla="*/ 1707822 h 3993936"/>
                  <a:gd name="connsiteX1114" fmla="*/ 2955139 w 3565209"/>
                  <a:gd name="connsiteY1114" fmla="*/ 1704212 h 3993936"/>
                  <a:gd name="connsiteX1115" fmla="*/ 2954687 w 3565209"/>
                  <a:gd name="connsiteY1115" fmla="*/ 1700376 h 3993936"/>
                  <a:gd name="connsiteX1116" fmla="*/ 2955139 w 3565209"/>
                  <a:gd name="connsiteY1116" fmla="*/ 1691124 h 3993936"/>
                  <a:gd name="connsiteX1117" fmla="*/ 2969580 w 3565209"/>
                  <a:gd name="connsiteY1117" fmla="*/ 1682098 h 3993936"/>
                  <a:gd name="connsiteX1118" fmla="*/ 2974093 w 3565209"/>
                  <a:gd name="connsiteY1118" fmla="*/ 1682098 h 3993936"/>
                  <a:gd name="connsiteX1119" fmla="*/ 2979960 w 3565209"/>
                  <a:gd name="connsiteY1119" fmla="*/ 1680744 h 3993936"/>
                  <a:gd name="connsiteX1120" fmla="*/ 2984021 w 3565209"/>
                  <a:gd name="connsiteY1120" fmla="*/ 1673073 h 3993936"/>
                  <a:gd name="connsiteX1121" fmla="*/ 2990790 w 3565209"/>
                  <a:gd name="connsiteY1121" fmla="*/ 1663370 h 3993936"/>
                  <a:gd name="connsiteX1122" fmla="*/ 2992596 w 3565209"/>
                  <a:gd name="connsiteY1122" fmla="*/ 1656149 h 3993936"/>
                  <a:gd name="connsiteX1123" fmla="*/ 2991919 w 3565209"/>
                  <a:gd name="connsiteY1123" fmla="*/ 1654795 h 3993936"/>
                  <a:gd name="connsiteX1124" fmla="*/ 2990565 w 3565209"/>
                  <a:gd name="connsiteY1124" fmla="*/ 1639451 h 3993936"/>
                  <a:gd name="connsiteX1125" fmla="*/ 2991919 w 3565209"/>
                  <a:gd name="connsiteY1125" fmla="*/ 1630200 h 3993936"/>
                  <a:gd name="connsiteX1126" fmla="*/ 2991693 w 3565209"/>
                  <a:gd name="connsiteY1126" fmla="*/ 1628620 h 3993936"/>
                  <a:gd name="connsiteX1127" fmla="*/ 2991242 w 3565209"/>
                  <a:gd name="connsiteY1127" fmla="*/ 1626815 h 3993936"/>
                  <a:gd name="connsiteX1128" fmla="*/ 2991016 w 3565209"/>
                  <a:gd name="connsiteY1128" fmla="*/ 1616887 h 3993936"/>
                  <a:gd name="connsiteX1129" fmla="*/ 2997786 w 3565209"/>
                  <a:gd name="connsiteY1129" fmla="*/ 1607409 h 3993936"/>
                  <a:gd name="connsiteX1130" fmla="*/ 3002976 w 3565209"/>
                  <a:gd name="connsiteY1130" fmla="*/ 1608763 h 3993936"/>
                  <a:gd name="connsiteX1131" fmla="*/ 3004781 w 3565209"/>
                  <a:gd name="connsiteY1131" fmla="*/ 1611246 h 3993936"/>
                  <a:gd name="connsiteX1132" fmla="*/ 3007488 w 3565209"/>
                  <a:gd name="connsiteY1132" fmla="*/ 1614630 h 3993936"/>
                  <a:gd name="connsiteX1133" fmla="*/ 3012001 w 3565209"/>
                  <a:gd name="connsiteY1133" fmla="*/ 1611922 h 3993936"/>
                  <a:gd name="connsiteX1134" fmla="*/ 3017417 w 3565209"/>
                  <a:gd name="connsiteY1134" fmla="*/ 1608312 h 3993936"/>
                  <a:gd name="connsiteX1135" fmla="*/ 3012678 w 3565209"/>
                  <a:gd name="connsiteY1135" fmla="*/ 1599963 h 3993936"/>
                  <a:gd name="connsiteX1136" fmla="*/ 3009970 w 3565209"/>
                  <a:gd name="connsiteY1136" fmla="*/ 1595450 h 3993936"/>
                  <a:gd name="connsiteX1137" fmla="*/ 3009294 w 3565209"/>
                  <a:gd name="connsiteY1137" fmla="*/ 1593871 h 3993936"/>
                  <a:gd name="connsiteX1138" fmla="*/ 3007940 w 3565209"/>
                  <a:gd name="connsiteY1138" fmla="*/ 1589132 h 3993936"/>
                  <a:gd name="connsiteX1139" fmla="*/ 3001170 w 3565209"/>
                  <a:gd name="connsiteY1139" fmla="*/ 1589132 h 3993936"/>
                  <a:gd name="connsiteX1140" fmla="*/ 2997560 w 3565209"/>
                  <a:gd name="connsiteY1140" fmla="*/ 1589358 h 3993936"/>
                  <a:gd name="connsiteX1141" fmla="*/ 2981088 w 3565209"/>
                  <a:gd name="connsiteY1141" fmla="*/ 1584619 h 3993936"/>
                  <a:gd name="connsiteX1142" fmla="*/ 2977929 w 3565209"/>
                  <a:gd name="connsiteY1142" fmla="*/ 1582363 h 3993936"/>
                  <a:gd name="connsiteX1143" fmla="*/ 2967775 w 3565209"/>
                  <a:gd name="connsiteY1143" fmla="*/ 1577850 h 3993936"/>
                  <a:gd name="connsiteX1144" fmla="*/ 2960328 w 3565209"/>
                  <a:gd name="connsiteY1144" fmla="*/ 1575819 h 3993936"/>
                  <a:gd name="connsiteX1145" fmla="*/ 2951528 w 3565209"/>
                  <a:gd name="connsiteY1145" fmla="*/ 1576496 h 3993936"/>
                  <a:gd name="connsiteX1146" fmla="*/ 2930543 w 3565209"/>
                  <a:gd name="connsiteY1146" fmla="*/ 1585747 h 3993936"/>
                  <a:gd name="connsiteX1147" fmla="*/ 2921969 w 3565209"/>
                  <a:gd name="connsiteY1147" fmla="*/ 1586876 h 3993936"/>
                  <a:gd name="connsiteX1148" fmla="*/ 2914296 w 3565209"/>
                  <a:gd name="connsiteY1148" fmla="*/ 1587101 h 3993936"/>
                  <a:gd name="connsiteX1149" fmla="*/ 2904142 w 3565209"/>
                  <a:gd name="connsiteY1149" fmla="*/ 1586199 h 3993936"/>
                  <a:gd name="connsiteX1150" fmla="*/ 2903240 w 3565209"/>
                  <a:gd name="connsiteY1150" fmla="*/ 1586199 h 3993936"/>
                  <a:gd name="connsiteX1151" fmla="*/ 2887445 w 3565209"/>
                  <a:gd name="connsiteY1151" fmla="*/ 1584845 h 3993936"/>
                  <a:gd name="connsiteX1152" fmla="*/ 2885865 w 3565209"/>
                  <a:gd name="connsiteY1152" fmla="*/ 1584168 h 3993936"/>
                  <a:gd name="connsiteX1153" fmla="*/ 2869167 w 3565209"/>
                  <a:gd name="connsiteY1153" fmla="*/ 1580332 h 3993936"/>
                  <a:gd name="connsiteX1154" fmla="*/ 2863977 w 3565209"/>
                  <a:gd name="connsiteY1154" fmla="*/ 1580106 h 3993936"/>
                  <a:gd name="connsiteX1155" fmla="*/ 2848408 w 3565209"/>
                  <a:gd name="connsiteY1155" fmla="*/ 1580558 h 3993936"/>
                  <a:gd name="connsiteX1156" fmla="*/ 2845700 w 3565209"/>
                  <a:gd name="connsiteY1156" fmla="*/ 1581911 h 3993936"/>
                  <a:gd name="connsiteX1157" fmla="*/ 2839833 w 3565209"/>
                  <a:gd name="connsiteY1157" fmla="*/ 1584619 h 3993936"/>
                  <a:gd name="connsiteX1158" fmla="*/ 2836223 w 3565209"/>
                  <a:gd name="connsiteY1158" fmla="*/ 1586199 h 3993936"/>
                  <a:gd name="connsiteX1159" fmla="*/ 2821105 w 3565209"/>
                  <a:gd name="connsiteY1159" fmla="*/ 1587327 h 3993936"/>
                  <a:gd name="connsiteX1160" fmla="*/ 2792448 w 3565209"/>
                  <a:gd name="connsiteY1160" fmla="*/ 1585522 h 3993936"/>
                  <a:gd name="connsiteX1161" fmla="*/ 2788612 w 3565209"/>
                  <a:gd name="connsiteY1161" fmla="*/ 1587101 h 3993936"/>
                  <a:gd name="connsiteX1162" fmla="*/ 2777104 w 3565209"/>
                  <a:gd name="connsiteY1162" fmla="*/ 1591840 h 3993936"/>
                  <a:gd name="connsiteX1163" fmla="*/ 2773945 w 3565209"/>
                  <a:gd name="connsiteY1163" fmla="*/ 1592968 h 3993936"/>
                  <a:gd name="connsiteX1164" fmla="*/ 2750477 w 3565209"/>
                  <a:gd name="connsiteY1164" fmla="*/ 1594548 h 3993936"/>
                  <a:gd name="connsiteX1165" fmla="*/ 2745062 w 3565209"/>
                  <a:gd name="connsiteY1165" fmla="*/ 1592291 h 3993936"/>
                  <a:gd name="connsiteX1166" fmla="*/ 2729944 w 3565209"/>
                  <a:gd name="connsiteY1166" fmla="*/ 1589132 h 3993936"/>
                  <a:gd name="connsiteX1167" fmla="*/ 2720241 w 3565209"/>
                  <a:gd name="connsiteY1167" fmla="*/ 1585296 h 3993936"/>
                  <a:gd name="connsiteX1168" fmla="*/ 2715728 w 3565209"/>
                  <a:gd name="connsiteY1168" fmla="*/ 1583942 h 3993936"/>
                  <a:gd name="connsiteX1169" fmla="*/ 2698804 w 3565209"/>
                  <a:gd name="connsiteY1169" fmla="*/ 1582814 h 3993936"/>
                  <a:gd name="connsiteX1170" fmla="*/ 2695420 w 3565209"/>
                  <a:gd name="connsiteY1170" fmla="*/ 1582363 h 3993936"/>
                  <a:gd name="connsiteX1171" fmla="*/ 2686394 w 3565209"/>
                  <a:gd name="connsiteY1171" fmla="*/ 1571306 h 3993936"/>
                  <a:gd name="connsiteX1172" fmla="*/ 2688650 w 3565209"/>
                  <a:gd name="connsiteY1172" fmla="*/ 1555962 h 3993936"/>
                  <a:gd name="connsiteX1173" fmla="*/ 2689102 w 3565209"/>
                  <a:gd name="connsiteY1173" fmla="*/ 1555060 h 3993936"/>
                  <a:gd name="connsiteX1174" fmla="*/ 2689779 w 3565209"/>
                  <a:gd name="connsiteY1174" fmla="*/ 1543100 h 3993936"/>
                  <a:gd name="connsiteX1175" fmla="*/ 2689102 w 3565209"/>
                  <a:gd name="connsiteY1175" fmla="*/ 1538362 h 3993936"/>
                  <a:gd name="connsiteX1176" fmla="*/ 2685266 w 3565209"/>
                  <a:gd name="connsiteY1176" fmla="*/ 1526628 h 3993936"/>
                  <a:gd name="connsiteX1177" fmla="*/ 2679625 w 3565209"/>
                  <a:gd name="connsiteY1177" fmla="*/ 1507674 h 3993936"/>
                  <a:gd name="connsiteX1178" fmla="*/ 2681655 w 3565209"/>
                  <a:gd name="connsiteY1178" fmla="*/ 1499099 h 3993936"/>
                  <a:gd name="connsiteX1179" fmla="*/ 2683912 w 3565209"/>
                  <a:gd name="connsiteY1179" fmla="*/ 1488494 h 3993936"/>
                  <a:gd name="connsiteX1180" fmla="*/ 2678271 w 3565209"/>
                  <a:gd name="connsiteY1180" fmla="*/ 1479017 h 3993936"/>
                  <a:gd name="connsiteX1181" fmla="*/ 2674209 w 3565209"/>
                  <a:gd name="connsiteY1181" fmla="*/ 1472924 h 3993936"/>
                  <a:gd name="connsiteX1182" fmla="*/ 2666988 w 3565209"/>
                  <a:gd name="connsiteY1182" fmla="*/ 1461642 h 3993936"/>
                  <a:gd name="connsiteX1183" fmla="*/ 2663829 w 3565209"/>
                  <a:gd name="connsiteY1183" fmla="*/ 1461191 h 3993936"/>
                  <a:gd name="connsiteX1184" fmla="*/ 2655706 w 3565209"/>
                  <a:gd name="connsiteY1184" fmla="*/ 1462093 h 3993936"/>
                  <a:gd name="connsiteX1185" fmla="*/ 2655932 w 3565209"/>
                  <a:gd name="connsiteY1185" fmla="*/ 1468186 h 3993936"/>
                  <a:gd name="connsiteX1186" fmla="*/ 2653901 w 3565209"/>
                  <a:gd name="connsiteY1186" fmla="*/ 1479468 h 3993936"/>
                  <a:gd name="connsiteX1187" fmla="*/ 2635172 w 3565209"/>
                  <a:gd name="connsiteY1187" fmla="*/ 1488043 h 3993936"/>
                  <a:gd name="connsiteX1188" fmla="*/ 2633593 w 3565209"/>
                  <a:gd name="connsiteY1188" fmla="*/ 1488043 h 3993936"/>
                  <a:gd name="connsiteX1189" fmla="*/ 2612608 w 3565209"/>
                  <a:gd name="connsiteY1189" fmla="*/ 1484432 h 3993936"/>
                  <a:gd name="connsiteX1190" fmla="*/ 2604484 w 3565209"/>
                  <a:gd name="connsiteY1190" fmla="*/ 1475181 h 3993936"/>
                  <a:gd name="connsiteX1191" fmla="*/ 2601100 w 3565209"/>
                  <a:gd name="connsiteY1191" fmla="*/ 1469991 h 3993936"/>
                  <a:gd name="connsiteX1192" fmla="*/ 2596361 w 3565209"/>
                  <a:gd name="connsiteY1192" fmla="*/ 1465478 h 3993936"/>
                  <a:gd name="connsiteX1193" fmla="*/ 2592751 w 3565209"/>
                  <a:gd name="connsiteY1193" fmla="*/ 1459837 h 3993936"/>
                  <a:gd name="connsiteX1194" fmla="*/ 2591171 w 3565209"/>
                  <a:gd name="connsiteY1194" fmla="*/ 1457129 h 3993936"/>
                  <a:gd name="connsiteX1195" fmla="*/ 2586658 w 3565209"/>
                  <a:gd name="connsiteY1195" fmla="*/ 1447878 h 3993936"/>
                  <a:gd name="connsiteX1196" fmla="*/ 2586207 w 3565209"/>
                  <a:gd name="connsiteY1196" fmla="*/ 1443590 h 3993936"/>
                  <a:gd name="connsiteX1197" fmla="*/ 2583274 w 3565209"/>
                  <a:gd name="connsiteY1197" fmla="*/ 1434565 h 3993936"/>
                  <a:gd name="connsiteX1198" fmla="*/ 2573345 w 3565209"/>
                  <a:gd name="connsiteY1198" fmla="*/ 1433888 h 3993936"/>
                  <a:gd name="connsiteX1199" fmla="*/ 2572668 w 3565209"/>
                  <a:gd name="connsiteY1199" fmla="*/ 1435467 h 3993936"/>
                  <a:gd name="connsiteX1200" fmla="*/ 2572443 w 3565209"/>
                  <a:gd name="connsiteY1200" fmla="*/ 1439078 h 3993936"/>
                  <a:gd name="connsiteX1201" fmla="*/ 2569284 w 3565209"/>
                  <a:gd name="connsiteY1201" fmla="*/ 1451488 h 3993936"/>
                  <a:gd name="connsiteX1202" fmla="*/ 2564545 w 3565209"/>
                  <a:gd name="connsiteY1202" fmla="*/ 1455098 h 3993936"/>
                  <a:gd name="connsiteX1203" fmla="*/ 2558227 w 3565209"/>
                  <a:gd name="connsiteY1203" fmla="*/ 1460965 h 3993936"/>
                  <a:gd name="connsiteX1204" fmla="*/ 2556422 w 3565209"/>
                  <a:gd name="connsiteY1204" fmla="*/ 1466381 h 3993936"/>
                  <a:gd name="connsiteX1205" fmla="*/ 2551458 w 3565209"/>
                  <a:gd name="connsiteY1205" fmla="*/ 1473376 h 3993936"/>
                  <a:gd name="connsiteX1206" fmla="*/ 2549652 w 3565209"/>
                  <a:gd name="connsiteY1206" fmla="*/ 1474053 h 3993936"/>
                  <a:gd name="connsiteX1207" fmla="*/ 2544914 w 3565209"/>
                  <a:gd name="connsiteY1207" fmla="*/ 1473827 h 3993936"/>
                  <a:gd name="connsiteX1208" fmla="*/ 2541304 w 3565209"/>
                  <a:gd name="connsiteY1208" fmla="*/ 1463447 h 3993936"/>
                  <a:gd name="connsiteX1209" fmla="*/ 2535662 w 3565209"/>
                  <a:gd name="connsiteY1209" fmla="*/ 1461642 h 3993936"/>
                  <a:gd name="connsiteX1210" fmla="*/ 2535211 w 3565209"/>
                  <a:gd name="connsiteY1210" fmla="*/ 1456903 h 3993936"/>
                  <a:gd name="connsiteX1211" fmla="*/ 2534760 w 3565209"/>
                  <a:gd name="connsiteY1211" fmla="*/ 1444267 h 3993936"/>
                  <a:gd name="connsiteX1212" fmla="*/ 2530472 w 3565209"/>
                  <a:gd name="connsiteY1212" fmla="*/ 1441108 h 3993936"/>
                  <a:gd name="connsiteX1213" fmla="*/ 2525057 w 3565209"/>
                  <a:gd name="connsiteY1213" fmla="*/ 1437498 h 3993936"/>
                  <a:gd name="connsiteX1214" fmla="*/ 2521447 w 3565209"/>
                  <a:gd name="connsiteY1214" fmla="*/ 1434565 h 3993936"/>
                  <a:gd name="connsiteX1215" fmla="*/ 2514677 w 3565209"/>
                  <a:gd name="connsiteY1215" fmla="*/ 1429600 h 3993936"/>
                  <a:gd name="connsiteX1216" fmla="*/ 2510841 w 3565209"/>
                  <a:gd name="connsiteY1216" fmla="*/ 1427118 h 3993936"/>
                  <a:gd name="connsiteX1217" fmla="*/ 2507908 w 3565209"/>
                  <a:gd name="connsiteY1217" fmla="*/ 1425539 h 3993936"/>
                  <a:gd name="connsiteX1218" fmla="*/ 2503395 w 3565209"/>
                  <a:gd name="connsiteY1218" fmla="*/ 1429149 h 3993936"/>
                  <a:gd name="connsiteX1219" fmla="*/ 2505426 w 3565209"/>
                  <a:gd name="connsiteY1219" fmla="*/ 1432759 h 3993936"/>
                  <a:gd name="connsiteX1220" fmla="*/ 2515128 w 3565209"/>
                  <a:gd name="connsiteY1220" fmla="*/ 1440657 h 3993936"/>
                  <a:gd name="connsiteX1221" fmla="*/ 2517385 w 3565209"/>
                  <a:gd name="connsiteY1221" fmla="*/ 1444042 h 3993936"/>
                  <a:gd name="connsiteX1222" fmla="*/ 2519867 w 3565209"/>
                  <a:gd name="connsiteY1222" fmla="*/ 1450134 h 3993936"/>
                  <a:gd name="connsiteX1223" fmla="*/ 2517836 w 3565209"/>
                  <a:gd name="connsiteY1223" fmla="*/ 1452391 h 3993936"/>
                  <a:gd name="connsiteX1224" fmla="*/ 2510841 w 3565209"/>
                  <a:gd name="connsiteY1224" fmla="*/ 1453293 h 3993936"/>
                  <a:gd name="connsiteX1225" fmla="*/ 2502718 w 3565209"/>
                  <a:gd name="connsiteY1225" fmla="*/ 1454647 h 3993936"/>
                  <a:gd name="connsiteX1226" fmla="*/ 2502267 w 3565209"/>
                  <a:gd name="connsiteY1226" fmla="*/ 1457806 h 3993936"/>
                  <a:gd name="connsiteX1227" fmla="*/ 2499333 w 3565209"/>
                  <a:gd name="connsiteY1227" fmla="*/ 1467058 h 3993936"/>
                  <a:gd name="connsiteX1228" fmla="*/ 2493015 w 3565209"/>
                  <a:gd name="connsiteY1228" fmla="*/ 1472247 h 3993936"/>
                  <a:gd name="connsiteX1229" fmla="*/ 2488051 w 3565209"/>
                  <a:gd name="connsiteY1229" fmla="*/ 1476535 h 3993936"/>
                  <a:gd name="connsiteX1230" fmla="*/ 2481282 w 3565209"/>
                  <a:gd name="connsiteY1230" fmla="*/ 1484658 h 3993936"/>
                  <a:gd name="connsiteX1231" fmla="*/ 2475640 w 3565209"/>
                  <a:gd name="connsiteY1231" fmla="*/ 1491879 h 3993936"/>
                  <a:gd name="connsiteX1232" fmla="*/ 2476543 w 3565209"/>
                  <a:gd name="connsiteY1232" fmla="*/ 1496392 h 3993936"/>
                  <a:gd name="connsiteX1233" fmla="*/ 2476994 w 3565209"/>
                  <a:gd name="connsiteY1233" fmla="*/ 1506320 h 3993936"/>
                  <a:gd name="connsiteX1234" fmla="*/ 2475189 w 3565209"/>
                  <a:gd name="connsiteY1234" fmla="*/ 1519633 h 3993936"/>
                  <a:gd name="connsiteX1235" fmla="*/ 2475189 w 3565209"/>
                  <a:gd name="connsiteY1235" fmla="*/ 1523695 h 3993936"/>
                  <a:gd name="connsiteX1236" fmla="*/ 2475189 w 3565209"/>
                  <a:gd name="connsiteY1236" fmla="*/ 1527531 h 3993936"/>
                  <a:gd name="connsiteX1237" fmla="*/ 2480605 w 3565209"/>
                  <a:gd name="connsiteY1237" fmla="*/ 1526177 h 3993936"/>
                  <a:gd name="connsiteX1238" fmla="*/ 2483989 w 3565209"/>
                  <a:gd name="connsiteY1238" fmla="*/ 1524597 h 3993936"/>
                  <a:gd name="connsiteX1239" fmla="*/ 2499785 w 3565209"/>
                  <a:gd name="connsiteY1239" fmla="*/ 1526403 h 3993936"/>
                  <a:gd name="connsiteX1240" fmla="*/ 2502041 w 3565209"/>
                  <a:gd name="connsiteY1240" fmla="*/ 1531818 h 3993936"/>
                  <a:gd name="connsiteX1241" fmla="*/ 2507457 w 3565209"/>
                  <a:gd name="connsiteY1241" fmla="*/ 1535654 h 3993936"/>
                  <a:gd name="connsiteX1242" fmla="*/ 2518513 w 3565209"/>
                  <a:gd name="connsiteY1242" fmla="*/ 1542423 h 3993936"/>
                  <a:gd name="connsiteX1243" fmla="*/ 2519867 w 3565209"/>
                  <a:gd name="connsiteY1243" fmla="*/ 1546936 h 3993936"/>
                  <a:gd name="connsiteX1244" fmla="*/ 2520093 w 3565209"/>
                  <a:gd name="connsiteY1244" fmla="*/ 1547162 h 3993936"/>
                  <a:gd name="connsiteX1245" fmla="*/ 2523929 w 3565209"/>
                  <a:gd name="connsiteY1245" fmla="*/ 1555285 h 3993936"/>
                  <a:gd name="connsiteX1246" fmla="*/ 2533180 w 3565209"/>
                  <a:gd name="connsiteY1246" fmla="*/ 1561829 h 3993936"/>
                  <a:gd name="connsiteX1247" fmla="*/ 2542206 w 3565209"/>
                  <a:gd name="connsiteY1247" fmla="*/ 1561378 h 3993936"/>
                  <a:gd name="connsiteX1248" fmla="*/ 2552360 w 3565209"/>
                  <a:gd name="connsiteY1248" fmla="*/ 1560475 h 3993936"/>
                  <a:gd name="connsiteX1249" fmla="*/ 2555745 w 3565209"/>
                  <a:gd name="connsiteY1249" fmla="*/ 1558896 h 3993936"/>
                  <a:gd name="connsiteX1250" fmla="*/ 2560935 w 3565209"/>
                  <a:gd name="connsiteY1250" fmla="*/ 1557542 h 3993936"/>
                  <a:gd name="connsiteX1251" fmla="*/ 2564771 w 3565209"/>
                  <a:gd name="connsiteY1251" fmla="*/ 1561829 h 3993936"/>
                  <a:gd name="connsiteX1252" fmla="*/ 2564094 w 3565209"/>
                  <a:gd name="connsiteY1252" fmla="*/ 1571757 h 3993936"/>
                  <a:gd name="connsiteX1253" fmla="*/ 2563868 w 3565209"/>
                  <a:gd name="connsiteY1253" fmla="*/ 1576270 h 3993936"/>
                  <a:gd name="connsiteX1254" fmla="*/ 2577407 w 3565209"/>
                  <a:gd name="connsiteY1254" fmla="*/ 1583717 h 3993936"/>
                  <a:gd name="connsiteX1255" fmla="*/ 2583725 w 3565209"/>
                  <a:gd name="connsiteY1255" fmla="*/ 1594999 h 3993936"/>
                  <a:gd name="connsiteX1256" fmla="*/ 2581694 w 3565209"/>
                  <a:gd name="connsiteY1256" fmla="*/ 1599061 h 3993936"/>
                  <a:gd name="connsiteX1257" fmla="*/ 2580792 w 3565209"/>
                  <a:gd name="connsiteY1257" fmla="*/ 1601768 h 3993936"/>
                  <a:gd name="connsiteX1258" fmla="*/ 2569058 w 3565209"/>
                  <a:gd name="connsiteY1258" fmla="*/ 1608538 h 3993936"/>
                  <a:gd name="connsiteX1259" fmla="*/ 2564319 w 3565209"/>
                  <a:gd name="connsiteY1259" fmla="*/ 1609892 h 3993936"/>
                  <a:gd name="connsiteX1260" fmla="*/ 2554617 w 3565209"/>
                  <a:gd name="connsiteY1260" fmla="*/ 1609440 h 3993936"/>
                  <a:gd name="connsiteX1261" fmla="*/ 2551458 w 3565209"/>
                  <a:gd name="connsiteY1261" fmla="*/ 1607409 h 3993936"/>
                  <a:gd name="connsiteX1262" fmla="*/ 2547170 w 3565209"/>
                  <a:gd name="connsiteY1262" fmla="*/ 1606281 h 3993936"/>
                  <a:gd name="connsiteX1263" fmla="*/ 2545139 w 3565209"/>
                  <a:gd name="connsiteY1263" fmla="*/ 1607861 h 3993936"/>
                  <a:gd name="connsiteX1264" fmla="*/ 2537693 w 3565209"/>
                  <a:gd name="connsiteY1264" fmla="*/ 1610794 h 3993936"/>
                  <a:gd name="connsiteX1265" fmla="*/ 2530247 w 3565209"/>
                  <a:gd name="connsiteY1265" fmla="*/ 1610343 h 3993936"/>
                  <a:gd name="connsiteX1266" fmla="*/ 2526636 w 3565209"/>
                  <a:gd name="connsiteY1266" fmla="*/ 1610117 h 3993936"/>
                  <a:gd name="connsiteX1267" fmla="*/ 2525734 w 3565209"/>
                  <a:gd name="connsiteY1267" fmla="*/ 1611020 h 3993936"/>
                  <a:gd name="connsiteX1268" fmla="*/ 2522801 w 3565209"/>
                  <a:gd name="connsiteY1268" fmla="*/ 1615533 h 3993936"/>
                  <a:gd name="connsiteX1269" fmla="*/ 2523703 w 3565209"/>
                  <a:gd name="connsiteY1269" fmla="*/ 1620948 h 3993936"/>
                  <a:gd name="connsiteX1270" fmla="*/ 2524380 w 3565209"/>
                  <a:gd name="connsiteY1270" fmla="*/ 1628846 h 3993936"/>
                  <a:gd name="connsiteX1271" fmla="*/ 2520770 w 3565209"/>
                  <a:gd name="connsiteY1271" fmla="*/ 1634487 h 3993936"/>
                  <a:gd name="connsiteX1272" fmla="*/ 2518964 w 3565209"/>
                  <a:gd name="connsiteY1272" fmla="*/ 1636743 h 3993936"/>
                  <a:gd name="connsiteX1273" fmla="*/ 2516257 w 3565209"/>
                  <a:gd name="connsiteY1273" fmla="*/ 1640128 h 3993936"/>
                  <a:gd name="connsiteX1274" fmla="*/ 2510616 w 3565209"/>
                  <a:gd name="connsiteY1274" fmla="*/ 1646897 h 3993936"/>
                  <a:gd name="connsiteX1275" fmla="*/ 2508359 w 3565209"/>
                  <a:gd name="connsiteY1275" fmla="*/ 1651185 h 3993936"/>
                  <a:gd name="connsiteX1276" fmla="*/ 2504974 w 3565209"/>
                  <a:gd name="connsiteY1276" fmla="*/ 1654795 h 3993936"/>
                  <a:gd name="connsiteX1277" fmla="*/ 2500913 w 3565209"/>
                  <a:gd name="connsiteY1277" fmla="*/ 1653216 h 3993936"/>
                  <a:gd name="connsiteX1278" fmla="*/ 2498431 w 3565209"/>
                  <a:gd name="connsiteY1278" fmla="*/ 1647575 h 3993936"/>
                  <a:gd name="connsiteX1279" fmla="*/ 2498205 w 3565209"/>
                  <a:gd name="connsiteY1279" fmla="*/ 1646221 h 3993936"/>
                  <a:gd name="connsiteX1280" fmla="*/ 2497528 w 3565209"/>
                  <a:gd name="connsiteY1280" fmla="*/ 1646221 h 3993936"/>
                  <a:gd name="connsiteX1281" fmla="*/ 2495497 w 3565209"/>
                  <a:gd name="connsiteY1281" fmla="*/ 1646446 h 3993936"/>
                  <a:gd name="connsiteX1282" fmla="*/ 2490984 w 3565209"/>
                  <a:gd name="connsiteY1282" fmla="*/ 1650734 h 3993936"/>
                  <a:gd name="connsiteX1283" fmla="*/ 2491210 w 3565209"/>
                  <a:gd name="connsiteY1283" fmla="*/ 1652990 h 3993936"/>
                  <a:gd name="connsiteX1284" fmla="*/ 2486697 w 3565209"/>
                  <a:gd name="connsiteY1284" fmla="*/ 1661565 h 3993936"/>
                  <a:gd name="connsiteX1285" fmla="*/ 2483989 w 3565209"/>
                  <a:gd name="connsiteY1285" fmla="*/ 1664498 h 3993936"/>
                  <a:gd name="connsiteX1286" fmla="*/ 2477446 w 3565209"/>
                  <a:gd name="connsiteY1286" fmla="*/ 1675555 h 3993936"/>
                  <a:gd name="connsiteX1287" fmla="*/ 2478799 w 3565209"/>
                  <a:gd name="connsiteY1287" fmla="*/ 1681196 h 3993936"/>
                  <a:gd name="connsiteX1288" fmla="*/ 2481958 w 3565209"/>
                  <a:gd name="connsiteY1288" fmla="*/ 1687288 h 3993936"/>
                  <a:gd name="connsiteX1289" fmla="*/ 2488502 w 3565209"/>
                  <a:gd name="connsiteY1289" fmla="*/ 1696088 h 3993936"/>
                  <a:gd name="connsiteX1290" fmla="*/ 2494369 w 3565209"/>
                  <a:gd name="connsiteY1290" fmla="*/ 1703083 h 3993936"/>
                  <a:gd name="connsiteX1291" fmla="*/ 2506328 w 3565209"/>
                  <a:gd name="connsiteY1291" fmla="*/ 1713914 h 3993936"/>
                  <a:gd name="connsiteX1292" fmla="*/ 2507457 w 3565209"/>
                  <a:gd name="connsiteY1292" fmla="*/ 1714591 h 3993936"/>
                  <a:gd name="connsiteX1293" fmla="*/ 2532729 w 3565209"/>
                  <a:gd name="connsiteY1293" fmla="*/ 1721812 h 3993936"/>
                  <a:gd name="connsiteX1294" fmla="*/ 2554842 w 3565209"/>
                  <a:gd name="connsiteY1294" fmla="*/ 1721586 h 3993936"/>
                  <a:gd name="connsiteX1295" fmla="*/ 2563417 w 3565209"/>
                  <a:gd name="connsiteY1295" fmla="*/ 1729258 h 3993936"/>
                  <a:gd name="connsiteX1296" fmla="*/ 2563417 w 3565209"/>
                  <a:gd name="connsiteY1296" fmla="*/ 1735802 h 3993936"/>
                  <a:gd name="connsiteX1297" fmla="*/ 2561612 w 3565209"/>
                  <a:gd name="connsiteY1297" fmla="*/ 1752726 h 3993936"/>
                  <a:gd name="connsiteX1298" fmla="*/ 2563417 w 3565209"/>
                  <a:gd name="connsiteY1298" fmla="*/ 1756561 h 3993936"/>
                  <a:gd name="connsiteX1299" fmla="*/ 2567478 w 3565209"/>
                  <a:gd name="connsiteY1299" fmla="*/ 1773034 h 3993936"/>
                  <a:gd name="connsiteX1300" fmla="*/ 2555970 w 3565209"/>
                  <a:gd name="connsiteY1300" fmla="*/ 1786121 h 3993936"/>
                  <a:gd name="connsiteX1301" fmla="*/ 2546719 w 3565209"/>
                  <a:gd name="connsiteY1301" fmla="*/ 1797178 h 3993936"/>
                  <a:gd name="connsiteX1302" fmla="*/ 2560483 w 3565209"/>
                  <a:gd name="connsiteY1302" fmla="*/ 1825158 h 3993936"/>
                  <a:gd name="connsiteX1303" fmla="*/ 2573571 w 3565209"/>
                  <a:gd name="connsiteY1303" fmla="*/ 1856072 h 3993936"/>
                  <a:gd name="connsiteX1304" fmla="*/ 2573345 w 3565209"/>
                  <a:gd name="connsiteY1304" fmla="*/ 1866902 h 3993936"/>
                  <a:gd name="connsiteX1305" fmla="*/ 2585981 w 3565209"/>
                  <a:gd name="connsiteY1305" fmla="*/ 1869159 h 3993936"/>
                  <a:gd name="connsiteX1306" fmla="*/ 2601551 w 3565209"/>
                  <a:gd name="connsiteY1306" fmla="*/ 1874123 h 3993936"/>
                  <a:gd name="connsiteX1307" fmla="*/ 2600197 w 3565209"/>
                  <a:gd name="connsiteY1307" fmla="*/ 1885857 h 3993936"/>
                  <a:gd name="connsiteX1308" fmla="*/ 2599746 w 3565209"/>
                  <a:gd name="connsiteY1308" fmla="*/ 1886759 h 3993936"/>
                  <a:gd name="connsiteX1309" fmla="*/ 2603131 w 3565209"/>
                  <a:gd name="connsiteY1309" fmla="*/ 1943397 h 3993936"/>
                  <a:gd name="connsiteX1310" fmla="*/ 2607869 w 3565209"/>
                  <a:gd name="connsiteY1310" fmla="*/ 1962802 h 3993936"/>
                  <a:gd name="connsiteX1311" fmla="*/ 2608320 w 3565209"/>
                  <a:gd name="connsiteY1311" fmla="*/ 1977018 h 3993936"/>
                  <a:gd name="connsiteX1312" fmla="*/ 2609449 w 3565209"/>
                  <a:gd name="connsiteY1312" fmla="*/ 1992362 h 3993936"/>
                  <a:gd name="connsiteX1313" fmla="*/ 2609223 w 3565209"/>
                  <a:gd name="connsiteY1313" fmla="*/ 1996649 h 3993936"/>
                  <a:gd name="connsiteX1314" fmla="*/ 2611931 w 3565209"/>
                  <a:gd name="connsiteY1314" fmla="*/ 2000259 h 3993936"/>
                  <a:gd name="connsiteX1315" fmla="*/ 2621633 w 3565209"/>
                  <a:gd name="connsiteY1315" fmla="*/ 2015378 h 3993936"/>
                  <a:gd name="connsiteX1316" fmla="*/ 2621408 w 3565209"/>
                  <a:gd name="connsiteY1316" fmla="*/ 2020342 h 3993936"/>
                  <a:gd name="connsiteX1317" fmla="*/ 2622085 w 3565209"/>
                  <a:gd name="connsiteY1317" fmla="*/ 2027563 h 3993936"/>
                  <a:gd name="connsiteX1318" fmla="*/ 2622987 w 3565209"/>
                  <a:gd name="connsiteY1318" fmla="*/ 2029142 h 3993936"/>
                  <a:gd name="connsiteX1319" fmla="*/ 2622310 w 3565209"/>
                  <a:gd name="connsiteY1319" fmla="*/ 2038168 h 3993936"/>
                  <a:gd name="connsiteX1320" fmla="*/ 2621182 w 3565209"/>
                  <a:gd name="connsiteY1320" fmla="*/ 2042455 h 3993936"/>
                  <a:gd name="connsiteX1321" fmla="*/ 2615315 w 3565209"/>
                  <a:gd name="connsiteY1321" fmla="*/ 2050127 h 3993936"/>
                  <a:gd name="connsiteX1322" fmla="*/ 2606515 w 3565209"/>
                  <a:gd name="connsiteY1322" fmla="*/ 2049450 h 3993936"/>
                  <a:gd name="connsiteX1323" fmla="*/ 2599971 w 3565209"/>
                  <a:gd name="connsiteY1323" fmla="*/ 2047871 h 3993936"/>
                  <a:gd name="connsiteX1324" fmla="*/ 2595684 w 3565209"/>
                  <a:gd name="connsiteY1324" fmla="*/ 2047871 h 3993936"/>
                  <a:gd name="connsiteX1325" fmla="*/ 2584176 w 3565209"/>
                  <a:gd name="connsiteY1325" fmla="*/ 2045840 h 3993936"/>
                  <a:gd name="connsiteX1326" fmla="*/ 2579663 w 3565209"/>
                  <a:gd name="connsiteY1326" fmla="*/ 2034106 h 3993936"/>
                  <a:gd name="connsiteX1327" fmla="*/ 2579663 w 3565209"/>
                  <a:gd name="connsiteY1327" fmla="*/ 2032527 h 3993936"/>
                  <a:gd name="connsiteX1328" fmla="*/ 2576955 w 3565209"/>
                  <a:gd name="connsiteY1328" fmla="*/ 2032301 h 3993936"/>
                  <a:gd name="connsiteX1329" fmla="*/ 2571540 w 3565209"/>
                  <a:gd name="connsiteY1329" fmla="*/ 2031173 h 3993936"/>
                  <a:gd name="connsiteX1330" fmla="*/ 2570186 w 3565209"/>
                  <a:gd name="connsiteY1330" fmla="*/ 2030722 h 3993936"/>
                  <a:gd name="connsiteX1331" fmla="*/ 2570186 w 3565209"/>
                  <a:gd name="connsiteY1331" fmla="*/ 2030947 h 3993936"/>
                  <a:gd name="connsiteX1332" fmla="*/ 2566350 w 3565209"/>
                  <a:gd name="connsiteY1332" fmla="*/ 2033204 h 3993936"/>
                  <a:gd name="connsiteX1333" fmla="*/ 2566125 w 3565209"/>
                  <a:gd name="connsiteY1333" fmla="*/ 2035009 h 3993936"/>
                  <a:gd name="connsiteX1334" fmla="*/ 2565899 w 3565209"/>
                  <a:gd name="connsiteY1334" fmla="*/ 2037040 h 3993936"/>
                  <a:gd name="connsiteX1335" fmla="*/ 2561837 w 3565209"/>
                  <a:gd name="connsiteY1335" fmla="*/ 2049225 h 3993936"/>
                  <a:gd name="connsiteX1336" fmla="*/ 2558227 w 3565209"/>
                  <a:gd name="connsiteY1336" fmla="*/ 2052384 h 3993936"/>
                  <a:gd name="connsiteX1337" fmla="*/ 2556647 w 3565209"/>
                  <a:gd name="connsiteY1337" fmla="*/ 2055317 h 3993936"/>
                  <a:gd name="connsiteX1338" fmla="*/ 2553488 w 3565209"/>
                  <a:gd name="connsiteY1338" fmla="*/ 2060281 h 3993936"/>
                  <a:gd name="connsiteX1339" fmla="*/ 2549878 w 3565209"/>
                  <a:gd name="connsiteY1339" fmla="*/ 2063215 h 3993936"/>
                  <a:gd name="connsiteX1340" fmla="*/ 2548073 w 3565209"/>
                  <a:gd name="connsiteY1340" fmla="*/ 2065697 h 3993936"/>
                  <a:gd name="connsiteX1341" fmla="*/ 2541980 w 3565209"/>
                  <a:gd name="connsiteY1341" fmla="*/ 2070887 h 3993936"/>
                  <a:gd name="connsiteX1342" fmla="*/ 2539273 w 3565209"/>
                  <a:gd name="connsiteY1342" fmla="*/ 2072917 h 3993936"/>
                  <a:gd name="connsiteX1343" fmla="*/ 2528667 w 3565209"/>
                  <a:gd name="connsiteY1343" fmla="*/ 2073143 h 3993936"/>
                  <a:gd name="connsiteX1344" fmla="*/ 2518513 w 3565209"/>
                  <a:gd name="connsiteY1344" fmla="*/ 2069758 h 3993936"/>
                  <a:gd name="connsiteX1345" fmla="*/ 2511969 w 3565209"/>
                  <a:gd name="connsiteY1345" fmla="*/ 2063892 h 3993936"/>
                  <a:gd name="connsiteX1346" fmla="*/ 2511969 w 3565209"/>
                  <a:gd name="connsiteY1346" fmla="*/ 2058702 h 3993936"/>
                  <a:gd name="connsiteX1347" fmla="*/ 2511067 w 3565209"/>
                  <a:gd name="connsiteY1347" fmla="*/ 2055994 h 3993936"/>
                  <a:gd name="connsiteX1348" fmla="*/ 2510390 w 3565209"/>
                  <a:gd name="connsiteY1348" fmla="*/ 2045614 h 3993936"/>
                  <a:gd name="connsiteX1349" fmla="*/ 2516257 w 3565209"/>
                  <a:gd name="connsiteY1349" fmla="*/ 2033655 h 3993936"/>
                  <a:gd name="connsiteX1350" fmla="*/ 2516482 w 3565209"/>
                  <a:gd name="connsiteY1350" fmla="*/ 2032752 h 3993936"/>
                  <a:gd name="connsiteX1351" fmla="*/ 2518062 w 3565209"/>
                  <a:gd name="connsiteY1351" fmla="*/ 2029368 h 3993936"/>
                  <a:gd name="connsiteX1352" fmla="*/ 2518513 w 3565209"/>
                  <a:gd name="connsiteY1352" fmla="*/ 2026886 h 3993936"/>
                  <a:gd name="connsiteX1353" fmla="*/ 2514677 w 3565209"/>
                  <a:gd name="connsiteY1353" fmla="*/ 2023727 h 3993936"/>
                  <a:gd name="connsiteX1354" fmla="*/ 2511518 w 3565209"/>
                  <a:gd name="connsiteY1354" fmla="*/ 2021244 h 3993936"/>
                  <a:gd name="connsiteX1355" fmla="*/ 2506780 w 3565209"/>
                  <a:gd name="connsiteY1355" fmla="*/ 2018311 h 3993936"/>
                  <a:gd name="connsiteX1356" fmla="*/ 2507005 w 3565209"/>
                  <a:gd name="connsiteY1356" fmla="*/ 2018988 h 3993936"/>
                  <a:gd name="connsiteX1357" fmla="*/ 2509939 w 3565209"/>
                  <a:gd name="connsiteY1357" fmla="*/ 2023727 h 3993936"/>
                  <a:gd name="connsiteX1358" fmla="*/ 2511067 w 3565209"/>
                  <a:gd name="connsiteY1358" fmla="*/ 2034332 h 3993936"/>
                  <a:gd name="connsiteX1359" fmla="*/ 2503169 w 3565209"/>
                  <a:gd name="connsiteY1359" fmla="*/ 2041553 h 3993936"/>
                  <a:gd name="connsiteX1360" fmla="*/ 2496400 w 3565209"/>
                  <a:gd name="connsiteY1360" fmla="*/ 2049225 h 3993936"/>
                  <a:gd name="connsiteX1361" fmla="*/ 2476994 w 3565209"/>
                  <a:gd name="connsiteY1361" fmla="*/ 2078333 h 3993936"/>
                  <a:gd name="connsiteX1362" fmla="*/ 2472707 w 3565209"/>
                  <a:gd name="connsiteY1362" fmla="*/ 2083523 h 3993936"/>
                  <a:gd name="connsiteX1363" fmla="*/ 2469774 w 3565209"/>
                  <a:gd name="connsiteY1363" fmla="*/ 2087584 h 3993936"/>
                  <a:gd name="connsiteX1364" fmla="*/ 2457363 w 3565209"/>
                  <a:gd name="connsiteY1364" fmla="*/ 2095256 h 3993936"/>
                  <a:gd name="connsiteX1365" fmla="*/ 2451496 w 3565209"/>
                  <a:gd name="connsiteY1365" fmla="*/ 2097287 h 3993936"/>
                  <a:gd name="connsiteX1366" fmla="*/ 2426675 w 3565209"/>
                  <a:gd name="connsiteY1366" fmla="*/ 2102477 h 3993936"/>
                  <a:gd name="connsiteX1367" fmla="*/ 2412008 w 3565209"/>
                  <a:gd name="connsiteY1367" fmla="*/ 2111503 h 3993936"/>
                  <a:gd name="connsiteX1368" fmla="*/ 2397567 w 3565209"/>
                  <a:gd name="connsiteY1368" fmla="*/ 2112857 h 3993936"/>
                  <a:gd name="connsiteX1369" fmla="*/ 2390346 w 3565209"/>
                  <a:gd name="connsiteY1369" fmla="*/ 2112857 h 3993936"/>
                  <a:gd name="connsiteX1370" fmla="*/ 2353115 w 3565209"/>
                  <a:gd name="connsiteY1370" fmla="*/ 2149863 h 3993936"/>
                  <a:gd name="connsiteX1371" fmla="*/ 2358530 w 3565209"/>
                  <a:gd name="connsiteY1371" fmla="*/ 2186643 h 3993936"/>
                  <a:gd name="connsiteX1372" fmla="*/ 2359207 w 3565209"/>
                  <a:gd name="connsiteY1372" fmla="*/ 2187771 h 3993936"/>
                  <a:gd name="connsiteX1373" fmla="*/ 2368233 w 3565209"/>
                  <a:gd name="connsiteY1373" fmla="*/ 2199956 h 3993936"/>
                  <a:gd name="connsiteX1374" fmla="*/ 2371843 w 3565209"/>
                  <a:gd name="connsiteY1374" fmla="*/ 2207177 h 3993936"/>
                  <a:gd name="connsiteX1375" fmla="*/ 2366202 w 3565209"/>
                  <a:gd name="connsiteY1375" fmla="*/ 2215752 h 3993936"/>
                  <a:gd name="connsiteX1376" fmla="*/ 2363720 w 3565209"/>
                  <a:gd name="connsiteY1376" fmla="*/ 2216880 h 3993936"/>
                  <a:gd name="connsiteX1377" fmla="*/ 2365299 w 3565209"/>
                  <a:gd name="connsiteY1377" fmla="*/ 2216654 h 3993936"/>
                  <a:gd name="connsiteX1378" fmla="*/ 2372294 w 3565209"/>
                  <a:gd name="connsiteY1378" fmla="*/ 2218008 h 3993936"/>
                  <a:gd name="connsiteX1379" fmla="*/ 2373648 w 3565209"/>
                  <a:gd name="connsiteY1379" fmla="*/ 2230644 h 3993936"/>
                  <a:gd name="connsiteX1380" fmla="*/ 2365976 w 3565209"/>
                  <a:gd name="connsiteY1380" fmla="*/ 2236962 h 3993936"/>
                  <a:gd name="connsiteX1381" fmla="*/ 2356499 w 3565209"/>
                  <a:gd name="connsiteY1381" fmla="*/ 2243957 h 3993936"/>
                  <a:gd name="connsiteX1382" fmla="*/ 2345443 w 3565209"/>
                  <a:gd name="connsiteY1382" fmla="*/ 2257045 h 3993936"/>
                  <a:gd name="connsiteX1383" fmla="*/ 2345217 w 3565209"/>
                  <a:gd name="connsiteY1383" fmla="*/ 2257496 h 3993936"/>
                  <a:gd name="connsiteX1384" fmla="*/ 2345443 w 3565209"/>
                  <a:gd name="connsiteY1384" fmla="*/ 2266522 h 3993936"/>
                  <a:gd name="connsiteX1385" fmla="*/ 2346120 w 3565209"/>
                  <a:gd name="connsiteY1385" fmla="*/ 2282091 h 3993936"/>
                  <a:gd name="connsiteX1386" fmla="*/ 2327391 w 3565209"/>
                  <a:gd name="connsiteY1386" fmla="*/ 2294728 h 3993936"/>
                  <a:gd name="connsiteX1387" fmla="*/ 2319042 w 3565209"/>
                  <a:gd name="connsiteY1387" fmla="*/ 2299917 h 3993936"/>
                  <a:gd name="connsiteX1388" fmla="*/ 2307534 w 3565209"/>
                  <a:gd name="connsiteY1388" fmla="*/ 2316390 h 3993936"/>
                  <a:gd name="connsiteX1389" fmla="*/ 2304601 w 3565209"/>
                  <a:gd name="connsiteY1389" fmla="*/ 2321805 h 3993936"/>
                  <a:gd name="connsiteX1390" fmla="*/ 2302570 w 3565209"/>
                  <a:gd name="connsiteY1390" fmla="*/ 2324964 h 3993936"/>
                  <a:gd name="connsiteX1391" fmla="*/ 2294221 w 3565209"/>
                  <a:gd name="connsiteY1391" fmla="*/ 2334893 h 3993936"/>
                  <a:gd name="connsiteX1392" fmla="*/ 2285872 w 3565209"/>
                  <a:gd name="connsiteY1392" fmla="*/ 2338277 h 3993936"/>
                  <a:gd name="connsiteX1393" fmla="*/ 2246384 w 3565209"/>
                  <a:gd name="connsiteY1393" fmla="*/ 2353847 h 3993936"/>
                  <a:gd name="connsiteX1394" fmla="*/ 2226076 w 3565209"/>
                  <a:gd name="connsiteY1394" fmla="*/ 2360391 h 3993936"/>
                  <a:gd name="connsiteX1395" fmla="*/ 2198773 w 3565209"/>
                  <a:gd name="connsiteY1395" fmla="*/ 2372350 h 3993936"/>
                  <a:gd name="connsiteX1396" fmla="*/ 2175305 w 3565209"/>
                  <a:gd name="connsiteY1396" fmla="*/ 2383858 h 3993936"/>
                  <a:gd name="connsiteX1397" fmla="*/ 2151387 w 3565209"/>
                  <a:gd name="connsiteY1397" fmla="*/ 2397848 h 3993936"/>
                  <a:gd name="connsiteX1398" fmla="*/ 2140556 w 3565209"/>
                  <a:gd name="connsiteY1398" fmla="*/ 2408905 h 3993936"/>
                  <a:gd name="connsiteX1399" fmla="*/ 2131981 w 3565209"/>
                  <a:gd name="connsiteY1399" fmla="*/ 2416351 h 3993936"/>
                  <a:gd name="connsiteX1400" fmla="*/ 2113930 w 3565209"/>
                  <a:gd name="connsiteY1400" fmla="*/ 2436208 h 3993936"/>
                  <a:gd name="connsiteX1401" fmla="*/ 2105806 w 3565209"/>
                  <a:gd name="connsiteY1401" fmla="*/ 2443880 h 3993936"/>
                  <a:gd name="connsiteX1402" fmla="*/ 2099488 w 3565209"/>
                  <a:gd name="connsiteY1402" fmla="*/ 2449746 h 3993936"/>
                  <a:gd name="connsiteX1403" fmla="*/ 2094750 w 3565209"/>
                  <a:gd name="connsiteY1403" fmla="*/ 2459675 h 3993936"/>
                  <a:gd name="connsiteX1404" fmla="*/ 2073990 w 3565209"/>
                  <a:gd name="connsiteY1404" fmla="*/ 2489234 h 3993936"/>
                  <a:gd name="connsiteX1405" fmla="*/ 2058646 w 3565209"/>
                  <a:gd name="connsiteY1405" fmla="*/ 2507963 h 3993936"/>
                  <a:gd name="connsiteX1406" fmla="*/ 2043302 w 3565209"/>
                  <a:gd name="connsiteY1406" fmla="*/ 2526015 h 3993936"/>
                  <a:gd name="connsiteX1407" fmla="*/ 2023897 w 3565209"/>
                  <a:gd name="connsiteY1407" fmla="*/ 2551062 h 3993936"/>
                  <a:gd name="connsiteX1408" fmla="*/ 2020963 w 3565209"/>
                  <a:gd name="connsiteY1408" fmla="*/ 2560087 h 3993936"/>
                  <a:gd name="connsiteX1409" fmla="*/ 2004040 w 3565209"/>
                  <a:gd name="connsiteY1409" fmla="*/ 2578365 h 3993936"/>
                  <a:gd name="connsiteX1410" fmla="*/ 1944695 w 3565209"/>
                  <a:gd name="connsiteY1410" fmla="*/ 2611760 h 3993936"/>
                  <a:gd name="connsiteX1411" fmla="*/ 1931156 w 3565209"/>
                  <a:gd name="connsiteY1411" fmla="*/ 2624397 h 3993936"/>
                  <a:gd name="connsiteX1412" fmla="*/ 1915812 w 3565209"/>
                  <a:gd name="connsiteY1412" fmla="*/ 2640643 h 3993936"/>
                  <a:gd name="connsiteX1413" fmla="*/ 1911525 w 3565209"/>
                  <a:gd name="connsiteY1413" fmla="*/ 2648541 h 3993936"/>
                  <a:gd name="connsiteX1414" fmla="*/ 1896407 w 3565209"/>
                  <a:gd name="connsiteY1414" fmla="*/ 2667721 h 3993936"/>
                  <a:gd name="connsiteX1415" fmla="*/ 1890766 w 3565209"/>
                  <a:gd name="connsiteY1415" fmla="*/ 2671105 h 3993936"/>
                  <a:gd name="connsiteX1416" fmla="*/ 1853534 w 3565209"/>
                  <a:gd name="connsiteY1416" fmla="*/ 2696603 h 3993936"/>
                  <a:gd name="connsiteX1417" fmla="*/ 1830744 w 3565209"/>
                  <a:gd name="connsiteY1417" fmla="*/ 2709916 h 3993936"/>
                  <a:gd name="connsiteX1418" fmla="*/ 1820815 w 3565209"/>
                  <a:gd name="connsiteY1418" fmla="*/ 2714655 h 3993936"/>
                  <a:gd name="connsiteX1419" fmla="*/ 1809984 w 3565209"/>
                  <a:gd name="connsiteY1419" fmla="*/ 2721876 h 3993936"/>
                  <a:gd name="connsiteX1420" fmla="*/ 1785614 w 3565209"/>
                  <a:gd name="connsiteY1420" fmla="*/ 2739702 h 3993936"/>
                  <a:gd name="connsiteX1421" fmla="*/ 1777040 w 3565209"/>
                  <a:gd name="connsiteY1421" fmla="*/ 2764297 h 3993936"/>
                  <a:gd name="connsiteX1422" fmla="*/ 1779973 w 3565209"/>
                  <a:gd name="connsiteY1422" fmla="*/ 2769036 h 3993936"/>
                  <a:gd name="connsiteX1423" fmla="*/ 1785163 w 3565209"/>
                  <a:gd name="connsiteY1423" fmla="*/ 2763846 h 3993936"/>
                  <a:gd name="connsiteX1424" fmla="*/ 1788548 w 3565209"/>
                  <a:gd name="connsiteY1424" fmla="*/ 2760235 h 3993936"/>
                  <a:gd name="connsiteX1425" fmla="*/ 1790804 w 3565209"/>
                  <a:gd name="connsiteY1425" fmla="*/ 2761589 h 3993936"/>
                  <a:gd name="connsiteX1426" fmla="*/ 1788773 w 3565209"/>
                  <a:gd name="connsiteY1426" fmla="*/ 2782574 h 3993936"/>
                  <a:gd name="connsiteX1427" fmla="*/ 1775009 w 3565209"/>
                  <a:gd name="connsiteY1427" fmla="*/ 2792503 h 3993936"/>
                  <a:gd name="connsiteX1428" fmla="*/ 1772527 w 3565209"/>
                  <a:gd name="connsiteY1428" fmla="*/ 2792052 h 3993936"/>
                  <a:gd name="connsiteX1429" fmla="*/ 1762824 w 3565209"/>
                  <a:gd name="connsiteY1429" fmla="*/ 2791600 h 3993936"/>
                  <a:gd name="connsiteX1430" fmla="*/ 1763727 w 3565209"/>
                  <a:gd name="connsiteY1430" fmla="*/ 2796565 h 3993936"/>
                  <a:gd name="connsiteX1431" fmla="*/ 1768917 w 3565209"/>
                  <a:gd name="connsiteY1431" fmla="*/ 2797241 h 3993936"/>
                  <a:gd name="connsiteX1432" fmla="*/ 1778845 w 3565209"/>
                  <a:gd name="connsiteY1432" fmla="*/ 2792729 h 3993936"/>
                  <a:gd name="connsiteX1433" fmla="*/ 1781553 w 3565209"/>
                  <a:gd name="connsiteY1433" fmla="*/ 2790923 h 3993936"/>
                  <a:gd name="connsiteX1434" fmla="*/ 1784486 w 3565209"/>
                  <a:gd name="connsiteY1434" fmla="*/ 2791375 h 3993936"/>
                  <a:gd name="connsiteX1435" fmla="*/ 1764629 w 3565209"/>
                  <a:gd name="connsiteY1435" fmla="*/ 2819129 h 3993936"/>
                  <a:gd name="connsiteX1436" fmla="*/ 1739808 w 3565209"/>
                  <a:gd name="connsiteY1436" fmla="*/ 2829283 h 3993936"/>
                  <a:gd name="connsiteX1437" fmla="*/ 1719500 w 3565209"/>
                  <a:gd name="connsiteY1437" fmla="*/ 2837181 h 3993936"/>
                  <a:gd name="connsiteX1438" fmla="*/ 1685202 w 3565209"/>
                  <a:gd name="connsiteY1438" fmla="*/ 2843950 h 3993936"/>
                  <a:gd name="connsiteX1439" fmla="*/ 1672340 w 3565209"/>
                  <a:gd name="connsiteY1439" fmla="*/ 2844627 h 3993936"/>
                  <a:gd name="connsiteX1440" fmla="*/ 1666473 w 3565209"/>
                  <a:gd name="connsiteY1440" fmla="*/ 2845530 h 3993936"/>
                  <a:gd name="connsiteX1441" fmla="*/ 1649776 w 3565209"/>
                  <a:gd name="connsiteY1441" fmla="*/ 2854330 h 3993936"/>
                  <a:gd name="connsiteX1442" fmla="*/ 1647745 w 3565209"/>
                  <a:gd name="connsiteY1442" fmla="*/ 2860197 h 3993936"/>
                  <a:gd name="connsiteX1443" fmla="*/ 1636462 w 3565209"/>
                  <a:gd name="connsiteY1443" fmla="*/ 2877797 h 3993936"/>
                  <a:gd name="connsiteX1444" fmla="*/ 1623149 w 3565209"/>
                  <a:gd name="connsiteY1444" fmla="*/ 2891787 h 3993936"/>
                  <a:gd name="connsiteX1445" fmla="*/ 1616831 w 3565209"/>
                  <a:gd name="connsiteY1445" fmla="*/ 2902844 h 3993936"/>
                  <a:gd name="connsiteX1446" fmla="*/ 1609611 w 3565209"/>
                  <a:gd name="connsiteY1446" fmla="*/ 2922701 h 3993936"/>
                  <a:gd name="connsiteX1447" fmla="*/ 1585692 w 3565209"/>
                  <a:gd name="connsiteY1447" fmla="*/ 2925634 h 3993936"/>
                  <a:gd name="connsiteX1448" fmla="*/ 1584564 w 3565209"/>
                  <a:gd name="connsiteY1448" fmla="*/ 2925408 h 3993936"/>
                  <a:gd name="connsiteX1449" fmla="*/ 1580502 w 3565209"/>
                  <a:gd name="connsiteY1449" fmla="*/ 2921347 h 3993936"/>
                  <a:gd name="connsiteX1450" fmla="*/ 1567866 w 3565209"/>
                  <a:gd name="connsiteY1450" fmla="*/ 2912998 h 3993936"/>
                  <a:gd name="connsiteX1451" fmla="*/ 1519352 w 3565209"/>
                  <a:gd name="connsiteY1451" fmla="*/ 2940075 h 3993936"/>
                  <a:gd name="connsiteX1452" fmla="*/ 1516193 w 3565209"/>
                  <a:gd name="connsiteY1452" fmla="*/ 2952035 h 3993936"/>
                  <a:gd name="connsiteX1453" fmla="*/ 1505136 w 3565209"/>
                  <a:gd name="connsiteY1453" fmla="*/ 2973922 h 3993936"/>
                  <a:gd name="connsiteX1454" fmla="*/ 1493628 w 3565209"/>
                  <a:gd name="connsiteY1454" fmla="*/ 2983851 h 3993936"/>
                  <a:gd name="connsiteX1455" fmla="*/ 1485731 w 3565209"/>
                  <a:gd name="connsiteY1455" fmla="*/ 2995584 h 3993936"/>
                  <a:gd name="connsiteX1456" fmla="*/ 1485279 w 3565209"/>
                  <a:gd name="connsiteY1456" fmla="*/ 3004836 h 3993936"/>
                  <a:gd name="connsiteX1457" fmla="*/ 1487085 w 3565209"/>
                  <a:gd name="connsiteY1457" fmla="*/ 3046580 h 3993936"/>
                  <a:gd name="connsiteX1458" fmla="*/ 1495433 w 3565209"/>
                  <a:gd name="connsiteY1458" fmla="*/ 3070499 h 3993936"/>
                  <a:gd name="connsiteX1459" fmla="*/ 1501977 w 3565209"/>
                  <a:gd name="connsiteY1459" fmla="*/ 3090807 h 3993936"/>
                  <a:gd name="connsiteX1460" fmla="*/ 1498592 w 3565209"/>
                  <a:gd name="connsiteY1460" fmla="*/ 3108633 h 3993936"/>
                  <a:gd name="connsiteX1461" fmla="*/ 1494982 w 3565209"/>
                  <a:gd name="connsiteY1461" fmla="*/ 3132777 h 3993936"/>
                  <a:gd name="connsiteX1462" fmla="*/ 1496562 w 3565209"/>
                  <a:gd name="connsiteY1462" fmla="*/ 3152183 h 3993936"/>
                  <a:gd name="connsiteX1463" fmla="*/ 1500172 w 3565209"/>
                  <a:gd name="connsiteY1463" fmla="*/ 3168880 h 3993936"/>
                  <a:gd name="connsiteX1464" fmla="*/ 1510777 w 3565209"/>
                  <a:gd name="connsiteY1464" fmla="*/ 3207917 h 3993936"/>
                  <a:gd name="connsiteX1465" fmla="*/ 1517095 w 3565209"/>
                  <a:gd name="connsiteY1465" fmla="*/ 3249888 h 3993936"/>
                  <a:gd name="connsiteX1466" fmla="*/ 1522962 w 3565209"/>
                  <a:gd name="connsiteY1466" fmla="*/ 3288924 h 3993936"/>
                  <a:gd name="connsiteX1467" fmla="*/ 1514839 w 3565209"/>
                  <a:gd name="connsiteY1467" fmla="*/ 3303817 h 3993936"/>
                  <a:gd name="connsiteX1468" fmla="*/ 1507167 w 3565209"/>
                  <a:gd name="connsiteY1468" fmla="*/ 3324125 h 3993936"/>
                  <a:gd name="connsiteX1469" fmla="*/ 1508295 w 3565209"/>
                  <a:gd name="connsiteY1469" fmla="*/ 3336536 h 3993936"/>
                  <a:gd name="connsiteX1470" fmla="*/ 1505813 w 3565209"/>
                  <a:gd name="connsiteY1470" fmla="*/ 3355716 h 3993936"/>
                  <a:gd name="connsiteX1471" fmla="*/ 1491372 w 3565209"/>
                  <a:gd name="connsiteY1471" fmla="*/ 3392270 h 3993936"/>
                  <a:gd name="connsiteX1472" fmla="*/ 1460910 w 3565209"/>
                  <a:gd name="connsiteY1472" fmla="*/ 3434692 h 3993936"/>
                  <a:gd name="connsiteX1473" fmla="*/ 1450079 w 3565209"/>
                  <a:gd name="connsiteY1473" fmla="*/ 3443943 h 3993936"/>
                  <a:gd name="connsiteX1474" fmla="*/ 1440150 w 3565209"/>
                  <a:gd name="connsiteY1474" fmla="*/ 3462220 h 3993936"/>
                  <a:gd name="connsiteX1475" fmla="*/ 1444663 w 3565209"/>
                  <a:gd name="connsiteY1475" fmla="*/ 3486139 h 3993936"/>
                  <a:gd name="connsiteX1476" fmla="*/ 1448274 w 3565209"/>
                  <a:gd name="connsiteY1476" fmla="*/ 3511863 h 3993936"/>
                  <a:gd name="connsiteX1477" fmla="*/ 1448048 w 3565209"/>
                  <a:gd name="connsiteY1477" fmla="*/ 3512314 h 3993936"/>
                  <a:gd name="connsiteX1478" fmla="*/ 1448725 w 3565209"/>
                  <a:gd name="connsiteY1478" fmla="*/ 3531042 h 3993936"/>
                  <a:gd name="connsiteX1479" fmla="*/ 1457074 w 3565209"/>
                  <a:gd name="connsiteY1479" fmla="*/ 3580910 h 3993936"/>
                  <a:gd name="connsiteX1480" fmla="*/ 1456171 w 3565209"/>
                  <a:gd name="connsiteY1480" fmla="*/ 3609116 h 3993936"/>
                  <a:gd name="connsiteX1481" fmla="*/ 1455945 w 3565209"/>
                  <a:gd name="connsiteY1481" fmla="*/ 3633486 h 3993936"/>
                  <a:gd name="connsiteX1482" fmla="*/ 1455945 w 3565209"/>
                  <a:gd name="connsiteY1482" fmla="*/ 3633937 h 3993936"/>
                  <a:gd name="connsiteX1483" fmla="*/ 1456397 w 3565209"/>
                  <a:gd name="connsiteY1483" fmla="*/ 3678164 h 3993936"/>
                  <a:gd name="connsiteX1484" fmla="*/ 1456171 w 3565209"/>
                  <a:gd name="connsiteY1484" fmla="*/ 3678615 h 3993936"/>
                  <a:gd name="connsiteX1485" fmla="*/ 1450079 w 3565209"/>
                  <a:gd name="connsiteY1485" fmla="*/ 3690123 h 3993936"/>
                  <a:gd name="connsiteX1486" fmla="*/ 1445114 w 3565209"/>
                  <a:gd name="connsiteY1486" fmla="*/ 3690123 h 3993936"/>
                  <a:gd name="connsiteX1487" fmla="*/ 1441730 w 3565209"/>
                  <a:gd name="connsiteY1487" fmla="*/ 3688544 h 3993936"/>
                  <a:gd name="connsiteX1488" fmla="*/ 1418488 w 3565209"/>
                  <a:gd name="connsiteY1488" fmla="*/ 3683128 h 3993936"/>
                  <a:gd name="connsiteX1489" fmla="*/ 1410816 w 3565209"/>
                  <a:gd name="connsiteY1489" fmla="*/ 3683128 h 3993936"/>
                  <a:gd name="connsiteX1490" fmla="*/ 1382610 w 3565209"/>
                  <a:gd name="connsiteY1490" fmla="*/ 3688318 h 3993936"/>
                  <a:gd name="connsiteX1491" fmla="*/ 1372231 w 3565209"/>
                  <a:gd name="connsiteY1491" fmla="*/ 3709980 h 3993936"/>
                  <a:gd name="connsiteX1492" fmla="*/ 1371779 w 3565209"/>
                  <a:gd name="connsiteY1492" fmla="*/ 3712236 h 3993936"/>
                  <a:gd name="connsiteX1493" fmla="*/ 1357789 w 3565209"/>
                  <a:gd name="connsiteY1493" fmla="*/ 3741345 h 3993936"/>
                  <a:gd name="connsiteX1494" fmla="*/ 1328681 w 3565209"/>
                  <a:gd name="connsiteY1494" fmla="*/ 3787602 h 3993936"/>
                  <a:gd name="connsiteX1495" fmla="*/ 1339286 w 3565209"/>
                  <a:gd name="connsiteY1495" fmla="*/ 3816936 h 3993936"/>
                  <a:gd name="connsiteX1496" fmla="*/ 1342220 w 3565209"/>
                  <a:gd name="connsiteY1496" fmla="*/ 3818741 h 3993936"/>
                  <a:gd name="connsiteX1497" fmla="*/ 1353728 w 3565209"/>
                  <a:gd name="connsiteY1497" fmla="*/ 3823254 h 3993936"/>
                  <a:gd name="connsiteX1498" fmla="*/ 1358241 w 3565209"/>
                  <a:gd name="connsiteY1498" fmla="*/ 3825962 h 3993936"/>
                  <a:gd name="connsiteX1499" fmla="*/ 1357564 w 3565209"/>
                  <a:gd name="connsiteY1499" fmla="*/ 3829347 h 3993936"/>
                  <a:gd name="connsiteX1500" fmla="*/ 1337481 w 3565209"/>
                  <a:gd name="connsiteY1500" fmla="*/ 3832506 h 3993936"/>
                  <a:gd name="connsiteX1501" fmla="*/ 1330035 w 3565209"/>
                  <a:gd name="connsiteY1501" fmla="*/ 3831152 h 3993936"/>
                  <a:gd name="connsiteX1502" fmla="*/ 1311758 w 3565209"/>
                  <a:gd name="connsiteY1502" fmla="*/ 3831377 h 3993936"/>
                  <a:gd name="connsiteX1503" fmla="*/ 1301604 w 3565209"/>
                  <a:gd name="connsiteY1503" fmla="*/ 3835214 h 3993936"/>
                  <a:gd name="connsiteX1504" fmla="*/ 1282649 w 3565209"/>
                  <a:gd name="connsiteY1504" fmla="*/ 3843111 h 3993936"/>
                  <a:gd name="connsiteX1505" fmla="*/ 1265726 w 3565209"/>
                  <a:gd name="connsiteY1505" fmla="*/ 3848978 h 3993936"/>
                  <a:gd name="connsiteX1506" fmla="*/ 1259859 w 3565209"/>
                  <a:gd name="connsiteY1506" fmla="*/ 3849881 h 3993936"/>
                  <a:gd name="connsiteX1507" fmla="*/ 1226012 w 3565209"/>
                  <a:gd name="connsiteY1507" fmla="*/ 3867706 h 3993936"/>
                  <a:gd name="connsiteX1508" fmla="*/ 1221048 w 3565209"/>
                  <a:gd name="connsiteY1508" fmla="*/ 3880568 h 3993936"/>
                  <a:gd name="connsiteX1509" fmla="*/ 1216761 w 3565209"/>
                  <a:gd name="connsiteY1509" fmla="*/ 3894107 h 3993936"/>
                  <a:gd name="connsiteX1510" fmla="*/ 1216309 w 3565209"/>
                  <a:gd name="connsiteY1510" fmla="*/ 3906743 h 3993936"/>
                  <a:gd name="connsiteX1511" fmla="*/ 1216084 w 3565209"/>
                  <a:gd name="connsiteY1511" fmla="*/ 3920733 h 3993936"/>
                  <a:gd name="connsiteX1512" fmla="*/ 1208637 w 3565209"/>
                  <a:gd name="connsiteY1512" fmla="*/ 3942847 h 3993936"/>
                  <a:gd name="connsiteX1513" fmla="*/ 1196001 w 3565209"/>
                  <a:gd name="connsiteY1513" fmla="*/ 3955709 h 3993936"/>
                  <a:gd name="connsiteX1514" fmla="*/ 1149969 w 3565209"/>
                  <a:gd name="connsiteY1514" fmla="*/ 3982561 h 3993936"/>
                  <a:gd name="connsiteX1515" fmla="*/ 1142072 w 3565209"/>
                  <a:gd name="connsiteY1515" fmla="*/ 3993617 h 3993936"/>
                  <a:gd name="connsiteX1516" fmla="*/ 1140943 w 3565209"/>
                  <a:gd name="connsiteY1516" fmla="*/ 3995422 h 3993936"/>
                  <a:gd name="connsiteX1517" fmla="*/ 1138687 w 3565209"/>
                  <a:gd name="connsiteY1517" fmla="*/ 3991586 h 3993936"/>
                  <a:gd name="connsiteX1518" fmla="*/ 701836 w 3565209"/>
                  <a:gd name="connsiteY1518" fmla="*/ 3039360 h 3993936"/>
                  <a:gd name="connsiteX1519" fmla="*/ 702062 w 3565209"/>
                  <a:gd name="connsiteY1519" fmla="*/ 3039585 h 3993936"/>
                  <a:gd name="connsiteX1520" fmla="*/ 704769 w 3565209"/>
                  <a:gd name="connsiteY1520" fmla="*/ 3041842 h 3993936"/>
                  <a:gd name="connsiteX1521" fmla="*/ 716729 w 3565209"/>
                  <a:gd name="connsiteY1521" fmla="*/ 3054253 h 3993936"/>
                  <a:gd name="connsiteX1522" fmla="*/ 717857 w 3565209"/>
                  <a:gd name="connsiteY1522" fmla="*/ 3060345 h 3993936"/>
                  <a:gd name="connsiteX1523" fmla="*/ 719662 w 3565209"/>
                  <a:gd name="connsiteY1523" fmla="*/ 3069145 h 3993936"/>
                  <a:gd name="connsiteX1524" fmla="*/ 724401 w 3565209"/>
                  <a:gd name="connsiteY1524" fmla="*/ 3072981 h 3993936"/>
                  <a:gd name="connsiteX1525" fmla="*/ 728914 w 3565209"/>
                  <a:gd name="connsiteY1525" fmla="*/ 3075914 h 3993936"/>
                  <a:gd name="connsiteX1526" fmla="*/ 733652 w 3565209"/>
                  <a:gd name="connsiteY1526" fmla="*/ 3086745 h 3993936"/>
                  <a:gd name="connsiteX1527" fmla="*/ 733201 w 3565209"/>
                  <a:gd name="connsiteY1527" fmla="*/ 3088550 h 3993936"/>
                  <a:gd name="connsiteX1528" fmla="*/ 731847 w 3565209"/>
                  <a:gd name="connsiteY1528" fmla="*/ 3099382 h 3993936"/>
                  <a:gd name="connsiteX1529" fmla="*/ 735232 w 3565209"/>
                  <a:gd name="connsiteY1529" fmla="*/ 3115854 h 3993936"/>
                  <a:gd name="connsiteX1530" fmla="*/ 736586 w 3565209"/>
                  <a:gd name="connsiteY1530" fmla="*/ 3126233 h 3993936"/>
                  <a:gd name="connsiteX1531" fmla="*/ 737037 w 3565209"/>
                  <a:gd name="connsiteY1531" fmla="*/ 3127813 h 3993936"/>
                  <a:gd name="connsiteX1532" fmla="*/ 741775 w 3565209"/>
                  <a:gd name="connsiteY1532" fmla="*/ 3139998 h 3993936"/>
                  <a:gd name="connsiteX1533" fmla="*/ 746288 w 3565209"/>
                  <a:gd name="connsiteY1533" fmla="*/ 3151280 h 3993936"/>
                  <a:gd name="connsiteX1534" fmla="*/ 751929 w 3565209"/>
                  <a:gd name="connsiteY1534" fmla="*/ 3161660 h 3993936"/>
                  <a:gd name="connsiteX1535" fmla="*/ 756217 w 3565209"/>
                  <a:gd name="connsiteY1535" fmla="*/ 3171137 h 3993936"/>
                  <a:gd name="connsiteX1536" fmla="*/ 761632 w 3565209"/>
                  <a:gd name="connsiteY1536" fmla="*/ 3193250 h 3993936"/>
                  <a:gd name="connsiteX1537" fmla="*/ 765694 w 3565209"/>
                  <a:gd name="connsiteY1537" fmla="*/ 3210625 h 3993936"/>
                  <a:gd name="connsiteX1538" fmla="*/ 765920 w 3565209"/>
                  <a:gd name="connsiteY1538" fmla="*/ 3217395 h 3993936"/>
                  <a:gd name="connsiteX1539" fmla="*/ 765694 w 3565209"/>
                  <a:gd name="connsiteY1539" fmla="*/ 3232061 h 3993936"/>
                  <a:gd name="connsiteX1540" fmla="*/ 765017 w 3565209"/>
                  <a:gd name="connsiteY1540" fmla="*/ 3241538 h 3993936"/>
                  <a:gd name="connsiteX1541" fmla="*/ 768627 w 3565209"/>
                  <a:gd name="connsiteY1541" fmla="*/ 3258011 h 3993936"/>
                  <a:gd name="connsiteX1542" fmla="*/ 772463 w 3565209"/>
                  <a:gd name="connsiteY1542" fmla="*/ 3274709 h 3993936"/>
                  <a:gd name="connsiteX1543" fmla="*/ 779910 w 3565209"/>
                  <a:gd name="connsiteY1543" fmla="*/ 3302914 h 3993936"/>
                  <a:gd name="connsiteX1544" fmla="*/ 784197 w 3565209"/>
                  <a:gd name="connsiteY1544" fmla="*/ 3316228 h 3993936"/>
                  <a:gd name="connsiteX1545" fmla="*/ 788033 w 3565209"/>
                  <a:gd name="connsiteY1545" fmla="*/ 3328864 h 3993936"/>
                  <a:gd name="connsiteX1546" fmla="*/ 795479 w 3565209"/>
                  <a:gd name="connsiteY1546" fmla="*/ 3356393 h 3993936"/>
                  <a:gd name="connsiteX1547" fmla="*/ 805408 w 3565209"/>
                  <a:gd name="connsiteY1547" fmla="*/ 3378054 h 3993936"/>
                  <a:gd name="connsiteX1548" fmla="*/ 812854 w 3565209"/>
                  <a:gd name="connsiteY1548" fmla="*/ 3391819 h 3993936"/>
                  <a:gd name="connsiteX1549" fmla="*/ 847829 w 3565209"/>
                  <a:gd name="connsiteY1549" fmla="*/ 3447779 h 3993936"/>
                  <a:gd name="connsiteX1550" fmla="*/ 865429 w 3565209"/>
                  <a:gd name="connsiteY1550" fmla="*/ 3470118 h 3993936"/>
                  <a:gd name="connsiteX1551" fmla="*/ 866558 w 3565209"/>
                  <a:gd name="connsiteY1551" fmla="*/ 3471246 h 3993936"/>
                  <a:gd name="connsiteX1552" fmla="*/ 873327 w 3565209"/>
                  <a:gd name="connsiteY1552" fmla="*/ 3484108 h 3993936"/>
                  <a:gd name="connsiteX1553" fmla="*/ 884609 w 3565209"/>
                  <a:gd name="connsiteY1553" fmla="*/ 3503965 h 3993936"/>
                  <a:gd name="connsiteX1554" fmla="*/ 892733 w 3565209"/>
                  <a:gd name="connsiteY1554" fmla="*/ 3517053 h 3993936"/>
                  <a:gd name="connsiteX1555" fmla="*/ 895440 w 3565209"/>
                  <a:gd name="connsiteY1555" fmla="*/ 3523371 h 3993936"/>
                  <a:gd name="connsiteX1556" fmla="*/ 911687 w 3565209"/>
                  <a:gd name="connsiteY1556" fmla="*/ 3568048 h 3993936"/>
                  <a:gd name="connsiteX1557" fmla="*/ 915974 w 3565209"/>
                  <a:gd name="connsiteY1557" fmla="*/ 3587228 h 3993936"/>
                  <a:gd name="connsiteX1558" fmla="*/ 918231 w 3565209"/>
                  <a:gd name="connsiteY1558" fmla="*/ 3598511 h 3993936"/>
                  <a:gd name="connsiteX1559" fmla="*/ 937862 w 3565209"/>
                  <a:gd name="connsiteY1559" fmla="*/ 3650409 h 3993936"/>
                  <a:gd name="connsiteX1560" fmla="*/ 941923 w 3565209"/>
                  <a:gd name="connsiteY1560" fmla="*/ 3659887 h 3993936"/>
                  <a:gd name="connsiteX1561" fmla="*/ 960426 w 3565209"/>
                  <a:gd name="connsiteY1561" fmla="*/ 3709529 h 3993936"/>
                  <a:gd name="connsiteX1562" fmla="*/ 963134 w 3565209"/>
                  <a:gd name="connsiteY1562" fmla="*/ 3738186 h 3993936"/>
                  <a:gd name="connsiteX1563" fmla="*/ 965165 w 3565209"/>
                  <a:gd name="connsiteY1563" fmla="*/ 3766166 h 3993936"/>
                  <a:gd name="connsiteX1564" fmla="*/ 981412 w 3565209"/>
                  <a:gd name="connsiteY1564" fmla="*/ 3818516 h 3993936"/>
                  <a:gd name="connsiteX1565" fmla="*/ 995627 w 3565209"/>
                  <a:gd name="connsiteY1565" fmla="*/ 3853716 h 3993936"/>
                  <a:gd name="connsiteX1566" fmla="*/ 998561 w 3565209"/>
                  <a:gd name="connsiteY1566" fmla="*/ 3862517 h 3993936"/>
                  <a:gd name="connsiteX1567" fmla="*/ 1005330 w 3565209"/>
                  <a:gd name="connsiteY1567" fmla="*/ 3871542 h 3993936"/>
                  <a:gd name="connsiteX1568" fmla="*/ 1011874 w 3565209"/>
                  <a:gd name="connsiteY1568" fmla="*/ 3881020 h 3993936"/>
                  <a:gd name="connsiteX1569" fmla="*/ 1043239 w 3565209"/>
                  <a:gd name="connsiteY1569" fmla="*/ 3925698 h 3993936"/>
                  <a:gd name="connsiteX1570" fmla="*/ 1054070 w 3565209"/>
                  <a:gd name="connsiteY1570" fmla="*/ 3936754 h 3993936"/>
                  <a:gd name="connsiteX1571" fmla="*/ 1073250 w 3565209"/>
                  <a:gd name="connsiteY1571" fmla="*/ 3952775 h 3993936"/>
                  <a:gd name="connsiteX1572" fmla="*/ 1096265 w 3565209"/>
                  <a:gd name="connsiteY1572" fmla="*/ 3971955 h 3993936"/>
                  <a:gd name="connsiteX1573" fmla="*/ 1103712 w 3565209"/>
                  <a:gd name="connsiteY1573" fmla="*/ 3978499 h 3993936"/>
                  <a:gd name="connsiteX1574" fmla="*/ 1107096 w 3565209"/>
                  <a:gd name="connsiteY1574" fmla="*/ 3980304 h 3993936"/>
                  <a:gd name="connsiteX1575" fmla="*/ 1116348 w 3565209"/>
                  <a:gd name="connsiteY1575" fmla="*/ 3983012 h 3993936"/>
                  <a:gd name="connsiteX1576" fmla="*/ 1126051 w 3565209"/>
                  <a:gd name="connsiteY1576" fmla="*/ 3985268 h 3993936"/>
                  <a:gd name="connsiteX1577" fmla="*/ 1138687 w 3565209"/>
                  <a:gd name="connsiteY1577" fmla="*/ 3987750 h 3993936"/>
                  <a:gd name="connsiteX1578" fmla="*/ 1147713 w 3565209"/>
                  <a:gd name="connsiteY1578" fmla="*/ 3974888 h 3993936"/>
                  <a:gd name="connsiteX1579" fmla="*/ 1194873 w 3565209"/>
                  <a:gd name="connsiteY1579" fmla="*/ 3947359 h 3993936"/>
                  <a:gd name="connsiteX1580" fmla="*/ 1205704 w 3565209"/>
                  <a:gd name="connsiteY1580" fmla="*/ 3935852 h 3993936"/>
                  <a:gd name="connsiteX1581" fmla="*/ 1212473 w 3565209"/>
                  <a:gd name="connsiteY1581" fmla="*/ 3916446 h 3993936"/>
                  <a:gd name="connsiteX1582" fmla="*/ 1212699 w 3565209"/>
                  <a:gd name="connsiteY1582" fmla="*/ 3901779 h 3993936"/>
                  <a:gd name="connsiteX1583" fmla="*/ 1212925 w 3565209"/>
                  <a:gd name="connsiteY1583" fmla="*/ 3889594 h 3993936"/>
                  <a:gd name="connsiteX1584" fmla="*/ 1217663 w 3565209"/>
                  <a:gd name="connsiteY1584" fmla="*/ 3874250 h 3993936"/>
                  <a:gd name="connsiteX1585" fmla="*/ 1222402 w 3565209"/>
                  <a:gd name="connsiteY1585" fmla="*/ 3862291 h 3993936"/>
                  <a:gd name="connsiteX1586" fmla="*/ 1259182 w 3565209"/>
                  <a:gd name="connsiteY1586" fmla="*/ 3841532 h 3993936"/>
                  <a:gd name="connsiteX1587" fmla="*/ 1265049 w 3565209"/>
                  <a:gd name="connsiteY1587" fmla="*/ 3840403 h 3993936"/>
                  <a:gd name="connsiteX1588" fmla="*/ 1280618 w 3565209"/>
                  <a:gd name="connsiteY1588" fmla="*/ 3834988 h 3993936"/>
                  <a:gd name="connsiteX1589" fmla="*/ 1300024 w 3565209"/>
                  <a:gd name="connsiteY1589" fmla="*/ 3826865 h 3993936"/>
                  <a:gd name="connsiteX1590" fmla="*/ 1309952 w 3565209"/>
                  <a:gd name="connsiteY1590" fmla="*/ 3823029 h 3993936"/>
                  <a:gd name="connsiteX1591" fmla="*/ 1330486 w 3565209"/>
                  <a:gd name="connsiteY1591" fmla="*/ 3822577 h 3993936"/>
                  <a:gd name="connsiteX1592" fmla="*/ 1337933 w 3565209"/>
                  <a:gd name="connsiteY1592" fmla="*/ 3823931 h 3993936"/>
                  <a:gd name="connsiteX1593" fmla="*/ 1354179 w 3565209"/>
                  <a:gd name="connsiteY1593" fmla="*/ 3822352 h 3993936"/>
                  <a:gd name="connsiteX1594" fmla="*/ 1352825 w 3565209"/>
                  <a:gd name="connsiteY1594" fmla="*/ 3822126 h 3993936"/>
                  <a:gd name="connsiteX1595" fmla="*/ 1339738 w 3565209"/>
                  <a:gd name="connsiteY1595" fmla="*/ 3817162 h 3993936"/>
                  <a:gd name="connsiteX1596" fmla="*/ 1337030 w 3565209"/>
                  <a:gd name="connsiteY1596" fmla="*/ 3815357 h 3993936"/>
                  <a:gd name="connsiteX1597" fmla="*/ 1325071 w 3565209"/>
                  <a:gd name="connsiteY1597" fmla="*/ 3781735 h 3993936"/>
                  <a:gd name="connsiteX1598" fmla="*/ 1355082 w 3565209"/>
                  <a:gd name="connsiteY1598" fmla="*/ 3733898 h 3993936"/>
                  <a:gd name="connsiteX1599" fmla="*/ 1368169 w 3565209"/>
                  <a:gd name="connsiteY1599" fmla="*/ 3706595 h 3993936"/>
                  <a:gd name="connsiteX1600" fmla="*/ 1368620 w 3565209"/>
                  <a:gd name="connsiteY1600" fmla="*/ 3704339 h 3993936"/>
                  <a:gd name="connsiteX1601" fmla="*/ 1379903 w 3565209"/>
                  <a:gd name="connsiteY1601" fmla="*/ 3680871 h 3993936"/>
                  <a:gd name="connsiteX1602" fmla="*/ 1410816 w 3565209"/>
                  <a:gd name="connsiteY1602" fmla="*/ 3674553 h 3993936"/>
                  <a:gd name="connsiteX1603" fmla="*/ 1418263 w 3565209"/>
                  <a:gd name="connsiteY1603" fmla="*/ 3674553 h 3993936"/>
                  <a:gd name="connsiteX1604" fmla="*/ 1443084 w 3565209"/>
                  <a:gd name="connsiteY1604" fmla="*/ 3680420 h 3993936"/>
                  <a:gd name="connsiteX1605" fmla="*/ 1446243 w 3565209"/>
                  <a:gd name="connsiteY1605" fmla="*/ 3681774 h 3993936"/>
                  <a:gd name="connsiteX1606" fmla="*/ 1448274 w 3565209"/>
                  <a:gd name="connsiteY1606" fmla="*/ 3682000 h 3993936"/>
                  <a:gd name="connsiteX1607" fmla="*/ 1452335 w 3565209"/>
                  <a:gd name="connsiteY1607" fmla="*/ 3672748 h 3993936"/>
                  <a:gd name="connsiteX1608" fmla="*/ 1452561 w 3565209"/>
                  <a:gd name="connsiteY1608" fmla="*/ 3672297 h 3993936"/>
                  <a:gd name="connsiteX1609" fmla="*/ 1451884 w 3565209"/>
                  <a:gd name="connsiteY1609" fmla="*/ 3629424 h 3993936"/>
                  <a:gd name="connsiteX1610" fmla="*/ 1451884 w 3565209"/>
                  <a:gd name="connsiteY1610" fmla="*/ 3628973 h 3993936"/>
                  <a:gd name="connsiteX1611" fmla="*/ 1452109 w 3565209"/>
                  <a:gd name="connsiteY1611" fmla="*/ 3604152 h 3993936"/>
                  <a:gd name="connsiteX1612" fmla="*/ 1453012 w 3565209"/>
                  <a:gd name="connsiteY1612" fmla="*/ 3576172 h 3993936"/>
                  <a:gd name="connsiteX1613" fmla="*/ 1445114 w 3565209"/>
                  <a:gd name="connsiteY1613" fmla="*/ 3528335 h 3993936"/>
                  <a:gd name="connsiteX1614" fmla="*/ 1444212 w 3565209"/>
                  <a:gd name="connsiteY1614" fmla="*/ 3506673 h 3993936"/>
                  <a:gd name="connsiteX1615" fmla="*/ 1444438 w 3565209"/>
                  <a:gd name="connsiteY1615" fmla="*/ 3506222 h 3993936"/>
                  <a:gd name="connsiteX1616" fmla="*/ 1440827 w 3565209"/>
                  <a:gd name="connsiteY1616" fmla="*/ 3482303 h 3993936"/>
                  <a:gd name="connsiteX1617" fmla="*/ 1436314 w 3565209"/>
                  <a:gd name="connsiteY1617" fmla="*/ 3457933 h 3993936"/>
                  <a:gd name="connsiteX1618" fmla="*/ 1447822 w 3565209"/>
                  <a:gd name="connsiteY1618" fmla="*/ 3436271 h 3993936"/>
                  <a:gd name="connsiteX1619" fmla="*/ 1457976 w 3565209"/>
                  <a:gd name="connsiteY1619" fmla="*/ 3427697 h 3993936"/>
                  <a:gd name="connsiteX1620" fmla="*/ 1487762 w 3565209"/>
                  <a:gd name="connsiteY1620" fmla="*/ 3386178 h 3993936"/>
                  <a:gd name="connsiteX1621" fmla="*/ 1501977 w 3565209"/>
                  <a:gd name="connsiteY1621" fmla="*/ 3350075 h 3993936"/>
                  <a:gd name="connsiteX1622" fmla="*/ 1504234 w 3565209"/>
                  <a:gd name="connsiteY1622" fmla="*/ 3332700 h 3993936"/>
                  <a:gd name="connsiteX1623" fmla="*/ 1503106 w 3565209"/>
                  <a:gd name="connsiteY1623" fmla="*/ 3319612 h 3993936"/>
                  <a:gd name="connsiteX1624" fmla="*/ 1511680 w 3565209"/>
                  <a:gd name="connsiteY1624" fmla="*/ 3297048 h 3993936"/>
                  <a:gd name="connsiteX1625" fmla="*/ 1519352 w 3565209"/>
                  <a:gd name="connsiteY1625" fmla="*/ 3283283 h 3993936"/>
                  <a:gd name="connsiteX1626" fmla="*/ 1513936 w 3565209"/>
                  <a:gd name="connsiteY1626" fmla="*/ 3247180 h 3993936"/>
                  <a:gd name="connsiteX1627" fmla="*/ 1507167 w 3565209"/>
                  <a:gd name="connsiteY1627" fmla="*/ 3203179 h 3993936"/>
                  <a:gd name="connsiteX1628" fmla="*/ 1497690 w 3565209"/>
                  <a:gd name="connsiteY1628" fmla="*/ 3167076 h 3993936"/>
                  <a:gd name="connsiteX1629" fmla="*/ 1492951 w 3565209"/>
                  <a:gd name="connsiteY1629" fmla="*/ 3147896 h 3993936"/>
                  <a:gd name="connsiteX1630" fmla="*/ 1491372 w 3565209"/>
                  <a:gd name="connsiteY1630" fmla="*/ 3129167 h 3993936"/>
                  <a:gd name="connsiteX1631" fmla="*/ 1495208 w 3565209"/>
                  <a:gd name="connsiteY1631" fmla="*/ 3102992 h 3993936"/>
                  <a:gd name="connsiteX1632" fmla="*/ 1498367 w 3565209"/>
                  <a:gd name="connsiteY1632" fmla="*/ 3086971 h 3993936"/>
                  <a:gd name="connsiteX1633" fmla="*/ 1492049 w 3565209"/>
                  <a:gd name="connsiteY1633" fmla="*/ 3067566 h 3993936"/>
                  <a:gd name="connsiteX1634" fmla="*/ 1483474 w 3565209"/>
                  <a:gd name="connsiteY1634" fmla="*/ 3043196 h 3993936"/>
                  <a:gd name="connsiteX1635" fmla="*/ 1481669 w 3565209"/>
                  <a:gd name="connsiteY1635" fmla="*/ 3000323 h 3993936"/>
                  <a:gd name="connsiteX1636" fmla="*/ 1482120 w 3565209"/>
                  <a:gd name="connsiteY1636" fmla="*/ 2991297 h 3993936"/>
                  <a:gd name="connsiteX1637" fmla="*/ 1491372 w 3565209"/>
                  <a:gd name="connsiteY1637" fmla="*/ 2976630 h 3993936"/>
                  <a:gd name="connsiteX1638" fmla="*/ 1502654 w 3565209"/>
                  <a:gd name="connsiteY1638" fmla="*/ 2966927 h 3993936"/>
                  <a:gd name="connsiteX1639" fmla="*/ 1512583 w 3565209"/>
                  <a:gd name="connsiteY1639" fmla="*/ 2947296 h 3993936"/>
                  <a:gd name="connsiteX1640" fmla="*/ 1516193 w 3565209"/>
                  <a:gd name="connsiteY1640" fmla="*/ 2934209 h 3993936"/>
                  <a:gd name="connsiteX1641" fmla="*/ 1568092 w 3565209"/>
                  <a:gd name="connsiteY1641" fmla="*/ 2904875 h 3993936"/>
                  <a:gd name="connsiteX1642" fmla="*/ 1583887 w 3565209"/>
                  <a:gd name="connsiteY1642" fmla="*/ 2915254 h 3993936"/>
                  <a:gd name="connsiteX1643" fmla="*/ 1585466 w 3565209"/>
                  <a:gd name="connsiteY1643" fmla="*/ 2917511 h 3993936"/>
                  <a:gd name="connsiteX1644" fmla="*/ 1586595 w 3565209"/>
                  <a:gd name="connsiteY1644" fmla="*/ 2917737 h 3993936"/>
                  <a:gd name="connsiteX1645" fmla="*/ 1606677 w 3565209"/>
                  <a:gd name="connsiteY1645" fmla="*/ 2916383 h 3993936"/>
                  <a:gd name="connsiteX1646" fmla="*/ 1613221 w 3565209"/>
                  <a:gd name="connsiteY1646" fmla="*/ 2898782 h 3993936"/>
                  <a:gd name="connsiteX1647" fmla="*/ 1620667 w 3565209"/>
                  <a:gd name="connsiteY1647" fmla="*/ 2885018 h 3993936"/>
                  <a:gd name="connsiteX1648" fmla="*/ 1633755 w 3565209"/>
                  <a:gd name="connsiteY1648" fmla="*/ 2871253 h 3993936"/>
                  <a:gd name="connsiteX1649" fmla="*/ 1644134 w 3565209"/>
                  <a:gd name="connsiteY1649" fmla="*/ 2855684 h 3993936"/>
                  <a:gd name="connsiteX1650" fmla="*/ 1646616 w 3565209"/>
                  <a:gd name="connsiteY1650" fmla="*/ 2848238 h 3993936"/>
                  <a:gd name="connsiteX1651" fmla="*/ 1666022 w 3565209"/>
                  <a:gd name="connsiteY1651" fmla="*/ 2837406 h 3993936"/>
                  <a:gd name="connsiteX1652" fmla="*/ 1671663 w 3565209"/>
                  <a:gd name="connsiteY1652" fmla="*/ 2836504 h 3993936"/>
                  <a:gd name="connsiteX1653" fmla="*/ 1685202 w 3565209"/>
                  <a:gd name="connsiteY1653" fmla="*/ 2835827 h 3993936"/>
                  <a:gd name="connsiteX1654" fmla="*/ 1717244 w 3565209"/>
                  <a:gd name="connsiteY1654" fmla="*/ 2829960 h 3993936"/>
                  <a:gd name="connsiteX1655" fmla="*/ 1739131 w 3565209"/>
                  <a:gd name="connsiteY1655" fmla="*/ 2821160 h 3993936"/>
                  <a:gd name="connsiteX1656" fmla="*/ 1762373 w 3565209"/>
                  <a:gd name="connsiteY1656" fmla="*/ 2811683 h 3993936"/>
                  <a:gd name="connsiteX1657" fmla="*/ 1778394 w 3565209"/>
                  <a:gd name="connsiteY1657" fmla="*/ 2793180 h 3993936"/>
                  <a:gd name="connsiteX1658" fmla="*/ 1770045 w 3565209"/>
                  <a:gd name="connsiteY1658" fmla="*/ 2796339 h 3993936"/>
                  <a:gd name="connsiteX1659" fmla="*/ 1761245 w 3565209"/>
                  <a:gd name="connsiteY1659" fmla="*/ 2794534 h 3993936"/>
                  <a:gd name="connsiteX1660" fmla="*/ 1759440 w 3565209"/>
                  <a:gd name="connsiteY1660" fmla="*/ 2785959 h 3993936"/>
                  <a:gd name="connsiteX1661" fmla="*/ 1773430 w 3565209"/>
                  <a:gd name="connsiteY1661" fmla="*/ 2783703 h 3993936"/>
                  <a:gd name="connsiteX1662" fmla="*/ 1775686 w 3565209"/>
                  <a:gd name="connsiteY1662" fmla="*/ 2784154 h 3993936"/>
                  <a:gd name="connsiteX1663" fmla="*/ 1785614 w 3565209"/>
                  <a:gd name="connsiteY1663" fmla="*/ 2776256 h 3993936"/>
                  <a:gd name="connsiteX1664" fmla="*/ 1788097 w 3565209"/>
                  <a:gd name="connsiteY1664" fmla="*/ 2761815 h 3993936"/>
                  <a:gd name="connsiteX1665" fmla="*/ 1779296 w 3565209"/>
                  <a:gd name="connsiteY1665" fmla="*/ 2768359 h 3993936"/>
                  <a:gd name="connsiteX1666" fmla="*/ 1773204 w 3565209"/>
                  <a:gd name="connsiteY1666" fmla="*/ 2760461 h 3993936"/>
                  <a:gd name="connsiteX1667" fmla="*/ 1782455 w 3565209"/>
                  <a:gd name="connsiteY1667" fmla="*/ 2733384 h 3993936"/>
                  <a:gd name="connsiteX1668" fmla="*/ 1807954 w 3565209"/>
                  <a:gd name="connsiteY1668" fmla="*/ 2714429 h 3993936"/>
                  <a:gd name="connsiteX1669" fmla="*/ 1818108 w 3565209"/>
                  <a:gd name="connsiteY1669" fmla="*/ 2707660 h 3993936"/>
                  <a:gd name="connsiteX1670" fmla="*/ 1829164 w 3565209"/>
                  <a:gd name="connsiteY1670" fmla="*/ 2702019 h 3993936"/>
                  <a:gd name="connsiteX1671" fmla="*/ 1850375 w 3565209"/>
                  <a:gd name="connsiteY1671" fmla="*/ 2689834 h 3993936"/>
                  <a:gd name="connsiteX1672" fmla="*/ 1888509 w 3565209"/>
                  <a:gd name="connsiteY1672" fmla="*/ 2663433 h 3993936"/>
                  <a:gd name="connsiteX1673" fmla="*/ 1894150 w 3565209"/>
                  <a:gd name="connsiteY1673" fmla="*/ 2660274 h 3993936"/>
                  <a:gd name="connsiteX1674" fmla="*/ 1907915 w 3565209"/>
                  <a:gd name="connsiteY1674" fmla="*/ 2642674 h 3993936"/>
                  <a:gd name="connsiteX1675" fmla="*/ 1912202 w 3565209"/>
                  <a:gd name="connsiteY1675" fmla="*/ 2634776 h 3993936"/>
                  <a:gd name="connsiteX1676" fmla="*/ 1928223 w 3565209"/>
                  <a:gd name="connsiteY1676" fmla="*/ 2617627 h 3993936"/>
                  <a:gd name="connsiteX1677" fmla="*/ 1941536 w 3565209"/>
                  <a:gd name="connsiteY1677" fmla="*/ 2605442 h 3993936"/>
                  <a:gd name="connsiteX1678" fmla="*/ 2002460 w 3565209"/>
                  <a:gd name="connsiteY1678" fmla="*/ 2571144 h 3993936"/>
                  <a:gd name="connsiteX1679" fmla="*/ 2017127 w 3565209"/>
                  <a:gd name="connsiteY1679" fmla="*/ 2555349 h 3993936"/>
                  <a:gd name="connsiteX1680" fmla="*/ 2020286 w 3565209"/>
                  <a:gd name="connsiteY1680" fmla="*/ 2545872 h 3993936"/>
                  <a:gd name="connsiteX1681" fmla="*/ 2040369 w 3565209"/>
                  <a:gd name="connsiteY1681" fmla="*/ 2519697 h 3993936"/>
                  <a:gd name="connsiteX1682" fmla="*/ 2055262 w 3565209"/>
                  <a:gd name="connsiteY1682" fmla="*/ 2502322 h 3993936"/>
                  <a:gd name="connsiteX1683" fmla="*/ 2070831 w 3565209"/>
                  <a:gd name="connsiteY1683" fmla="*/ 2483142 h 3993936"/>
                  <a:gd name="connsiteX1684" fmla="*/ 2090688 w 3565209"/>
                  <a:gd name="connsiteY1684" fmla="*/ 2455839 h 3993936"/>
                  <a:gd name="connsiteX1685" fmla="*/ 2096780 w 3565209"/>
                  <a:gd name="connsiteY1685" fmla="*/ 2443203 h 3993936"/>
                  <a:gd name="connsiteX1686" fmla="*/ 2102873 w 3565209"/>
                  <a:gd name="connsiteY1686" fmla="*/ 2437561 h 3993936"/>
                  <a:gd name="connsiteX1687" fmla="*/ 2110996 w 3565209"/>
                  <a:gd name="connsiteY1687" fmla="*/ 2429664 h 3993936"/>
                  <a:gd name="connsiteX1688" fmla="*/ 2128371 w 3565209"/>
                  <a:gd name="connsiteY1688" fmla="*/ 2410484 h 3993936"/>
                  <a:gd name="connsiteX1689" fmla="*/ 2138300 w 3565209"/>
                  <a:gd name="connsiteY1689" fmla="*/ 2401684 h 3993936"/>
                  <a:gd name="connsiteX1690" fmla="*/ 2147551 w 3565209"/>
                  <a:gd name="connsiteY1690" fmla="*/ 2392432 h 3993936"/>
                  <a:gd name="connsiteX1691" fmla="*/ 2173500 w 3565209"/>
                  <a:gd name="connsiteY1691" fmla="*/ 2376411 h 3993936"/>
                  <a:gd name="connsiteX1692" fmla="*/ 2196065 w 3565209"/>
                  <a:gd name="connsiteY1692" fmla="*/ 2365355 h 3993936"/>
                  <a:gd name="connsiteX1693" fmla="*/ 2224722 w 3565209"/>
                  <a:gd name="connsiteY1693" fmla="*/ 2352719 h 3993936"/>
                  <a:gd name="connsiteX1694" fmla="*/ 2244804 w 3565209"/>
                  <a:gd name="connsiteY1694" fmla="*/ 2346175 h 3993936"/>
                  <a:gd name="connsiteX1695" fmla="*/ 2284292 w 3565209"/>
                  <a:gd name="connsiteY1695" fmla="*/ 2330605 h 3993936"/>
                  <a:gd name="connsiteX1696" fmla="*/ 2292867 w 3565209"/>
                  <a:gd name="connsiteY1696" fmla="*/ 2327221 h 3993936"/>
                  <a:gd name="connsiteX1697" fmla="*/ 2299185 w 3565209"/>
                  <a:gd name="connsiteY1697" fmla="*/ 2318646 h 3993936"/>
                  <a:gd name="connsiteX1698" fmla="*/ 2301216 w 3565209"/>
                  <a:gd name="connsiteY1698" fmla="*/ 2315487 h 3993936"/>
                  <a:gd name="connsiteX1699" fmla="*/ 2303924 w 3565209"/>
                  <a:gd name="connsiteY1699" fmla="*/ 2310523 h 3993936"/>
                  <a:gd name="connsiteX1700" fmla="*/ 2316560 w 3565209"/>
                  <a:gd name="connsiteY1700" fmla="*/ 2292697 h 3993936"/>
                  <a:gd name="connsiteX1701" fmla="*/ 2325134 w 3565209"/>
                  <a:gd name="connsiteY1701" fmla="*/ 2287281 h 3993936"/>
                  <a:gd name="connsiteX1702" fmla="*/ 2343186 w 3565209"/>
                  <a:gd name="connsiteY1702" fmla="*/ 2275322 h 3993936"/>
                  <a:gd name="connsiteX1703" fmla="*/ 2341832 w 3565209"/>
                  <a:gd name="connsiteY1703" fmla="*/ 2264040 h 3993936"/>
                  <a:gd name="connsiteX1704" fmla="*/ 2341381 w 3565209"/>
                  <a:gd name="connsiteY1704" fmla="*/ 2252081 h 3993936"/>
                  <a:gd name="connsiteX1705" fmla="*/ 2341607 w 3565209"/>
                  <a:gd name="connsiteY1705" fmla="*/ 2251629 h 3993936"/>
                  <a:gd name="connsiteX1706" fmla="*/ 2353566 w 3565209"/>
                  <a:gd name="connsiteY1706" fmla="*/ 2236962 h 3993936"/>
                  <a:gd name="connsiteX1707" fmla="*/ 2363494 w 3565209"/>
                  <a:gd name="connsiteY1707" fmla="*/ 2229290 h 3993936"/>
                  <a:gd name="connsiteX1708" fmla="*/ 2370264 w 3565209"/>
                  <a:gd name="connsiteY1708" fmla="*/ 2223875 h 3993936"/>
                  <a:gd name="connsiteX1709" fmla="*/ 2369361 w 3565209"/>
                  <a:gd name="connsiteY1709" fmla="*/ 2216203 h 3993936"/>
                  <a:gd name="connsiteX1710" fmla="*/ 2365525 w 3565209"/>
                  <a:gd name="connsiteY1710" fmla="*/ 2215977 h 3993936"/>
                  <a:gd name="connsiteX1711" fmla="*/ 2358756 w 3565209"/>
                  <a:gd name="connsiteY1711" fmla="*/ 2216203 h 3993936"/>
                  <a:gd name="connsiteX1712" fmla="*/ 2354920 w 3565209"/>
                  <a:gd name="connsiteY1712" fmla="*/ 2213946 h 3993936"/>
                  <a:gd name="connsiteX1713" fmla="*/ 2359433 w 3565209"/>
                  <a:gd name="connsiteY1713" fmla="*/ 2210110 h 3993936"/>
                  <a:gd name="connsiteX1714" fmla="*/ 2363946 w 3565209"/>
                  <a:gd name="connsiteY1714" fmla="*/ 2208079 h 3993936"/>
                  <a:gd name="connsiteX1715" fmla="*/ 2367782 w 3565209"/>
                  <a:gd name="connsiteY1715" fmla="*/ 2202664 h 3993936"/>
                  <a:gd name="connsiteX1716" fmla="*/ 2365074 w 3565209"/>
                  <a:gd name="connsiteY1716" fmla="*/ 2197925 h 3993936"/>
                  <a:gd name="connsiteX1717" fmla="*/ 2355822 w 3565209"/>
                  <a:gd name="connsiteY1717" fmla="*/ 2185515 h 3993936"/>
                  <a:gd name="connsiteX1718" fmla="*/ 2355145 w 3565209"/>
                  <a:gd name="connsiteY1718" fmla="*/ 2184387 h 3993936"/>
                  <a:gd name="connsiteX1719" fmla="*/ 2349504 w 3565209"/>
                  <a:gd name="connsiteY1719" fmla="*/ 2143770 h 3993936"/>
                  <a:gd name="connsiteX1720" fmla="*/ 2389218 w 3565209"/>
                  <a:gd name="connsiteY1720" fmla="*/ 2104959 h 3993936"/>
                  <a:gd name="connsiteX1721" fmla="*/ 2397793 w 3565209"/>
                  <a:gd name="connsiteY1721" fmla="*/ 2104959 h 3993936"/>
                  <a:gd name="connsiteX1722" fmla="*/ 2410203 w 3565209"/>
                  <a:gd name="connsiteY1722" fmla="*/ 2103831 h 3993936"/>
                  <a:gd name="connsiteX1723" fmla="*/ 2423967 w 3565209"/>
                  <a:gd name="connsiteY1723" fmla="*/ 2095256 h 3993936"/>
                  <a:gd name="connsiteX1724" fmla="*/ 2424419 w 3565209"/>
                  <a:gd name="connsiteY1724" fmla="*/ 2094805 h 3993936"/>
                  <a:gd name="connsiteX1725" fmla="*/ 2425096 w 3565209"/>
                  <a:gd name="connsiteY1725" fmla="*/ 2094805 h 3993936"/>
                  <a:gd name="connsiteX1726" fmla="*/ 2449691 w 3565209"/>
                  <a:gd name="connsiteY1726" fmla="*/ 2089841 h 3993936"/>
                  <a:gd name="connsiteX1727" fmla="*/ 2455784 w 3565209"/>
                  <a:gd name="connsiteY1727" fmla="*/ 2087584 h 3993936"/>
                  <a:gd name="connsiteX1728" fmla="*/ 2466163 w 3565209"/>
                  <a:gd name="connsiteY1728" fmla="*/ 2081492 h 3993936"/>
                  <a:gd name="connsiteX1729" fmla="*/ 2469322 w 3565209"/>
                  <a:gd name="connsiteY1729" fmla="*/ 2077205 h 3993936"/>
                  <a:gd name="connsiteX1730" fmla="*/ 2473610 w 3565209"/>
                  <a:gd name="connsiteY1730" fmla="*/ 2072015 h 3993936"/>
                  <a:gd name="connsiteX1731" fmla="*/ 2492113 w 3565209"/>
                  <a:gd name="connsiteY1731" fmla="*/ 2044486 h 3993936"/>
                  <a:gd name="connsiteX1732" fmla="*/ 2500687 w 3565209"/>
                  <a:gd name="connsiteY1732" fmla="*/ 2034332 h 3993936"/>
                  <a:gd name="connsiteX1733" fmla="*/ 2507005 w 3565209"/>
                  <a:gd name="connsiteY1733" fmla="*/ 2028691 h 3993936"/>
                  <a:gd name="connsiteX1734" fmla="*/ 2506554 w 3565209"/>
                  <a:gd name="connsiteY1734" fmla="*/ 2022147 h 3993936"/>
                  <a:gd name="connsiteX1735" fmla="*/ 2502944 w 3565209"/>
                  <a:gd name="connsiteY1735" fmla="*/ 2016280 h 3993936"/>
                  <a:gd name="connsiteX1736" fmla="*/ 2503846 w 3565209"/>
                  <a:gd name="connsiteY1736" fmla="*/ 2010865 h 3993936"/>
                  <a:gd name="connsiteX1737" fmla="*/ 2514000 w 3565209"/>
                  <a:gd name="connsiteY1737" fmla="*/ 2014926 h 3993936"/>
                  <a:gd name="connsiteX1738" fmla="*/ 2516257 w 3565209"/>
                  <a:gd name="connsiteY1738" fmla="*/ 2016506 h 3993936"/>
                  <a:gd name="connsiteX1739" fmla="*/ 2521221 w 3565209"/>
                  <a:gd name="connsiteY1739" fmla="*/ 2020793 h 3993936"/>
                  <a:gd name="connsiteX1740" fmla="*/ 2520995 w 3565209"/>
                  <a:gd name="connsiteY1740" fmla="*/ 2027111 h 3993936"/>
                  <a:gd name="connsiteX1741" fmla="*/ 2519641 w 3565209"/>
                  <a:gd name="connsiteY1741" fmla="*/ 2030045 h 3993936"/>
                  <a:gd name="connsiteX1742" fmla="*/ 2519416 w 3565209"/>
                  <a:gd name="connsiteY1742" fmla="*/ 2030947 h 3993936"/>
                  <a:gd name="connsiteX1743" fmla="*/ 2513323 w 3565209"/>
                  <a:gd name="connsiteY1743" fmla="*/ 2043583 h 3993936"/>
                  <a:gd name="connsiteX1744" fmla="*/ 2514000 w 3565209"/>
                  <a:gd name="connsiteY1744" fmla="*/ 2050353 h 3993936"/>
                  <a:gd name="connsiteX1745" fmla="*/ 2514903 w 3565209"/>
                  <a:gd name="connsiteY1745" fmla="*/ 2056897 h 3993936"/>
                  <a:gd name="connsiteX1746" fmla="*/ 2514903 w 3565209"/>
                  <a:gd name="connsiteY1746" fmla="*/ 2058025 h 3993936"/>
                  <a:gd name="connsiteX1747" fmla="*/ 2518739 w 3565209"/>
                  <a:gd name="connsiteY1747" fmla="*/ 2062086 h 3993936"/>
                  <a:gd name="connsiteX1748" fmla="*/ 2529570 w 3565209"/>
                  <a:gd name="connsiteY1748" fmla="*/ 2065697 h 3993936"/>
                  <a:gd name="connsiteX1749" fmla="*/ 2536565 w 3565209"/>
                  <a:gd name="connsiteY1749" fmla="*/ 2065922 h 3993936"/>
                  <a:gd name="connsiteX1750" fmla="*/ 2539724 w 3565209"/>
                  <a:gd name="connsiteY1750" fmla="*/ 2063666 h 3993936"/>
                  <a:gd name="connsiteX1751" fmla="*/ 2544688 w 3565209"/>
                  <a:gd name="connsiteY1751" fmla="*/ 2059604 h 3993936"/>
                  <a:gd name="connsiteX1752" fmla="*/ 2546493 w 3565209"/>
                  <a:gd name="connsiteY1752" fmla="*/ 2057122 h 3993936"/>
                  <a:gd name="connsiteX1753" fmla="*/ 2551232 w 3565209"/>
                  <a:gd name="connsiteY1753" fmla="*/ 2053060 h 3993936"/>
                  <a:gd name="connsiteX1754" fmla="*/ 2552360 w 3565209"/>
                  <a:gd name="connsiteY1754" fmla="*/ 2051481 h 3993936"/>
                  <a:gd name="connsiteX1755" fmla="*/ 2555519 w 3565209"/>
                  <a:gd name="connsiteY1755" fmla="*/ 2045614 h 3993936"/>
                  <a:gd name="connsiteX1756" fmla="*/ 2558453 w 3565209"/>
                  <a:gd name="connsiteY1756" fmla="*/ 2042906 h 3993936"/>
                  <a:gd name="connsiteX1757" fmla="*/ 2561612 w 3565209"/>
                  <a:gd name="connsiteY1757" fmla="*/ 2032978 h 3993936"/>
                  <a:gd name="connsiteX1758" fmla="*/ 2561837 w 3565209"/>
                  <a:gd name="connsiteY1758" fmla="*/ 2030947 h 3993936"/>
                  <a:gd name="connsiteX1759" fmla="*/ 2563417 w 3565209"/>
                  <a:gd name="connsiteY1759" fmla="*/ 2025983 h 3993936"/>
                  <a:gd name="connsiteX1760" fmla="*/ 2566125 w 3565209"/>
                  <a:gd name="connsiteY1760" fmla="*/ 2025532 h 3993936"/>
                  <a:gd name="connsiteX1761" fmla="*/ 2572443 w 3565209"/>
                  <a:gd name="connsiteY1761" fmla="*/ 2023727 h 3993936"/>
                  <a:gd name="connsiteX1762" fmla="*/ 2576504 w 3565209"/>
                  <a:gd name="connsiteY1762" fmla="*/ 2024629 h 3993936"/>
                  <a:gd name="connsiteX1763" fmla="*/ 2583048 w 3565209"/>
                  <a:gd name="connsiteY1763" fmla="*/ 2030270 h 3993936"/>
                  <a:gd name="connsiteX1764" fmla="*/ 2585756 w 3565209"/>
                  <a:gd name="connsiteY1764" fmla="*/ 2039071 h 3993936"/>
                  <a:gd name="connsiteX1765" fmla="*/ 2595233 w 3565209"/>
                  <a:gd name="connsiteY1765" fmla="*/ 2040424 h 3993936"/>
                  <a:gd name="connsiteX1766" fmla="*/ 2599520 w 3565209"/>
                  <a:gd name="connsiteY1766" fmla="*/ 2040424 h 3993936"/>
                  <a:gd name="connsiteX1767" fmla="*/ 2607643 w 3565209"/>
                  <a:gd name="connsiteY1767" fmla="*/ 2042230 h 3993936"/>
                  <a:gd name="connsiteX1768" fmla="*/ 2613736 w 3565209"/>
                  <a:gd name="connsiteY1768" fmla="*/ 2042681 h 3993936"/>
                  <a:gd name="connsiteX1769" fmla="*/ 2617120 w 3565209"/>
                  <a:gd name="connsiteY1769" fmla="*/ 2038168 h 3993936"/>
                  <a:gd name="connsiteX1770" fmla="*/ 2618700 w 3565209"/>
                  <a:gd name="connsiteY1770" fmla="*/ 2032301 h 3993936"/>
                  <a:gd name="connsiteX1771" fmla="*/ 2619151 w 3565209"/>
                  <a:gd name="connsiteY1771" fmla="*/ 2027111 h 3993936"/>
                  <a:gd name="connsiteX1772" fmla="*/ 2618249 w 3565209"/>
                  <a:gd name="connsiteY1772" fmla="*/ 2025306 h 3993936"/>
                  <a:gd name="connsiteX1773" fmla="*/ 2617346 w 3565209"/>
                  <a:gd name="connsiteY1773" fmla="*/ 2016280 h 3993936"/>
                  <a:gd name="connsiteX1774" fmla="*/ 2617572 w 3565209"/>
                  <a:gd name="connsiteY1774" fmla="*/ 2011542 h 3993936"/>
                  <a:gd name="connsiteX1775" fmla="*/ 2609674 w 3565209"/>
                  <a:gd name="connsiteY1775" fmla="*/ 1999808 h 3993936"/>
                  <a:gd name="connsiteX1776" fmla="*/ 2605387 w 3565209"/>
                  <a:gd name="connsiteY1776" fmla="*/ 1991233 h 3993936"/>
                  <a:gd name="connsiteX1777" fmla="*/ 2605613 w 3565209"/>
                  <a:gd name="connsiteY1777" fmla="*/ 1990105 h 3993936"/>
                  <a:gd name="connsiteX1778" fmla="*/ 2604259 w 3565209"/>
                  <a:gd name="connsiteY1778" fmla="*/ 1973182 h 3993936"/>
                  <a:gd name="connsiteX1779" fmla="*/ 2603807 w 3565209"/>
                  <a:gd name="connsiteY1779" fmla="*/ 1959869 h 3993936"/>
                  <a:gd name="connsiteX1780" fmla="*/ 2599069 w 3565209"/>
                  <a:gd name="connsiteY1780" fmla="*/ 1940689 h 3993936"/>
                  <a:gd name="connsiteX1781" fmla="*/ 2595684 w 3565209"/>
                  <a:gd name="connsiteY1781" fmla="*/ 1881795 h 3993936"/>
                  <a:gd name="connsiteX1782" fmla="*/ 2596136 w 3565209"/>
                  <a:gd name="connsiteY1782" fmla="*/ 1880893 h 3993936"/>
                  <a:gd name="connsiteX1783" fmla="*/ 2597489 w 3565209"/>
                  <a:gd name="connsiteY1783" fmla="*/ 1872092 h 3993936"/>
                  <a:gd name="connsiteX1784" fmla="*/ 2585756 w 3565209"/>
                  <a:gd name="connsiteY1784" fmla="*/ 1869159 h 3993936"/>
                  <a:gd name="connsiteX1785" fmla="*/ 2569961 w 3565209"/>
                  <a:gd name="connsiteY1785" fmla="*/ 1865549 h 3993936"/>
                  <a:gd name="connsiteX1786" fmla="*/ 2569735 w 3565209"/>
                  <a:gd name="connsiteY1786" fmla="*/ 1850882 h 3993936"/>
                  <a:gd name="connsiteX1787" fmla="*/ 2558001 w 3565209"/>
                  <a:gd name="connsiteY1787" fmla="*/ 1824707 h 3993936"/>
                  <a:gd name="connsiteX1788" fmla="*/ 2542657 w 3565209"/>
                  <a:gd name="connsiteY1788" fmla="*/ 1792439 h 3993936"/>
                  <a:gd name="connsiteX1789" fmla="*/ 2553263 w 3565209"/>
                  <a:gd name="connsiteY1789" fmla="*/ 1779803 h 3993936"/>
                  <a:gd name="connsiteX1790" fmla="*/ 2563642 w 3565209"/>
                  <a:gd name="connsiteY1790" fmla="*/ 1768069 h 3993936"/>
                  <a:gd name="connsiteX1791" fmla="*/ 2559581 w 3565209"/>
                  <a:gd name="connsiteY1791" fmla="*/ 1754756 h 3993936"/>
                  <a:gd name="connsiteX1792" fmla="*/ 2557776 w 3565209"/>
                  <a:gd name="connsiteY1792" fmla="*/ 1750695 h 3993936"/>
                  <a:gd name="connsiteX1793" fmla="*/ 2559581 w 3565209"/>
                  <a:gd name="connsiteY1793" fmla="*/ 1730612 h 3993936"/>
                  <a:gd name="connsiteX1794" fmla="*/ 2559355 w 3565209"/>
                  <a:gd name="connsiteY1794" fmla="*/ 1727228 h 3993936"/>
                  <a:gd name="connsiteX1795" fmla="*/ 2553263 w 3565209"/>
                  <a:gd name="connsiteY1795" fmla="*/ 1721586 h 3993936"/>
                  <a:gd name="connsiteX1796" fmla="*/ 2534083 w 3565209"/>
                  <a:gd name="connsiteY1796" fmla="*/ 1721361 h 3993936"/>
                  <a:gd name="connsiteX1797" fmla="*/ 2504974 w 3565209"/>
                  <a:gd name="connsiteY1797" fmla="*/ 1714140 h 3993936"/>
                  <a:gd name="connsiteX1798" fmla="*/ 2503846 w 3565209"/>
                  <a:gd name="connsiteY1798" fmla="*/ 1713463 h 3993936"/>
                  <a:gd name="connsiteX1799" fmla="*/ 2490533 w 3565209"/>
                  <a:gd name="connsiteY1799" fmla="*/ 1701278 h 3993936"/>
                  <a:gd name="connsiteX1800" fmla="*/ 2485569 w 3565209"/>
                  <a:gd name="connsiteY1800" fmla="*/ 1695411 h 3993936"/>
                  <a:gd name="connsiteX1801" fmla="*/ 2477897 w 3565209"/>
                  <a:gd name="connsiteY1801" fmla="*/ 1685032 h 3993936"/>
                  <a:gd name="connsiteX1802" fmla="*/ 2475189 w 3565209"/>
                  <a:gd name="connsiteY1802" fmla="*/ 1680067 h 3993936"/>
                  <a:gd name="connsiteX1803" fmla="*/ 2473384 w 3565209"/>
                  <a:gd name="connsiteY1803" fmla="*/ 1671042 h 3993936"/>
                  <a:gd name="connsiteX1804" fmla="*/ 2480605 w 3565209"/>
                  <a:gd name="connsiteY1804" fmla="*/ 1658857 h 3993936"/>
                  <a:gd name="connsiteX1805" fmla="*/ 2483538 w 3565209"/>
                  <a:gd name="connsiteY1805" fmla="*/ 1655698 h 3993936"/>
                  <a:gd name="connsiteX1806" fmla="*/ 2487148 w 3565209"/>
                  <a:gd name="connsiteY1806" fmla="*/ 1649605 h 3993936"/>
                  <a:gd name="connsiteX1807" fmla="*/ 2486923 w 3565209"/>
                  <a:gd name="connsiteY1807" fmla="*/ 1647575 h 3993936"/>
                  <a:gd name="connsiteX1808" fmla="*/ 2494595 w 3565209"/>
                  <a:gd name="connsiteY1808" fmla="*/ 1639226 h 3993936"/>
                  <a:gd name="connsiteX1809" fmla="*/ 2500461 w 3565209"/>
                  <a:gd name="connsiteY1809" fmla="*/ 1639903 h 3993936"/>
                  <a:gd name="connsiteX1810" fmla="*/ 2502041 w 3565209"/>
                  <a:gd name="connsiteY1810" fmla="*/ 1643964 h 3993936"/>
                  <a:gd name="connsiteX1811" fmla="*/ 2503169 w 3565209"/>
                  <a:gd name="connsiteY1811" fmla="*/ 1646897 h 3993936"/>
                  <a:gd name="connsiteX1812" fmla="*/ 2503846 w 3565209"/>
                  <a:gd name="connsiteY1812" fmla="*/ 1647575 h 3993936"/>
                  <a:gd name="connsiteX1813" fmla="*/ 2504523 w 3565209"/>
                  <a:gd name="connsiteY1813" fmla="*/ 1645995 h 3993936"/>
                  <a:gd name="connsiteX1814" fmla="*/ 2507005 w 3565209"/>
                  <a:gd name="connsiteY1814" fmla="*/ 1641256 h 3993936"/>
                  <a:gd name="connsiteX1815" fmla="*/ 2513098 w 3565209"/>
                  <a:gd name="connsiteY1815" fmla="*/ 1634036 h 3993936"/>
                  <a:gd name="connsiteX1816" fmla="*/ 2515128 w 3565209"/>
                  <a:gd name="connsiteY1816" fmla="*/ 1631779 h 3993936"/>
                  <a:gd name="connsiteX1817" fmla="*/ 2517385 w 3565209"/>
                  <a:gd name="connsiteY1817" fmla="*/ 1628620 h 3993936"/>
                  <a:gd name="connsiteX1818" fmla="*/ 2520318 w 3565209"/>
                  <a:gd name="connsiteY1818" fmla="*/ 1624107 h 3993936"/>
                  <a:gd name="connsiteX1819" fmla="*/ 2519641 w 3565209"/>
                  <a:gd name="connsiteY1819" fmla="*/ 1618240 h 3993936"/>
                  <a:gd name="connsiteX1820" fmla="*/ 2518739 w 3565209"/>
                  <a:gd name="connsiteY1820" fmla="*/ 1611922 h 3993936"/>
                  <a:gd name="connsiteX1821" fmla="*/ 2523252 w 3565209"/>
                  <a:gd name="connsiteY1821" fmla="*/ 1604476 h 3993936"/>
                  <a:gd name="connsiteX1822" fmla="*/ 2524154 w 3565209"/>
                  <a:gd name="connsiteY1822" fmla="*/ 1603799 h 3993936"/>
                  <a:gd name="connsiteX1823" fmla="*/ 2530698 w 3565209"/>
                  <a:gd name="connsiteY1823" fmla="*/ 1603122 h 3993936"/>
                  <a:gd name="connsiteX1824" fmla="*/ 2537693 w 3565209"/>
                  <a:gd name="connsiteY1824" fmla="*/ 1603573 h 3993936"/>
                  <a:gd name="connsiteX1825" fmla="*/ 2542883 w 3565209"/>
                  <a:gd name="connsiteY1825" fmla="*/ 1601543 h 3993936"/>
                  <a:gd name="connsiteX1826" fmla="*/ 2546042 w 3565209"/>
                  <a:gd name="connsiteY1826" fmla="*/ 1599512 h 3993936"/>
                  <a:gd name="connsiteX1827" fmla="*/ 2553940 w 3565209"/>
                  <a:gd name="connsiteY1827" fmla="*/ 1601091 h 3993936"/>
                  <a:gd name="connsiteX1828" fmla="*/ 2556873 w 3565209"/>
                  <a:gd name="connsiteY1828" fmla="*/ 1603122 h 3993936"/>
                  <a:gd name="connsiteX1829" fmla="*/ 2563417 w 3565209"/>
                  <a:gd name="connsiteY1829" fmla="*/ 1603348 h 3993936"/>
                  <a:gd name="connsiteX1830" fmla="*/ 2568832 w 3565209"/>
                  <a:gd name="connsiteY1830" fmla="*/ 1601768 h 3993936"/>
                  <a:gd name="connsiteX1831" fmla="*/ 2577407 w 3565209"/>
                  <a:gd name="connsiteY1831" fmla="*/ 1598609 h 3993936"/>
                  <a:gd name="connsiteX1832" fmla="*/ 2578986 w 3565209"/>
                  <a:gd name="connsiteY1832" fmla="*/ 1593871 h 3993936"/>
                  <a:gd name="connsiteX1833" fmla="*/ 2580566 w 3565209"/>
                  <a:gd name="connsiteY1833" fmla="*/ 1590712 h 3993936"/>
                  <a:gd name="connsiteX1834" fmla="*/ 2576504 w 3565209"/>
                  <a:gd name="connsiteY1834" fmla="*/ 1584168 h 3993936"/>
                  <a:gd name="connsiteX1835" fmla="*/ 2561837 w 3565209"/>
                  <a:gd name="connsiteY1835" fmla="*/ 1576045 h 3993936"/>
                  <a:gd name="connsiteX1836" fmla="*/ 2560935 w 3565209"/>
                  <a:gd name="connsiteY1836" fmla="*/ 1567244 h 3993936"/>
                  <a:gd name="connsiteX1837" fmla="*/ 2561612 w 3565209"/>
                  <a:gd name="connsiteY1837" fmla="*/ 1560249 h 3993936"/>
                  <a:gd name="connsiteX1838" fmla="*/ 2560258 w 3565209"/>
                  <a:gd name="connsiteY1838" fmla="*/ 1557993 h 3993936"/>
                  <a:gd name="connsiteX1839" fmla="*/ 2558227 w 3565209"/>
                  <a:gd name="connsiteY1839" fmla="*/ 1559121 h 3993936"/>
                  <a:gd name="connsiteX1840" fmla="*/ 2554165 w 3565209"/>
                  <a:gd name="connsiteY1840" fmla="*/ 1561152 h 3993936"/>
                  <a:gd name="connsiteX1841" fmla="*/ 2542657 w 3565209"/>
                  <a:gd name="connsiteY1841" fmla="*/ 1562280 h 3993936"/>
                  <a:gd name="connsiteX1842" fmla="*/ 2534083 w 3565209"/>
                  <a:gd name="connsiteY1842" fmla="*/ 1562732 h 3993936"/>
                  <a:gd name="connsiteX1843" fmla="*/ 2520770 w 3565209"/>
                  <a:gd name="connsiteY1843" fmla="*/ 1553254 h 3993936"/>
                  <a:gd name="connsiteX1844" fmla="*/ 2517836 w 3565209"/>
                  <a:gd name="connsiteY1844" fmla="*/ 1546936 h 3993936"/>
                  <a:gd name="connsiteX1845" fmla="*/ 2516482 w 3565209"/>
                  <a:gd name="connsiteY1845" fmla="*/ 1543552 h 3993936"/>
                  <a:gd name="connsiteX1846" fmla="*/ 2507231 w 3565209"/>
                  <a:gd name="connsiteY1846" fmla="*/ 1536557 h 3993936"/>
                  <a:gd name="connsiteX1847" fmla="*/ 2498882 w 3565209"/>
                  <a:gd name="connsiteY1847" fmla="*/ 1530013 h 3993936"/>
                  <a:gd name="connsiteX1848" fmla="*/ 2496851 w 3565209"/>
                  <a:gd name="connsiteY1848" fmla="*/ 1525274 h 3993936"/>
                  <a:gd name="connsiteX1849" fmla="*/ 2485794 w 3565209"/>
                  <a:gd name="connsiteY1849" fmla="*/ 1524823 h 3993936"/>
                  <a:gd name="connsiteX1850" fmla="*/ 2482410 w 3565209"/>
                  <a:gd name="connsiteY1850" fmla="*/ 1526403 h 3993936"/>
                  <a:gd name="connsiteX1851" fmla="*/ 2473158 w 3565209"/>
                  <a:gd name="connsiteY1851" fmla="*/ 1527305 h 3993936"/>
                  <a:gd name="connsiteX1852" fmla="*/ 2471579 w 3565209"/>
                  <a:gd name="connsiteY1852" fmla="*/ 1520084 h 3993936"/>
                  <a:gd name="connsiteX1853" fmla="*/ 2471804 w 3565209"/>
                  <a:gd name="connsiteY1853" fmla="*/ 1517828 h 3993936"/>
                  <a:gd name="connsiteX1854" fmla="*/ 2473610 w 3565209"/>
                  <a:gd name="connsiteY1854" fmla="*/ 1502033 h 3993936"/>
                  <a:gd name="connsiteX1855" fmla="*/ 2473158 w 3565209"/>
                  <a:gd name="connsiteY1855" fmla="*/ 1494361 h 3993936"/>
                  <a:gd name="connsiteX1856" fmla="*/ 2472256 w 3565209"/>
                  <a:gd name="connsiteY1856" fmla="*/ 1488268 h 3993936"/>
                  <a:gd name="connsiteX1857" fmla="*/ 2478799 w 3565209"/>
                  <a:gd name="connsiteY1857" fmla="*/ 1478791 h 3993936"/>
                  <a:gd name="connsiteX1858" fmla="*/ 2485118 w 3565209"/>
                  <a:gd name="connsiteY1858" fmla="*/ 1471345 h 3993936"/>
                  <a:gd name="connsiteX1859" fmla="*/ 2491661 w 3565209"/>
                  <a:gd name="connsiteY1859" fmla="*/ 1465704 h 3993936"/>
                  <a:gd name="connsiteX1860" fmla="*/ 2496400 w 3565209"/>
                  <a:gd name="connsiteY1860" fmla="*/ 1461868 h 3993936"/>
                  <a:gd name="connsiteX1861" fmla="*/ 2498656 w 3565209"/>
                  <a:gd name="connsiteY1861" fmla="*/ 1454421 h 3993936"/>
                  <a:gd name="connsiteX1862" fmla="*/ 2499559 w 3565209"/>
                  <a:gd name="connsiteY1862" fmla="*/ 1449909 h 3993936"/>
                  <a:gd name="connsiteX1863" fmla="*/ 2510841 w 3565209"/>
                  <a:gd name="connsiteY1863" fmla="*/ 1446298 h 3993936"/>
                  <a:gd name="connsiteX1864" fmla="*/ 2516257 w 3565209"/>
                  <a:gd name="connsiteY1864" fmla="*/ 1445847 h 3993936"/>
                  <a:gd name="connsiteX1865" fmla="*/ 2514452 w 3565209"/>
                  <a:gd name="connsiteY1865" fmla="*/ 1443139 h 3993936"/>
                  <a:gd name="connsiteX1866" fmla="*/ 2511744 w 3565209"/>
                  <a:gd name="connsiteY1866" fmla="*/ 1438401 h 3993936"/>
                  <a:gd name="connsiteX1867" fmla="*/ 2504974 w 3565209"/>
                  <a:gd name="connsiteY1867" fmla="*/ 1433211 h 3993936"/>
                  <a:gd name="connsiteX1868" fmla="*/ 2499559 w 3565209"/>
                  <a:gd name="connsiteY1868" fmla="*/ 1426441 h 3993936"/>
                  <a:gd name="connsiteX1869" fmla="*/ 2499108 w 3565209"/>
                  <a:gd name="connsiteY1869" fmla="*/ 1425539 h 3993936"/>
                  <a:gd name="connsiteX1870" fmla="*/ 2499785 w 3565209"/>
                  <a:gd name="connsiteY1870" fmla="*/ 1424636 h 3993936"/>
                  <a:gd name="connsiteX1871" fmla="*/ 2507908 w 3565209"/>
                  <a:gd name="connsiteY1871" fmla="*/ 1418769 h 3993936"/>
                  <a:gd name="connsiteX1872" fmla="*/ 2513098 w 3565209"/>
                  <a:gd name="connsiteY1872" fmla="*/ 1421251 h 3993936"/>
                  <a:gd name="connsiteX1873" fmla="*/ 2516031 w 3565209"/>
                  <a:gd name="connsiteY1873" fmla="*/ 1423282 h 3993936"/>
                  <a:gd name="connsiteX1874" fmla="*/ 2523703 w 3565209"/>
                  <a:gd name="connsiteY1874" fmla="*/ 1428698 h 3993936"/>
                  <a:gd name="connsiteX1875" fmla="*/ 2527088 w 3565209"/>
                  <a:gd name="connsiteY1875" fmla="*/ 1431406 h 3993936"/>
                  <a:gd name="connsiteX1876" fmla="*/ 2532052 w 3565209"/>
                  <a:gd name="connsiteY1876" fmla="*/ 1434790 h 3993936"/>
                  <a:gd name="connsiteX1877" fmla="*/ 2537016 w 3565209"/>
                  <a:gd name="connsiteY1877" fmla="*/ 1438626 h 3993936"/>
                  <a:gd name="connsiteX1878" fmla="*/ 2538370 w 3565209"/>
                  <a:gd name="connsiteY1878" fmla="*/ 1455098 h 3993936"/>
                  <a:gd name="connsiteX1879" fmla="*/ 2538144 w 3565209"/>
                  <a:gd name="connsiteY1879" fmla="*/ 1456001 h 3993936"/>
                  <a:gd name="connsiteX1880" fmla="*/ 2542206 w 3565209"/>
                  <a:gd name="connsiteY1880" fmla="*/ 1456227 h 3993936"/>
                  <a:gd name="connsiteX1881" fmla="*/ 2544237 w 3565209"/>
                  <a:gd name="connsiteY1881" fmla="*/ 1455775 h 3993936"/>
                  <a:gd name="connsiteX1882" fmla="*/ 2544237 w 3565209"/>
                  <a:gd name="connsiteY1882" fmla="*/ 1457806 h 3993936"/>
                  <a:gd name="connsiteX1883" fmla="*/ 2546268 w 3565209"/>
                  <a:gd name="connsiteY1883" fmla="*/ 1467058 h 3993936"/>
                  <a:gd name="connsiteX1884" fmla="*/ 2546945 w 3565209"/>
                  <a:gd name="connsiteY1884" fmla="*/ 1467283 h 3993936"/>
                  <a:gd name="connsiteX1885" fmla="*/ 2547396 w 3565209"/>
                  <a:gd name="connsiteY1885" fmla="*/ 1467058 h 3993936"/>
                  <a:gd name="connsiteX1886" fmla="*/ 2550104 w 3565209"/>
                  <a:gd name="connsiteY1886" fmla="*/ 1466155 h 3993936"/>
                  <a:gd name="connsiteX1887" fmla="*/ 2551909 w 3565209"/>
                  <a:gd name="connsiteY1887" fmla="*/ 1461868 h 3993936"/>
                  <a:gd name="connsiteX1888" fmla="*/ 2553714 w 3565209"/>
                  <a:gd name="connsiteY1888" fmla="*/ 1456001 h 3993936"/>
                  <a:gd name="connsiteX1889" fmla="*/ 2561386 w 3565209"/>
                  <a:gd name="connsiteY1889" fmla="*/ 1448329 h 3993936"/>
                  <a:gd name="connsiteX1890" fmla="*/ 2565222 w 3565209"/>
                  <a:gd name="connsiteY1890" fmla="*/ 1445621 h 3993936"/>
                  <a:gd name="connsiteX1891" fmla="*/ 2567478 w 3565209"/>
                  <a:gd name="connsiteY1891" fmla="*/ 1435467 h 3993936"/>
                  <a:gd name="connsiteX1892" fmla="*/ 2567704 w 3565209"/>
                  <a:gd name="connsiteY1892" fmla="*/ 1431631 h 3993936"/>
                  <a:gd name="connsiteX1893" fmla="*/ 2570186 w 3565209"/>
                  <a:gd name="connsiteY1893" fmla="*/ 1427344 h 3993936"/>
                  <a:gd name="connsiteX1894" fmla="*/ 2583274 w 3565209"/>
                  <a:gd name="connsiteY1894" fmla="*/ 1427795 h 3993936"/>
                  <a:gd name="connsiteX1895" fmla="*/ 2588915 w 3565209"/>
                  <a:gd name="connsiteY1895" fmla="*/ 1440206 h 3993936"/>
                  <a:gd name="connsiteX1896" fmla="*/ 2589366 w 3565209"/>
                  <a:gd name="connsiteY1896" fmla="*/ 1444493 h 3993936"/>
                  <a:gd name="connsiteX1897" fmla="*/ 2592976 w 3565209"/>
                  <a:gd name="connsiteY1897" fmla="*/ 1451714 h 3993936"/>
                  <a:gd name="connsiteX1898" fmla="*/ 2595684 w 3565209"/>
                  <a:gd name="connsiteY1898" fmla="*/ 1457129 h 3993936"/>
                  <a:gd name="connsiteX1899" fmla="*/ 2597715 w 3565209"/>
                  <a:gd name="connsiteY1899" fmla="*/ 1459611 h 3993936"/>
                  <a:gd name="connsiteX1900" fmla="*/ 2603356 w 3565209"/>
                  <a:gd name="connsiteY1900" fmla="*/ 1464801 h 3993936"/>
                  <a:gd name="connsiteX1901" fmla="*/ 2606966 w 3565209"/>
                  <a:gd name="connsiteY1901" fmla="*/ 1470442 h 3993936"/>
                  <a:gd name="connsiteX1902" fmla="*/ 2613736 w 3565209"/>
                  <a:gd name="connsiteY1902" fmla="*/ 1478340 h 3993936"/>
                  <a:gd name="connsiteX1903" fmla="*/ 2632690 w 3565209"/>
                  <a:gd name="connsiteY1903" fmla="*/ 1481273 h 3993936"/>
                  <a:gd name="connsiteX1904" fmla="*/ 2634270 w 3565209"/>
                  <a:gd name="connsiteY1904" fmla="*/ 1481273 h 3993936"/>
                  <a:gd name="connsiteX1905" fmla="*/ 2650290 w 3565209"/>
                  <a:gd name="connsiteY1905" fmla="*/ 1473827 h 3993936"/>
                  <a:gd name="connsiteX1906" fmla="*/ 2651193 w 3565209"/>
                  <a:gd name="connsiteY1906" fmla="*/ 1465704 h 3993936"/>
                  <a:gd name="connsiteX1907" fmla="*/ 2651193 w 3565209"/>
                  <a:gd name="connsiteY1907" fmla="*/ 1458032 h 3993936"/>
                  <a:gd name="connsiteX1908" fmla="*/ 2663604 w 3565209"/>
                  <a:gd name="connsiteY1908" fmla="*/ 1454421 h 3993936"/>
                  <a:gd name="connsiteX1909" fmla="*/ 2666086 w 3565209"/>
                  <a:gd name="connsiteY1909" fmla="*/ 1454873 h 3993936"/>
                  <a:gd name="connsiteX1910" fmla="*/ 2676691 w 3565209"/>
                  <a:gd name="connsiteY1910" fmla="*/ 1468186 h 3993936"/>
                  <a:gd name="connsiteX1911" fmla="*/ 2680301 w 3565209"/>
                  <a:gd name="connsiteY1911" fmla="*/ 1473827 h 3993936"/>
                  <a:gd name="connsiteX1912" fmla="*/ 2686620 w 3565209"/>
                  <a:gd name="connsiteY1912" fmla="*/ 1485561 h 3993936"/>
                  <a:gd name="connsiteX1913" fmla="*/ 2684137 w 3565209"/>
                  <a:gd name="connsiteY1913" fmla="*/ 1497068 h 3993936"/>
                  <a:gd name="connsiteX1914" fmla="*/ 2682332 w 3565209"/>
                  <a:gd name="connsiteY1914" fmla="*/ 1504966 h 3993936"/>
                  <a:gd name="connsiteX1915" fmla="*/ 2687071 w 3565209"/>
                  <a:gd name="connsiteY1915" fmla="*/ 1520761 h 3993936"/>
                  <a:gd name="connsiteX1916" fmla="*/ 2691809 w 3565209"/>
                  <a:gd name="connsiteY1916" fmla="*/ 1535203 h 3993936"/>
                  <a:gd name="connsiteX1917" fmla="*/ 2692035 w 3565209"/>
                  <a:gd name="connsiteY1917" fmla="*/ 1538362 h 3993936"/>
                  <a:gd name="connsiteX1918" fmla="*/ 2691358 w 3565209"/>
                  <a:gd name="connsiteY1918" fmla="*/ 1553254 h 3993936"/>
                  <a:gd name="connsiteX1919" fmla="*/ 2690907 w 3565209"/>
                  <a:gd name="connsiteY1919" fmla="*/ 1554383 h 3993936"/>
                  <a:gd name="connsiteX1920" fmla="*/ 2688876 w 3565209"/>
                  <a:gd name="connsiteY1920" fmla="*/ 1567244 h 3993936"/>
                  <a:gd name="connsiteX1921" fmla="*/ 2694292 w 3565209"/>
                  <a:gd name="connsiteY1921" fmla="*/ 1575593 h 3993936"/>
                  <a:gd name="connsiteX1922" fmla="*/ 2698128 w 3565209"/>
                  <a:gd name="connsiteY1922" fmla="*/ 1576045 h 3993936"/>
                  <a:gd name="connsiteX1923" fmla="*/ 2714148 w 3565209"/>
                  <a:gd name="connsiteY1923" fmla="*/ 1577173 h 3993936"/>
                  <a:gd name="connsiteX1924" fmla="*/ 2722046 w 3565209"/>
                  <a:gd name="connsiteY1924" fmla="*/ 1580106 h 3993936"/>
                  <a:gd name="connsiteX1925" fmla="*/ 2728590 w 3565209"/>
                  <a:gd name="connsiteY1925" fmla="*/ 1582363 h 3993936"/>
                  <a:gd name="connsiteX1926" fmla="*/ 2745287 w 3565209"/>
                  <a:gd name="connsiteY1926" fmla="*/ 1585973 h 3993936"/>
                  <a:gd name="connsiteX1927" fmla="*/ 2750477 w 3565209"/>
                  <a:gd name="connsiteY1927" fmla="*/ 1588230 h 3993936"/>
                  <a:gd name="connsiteX1928" fmla="*/ 2771463 w 3565209"/>
                  <a:gd name="connsiteY1928" fmla="*/ 1586650 h 3993936"/>
                  <a:gd name="connsiteX1929" fmla="*/ 2774622 w 3565209"/>
                  <a:gd name="connsiteY1929" fmla="*/ 1585522 h 3993936"/>
                  <a:gd name="connsiteX1930" fmla="*/ 2785001 w 3565209"/>
                  <a:gd name="connsiteY1930" fmla="*/ 1581235 h 3993936"/>
                  <a:gd name="connsiteX1931" fmla="*/ 2789965 w 3565209"/>
                  <a:gd name="connsiteY1931" fmla="*/ 1578978 h 3993936"/>
                  <a:gd name="connsiteX1932" fmla="*/ 2820653 w 3565209"/>
                  <a:gd name="connsiteY1932" fmla="*/ 1580783 h 3993936"/>
                  <a:gd name="connsiteX1933" fmla="*/ 2833290 w 3565209"/>
                  <a:gd name="connsiteY1933" fmla="*/ 1579881 h 3993936"/>
                  <a:gd name="connsiteX1934" fmla="*/ 2837351 w 3565209"/>
                  <a:gd name="connsiteY1934" fmla="*/ 1578301 h 3993936"/>
                  <a:gd name="connsiteX1935" fmla="*/ 2842315 w 3565209"/>
                  <a:gd name="connsiteY1935" fmla="*/ 1576045 h 3993936"/>
                  <a:gd name="connsiteX1936" fmla="*/ 2845700 w 3565209"/>
                  <a:gd name="connsiteY1936" fmla="*/ 1574240 h 3993936"/>
                  <a:gd name="connsiteX1937" fmla="*/ 2863075 w 3565209"/>
                  <a:gd name="connsiteY1937" fmla="*/ 1573562 h 3993936"/>
                  <a:gd name="connsiteX1938" fmla="*/ 2868265 w 3565209"/>
                  <a:gd name="connsiteY1938" fmla="*/ 1573788 h 3993936"/>
                  <a:gd name="connsiteX1939" fmla="*/ 2886316 w 3565209"/>
                  <a:gd name="connsiteY1939" fmla="*/ 1578076 h 3993936"/>
                  <a:gd name="connsiteX1940" fmla="*/ 2887896 w 3565209"/>
                  <a:gd name="connsiteY1940" fmla="*/ 1578752 h 3993936"/>
                  <a:gd name="connsiteX1941" fmla="*/ 2901886 w 3565209"/>
                  <a:gd name="connsiteY1941" fmla="*/ 1579881 h 3993936"/>
                  <a:gd name="connsiteX1942" fmla="*/ 2902789 w 3565209"/>
                  <a:gd name="connsiteY1942" fmla="*/ 1579881 h 3993936"/>
                  <a:gd name="connsiteX1943" fmla="*/ 2914071 w 3565209"/>
                  <a:gd name="connsiteY1943" fmla="*/ 1580783 h 3993936"/>
                  <a:gd name="connsiteX1944" fmla="*/ 2919035 w 3565209"/>
                  <a:gd name="connsiteY1944" fmla="*/ 1581009 h 3993936"/>
                  <a:gd name="connsiteX1945" fmla="*/ 2930317 w 3565209"/>
                  <a:gd name="connsiteY1945" fmla="*/ 1579429 h 3993936"/>
                  <a:gd name="connsiteX1946" fmla="*/ 2947918 w 3565209"/>
                  <a:gd name="connsiteY1946" fmla="*/ 1570855 h 3993936"/>
                  <a:gd name="connsiteX1947" fmla="*/ 2960554 w 3565209"/>
                  <a:gd name="connsiteY1947" fmla="*/ 1569727 h 3993936"/>
                  <a:gd name="connsiteX1948" fmla="*/ 2966421 w 3565209"/>
                  <a:gd name="connsiteY1948" fmla="*/ 1571306 h 3993936"/>
                  <a:gd name="connsiteX1949" fmla="*/ 2978831 w 3565209"/>
                  <a:gd name="connsiteY1949" fmla="*/ 1576722 h 3993936"/>
                  <a:gd name="connsiteX1950" fmla="*/ 2981313 w 3565209"/>
                  <a:gd name="connsiteY1950" fmla="*/ 1578527 h 3993936"/>
                  <a:gd name="connsiteX1951" fmla="*/ 2995981 w 3565209"/>
                  <a:gd name="connsiteY1951" fmla="*/ 1582814 h 3993936"/>
                  <a:gd name="connsiteX1952" fmla="*/ 2999365 w 3565209"/>
                  <a:gd name="connsiteY1952" fmla="*/ 1582588 h 3993936"/>
                  <a:gd name="connsiteX1953" fmla="*/ 3009970 w 3565209"/>
                  <a:gd name="connsiteY1953" fmla="*/ 1585973 h 3993936"/>
                  <a:gd name="connsiteX1954" fmla="*/ 3011099 w 3565209"/>
                  <a:gd name="connsiteY1954" fmla="*/ 1589809 h 3993936"/>
                  <a:gd name="connsiteX1955" fmla="*/ 3011776 w 3565209"/>
                  <a:gd name="connsiteY1955" fmla="*/ 1592066 h 3993936"/>
                  <a:gd name="connsiteX1956" fmla="*/ 3013806 w 3565209"/>
                  <a:gd name="connsiteY1956" fmla="*/ 1595225 h 3993936"/>
                  <a:gd name="connsiteX1957" fmla="*/ 3019222 w 3565209"/>
                  <a:gd name="connsiteY1957" fmla="*/ 1605604 h 3993936"/>
                  <a:gd name="connsiteX1958" fmla="*/ 3011550 w 3565209"/>
                  <a:gd name="connsiteY1958" fmla="*/ 1612599 h 3993936"/>
                  <a:gd name="connsiteX1959" fmla="*/ 3007940 w 3565209"/>
                  <a:gd name="connsiteY1959" fmla="*/ 1614630 h 3993936"/>
                  <a:gd name="connsiteX1960" fmla="*/ 3005006 w 3565209"/>
                  <a:gd name="connsiteY1960" fmla="*/ 1615533 h 3993936"/>
                  <a:gd name="connsiteX1961" fmla="*/ 2999591 w 3565209"/>
                  <a:gd name="connsiteY1961" fmla="*/ 1610569 h 3993936"/>
                  <a:gd name="connsiteX1962" fmla="*/ 2998011 w 3565209"/>
                  <a:gd name="connsiteY1962" fmla="*/ 1608312 h 3993936"/>
                  <a:gd name="connsiteX1963" fmla="*/ 2996657 w 3565209"/>
                  <a:gd name="connsiteY1963" fmla="*/ 1608086 h 3993936"/>
                  <a:gd name="connsiteX1964" fmla="*/ 2992370 w 3565209"/>
                  <a:gd name="connsiteY1964" fmla="*/ 1614405 h 3993936"/>
                  <a:gd name="connsiteX1965" fmla="*/ 2992596 w 3565209"/>
                  <a:gd name="connsiteY1965" fmla="*/ 1622979 h 3993936"/>
                  <a:gd name="connsiteX1966" fmla="*/ 2993047 w 3565209"/>
                  <a:gd name="connsiteY1966" fmla="*/ 1625235 h 3993936"/>
                  <a:gd name="connsiteX1967" fmla="*/ 2993273 w 3565209"/>
                  <a:gd name="connsiteY1967" fmla="*/ 1626589 h 3993936"/>
                  <a:gd name="connsiteX1968" fmla="*/ 2991242 w 3565209"/>
                  <a:gd name="connsiteY1968" fmla="*/ 1638774 h 3993936"/>
                  <a:gd name="connsiteX1969" fmla="*/ 2993047 w 3565209"/>
                  <a:gd name="connsiteY1969" fmla="*/ 1650508 h 3993936"/>
                  <a:gd name="connsiteX1970" fmla="*/ 2993949 w 3565209"/>
                  <a:gd name="connsiteY1970" fmla="*/ 1652764 h 3993936"/>
                  <a:gd name="connsiteX1971" fmla="*/ 2990565 w 3565209"/>
                  <a:gd name="connsiteY1971" fmla="*/ 1663821 h 3993936"/>
                  <a:gd name="connsiteX1972" fmla="*/ 2985375 w 3565209"/>
                  <a:gd name="connsiteY1972" fmla="*/ 1671719 h 3993936"/>
                  <a:gd name="connsiteX1973" fmla="*/ 2980636 w 3565209"/>
                  <a:gd name="connsiteY1973" fmla="*/ 1680519 h 3993936"/>
                  <a:gd name="connsiteX1974" fmla="*/ 2971836 w 3565209"/>
                  <a:gd name="connsiteY1974" fmla="*/ 1683452 h 3993936"/>
                  <a:gd name="connsiteX1975" fmla="*/ 2967775 w 3565209"/>
                  <a:gd name="connsiteY1975" fmla="*/ 1683452 h 3993936"/>
                  <a:gd name="connsiteX1976" fmla="*/ 2956492 w 3565209"/>
                  <a:gd name="connsiteY1976" fmla="*/ 1690673 h 3993936"/>
                  <a:gd name="connsiteX1977" fmla="*/ 2956492 w 3565209"/>
                  <a:gd name="connsiteY1977" fmla="*/ 1697217 h 3993936"/>
                  <a:gd name="connsiteX1978" fmla="*/ 2956943 w 3565209"/>
                  <a:gd name="connsiteY1978" fmla="*/ 1702632 h 3993936"/>
                  <a:gd name="connsiteX1979" fmla="*/ 2951077 w 3565209"/>
                  <a:gd name="connsiteY1979" fmla="*/ 1708725 h 3993936"/>
                  <a:gd name="connsiteX1980" fmla="*/ 2947466 w 3565209"/>
                  <a:gd name="connsiteY1980" fmla="*/ 1711207 h 3993936"/>
                  <a:gd name="connsiteX1981" fmla="*/ 2939795 w 3565209"/>
                  <a:gd name="connsiteY1981" fmla="*/ 1711432 h 3993936"/>
                  <a:gd name="connsiteX1982" fmla="*/ 2933702 w 3565209"/>
                  <a:gd name="connsiteY1982" fmla="*/ 1710304 h 3993936"/>
                  <a:gd name="connsiteX1983" fmla="*/ 2928964 w 3565209"/>
                  <a:gd name="connsiteY1983" fmla="*/ 1716397 h 3993936"/>
                  <a:gd name="connsiteX1984" fmla="*/ 2926481 w 3565209"/>
                  <a:gd name="connsiteY1984" fmla="*/ 1722263 h 3993936"/>
                  <a:gd name="connsiteX1985" fmla="*/ 2910686 w 3565209"/>
                  <a:gd name="connsiteY1985" fmla="*/ 1728807 h 3993936"/>
                  <a:gd name="connsiteX1986" fmla="*/ 2900758 w 3565209"/>
                  <a:gd name="connsiteY1986" fmla="*/ 1730387 h 3993936"/>
                  <a:gd name="connsiteX1987" fmla="*/ 2899404 w 3565209"/>
                  <a:gd name="connsiteY1987" fmla="*/ 1730838 h 3993936"/>
                  <a:gd name="connsiteX1988" fmla="*/ 2898501 w 3565209"/>
                  <a:gd name="connsiteY1988" fmla="*/ 1732417 h 3993936"/>
                  <a:gd name="connsiteX1989" fmla="*/ 2894440 w 3565209"/>
                  <a:gd name="connsiteY1989" fmla="*/ 1738059 h 3993936"/>
                  <a:gd name="connsiteX1990" fmla="*/ 2890378 w 3565209"/>
                  <a:gd name="connsiteY1990" fmla="*/ 1741669 h 3993936"/>
                  <a:gd name="connsiteX1991" fmla="*/ 2887219 w 3565209"/>
                  <a:gd name="connsiteY1991" fmla="*/ 1744828 h 3993936"/>
                  <a:gd name="connsiteX1992" fmla="*/ 2884962 w 3565209"/>
                  <a:gd name="connsiteY1992" fmla="*/ 1751372 h 3993936"/>
                  <a:gd name="connsiteX1993" fmla="*/ 2884511 w 3565209"/>
                  <a:gd name="connsiteY1993" fmla="*/ 1755433 h 3993936"/>
                  <a:gd name="connsiteX1994" fmla="*/ 2879321 w 3565209"/>
                  <a:gd name="connsiteY1994" fmla="*/ 1760398 h 3993936"/>
                  <a:gd name="connsiteX1995" fmla="*/ 2876839 w 3565209"/>
                  <a:gd name="connsiteY1995" fmla="*/ 1761300 h 3993936"/>
                  <a:gd name="connsiteX1996" fmla="*/ 2875260 w 3565209"/>
                  <a:gd name="connsiteY1996" fmla="*/ 1765587 h 3993936"/>
                  <a:gd name="connsiteX1997" fmla="*/ 2873454 w 3565209"/>
                  <a:gd name="connsiteY1997" fmla="*/ 1771229 h 3993936"/>
                  <a:gd name="connsiteX1998" fmla="*/ 2873229 w 3565209"/>
                  <a:gd name="connsiteY1998" fmla="*/ 1778901 h 3993936"/>
                  <a:gd name="connsiteX1999" fmla="*/ 2872326 w 3565209"/>
                  <a:gd name="connsiteY1999" fmla="*/ 1790860 h 3993936"/>
                  <a:gd name="connsiteX2000" fmla="*/ 2872552 w 3565209"/>
                  <a:gd name="connsiteY2000" fmla="*/ 1798983 h 3993936"/>
                  <a:gd name="connsiteX2001" fmla="*/ 2873229 w 3565209"/>
                  <a:gd name="connsiteY2001" fmla="*/ 1802819 h 3993936"/>
                  <a:gd name="connsiteX2002" fmla="*/ 2875937 w 3565209"/>
                  <a:gd name="connsiteY2002" fmla="*/ 1807783 h 3993936"/>
                  <a:gd name="connsiteX2003" fmla="*/ 2878644 w 3565209"/>
                  <a:gd name="connsiteY2003" fmla="*/ 1812522 h 3993936"/>
                  <a:gd name="connsiteX2004" fmla="*/ 2880675 w 3565209"/>
                  <a:gd name="connsiteY2004" fmla="*/ 1815004 h 3993936"/>
                  <a:gd name="connsiteX2005" fmla="*/ 2884511 w 3565209"/>
                  <a:gd name="connsiteY2005" fmla="*/ 1823804 h 3993936"/>
                  <a:gd name="connsiteX2006" fmla="*/ 2885414 w 3565209"/>
                  <a:gd name="connsiteY2006" fmla="*/ 1829671 h 3993936"/>
                  <a:gd name="connsiteX2007" fmla="*/ 2886768 w 3565209"/>
                  <a:gd name="connsiteY2007" fmla="*/ 1832830 h 3993936"/>
                  <a:gd name="connsiteX2008" fmla="*/ 2891958 w 3565209"/>
                  <a:gd name="connsiteY2008" fmla="*/ 1839148 h 3993936"/>
                  <a:gd name="connsiteX2009" fmla="*/ 2894891 w 3565209"/>
                  <a:gd name="connsiteY2009" fmla="*/ 1843210 h 3993936"/>
                  <a:gd name="connsiteX2010" fmla="*/ 2895117 w 3565209"/>
                  <a:gd name="connsiteY2010" fmla="*/ 1856974 h 3993936"/>
                  <a:gd name="connsiteX2011" fmla="*/ 2898050 w 3565209"/>
                  <a:gd name="connsiteY2011" fmla="*/ 1865097 h 3993936"/>
                  <a:gd name="connsiteX2012" fmla="*/ 2899630 w 3565209"/>
                  <a:gd name="connsiteY2012" fmla="*/ 1857877 h 3993936"/>
                  <a:gd name="connsiteX2013" fmla="*/ 2899178 w 3565209"/>
                  <a:gd name="connsiteY2013" fmla="*/ 1854718 h 3993936"/>
                  <a:gd name="connsiteX2014" fmla="*/ 2899855 w 3565209"/>
                  <a:gd name="connsiteY2014" fmla="*/ 1848851 h 3993936"/>
                  <a:gd name="connsiteX2015" fmla="*/ 2902789 w 3565209"/>
                  <a:gd name="connsiteY2015" fmla="*/ 1846143 h 3993936"/>
                  <a:gd name="connsiteX2016" fmla="*/ 2910686 w 3565209"/>
                  <a:gd name="connsiteY2016" fmla="*/ 1847948 h 3993936"/>
                  <a:gd name="connsiteX2017" fmla="*/ 2916102 w 3565209"/>
                  <a:gd name="connsiteY2017" fmla="*/ 1855169 h 3993936"/>
                  <a:gd name="connsiteX2018" fmla="*/ 2918584 w 3565209"/>
                  <a:gd name="connsiteY2018" fmla="*/ 1857425 h 3993936"/>
                  <a:gd name="connsiteX2019" fmla="*/ 2922871 w 3565209"/>
                  <a:gd name="connsiteY2019" fmla="*/ 1863066 h 3993936"/>
                  <a:gd name="connsiteX2020" fmla="*/ 2922420 w 3565209"/>
                  <a:gd name="connsiteY2020" fmla="*/ 1866677 h 3993936"/>
                  <a:gd name="connsiteX2021" fmla="*/ 2923548 w 3565209"/>
                  <a:gd name="connsiteY2021" fmla="*/ 1876380 h 3993936"/>
                  <a:gd name="connsiteX2022" fmla="*/ 2933251 w 3565209"/>
                  <a:gd name="connsiteY2022" fmla="*/ 1881569 h 3993936"/>
                  <a:gd name="connsiteX2023" fmla="*/ 2934605 w 3565209"/>
                  <a:gd name="connsiteY2023" fmla="*/ 1881795 h 3993936"/>
                  <a:gd name="connsiteX2024" fmla="*/ 2939569 w 3565209"/>
                  <a:gd name="connsiteY2024" fmla="*/ 1880216 h 3993936"/>
                  <a:gd name="connsiteX2025" fmla="*/ 2942277 w 3565209"/>
                  <a:gd name="connsiteY2025" fmla="*/ 1877057 h 3993936"/>
                  <a:gd name="connsiteX2026" fmla="*/ 2949949 w 3565209"/>
                  <a:gd name="connsiteY2026" fmla="*/ 1866677 h 3993936"/>
                  <a:gd name="connsiteX2027" fmla="*/ 2955816 w 3565209"/>
                  <a:gd name="connsiteY2027" fmla="*/ 1845692 h 3993936"/>
                  <a:gd name="connsiteX2028" fmla="*/ 2954010 w 3565209"/>
                  <a:gd name="connsiteY2028" fmla="*/ 1835763 h 3993936"/>
                  <a:gd name="connsiteX2029" fmla="*/ 2951979 w 3565209"/>
                  <a:gd name="connsiteY2029" fmla="*/ 1826512 h 3993936"/>
                  <a:gd name="connsiteX2030" fmla="*/ 2959426 w 3565209"/>
                  <a:gd name="connsiteY2030" fmla="*/ 1813650 h 3993936"/>
                  <a:gd name="connsiteX2031" fmla="*/ 2963036 w 3565209"/>
                  <a:gd name="connsiteY2031" fmla="*/ 1810265 h 3993936"/>
                  <a:gd name="connsiteX2032" fmla="*/ 2966421 w 3565209"/>
                  <a:gd name="connsiteY2032" fmla="*/ 1797629 h 3993936"/>
                  <a:gd name="connsiteX2033" fmla="*/ 2965970 w 3565209"/>
                  <a:gd name="connsiteY2033" fmla="*/ 1795147 h 3993936"/>
                  <a:gd name="connsiteX2034" fmla="*/ 2965518 w 3565209"/>
                  <a:gd name="connsiteY2034" fmla="*/ 1792439 h 3993936"/>
                  <a:gd name="connsiteX2035" fmla="*/ 2967775 w 3565209"/>
                  <a:gd name="connsiteY2035" fmla="*/ 1780480 h 3993936"/>
                  <a:gd name="connsiteX2036" fmla="*/ 2977703 w 3565209"/>
                  <a:gd name="connsiteY2036" fmla="*/ 1777772 h 3993936"/>
                  <a:gd name="connsiteX2037" fmla="*/ 2979508 w 3565209"/>
                  <a:gd name="connsiteY2037" fmla="*/ 1778449 h 3993936"/>
                  <a:gd name="connsiteX2038" fmla="*/ 2988308 w 3565209"/>
                  <a:gd name="connsiteY2038" fmla="*/ 1773936 h 3993936"/>
                  <a:gd name="connsiteX2039" fmla="*/ 2992821 w 3565209"/>
                  <a:gd name="connsiteY2039" fmla="*/ 1770777 h 3993936"/>
                  <a:gd name="connsiteX2040" fmla="*/ 2995981 w 3565209"/>
                  <a:gd name="connsiteY2040" fmla="*/ 1773034 h 3993936"/>
                  <a:gd name="connsiteX2041" fmla="*/ 2997108 w 3565209"/>
                  <a:gd name="connsiteY2041" fmla="*/ 1774388 h 3993936"/>
                  <a:gd name="connsiteX2042" fmla="*/ 3001396 w 3565209"/>
                  <a:gd name="connsiteY2042" fmla="*/ 1774162 h 3993936"/>
                  <a:gd name="connsiteX2043" fmla="*/ 3007263 w 3565209"/>
                  <a:gd name="connsiteY2043" fmla="*/ 1772808 h 3993936"/>
                  <a:gd name="connsiteX2044" fmla="*/ 3012678 w 3565209"/>
                  <a:gd name="connsiteY2044" fmla="*/ 1773936 h 3993936"/>
                  <a:gd name="connsiteX2045" fmla="*/ 3012678 w 3565209"/>
                  <a:gd name="connsiteY2045" fmla="*/ 1781608 h 3993936"/>
                  <a:gd name="connsiteX2046" fmla="*/ 3011776 w 3565209"/>
                  <a:gd name="connsiteY2046" fmla="*/ 1785896 h 3993936"/>
                  <a:gd name="connsiteX2047" fmla="*/ 3028474 w 3565209"/>
                  <a:gd name="connsiteY2047" fmla="*/ 1826286 h 3993936"/>
                  <a:gd name="connsiteX2048" fmla="*/ 3028474 w 3565209"/>
                  <a:gd name="connsiteY2048" fmla="*/ 1826286 h 3993936"/>
                  <a:gd name="connsiteX2049" fmla="*/ 3026894 w 3565209"/>
                  <a:gd name="connsiteY2049" fmla="*/ 1829671 h 3993936"/>
                  <a:gd name="connsiteX2050" fmla="*/ 3025089 w 3565209"/>
                  <a:gd name="connsiteY2050" fmla="*/ 1829671 h 3993936"/>
                  <a:gd name="connsiteX2051" fmla="*/ 3022832 w 3565209"/>
                  <a:gd name="connsiteY2051" fmla="*/ 1831927 h 3993936"/>
                  <a:gd name="connsiteX2052" fmla="*/ 3022832 w 3565209"/>
                  <a:gd name="connsiteY2052" fmla="*/ 1838922 h 3993936"/>
                  <a:gd name="connsiteX2053" fmla="*/ 3042915 w 3565209"/>
                  <a:gd name="connsiteY2053" fmla="*/ 1898267 h 3993936"/>
                  <a:gd name="connsiteX2054" fmla="*/ 3047879 w 3565209"/>
                  <a:gd name="connsiteY2054" fmla="*/ 1907519 h 3993936"/>
                  <a:gd name="connsiteX2055" fmla="*/ 3057582 w 3565209"/>
                  <a:gd name="connsiteY2055" fmla="*/ 1933242 h 3993936"/>
                  <a:gd name="connsiteX2056" fmla="*/ 3059161 w 3565209"/>
                  <a:gd name="connsiteY2056" fmla="*/ 1945879 h 3993936"/>
                  <a:gd name="connsiteX2057" fmla="*/ 3060966 w 3565209"/>
                  <a:gd name="connsiteY2057" fmla="*/ 1959417 h 3993936"/>
                  <a:gd name="connsiteX2058" fmla="*/ 3064125 w 3565209"/>
                  <a:gd name="connsiteY2058" fmla="*/ 1971377 h 3993936"/>
                  <a:gd name="connsiteX2059" fmla="*/ 3066608 w 3565209"/>
                  <a:gd name="connsiteY2059" fmla="*/ 1980628 h 3993936"/>
                  <a:gd name="connsiteX2060" fmla="*/ 3070218 w 3565209"/>
                  <a:gd name="connsiteY2060" fmla="*/ 1993716 h 3993936"/>
                  <a:gd name="connsiteX2061" fmla="*/ 3073603 w 3565209"/>
                  <a:gd name="connsiteY2061" fmla="*/ 1993490 h 3993936"/>
                  <a:gd name="connsiteX2062" fmla="*/ 3079244 w 3565209"/>
                  <a:gd name="connsiteY2062" fmla="*/ 1987398 h 3993936"/>
                  <a:gd name="connsiteX2063" fmla="*/ 3082629 w 3565209"/>
                  <a:gd name="connsiteY2063" fmla="*/ 1983110 h 3993936"/>
                  <a:gd name="connsiteX2064" fmla="*/ 3088495 w 3565209"/>
                  <a:gd name="connsiteY2064" fmla="*/ 1983110 h 3993936"/>
                  <a:gd name="connsiteX2065" fmla="*/ 3092106 w 3565209"/>
                  <a:gd name="connsiteY2065" fmla="*/ 1984690 h 3993936"/>
                  <a:gd name="connsiteX2066" fmla="*/ 3096844 w 3565209"/>
                  <a:gd name="connsiteY2066" fmla="*/ 1988977 h 3993936"/>
                  <a:gd name="connsiteX2067" fmla="*/ 3110609 w 3565209"/>
                  <a:gd name="connsiteY2067" fmla="*/ 1995069 h 3993936"/>
                  <a:gd name="connsiteX2068" fmla="*/ 3114219 w 3565209"/>
                  <a:gd name="connsiteY2068" fmla="*/ 1995747 h 3993936"/>
                  <a:gd name="connsiteX2069" fmla="*/ 3117152 w 3565209"/>
                  <a:gd name="connsiteY2069" fmla="*/ 1990557 h 3993936"/>
                  <a:gd name="connsiteX2070" fmla="*/ 3117829 w 3565209"/>
                  <a:gd name="connsiteY2070" fmla="*/ 1988526 h 3993936"/>
                  <a:gd name="connsiteX2071" fmla="*/ 3118958 w 3565209"/>
                  <a:gd name="connsiteY2071" fmla="*/ 1985818 h 3993936"/>
                  <a:gd name="connsiteX2072" fmla="*/ 3123019 w 3565209"/>
                  <a:gd name="connsiteY2072" fmla="*/ 1974310 h 3993936"/>
                  <a:gd name="connsiteX2073" fmla="*/ 3130465 w 3565209"/>
                  <a:gd name="connsiteY2073" fmla="*/ 1965961 h 3993936"/>
                  <a:gd name="connsiteX2074" fmla="*/ 3132722 w 3565209"/>
                  <a:gd name="connsiteY2074" fmla="*/ 1964607 h 3993936"/>
                  <a:gd name="connsiteX2075" fmla="*/ 3131594 w 3565209"/>
                  <a:gd name="connsiteY2075" fmla="*/ 1960320 h 3993936"/>
                  <a:gd name="connsiteX2076" fmla="*/ 3130240 w 3565209"/>
                  <a:gd name="connsiteY2076" fmla="*/ 1950392 h 3993936"/>
                  <a:gd name="connsiteX2077" fmla="*/ 3131142 w 3565209"/>
                  <a:gd name="connsiteY2077" fmla="*/ 1940689 h 3993936"/>
                  <a:gd name="connsiteX2078" fmla="*/ 3130917 w 3565209"/>
                  <a:gd name="connsiteY2078" fmla="*/ 1939786 h 3993936"/>
                  <a:gd name="connsiteX2079" fmla="*/ 3122117 w 3565209"/>
                  <a:gd name="connsiteY2079" fmla="*/ 1926022 h 3993936"/>
                  <a:gd name="connsiteX2080" fmla="*/ 3118732 w 3565209"/>
                  <a:gd name="connsiteY2080" fmla="*/ 1907744 h 3993936"/>
                  <a:gd name="connsiteX2081" fmla="*/ 3119860 w 3565209"/>
                  <a:gd name="connsiteY2081" fmla="*/ 1899170 h 3993936"/>
                  <a:gd name="connsiteX2082" fmla="*/ 3117604 w 3565209"/>
                  <a:gd name="connsiteY2082" fmla="*/ 1888565 h 3993936"/>
                  <a:gd name="connsiteX2083" fmla="*/ 3117378 w 3565209"/>
                  <a:gd name="connsiteY2083" fmla="*/ 1867128 h 3993936"/>
                  <a:gd name="connsiteX2084" fmla="*/ 3127532 w 3565209"/>
                  <a:gd name="connsiteY2084" fmla="*/ 1848399 h 3993936"/>
                  <a:gd name="connsiteX2085" fmla="*/ 3134527 w 3565209"/>
                  <a:gd name="connsiteY2085" fmla="*/ 1836666 h 3993936"/>
                  <a:gd name="connsiteX2086" fmla="*/ 3134301 w 3565209"/>
                  <a:gd name="connsiteY2086" fmla="*/ 1726551 h 3993936"/>
                  <a:gd name="connsiteX2087" fmla="*/ 3134978 w 3565209"/>
                  <a:gd name="connsiteY2087" fmla="*/ 1707145 h 3993936"/>
                  <a:gd name="connsiteX2088" fmla="*/ 3148517 w 3565209"/>
                  <a:gd name="connsiteY2088" fmla="*/ 1711432 h 3993936"/>
                  <a:gd name="connsiteX2089" fmla="*/ 3149871 w 3565209"/>
                  <a:gd name="connsiteY2089" fmla="*/ 1713012 h 3993936"/>
                  <a:gd name="connsiteX2090" fmla="*/ 3157543 w 3565209"/>
                  <a:gd name="connsiteY2090" fmla="*/ 1718653 h 3993936"/>
                  <a:gd name="connsiteX2091" fmla="*/ 3165441 w 3565209"/>
                  <a:gd name="connsiteY2091" fmla="*/ 1716397 h 3993936"/>
                  <a:gd name="connsiteX2092" fmla="*/ 3171082 w 3565209"/>
                  <a:gd name="connsiteY2092" fmla="*/ 1714140 h 3993936"/>
                  <a:gd name="connsiteX2093" fmla="*/ 3186426 w 3565209"/>
                  <a:gd name="connsiteY2093" fmla="*/ 1715720 h 3993936"/>
                  <a:gd name="connsiteX2094" fmla="*/ 3192970 w 3565209"/>
                  <a:gd name="connsiteY2094" fmla="*/ 1717976 h 3993936"/>
                  <a:gd name="connsiteX2095" fmla="*/ 3219370 w 3565209"/>
                  <a:gd name="connsiteY2095" fmla="*/ 1724069 h 3993936"/>
                  <a:gd name="connsiteX2096" fmla="*/ 3219596 w 3565209"/>
                  <a:gd name="connsiteY2096" fmla="*/ 1724069 h 3993936"/>
                  <a:gd name="connsiteX2097" fmla="*/ 3244642 w 3565209"/>
                  <a:gd name="connsiteY2097" fmla="*/ 1708048 h 3993936"/>
                  <a:gd name="connsiteX2098" fmla="*/ 3244417 w 3565209"/>
                  <a:gd name="connsiteY2098" fmla="*/ 1694283 h 3993936"/>
                  <a:gd name="connsiteX2099" fmla="*/ 3243740 w 3565209"/>
                  <a:gd name="connsiteY2099" fmla="*/ 1688191 h 3993936"/>
                  <a:gd name="connsiteX2100" fmla="*/ 3253894 w 3565209"/>
                  <a:gd name="connsiteY2100" fmla="*/ 1656375 h 3993936"/>
                  <a:gd name="connsiteX2101" fmla="*/ 3259761 w 3565209"/>
                  <a:gd name="connsiteY2101" fmla="*/ 1643062 h 3993936"/>
                  <a:gd name="connsiteX2102" fmla="*/ 3262694 w 3565209"/>
                  <a:gd name="connsiteY2102" fmla="*/ 1634713 h 3993936"/>
                  <a:gd name="connsiteX2103" fmla="*/ 3270140 w 3565209"/>
                  <a:gd name="connsiteY2103" fmla="*/ 1615984 h 3993936"/>
                  <a:gd name="connsiteX2104" fmla="*/ 3273074 w 3565209"/>
                  <a:gd name="connsiteY2104" fmla="*/ 1610569 h 3993936"/>
                  <a:gd name="connsiteX2105" fmla="*/ 3282100 w 3565209"/>
                  <a:gd name="connsiteY2105" fmla="*/ 1582588 h 3993936"/>
                  <a:gd name="connsiteX2106" fmla="*/ 3287064 w 3565209"/>
                  <a:gd name="connsiteY2106" fmla="*/ 1560475 h 3993936"/>
                  <a:gd name="connsiteX2107" fmla="*/ 3289095 w 3565209"/>
                  <a:gd name="connsiteY2107" fmla="*/ 1550547 h 3993936"/>
                  <a:gd name="connsiteX2108" fmla="*/ 3287741 w 3565209"/>
                  <a:gd name="connsiteY2108" fmla="*/ 1549870 h 3993936"/>
                  <a:gd name="connsiteX2109" fmla="*/ 3272848 w 3565209"/>
                  <a:gd name="connsiteY2109" fmla="*/ 1535428 h 3993936"/>
                  <a:gd name="connsiteX2110" fmla="*/ 3272397 w 3565209"/>
                  <a:gd name="connsiteY2110" fmla="*/ 1521213 h 3993936"/>
                  <a:gd name="connsiteX2111" fmla="*/ 3273751 w 3565209"/>
                  <a:gd name="connsiteY2111" fmla="*/ 1517377 h 3993936"/>
                  <a:gd name="connsiteX2112" fmla="*/ 3274653 w 3565209"/>
                  <a:gd name="connsiteY2112" fmla="*/ 1509930 h 3993936"/>
                  <a:gd name="connsiteX2113" fmla="*/ 3277812 w 3565209"/>
                  <a:gd name="connsiteY2113" fmla="*/ 1504064 h 3993936"/>
                  <a:gd name="connsiteX2114" fmla="*/ 3294510 w 3565209"/>
                  <a:gd name="connsiteY2114" fmla="*/ 1495038 h 3993936"/>
                  <a:gd name="connsiteX2115" fmla="*/ 3308049 w 3565209"/>
                  <a:gd name="connsiteY2115" fmla="*/ 1481725 h 3993936"/>
                  <a:gd name="connsiteX2116" fmla="*/ 3313013 w 3565209"/>
                  <a:gd name="connsiteY2116" fmla="*/ 1474053 h 3993936"/>
                  <a:gd name="connsiteX2117" fmla="*/ 3317526 w 3565209"/>
                  <a:gd name="connsiteY2117" fmla="*/ 1466606 h 3993936"/>
                  <a:gd name="connsiteX2118" fmla="*/ 3319106 w 3565209"/>
                  <a:gd name="connsiteY2118" fmla="*/ 1456227 h 3993936"/>
                  <a:gd name="connsiteX2119" fmla="*/ 3317977 w 3565209"/>
                  <a:gd name="connsiteY2119" fmla="*/ 1444944 h 3993936"/>
                  <a:gd name="connsiteX2120" fmla="*/ 3324070 w 3565209"/>
                  <a:gd name="connsiteY2120" fmla="*/ 1427344 h 3993936"/>
                  <a:gd name="connsiteX2121" fmla="*/ 3327455 w 3565209"/>
                  <a:gd name="connsiteY2121" fmla="*/ 1422380 h 3993936"/>
                  <a:gd name="connsiteX2122" fmla="*/ 3330162 w 3565209"/>
                  <a:gd name="connsiteY2122" fmla="*/ 1409969 h 3993936"/>
                  <a:gd name="connsiteX2123" fmla="*/ 3327003 w 3565209"/>
                  <a:gd name="connsiteY2123" fmla="*/ 1404779 h 3993936"/>
                  <a:gd name="connsiteX2124" fmla="*/ 3323167 w 3565209"/>
                  <a:gd name="connsiteY2124" fmla="*/ 1396430 h 3993936"/>
                  <a:gd name="connsiteX2125" fmla="*/ 3323618 w 3565209"/>
                  <a:gd name="connsiteY2125" fmla="*/ 1392594 h 3993936"/>
                  <a:gd name="connsiteX2126" fmla="*/ 3323844 w 3565209"/>
                  <a:gd name="connsiteY2126" fmla="*/ 1380184 h 3993936"/>
                  <a:gd name="connsiteX2127" fmla="*/ 3321362 w 3565209"/>
                  <a:gd name="connsiteY2127" fmla="*/ 1376348 h 3993936"/>
                  <a:gd name="connsiteX2128" fmla="*/ 3315270 w 3565209"/>
                  <a:gd name="connsiteY2128" fmla="*/ 1364163 h 3993936"/>
                  <a:gd name="connsiteX2129" fmla="*/ 3323618 w 3565209"/>
                  <a:gd name="connsiteY2129" fmla="*/ 1333024 h 3993936"/>
                  <a:gd name="connsiteX2130" fmla="*/ 3333773 w 3565209"/>
                  <a:gd name="connsiteY2130" fmla="*/ 1329414 h 3993936"/>
                  <a:gd name="connsiteX2131" fmla="*/ 3339414 w 3565209"/>
                  <a:gd name="connsiteY2131" fmla="*/ 1329188 h 3993936"/>
                  <a:gd name="connsiteX2132" fmla="*/ 3358820 w 3565209"/>
                  <a:gd name="connsiteY2132" fmla="*/ 1311813 h 3993936"/>
                  <a:gd name="connsiteX2133" fmla="*/ 3366040 w 3565209"/>
                  <a:gd name="connsiteY2133" fmla="*/ 1303915 h 3993936"/>
                  <a:gd name="connsiteX2134" fmla="*/ 3377774 w 3565209"/>
                  <a:gd name="connsiteY2134" fmla="*/ 1292408 h 3993936"/>
                  <a:gd name="connsiteX2135" fmla="*/ 3425159 w 3565209"/>
                  <a:gd name="connsiteY2135" fmla="*/ 1245473 h 3993936"/>
                  <a:gd name="connsiteX2136" fmla="*/ 3452463 w 3565209"/>
                  <a:gd name="connsiteY2136" fmla="*/ 1229452 h 3993936"/>
                  <a:gd name="connsiteX2137" fmla="*/ 3472545 w 3565209"/>
                  <a:gd name="connsiteY2137" fmla="*/ 1224262 h 3993936"/>
                  <a:gd name="connsiteX2138" fmla="*/ 3499848 w 3565209"/>
                  <a:gd name="connsiteY2138" fmla="*/ 1217719 h 3993936"/>
                  <a:gd name="connsiteX2139" fmla="*/ 3518126 w 3565209"/>
                  <a:gd name="connsiteY2139" fmla="*/ 1229227 h 3993936"/>
                  <a:gd name="connsiteX2140" fmla="*/ 3519254 w 3565209"/>
                  <a:gd name="connsiteY2140" fmla="*/ 1230355 h 3993936"/>
                  <a:gd name="connsiteX2141" fmla="*/ 3523090 w 3565209"/>
                  <a:gd name="connsiteY2141" fmla="*/ 1234868 h 3993936"/>
                  <a:gd name="connsiteX2142" fmla="*/ 3535500 w 3565209"/>
                  <a:gd name="connsiteY2142" fmla="*/ 1241186 h 3993936"/>
                  <a:gd name="connsiteX2143" fmla="*/ 3542721 w 3565209"/>
                  <a:gd name="connsiteY2143" fmla="*/ 1239155 h 3993936"/>
                  <a:gd name="connsiteX2144" fmla="*/ 3542044 w 3565209"/>
                  <a:gd name="connsiteY2144" fmla="*/ 1229678 h 3993936"/>
                  <a:gd name="connsiteX2145" fmla="*/ 3541367 w 3565209"/>
                  <a:gd name="connsiteY2145" fmla="*/ 1228098 h 3993936"/>
                  <a:gd name="connsiteX2146" fmla="*/ 3527603 w 3565209"/>
                  <a:gd name="connsiteY2146" fmla="*/ 1214334 h 3993936"/>
                  <a:gd name="connsiteX2147" fmla="*/ 3518351 w 3565209"/>
                  <a:gd name="connsiteY2147" fmla="*/ 1196959 h 3993936"/>
                  <a:gd name="connsiteX2148" fmla="*/ 3518351 w 3565209"/>
                  <a:gd name="connsiteY2148" fmla="*/ 1192446 h 3993936"/>
                  <a:gd name="connsiteX2149" fmla="*/ 3518126 w 3565209"/>
                  <a:gd name="connsiteY2149" fmla="*/ 1190416 h 3993936"/>
                  <a:gd name="connsiteX2150" fmla="*/ 3519931 w 3565209"/>
                  <a:gd name="connsiteY2150" fmla="*/ 1178005 h 3993936"/>
                  <a:gd name="connsiteX2151" fmla="*/ 3521285 w 3565209"/>
                  <a:gd name="connsiteY2151" fmla="*/ 1174620 h 3993936"/>
                  <a:gd name="connsiteX2152" fmla="*/ 3529408 w 3565209"/>
                  <a:gd name="connsiteY2152" fmla="*/ 1163564 h 3993936"/>
                  <a:gd name="connsiteX2153" fmla="*/ 3536854 w 3565209"/>
                  <a:gd name="connsiteY2153" fmla="*/ 1154763 h 3993936"/>
                  <a:gd name="connsiteX2154" fmla="*/ 3542721 w 3565209"/>
                  <a:gd name="connsiteY2154" fmla="*/ 1145512 h 3993936"/>
                  <a:gd name="connsiteX2155" fmla="*/ 3548814 w 3565209"/>
                  <a:gd name="connsiteY2155" fmla="*/ 1138291 h 3993936"/>
                  <a:gd name="connsiteX2156" fmla="*/ 3553778 w 3565209"/>
                  <a:gd name="connsiteY2156" fmla="*/ 1130394 h 3993936"/>
                  <a:gd name="connsiteX2157" fmla="*/ 3558968 w 3565209"/>
                  <a:gd name="connsiteY2157" fmla="*/ 1122947 h 3993936"/>
                  <a:gd name="connsiteX2158" fmla="*/ 3561675 w 3565209"/>
                  <a:gd name="connsiteY2158" fmla="*/ 1111439 h 3993936"/>
                  <a:gd name="connsiteX2159" fmla="*/ 3560096 w 3565209"/>
                  <a:gd name="connsiteY2159" fmla="*/ 1108280 h 3993936"/>
                  <a:gd name="connsiteX2160" fmla="*/ 3559644 w 3565209"/>
                  <a:gd name="connsiteY2160" fmla="*/ 1099706 h 3993936"/>
                  <a:gd name="connsiteX2161" fmla="*/ 3562127 w 3565209"/>
                  <a:gd name="connsiteY2161" fmla="*/ 1094290 h 3993936"/>
                  <a:gd name="connsiteX2162" fmla="*/ 3562578 w 3565209"/>
                  <a:gd name="connsiteY2162" fmla="*/ 1087747 h 3993936"/>
                  <a:gd name="connsiteX2163" fmla="*/ 3550393 w 3565209"/>
                  <a:gd name="connsiteY2163" fmla="*/ 1082782 h 3993936"/>
                  <a:gd name="connsiteX2164" fmla="*/ 3534823 w 3565209"/>
                  <a:gd name="connsiteY2164" fmla="*/ 1079849 h 3993936"/>
                  <a:gd name="connsiteX2165" fmla="*/ 3529408 w 3565209"/>
                  <a:gd name="connsiteY2165" fmla="*/ 1077592 h 3993936"/>
                  <a:gd name="connsiteX2166" fmla="*/ 3517223 w 3565209"/>
                  <a:gd name="connsiteY2166" fmla="*/ 1078269 h 3993936"/>
                  <a:gd name="connsiteX2167" fmla="*/ 3501879 w 3565209"/>
                  <a:gd name="connsiteY2167" fmla="*/ 1081654 h 3993936"/>
                  <a:gd name="connsiteX2168" fmla="*/ 3497592 w 3565209"/>
                  <a:gd name="connsiteY2168" fmla="*/ 1081654 h 3993936"/>
                  <a:gd name="connsiteX2169" fmla="*/ 3482248 w 3565209"/>
                  <a:gd name="connsiteY2169" fmla="*/ 1075787 h 3993936"/>
                  <a:gd name="connsiteX2170" fmla="*/ 3469386 w 3565209"/>
                  <a:gd name="connsiteY2170" fmla="*/ 1069695 h 3993936"/>
                  <a:gd name="connsiteX2171" fmla="*/ 3460811 w 3565209"/>
                  <a:gd name="connsiteY2171" fmla="*/ 1072854 h 3993936"/>
                  <a:gd name="connsiteX2172" fmla="*/ 3455396 w 3565209"/>
                  <a:gd name="connsiteY2172" fmla="*/ 1077818 h 3993936"/>
                  <a:gd name="connsiteX2173" fmla="*/ 3440729 w 3565209"/>
                  <a:gd name="connsiteY2173" fmla="*/ 1083685 h 3993936"/>
                  <a:gd name="connsiteX2174" fmla="*/ 3434862 w 3565209"/>
                  <a:gd name="connsiteY2174" fmla="*/ 1081428 h 3993936"/>
                  <a:gd name="connsiteX2175" fmla="*/ 3432831 w 3565209"/>
                  <a:gd name="connsiteY2175" fmla="*/ 1072628 h 3993936"/>
                  <a:gd name="connsiteX2176" fmla="*/ 3432831 w 3565209"/>
                  <a:gd name="connsiteY2176" fmla="*/ 1069018 h 3993936"/>
                  <a:gd name="connsiteX2177" fmla="*/ 3438473 w 3565209"/>
                  <a:gd name="connsiteY2177" fmla="*/ 1055028 h 3993936"/>
                  <a:gd name="connsiteX2178" fmla="*/ 3445468 w 3565209"/>
                  <a:gd name="connsiteY2178" fmla="*/ 1046453 h 3993936"/>
                  <a:gd name="connsiteX2179" fmla="*/ 3450432 w 3565209"/>
                  <a:gd name="connsiteY2179" fmla="*/ 1039684 h 3993936"/>
                  <a:gd name="connsiteX2180" fmla="*/ 3456073 w 3565209"/>
                  <a:gd name="connsiteY2180" fmla="*/ 1025017 h 3993936"/>
                  <a:gd name="connsiteX2181" fmla="*/ 3444114 w 3565209"/>
                  <a:gd name="connsiteY2181" fmla="*/ 1007191 h 3993936"/>
                  <a:gd name="connsiteX2182" fmla="*/ 3438021 w 3565209"/>
                  <a:gd name="connsiteY2182" fmla="*/ 997714 h 3993936"/>
                  <a:gd name="connsiteX2183" fmla="*/ 3432155 w 3565209"/>
                  <a:gd name="connsiteY2183" fmla="*/ 990493 h 3993936"/>
                  <a:gd name="connsiteX2184" fmla="*/ 3425836 w 3565209"/>
                  <a:gd name="connsiteY2184" fmla="*/ 992975 h 3993936"/>
                  <a:gd name="connsiteX2185" fmla="*/ 3422677 w 3565209"/>
                  <a:gd name="connsiteY2185" fmla="*/ 997262 h 3993936"/>
                  <a:gd name="connsiteX2186" fmla="*/ 3421098 w 3565209"/>
                  <a:gd name="connsiteY2186" fmla="*/ 999068 h 3993936"/>
                  <a:gd name="connsiteX2187" fmla="*/ 3409139 w 3565209"/>
                  <a:gd name="connsiteY2187" fmla="*/ 1007868 h 3993936"/>
                  <a:gd name="connsiteX2188" fmla="*/ 3405528 w 3565209"/>
                  <a:gd name="connsiteY2188" fmla="*/ 1004934 h 3993936"/>
                  <a:gd name="connsiteX2189" fmla="*/ 3403272 w 3565209"/>
                  <a:gd name="connsiteY2189" fmla="*/ 997262 h 3993936"/>
                  <a:gd name="connsiteX2190" fmla="*/ 3402144 w 3565209"/>
                  <a:gd name="connsiteY2190" fmla="*/ 990944 h 3993936"/>
                  <a:gd name="connsiteX2191" fmla="*/ 3405303 w 3565209"/>
                  <a:gd name="connsiteY2191" fmla="*/ 981467 h 3993936"/>
                  <a:gd name="connsiteX2192" fmla="*/ 3409590 w 3565209"/>
                  <a:gd name="connsiteY2192" fmla="*/ 977631 h 3993936"/>
                  <a:gd name="connsiteX2193" fmla="*/ 3416359 w 3565209"/>
                  <a:gd name="connsiteY2193" fmla="*/ 964995 h 3993936"/>
                  <a:gd name="connsiteX2194" fmla="*/ 3411846 w 3565209"/>
                  <a:gd name="connsiteY2194" fmla="*/ 963415 h 3993936"/>
                  <a:gd name="connsiteX2195" fmla="*/ 3404174 w 3565209"/>
                  <a:gd name="connsiteY2195" fmla="*/ 961385 h 3993936"/>
                  <a:gd name="connsiteX2196" fmla="*/ 3403497 w 3565209"/>
                  <a:gd name="connsiteY2196" fmla="*/ 957097 h 3993936"/>
                  <a:gd name="connsiteX2197" fmla="*/ 3402369 w 3565209"/>
                  <a:gd name="connsiteY2197" fmla="*/ 950328 h 3993936"/>
                  <a:gd name="connsiteX2198" fmla="*/ 3391989 w 3565209"/>
                  <a:gd name="connsiteY2198" fmla="*/ 943333 h 3993936"/>
                  <a:gd name="connsiteX2199" fmla="*/ 3390861 w 3565209"/>
                  <a:gd name="connsiteY2199" fmla="*/ 943333 h 3993936"/>
                  <a:gd name="connsiteX2200" fmla="*/ 3372810 w 3565209"/>
                  <a:gd name="connsiteY2200" fmla="*/ 954164 h 3993936"/>
                  <a:gd name="connsiteX2201" fmla="*/ 3361753 w 3565209"/>
                  <a:gd name="connsiteY2201" fmla="*/ 961610 h 3993936"/>
                  <a:gd name="connsiteX2202" fmla="*/ 3331291 w 3565209"/>
                  <a:gd name="connsiteY2202" fmla="*/ 980790 h 3993936"/>
                  <a:gd name="connsiteX2203" fmla="*/ 3328357 w 3565209"/>
                  <a:gd name="connsiteY2203" fmla="*/ 987108 h 3993936"/>
                  <a:gd name="connsiteX2204" fmla="*/ 3318880 w 3565209"/>
                  <a:gd name="connsiteY2204" fmla="*/ 997037 h 3993936"/>
                  <a:gd name="connsiteX2205" fmla="*/ 3315270 w 3565209"/>
                  <a:gd name="connsiteY2205" fmla="*/ 1003581 h 3993936"/>
                  <a:gd name="connsiteX2206" fmla="*/ 3310531 w 3565209"/>
                  <a:gd name="connsiteY2206" fmla="*/ 1010576 h 3993936"/>
                  <a:gd name="connsiteX2207" fmla="*/ 3302408 w 3565209"/>
                  <a:gd name="connsiteY2207" fmla="*/ 1008770 h 3993936"/>
                  <a:gd name="connsiteX2208" fmla="*/ 3299249 w 3565209"/>
                  <a:gd name="connsiteY2208" fmla="*/ 1007191 h 3993936"/>
                  <a:gd name="connsiteX2209" fmla="*/ 3293382 w 3565209"/>
                  <a:gd name="connsiteY2209" fmla="*/ 1004257 h 3993936"/>
                  <a:gd name="connsiteX2210" fmla="*/ 3287741 w 3565209"/>
                  <a:gd name="connsiteY2210" fmla="*/ 1001098 h 3993936"/>
                  <a:gd name="connsiteX2211" fmla="*/ 3267207 w 3565209"/>
                  <a:gd name="connsiteY2211" fmla="*/ 996585 h 3993936"/>
                  <a:gd name="connsiteX2212" fmla="*/ 3239453 w 3565209"/>
                  <a:gd name="connsiteY2212" fmla="*/ 991170 h 3993936"/>
                  <a:gd name="connsiteX2213" fmla="*/ 3212150 w 3565209"/>
                  <a:gd name="connsiteY2213" fmla="*/ 987108 h 3993936"/>
                  <a:gd name="connsiteX2214" fmla="*/ 3187780 w 3565209"/>
                  <a:gd name="connsiteY2214" fmla="*/ 1005386 h 3993936"/>
                  <a:gd name="connsiteX2215" fmla="*/ 3171082 w 3565209"/>
                  <a:gd name="connsiteY2215" fmla="*/ 1029078 h 3993936"/>
                  <a:gd name="connsiteX2216" fmla="*/ 3119860 w 3565209"/>
                  <a:gd name="connsiteY2216" fmla="*/ 1077141 h 3993936"/>
                  <a:gd name="connsiteX2217" fmla="*/ 3105645 w 3565209"/>
                  <a:gd name="connsiteY2217" fmla="*/ 1079398 h 3993936"/>
                  <a:gd name="connsiteX2218" fmla="*/ 3083305 w 3565209"/>
                  <a:gd name="connsiteY2218" fmla="*/ 1085039 h 3993936"/>
                  <a:gd name="connsiteX2219" fmla="*/ 3065705 w 3565209"/>
                  <a:gd name="connsiteY2219" fmla="*/ 1130845 h 3993936"/>
                  <a:gd name="connsiteX2220" fmla="*/ 3065705 w 3565209"/>
                  <a:gd name="connsiteY2220" fmla="*/ 1132650 h 3993936"/>
                  <a:gd name="connsiteX2221" fmla="*/ 3063900 w 3565209"/>
                  <a:gd name="connsiteY2221" fmla="*/ 1132650 h 3993936"/>
                  <a:gd name="connsiteX2222" fmla="*/ 3005683 w 3565209"/>
                  <a:gd name="connsiteY2222" fmla="*/ 1188385 h 3993936"/>
                  <a:gd name="connsiteX2223" fmla="*/ 3005683 w 3565209"/>
                  <a:gd name="connsiteY2223" fmla="*/ 1189964 h 3993936"/>
                  <a:gd name="connsiteX2224" fmla="*/ 3004104 w 3565209"/>
                  <a:gd name="connsiteY2224" fmla="*/ 1190190 h 3993936"/>
                  <a:gd name="connsiteX2225" fmla="*/ 2993724 w 3565209"/>
                  <a:gd name="connsiteY2225" fmla="*/ 1201021 h 3993936"/>
                  <a:gd name="connsiteX2226" fmla="*/ 2993498 w 3565209"/>
                  <a:gd name="connsiteY2226" fmla="*/ 1202375 h 3993936"/>
                  <a:gd name="connsiteX2227" fmla="*/ 2992145 w 3565209"/>
                  <a:gd name="connsiteY2227" fmla="*/ 1202600 h 3993936"/>
                  <a:gd name="connsiteX2228" fmla="*/ 2981990 w 3565209"/>
                  <a:gd name="connsiteY2228" fmla="*/ 1205985 h 3993936"/>
                  <a:gd name="connsiteX2229" fmla="*/ 2960780 w 3565209"/>
                  <a:gd name="connsiteY2229" fmla="*/ 1211626 h 3993936"/>
                  <a:gd name="connsiteX2230" fmla="*/ 2955590 w 3565209"/>
                  <a:gd name="connsiteY2230" fmla="*/ 1207339 h 3993936"/>
                  <a:gd name="connsiteX2231" fmla="*/ 2949723 w 3565209"/>
                  <a:gd name="connsiteY2231" fmla="*/ 1203954 h 3993936"/>
                  <a:gd name="connsiteX2232" fmla="*/ 2947466 w 3565209"/>
                  <a:gd name="connsiteY2232" fmla="*/ 1204406 h 3993936"/>
                  <a:gd name="connsiteX2233" fmla="*/ 2943179 w 3565209"/>
                  <a:gd name="connsiteY2233" fmla="*/ 1207565 h 3993936"/>
                  <a:gd name="connsiteX2234" fmla="*/ 2937312 w 3565209"/>
                  <a:gd name="connsiteY2234" fmla="*/ 1213883 h 3993936"/>
                  <a:gd name="connsiteX2235" fmla="*/ 2930543 w 3565209"/>
                  <a:gd name="connsiteY2235" fmla="*/ 1219073 h 3993936"/>
                  <a:gd name="connsiteX2236" fmla="*/ 2924451 w 3565209"/>
                  <a:gd name="connsiteY2236" fmla="*/ 1222909 h 3993936"/>
                  <a:gd name="connsiteX2237" fmla="*/ 2911137 w 3565209"/>
                  <a:gd name="connsiteY2237" fmla="*/ 1229452 h 3993936"/>
                  <a:gd name="connsiteX2238" fmla="*/ 2903014 w 3565209"/>
                  <a:gd name="connsiteY2238" fmla="*/ 1225842 h 3993936"/>
                  <a:gd name="connsiteX2239" fmla="*/ 2898953 w 3565209"/>
                  <a:gd name="connsiteY2239" fmla="*/ 1220652 h 3993936"/>
                  <a:gd name="connsiteX2240" fmla="*/ 2881803 w 3565209"/>
                  <a:gd name="connsiteY2240" fmla="*/ 1213657 h 3993936"/>
                  <a:gd name="connsiteX2241" fmla="*/ 2880901 w 3565209"/>
                  <a:gd name="connsiteY2241" fmla="*/ 1213883 h 3993936"/>
                  <a:gd name="connsiteX2242" fmla="*/ 2882029 w 3565209"/>
                  <a:gd name="connsiteY2242" fmla="*/ 1217042 h 3993936"/>
                  <a:gd name="connsiteX2243" fmla="*/ 2882706 w 3565209"/>
                  <a:gd name="connsiteY2243" fmla="*/ 1224262 h 3993936"/>
                  <a:gd name="connsiteX2244" fmla="*/ 2881578 w 3565209"/>
                  <a:gd name="connsiteY2244" fmla="*/ 1227421 h 3993936"/>
                  <a:gd name="connsiteX2245" fmla="*/ 2877516 w 3565209"/>
                  <a:gd name="connsiteY2245" fmla="*/ 1234417 h 3993936"/>
                  <a:gd name="connsiteX2246" fmla="*/ 2875937 w 3565209"/>
                  <a:gd name="connsiteY2246" fmla="*/ 1240735 h 3993936"/>
                  <a:gd name="connsiteX2247" fmla="*/ 2876388 w 3565209"/>
                  <a:gd name="connsiteY2247" fmla="*/ 1244345 h 3993936"/>
                  <a:gd name="connsiteX2248" fmla="*/ 2883834 w 3565209"/>
                  <a:gd name="connsiteY2248" fmla="*/ 1253822 h 3993936"/>
                  <a:gd name="connsiteX2249" fmla="*/ 2895117 w 3565209"/>
                  <a:gd name="connsiteY2249" fmla="*/ 1258561 h 3993936"/>
                  <a:gd name="connsiteX2250" fmla="*/ 2900306 w 3565209"/>
                  <a:gd name="connsiteY2250" fmla="*/ 1256530 h 3993936"/>
                  <a:gd name="connsiteX2251" fmla="*/ 2919035 w 3565209"/>
                  <a:gd name="connsiteY2251" fmla="*/ 1254048 h 3993936"/>
                  <a:gd name="connsiteX2252" fmla="*/ 2920163 w 3565209"/>
                  <a:gd name="connsiteY2252" fmla="*/ 1253822 h 3993936"/>
                  <a:gd name="connsiteX2253" fmla="*/ 2933928 w 3565209"/>
                  <a:gd name="connsiteY2253" fmla="*/ 1262397 h 3993936"/>
                  <a:gd name="connsiteX2254" fmla="*/ 2935282 w 3565209"/>
                  <a:gd name="connsiteY2254" fmla="*/ 1264653 h 3993936"/>
                  <a:gd name="connsiteX2255" fmla="*/ 2943179 w 3565209"/>
                  <a:gd name="connsiteY2255" fmla="*/ 1281577 h 3993936"/>
                  <a:gd name="connsiteX2256" fmla="*/ 2938666 w 3565209"/>
                  <a:gd name="connsiteY2256" fmla="*/ 1298500 h 3993936"/>
                  <a:gd name="connsiteX2257" fmla="*/ 2942051 w 3565209"/>
                  <a:gd name="connsiteY2257" fmla="*/ 1310008 h 3993936"/>
                  <a:gd name="connsiteX2258" fmla="*/ 2949497 w 3565209"/>
                  <a:gd name="connsiteY2258" fmla="*/ 1327157 h 3993936"/>
                  <a:gd name="connsiteX2259" fmla="*/ 2947692 w 3565209"/>
                  <a:gd name="connsiteY2259" fmla="*/ 1342727 h 3993936"/>
                  <a:gd name="connsiteX2260" fmla="*/ 2947466 w 3565209"/>
                  <a:gd name="connsiteY2260" fmla="*/ 1343629 h 3993936"/>
                  <a:gd name="connsiteX2261" fmla="*/ 2946564 w 3565209"/>
                  <a:gd name="connsiteY2261" fmla="*/ 1343855 h 3993936"/>
                  <a:gd name="connsiteX2262" fmla="*/ 2931671 w 3565209"/>
                  <a:gd name="connsiteY2262" fmla="*/ 1342501 h 3993936"/>
                  <a:gd name="connsiteX2263" fmla="*/ 2922194 w 3565209"/>
                  <a:gd name="connsiteY2263" fmla="*/ 1336634 h 3993936"/>
                  <a:gd name="connsiteX2264" fmla="*/ 2909332 w 3565209"/>
                  <a:gd name="connsiteY2264" fmla="*/ 1342952 h 3993936"/>
                  <a:gd name="connsiteX2265" fmla="*/ 2898050 w 3565209"/>
                  <a:gd name="connsiteY2265" fmla="*/ 1352655 h 3993936"/>
                  <a:gd name="connsiteX2266" fmla="*/ 2886768 w 3565209"/>
                  <a:gd name="connsiteY2266" fmla="*/ 1353783 h 3993936"/>
                  <a:gd name="connsiteX2267" fmla="*/ 2873680 w 3565209"/>
                  <a:gd name="connsiteY2267" fmla="*/ 1353783 h 3993936"/>
                  <a:gd name="connsiteX2268" fmla="*/ 2860818 w 3565209"/>
                  <a:gd name="connsiteY2268" fmla="*/ 1359424 h 3993936"/>
                  <a:gd name="connsiteX2269" fmla="*/ 2849310 w 3565209"/>
                  <a:gd name="connsiteY2269" fmla="*/ 1358973 h 3993936"/>
                  <a:gd name="connsiteX2270" fmla="*/ 2838479 w 3565209"/>
                  <a:gd name="connsiteY2270" fmla="*/ 1353106 h 3993936"/>
                  <a:gd name="connsiteX2271" fmla="*/ 2827197 w 3565209"/>
                  <a:gd name="connsiteY2271" fmla="*/ 1356040 h 3993936"/>
                  <a:gd name="connsiteX2272" fmla="*/ 2810499 w 3565209"/>
                  <a:gd name="connsiteY2272" fmla="*/ 1363260 h 3993936"/>
                  <a:gd name="connsiteX2273" fmla="*/ 2796058 w 3565209"/>
                  <a:gd name="connsiteY2273" fmla="*/ 1364614 h 3993936"/>
                  <a:gd name="connsiteX2274" fmla="*/ 2785904 w 3565209"/>
                  <a:gd name="connsiteY2274" fmla="*/ 1367548 h 3993936"/>
                  <a:gd name="connsiteX2275" fmla="*/ 2753185 w 3565209"/>
                  <a:gd name="connsiteY2275" fmla="*/ 1365291 h 3993936"/>
                  <a:gd name="connsiteX2276" fmla="*/ 2747544 w 3565209"/>
                  <a:gd name="connsiteY2276" fmla="*/ 1360101 h 3993936"/>
                  <a:gd name="connsiteX2277" fmla="*/ 2740323 w 3565209"/>
                  <a:gd name="connsiteY2277" fmla="*/ 1354912 h 3993936"/>
                  <a:gd name="connsiteX2278" fmla="*/ 2730395 w 3565209"/>
                  <a:gd name="connsiteY2278" fmla="*/ 1357394 h 3993936"/>
                  <a:gd name="connsiteX2279" fmla="*/ 2727462 w 3565209"/>
                  <a:gd name="connsiteY2279" fmla="*/ 1358973 h 3993936"/>
                  <a:gd name="connsiteX2280" fmla="*/ 2722497 w 3565209"/>
                  <a:gd name="connsiteY2280" fmla="*/ 1364840 h 3993936"/>
                  <a:gd name="connsiteX2281" fmla="*/ 2717759 w 3565209"/>
                  <a:gd name="connsiteY2281" fmla="*/ 1372512 h 3993936"/>
                  <a:gd name="connsiteX2282" fmla="*/ 2698804 w 3565209"/>
                  <a:gd name="connsiteY2282" fmla="*/ 1380184 h 3993936"/>
                  <a:gd name="connsiteX2283" fmla="*/ 2683912 w 3565209"/>
                  <a:gd name="connsiteY2283" fmla="*/ 1382215 h 3993936"/>
                  <a:gd name="connsiteX2284" fmla="*/ 2672630 w 3565209"/>
                  <a:gd name="connsiteY2284" fmla="*/ 1383343 h 3993936"/>
                  <a:gd name="connsiteX2285" fmla="*/ 2667665 w 3565209"/>
                  <a:gd name="connsiteY2285" fmla="*/ 1382666 h 3993936"/>
                  <a:gd name="connsiteX2286" fmla="*/ 2659091 w 3565209"/>
                  <a:gd name="connsiteY2286" fmla="*/ 1380861 h 3993936"/>
                  <a:gd name="connsiteX2287" fmla="*/ 2652773 w 3565209"/>
                  <a:gd name="connsiteY2287" fmla="*/ 1379958 h 3993936"/>
                  <a:gd name="connsiteX2288" fmla="*/ 2646906 w 3565209"/>
                  <a:gd name="connsiteY2288" fmla="*/ 1380184 h 3993936"/>
                  <a:gd name="connsiteX2289" fmla="*/ 2634947 w 3565209"/>
                  <a:gd name="connsiteY2289" fmla="*/ 1374543 h 3993936"/>
                  <a:gd name="connsiteX2290" fmla="*/ 2630208 w 3565209"/>
                  <a:gd name="connsiteY2290" fmla="*/ 1370255 h 3993936"/>
                  <a:gd name="connsiteX2291" fmla="*/ 2617120 w 3565209"/>
                  <a:gd name="connsiteY2291" fmla="*/ 1365968 h 3993936"/>
                  <a:gd name="connsiteX2292" fmla="*/ 2614864 w 3565209"/>
                  <a:gd name="connsiteY2292" fmla="*/ 1365968 h 3993936"/>
                  <a:gd name="connsiteX2293" fmla="*/ 2607869 w 3565209"/>
                  <a:gd name="connsiteY2293" fmla="*/ 1370030 h 3993936"/>
                  <a:gd name="connsiteX2294" fmla="*/ 2601325 w 3565209"/>
                  <a:gd name="connsiteY2294" fmla="*/ 1375220 h 3993936"/>
                  <a:gd name="connsiteX2295" fmla="*/ 2593202 w 3565209"/>
                  <a:gd name="connsiteY2295" fmla="*/ 1375445 h 3993936"/>
                  <a:gd name="connsiteX2296" fmla="*/ 2583274 w 3565209"/>
                  <a:gd name="connsiteY2296" fmla="*/ 1369353 h 3993936"/>
                  <a:gd name="connsiteX2297" fmla="*/ 2575602 w 3565209"/>
                  <a:gd name="connsiteY2297" fmla="*/ 1363937 h 3993936"/>
                  <a:gd name="connsiteX2298" fmla="*/ 2572894 w 3565209"/>
                  <a:gd name="connsiteY2298" fmla="*/ 1362132 h 3993936"/>
                  <a:gd name="connsiteX2299" fmla="*/ 2559806 w 3565209"/>
                  <a:gd name="connsiteY2299" fmla="*/ 1358747 h 3993936"/>
                  <a:gd name="connsiteX2300" fmla="*/ 2552811 w 3565209"/>
                  <a:gd name="connsiteY2300" fmla="*/ 1356491 h 3993936"/>
                  <a:gd name="connsiteX2301" fmla="*/ 2553488 w 3565209"/>
                  <a:gd name="connsiteY2301" fmla="*/ 1349947 h 3993936"/>
                  <a:gd name="connsiteX2302" fmla="*/ 2554617 w 3565209"/>
                  <a:gd name="connsiteY2302" fmla="*/ 1346563 h 3993936"/>
                  <a:gd name="connsiteX2303" fmla="*/ 2545139 w 3565209"/>
                  <a:gd name="connsiteY2303" fmla="*/ 1334378 h 3993936"/>
                  <a:gd name="connsiteX2304" fmla="*/ 2544011 w 3565209"/>
                  <a:gd name="connsiteY2304" fmla="*/ 1334152 h 3993936"/>
                  <a:gd name="connsiteX2305" fmla="*/ 2535888 w 3565209"/>
                  <a:gd name="connsiteY2305" fmla="*/ 1330316 h 3993936"/>
                  <a:gd name="connsiteX2306" fmla="*/ 2535662 w 3565209"/>
                  <a:gd name="connsiteY2306" fmla="*/ 1327383 h 3993936"/>
                  <a:gd name="connsiteX2307" fmla="*/ 2544237 w 3565209"/>
                  <a:gd name="connsiteY2307" fmla="*/ 1315649 h 3993936"/>
                  <a:gd name="connsiteX2308" fmla="*/ 2548073 w 3565209"/>
                  <a:gd name="connsiteY2308" fmla="*/ 1310911 h 3993936"/>
                  <a:gd name="connsiteX2309" fmla="*/ 2550781 w 3565209"/>
                  <a:gd name="connsiteY2309" fmla="*/ 1305495 h 3993936"/>
                  <a:gd name="connsiteX2310" fmla="*/ 2547847 w 3565209"/>
                  <a:gd name="connsiteY2310" fmla="*/ 1302787 h 3993936"/>
                  <a:gd name="connsiteX2311" fmla="*/ 2541078 w 3565209"/>
                  <a:gd name="connsiteY2311" fmla="*/ 1296469 h 3993936"/>
                  <a:gd name="connsiteX2312" fmla="*/ 2539498 w 3565209"/>
                  <a:gd name="connsiteY2312" fmla="*/ 1293761 h 3993936"/>
                  <a:gd name="connsiteX2313" fmla="*/ 2538370 w 3565209"/>
                  <a:gd name="connsiteY2313" fmla="*/ 1277515 h 3993936"/>
                  <a:gd name="connsiteX2314" fmla="*/ 2542206 w 3565209"/>
                  <a:gd name="connsiteY2314" fmla="*/ 1271422 h 3993936"/>
                  <a:gd name="connsiteX2315" fmla="*/ 2545365 w 3565209"/>
                  <a:gd name="connsiteY2315" fmla="*/ 1265330 h 3993936"/>
                  <a:gd name="connsiteX2316" fmla="*/ 2545591 w 3565209"/>
                  <a:gd name="connsiteY2316" fmla="*/ 1263074 h 3993936"/>
                  <a:gd name="connsiteX2317" fmla="*/ 2549878 w 3565209"/>
                  <a:gd name="connsiteY2317" fmla="*/ 1240960 h 3993936"/>
                  <a:gd name="connsiteX2318" fmla="*/ 2545365 w 3565209"/>
                  <a:gd name="connsiteY2318" fmla="*/ 1222232 h 3993936"/>
                  <a:gd name="connsiteX2319" fmla="*/ 2544914 w 3565209"/>
                  <a:gd name="connsiteY2319" fmla="*/ 1221780 h 3993936"/>
                  <a:gd name="connsiteX2320" fmla="*/ 2522575 w 3565209"/>
                  <a:gd name="connsiteY2320" fmla="*/ 1208693 h 3993936"/>
                  <a:gd name="connsiteX2321" fmla="*/ 2514677 w 3565209"/>
                  <a:gd name="connsiteY2321" fmla="*/ 1206436 h 3993936"/>
                  <a:gd name="connsiteX2322" fmla="*/ 2509262 w 3565209"/>
                  <a:gd name="connsiteY2322" fmla="*/ 1209370 h 3993936"/>
                  <a:gd name="connsiteX2323" fmla="*/ 2502718 w 3565209"/>
                  <a:gd name="connsiteY2323" fmla="*/ 1213883 h 3993936"/>
                  <a:gd name="connsiteX2324" fmla="*/ 2499559 w 3565209"/>
                  <a:gd name="connsiteY2324" fmla="*/ 1218170 h 3993936"/>
                  <a:gd name="connsiteX2325" fmla="*/ 2487148 w 3565209"/>
                  <a:gd name="connsiteY2325" fmla="*/ 1229227 h 3993936"/>
                  <a:gd name="connsiteX2326" fmla="*/ 2476092 w 3565209"/>
                  <a:gd name="connsiteY2326" fmla="*/ 1230580 h 3993936"/>
                  <a:gd name="connsiteX2327" fmla="*/ 2469999 w 3565209"/>
                  <a:gd name="connsiteY2327" fmla="*/ 1229678 h 3993936"/>
                  <a:gd name="connsiteX2328" fmla="*/ 2457589 w 3565209"/>
                  <a:gd name="connsiteY2328" fmla="*/ 1232386 h 3993936"/>
                  <a:gd name="connsiteX2329" fmla="*/ 2459845 w 3565209"/>
                  <a:gd name="connsiteY2329" fmla="*/ 1237124 h 3993936"/>
                  <a:gd name="connsiteX2330" fmla="*/ 2463230 w 3565209"/>
                  <a:gd name="connsiteY2330" fmla="*/ 1242540 h 3993936"/>
                  <a:gd name="connsiteX2331" fmla="*/ 2465938 w 3565209"/>
                  <a:gd name="connsiteY2331" fmla="*/ 1246601 h 3993936"/>
                  <a:gd name="connsiteX2332" fmla="*/ 2467743 w 3565209"/>
                  <a:gd name="connsiteY2332" fmla="*/ 1256981 h 3993936"/>
                  <a:gd name="connsiteX2333" fmla="*/ 2465486 w 3565209"/>
                  <a:gd name="connsiteY2333" fmla="*/ 1261494 h 3993936"/>
                  <a:gd name="connsiteX2334" fmla="*/ 2460296 w 3565209"/>
                  <a:gd name="connsiteY2334" fmla="*/ 1269166 h 3993936"/>
                  <a:gd name="connsiteX2335" fmla="*/ 2458717 w 3565209"/>
                  <a:gd name="connsiteY2335" fmla="*/ 1276612 h 3993936"/>
                  <a:gd name="connsiteX2336" fmla="*/ 2457589 w 3565209"/>
                  <a:gd name="connsiteY2336" fmla="*/ 1286315 h 3993936"/>
                  <a:gd name="connsiteX2337" fmla="*/ 2456009 w 3565209"/>
                  <a:gd name="connsiteY2337" fmla="*/ 1289023 h 3993936"/>
                  <a:gd name="connsiteX2338" fmla="*/ 2451947 w 3565209"/>
                  <a:gd name="connsiteY2338" fmla="*/ 1307526 h 3993936"/>
                  <a:gd name="connsiteX2339" fmla="*/ 2454430 w 3565209"/>
                  <a:gd name="connsiteY2339" fmla="*/ 1323998 h 3993936"/>
                  <a:gd name="connsiteX2340" fmla="*/ 2455107 w 3565209"/>
                  <a:gd name="connsiteY2340" fmla="*/ 1328737 h 3993936"/>
                  <a:gd name="connsiteX2341" fmla="*/ 2451947 w 3565209"/>
                  <a:gd name="connsiteY2341" fmla="*/ 1332798 h 3993936"/>
                  <a:gd name="connsiteX2342" fmla="*/ 2447209 w 3565209"/>
                  <a:gd name="connsiteY2342" fmla="*/ 1340245 h 3993936"/>
                  <a:gd name="connsiteX2343" fmla="*/ 2460522 w 3565209"/>
                  <a:gd name="connsiteY2343" fmla="*/ 1358973 h 3993936"/>
                  <a:gd name="connsiteX2344" fmla="*/ 2474738 w 3565209"/>
                  <a:gd name="connsiteY2344" fmla="*/ 1379733 h 3993936"/>
                  <a:gd name="connsiteX2345" fmla="*/ 2475189 w 3565209"/>
                  <a:gd name="connsiteY2345" fmla="*/ 1381538 h 3993936"/>
                  <a:gd name="connsiteX2346" fmla="*/ 2472481 w 3565209"/>
                  <a:gd name="connsiteY2346" fmla="*/ 1405908 h 3993936"/>
                  <a:gd name="connsiteX2347" fmla="*/ 2469774 w 3565209"/>
                  <a:gd name="connsiteY2347" fmla="*/ 1412451 h 3993936"/>
                  <a:gd name="connsiteX2348" fmla="*/ 2465712 w 3565209"/>
                  <a:gd name="connsiteY2348" fmla="*/ 1421703 h 3993936"/>
                  <a:gd name="connsiteX2349" fmla="*/ 2460973 w 3565209"/>
                  <a:gd name="connsiteY2349" fmla="*/ 1434565 h 3993936"/>
                  <a:gd name="connsiteX2350" fmla="*/ 2456009 w 3565209"/>
                  <a:gd name="connsiteY2350" fmla="*/ 1445170 h 3993936"/>
                  <a:gd name="connsiteX2351" fmla="*/ 2450142 w 3565209"/>
                  <a:gd name="connsiteY2351" fmla="*/ 1443365 h 3993936"/>
                  <a:gd name="connsiteX2352" fmla="*/ 2448112 w 3565209"/>
                  <a:gd name="connsiteY2352" fmla="*/ 1442236 h 3993936"/>
                  <a:gd name="connsiteX2353" fmla="*/ 2439988 w 3565209"/>
                  <a:gd name="connsiteY2353" fmla="*/ 1433436 h 3993936"/>
                  <a:gd name="connsiteX2354" fmla="*/ 2431188 w 3565209"/>
                  <a:gd name="connsiteY2354" fmla="*/ 1431406 h 3993936"/>
                  <a:gd name="connsiteX2355" fmla="*/ 2426675 w 3565209"/>
                  <a:gd name="connsiteY2355" fmla="*/ 1432082 h 3993936"/>
                  <a:gd name="connsiteX2356" fmla="*/ 2423516 w 3565209"/>
                  <a:gd name="connsiteY2356" fmla="*/ 1432759 h 3993936"/>
                  <a:gd name="connsiteX2357" fmla="*/ 2423516 w 3565209"/>
                  <a:gd name="connsiteY2357" fmla="*/ 1432985 h 3993936"/>
                  <a:gd name="connsiteX2358" fmla="*/ 2423516 w 3565209"/>
                  <a:gd name="connsiteY2358" fmla="*/ 1437498 h 3993936"/>
                  <a:gd name="connsiteX2359" fmla="*/ 2414265 w 3565209"/>
                  <a:gd name="connsiteY2359" fmla="*/ 1444719 h 3993936"/>
                  <a:gd name="connsiteX2360" fmla="*/ 2411783 w 3565209"/>
                  <a:gd name="connsiteY2360" fmla="*/ 1445621 h 3993936"/>
                  <a:gd name="connsiteX2361" fmla="*/ 2403885 w 3565209"/>
                  <a:gd name="connsiteY2361" fmla="*/ 1446975 h 3993936"/>
                  <a:gd name="connsiteX2362" fmla="*/ 2397341 w 3565209"/>
                  <a:gd name="connsiteY2362" fmla="*/ 1443365 h 3993936"/>
                  <a:gd name="connsiteX2363" fmla="*/ 2391700 w 3565209"/>
                  <a:gd name="connsiteY2363" fmla="*/ 1440431 h 3993936"/>
                  <a:gd name="connsiteX2364" fmla="*/ 2376356 w 3565209"/>
                  <a:gd name="connsiteY2364" fmla="*/ 1445621 h 3993936"/>
                  <a:gd name="connsiteX2365" fmla="*/ 2352889 w 3565209"/>
                  <a:gd name="connsiteY2365" fmla="*/ 1443590 h 3993936"/>
                  <a:gd name="connsiteX2366" fmla="*/ 2348602 w 3565209"/>
                  <a:gd name="connsiteY2366" fmla="*/ 1440657 h 3993936"/>
                  <a:gd name="connsiteX2367" fmla="*/ 2318139 w 3565209"/>
                  <a:gd name="connsiteY2367" fmla="*/ 1439303 h 3993936"/>
                  <a:gd name="connsiteX2368" fmla="*/ 2266918 w 3565209"/>
                  <a:gd name="connsiteY2368" fmla="*/ 1434790 h 3993936"/>
                  <a:gd name="connsiteX2369" fmla="*/ 2263082 w 3565209"/>
                  <a:gd name="connsiteY2369" fmla="*/ 1433211 h 3993936"/>
                  <a:gd name="connsiteX2370" fmla="*/ 2218404 w 3565209"/>
                  <a:gd name="connsiteY2370" fmla="*/ 1423508 h 3993936"/>
                  <a:gd name="connsiteX2371" fmla="*/ 2207798 w 3565209"/>
                  <a:gd name="connsiteY2371" fmla="*/ 1426441 h 3993936"/>
                  <a:gd name="connsiteX2372" fmla="*/ 2195614 w 3565209"/>
                  <a:gd name="connsiteY2372" fmla="*/ 1429600 h 3993936"/>
                  <a:gd name="connsiteX2373" fmla="*/ 2173049 w 3565209"/>
                  <a:gd name="connsiteY2373" fmla="*/ 1420575 h 3993936"/>
                  <a:gd name="connsiteX2374" fmla="*/ 2170567 w 3565209"/>
                  <a:gd name="connsiteY2374" fmla="*/ 1408164 h 3993936"/>
                  <a:gd name="connsiteX2375" fmla="*/ 2166731 w 3565209"/>
                  <a:gd name="connsiteY2375" fmla="*/ 1395528 h 3993936"/>
                  <a:gd name="connsiteX2376" fmla="*/ 2146423 w 3565209"/>
                  <a:gd name="connsiteY2376" fmla="*/ 1400718 h 3993936"/>
                  <a:gd name="connsiteX2377" fmla="*/ 2141684 w 3565209"/>
                  <a:gd name="connsiteY2377" fmla="*/ 1403651 h 3993936"/>
                  <a:gd name="connsiteX2378" fmla="*/ 2095201 w 3565209"/>
                  <a:gd name="connsiteY2378" fmla="*/ 1394174 h 3993936"/>
                  <a:gd name="connsiteX2379" fmla="*/ 2088883 w 3565209"/>
                  <a:gd name="connsiteY2379" fmla="*/ 1389435 h 3993936"/>
                  <a:gd name="connsiteX2380" fmla="*/ 2043077 w 3565209"/>
                  <a:gd name="connsiteY2380" fmla="*/ 1375671 h 3993936"/>
                  <a:gd name="connsiteX2381" fmla="*/ 2039241 w 3565209"/>
                  <a:gd name="connsiteY2381" fmla="*/ 1373640 h 3993936"/>
                  <a:gd name="connsiteX2382" fmla="*/ 2041046 w 3565209"/>
                  <a:gd name="connsiteY2382" fmla="*/ 1360327 h 3993936"/>
                  <a:gd name="connsiteX2383" fmla="*/ 2042400 w 3565209"/>
                  <a:gd name="connsiteY2383" fmla="*/ 1356491 h 3993936"/>
                  <a:gd name="connsiteX2384" fmla="*/ 2037887 w 3565209"/>
                  <a:gd name="connsiteY2384" fmla="*/ 1338214 h 3993936"/>
                  <a:gd name="connsiteX2385" fmla="*/ 2021189 w 3565209"/>
                  <a:gd name="connsiteY2385" fmla="*/ 1328737 h 3993936"/>
                  <a:gd name="connsiteX2386" fmla="*/ 2011261 w 3565209"/>
                  <a:gd name="connsiteY2386" fmla="*/ 1330542 h 3993936"/>
                  <a:gd name="connsiteX2387" fmla="*/ 2002912 w 3565209"/>
                  <a:gd name="connsiteY2387" fmla="*/ 1332121 h 3993936"/>
                  <a:gd name="connsiteX2388" fmla="*/ 1994337 w 3565209"/>
                  <a:gd name="connsiteY2388" fmla="*/ 1323321 h 3993936"/>
                  <a:gd name="connsiteX2389" fmla="*/ 1990501 w 3565209"/>
                  <a:gd name="connsiteY2389" fmla="*/ 1316100 h 3993936"/>
                  <a:gd name="connsiteX2390" fmla="*/ 1974255 w 3565209"/>
                  <a:gd name="connsiteY2390" fmla="*/ 1317454 h 3993936"/>
                  <a:gd name="connsiteX2391" fmla="*/ 1973578 w 3565209"/>
                  <a:gd name="connsiteY2391" fmla="*/ 1318131 h 3993936"/>
                  <a:gd name="connsiteX2392" fmla="*/ 1959362 w 3565209"/>
                  <a:gd name="connsiteY2392" fmla="*/ 1322193 h 3993936"/>
                  <a:gd name="connsiteX2393" fmla="*/ 1956880 w 3565209"/>
                  <a:gd name="connsiteY2393" fmla="*/ 1321742 h 3993936"/>
                  <a:gd name="connsiteX2394" fmla="*/ 1946951 w 3565209"/>
                  <a:gd name="connsiteY2394" fmla="*/ 1333249 h 3993936"/>
                  <a:gd name="connsiteX2395" fmla="*/ 1943341 w 3565209"/>
                  <a:gd name="connsiteY2395" fmla="*/ 1338214 h 3993936"/>
                  <a:gd name="connsiteX2396" fmla="*/ 1943341 w 3565209"/>
                  <a:gd name="connsiteY2396" fmla="*/ 1338214 h 3993936"/>
                  <a:gd name="connsiteX2397" fmla="*/ 1940859 w 3565209"/>
                  <a:gd name="connsiteY2397" fmla="*/ 1335957 h 3993936"/>
                  <a:gd name="connsiteX2398" fmla="*/ 1931382 w 3565209"/>
                  <a:gd name="connsiteY2398" fmla="*/ 1327383 h 3993936"/>
                  <a:gd name="connsiteX2399" fmla="*/ 1923710 w 3565209"/>
                  <a:gd name="connsiteY2399" fmla="*/ 1321742 h 3993936"/>
                  <a:gd name="connsiteX2400" fmla="*/ 1891443 w 3565209"/>
                  <a:gd name="connsiteY2400" fmla="*/ 1319711 h 3993936"/>
                  <a:gd name="connsiteX2401" fmla="*/ 1889863 w 3565209"/>
                  <a:gd name="connsiteY2401" fmla="*/ 1319936 h 3993936"/>
                  <a:gd name="connsiteX2402" fmla="*/ 1887607 w 3565209"/>
                  <a:gd name="connsiteY2402" fmla="*/ 1321065 h 3993936"/>
                  <a:gd name="connsiteX2403" fmla="*/ 1887381 w 3565209"/>
                  <a:gd name="connsiteY2403" fmla="*/ 1331670 h 3993936"/>
                  <a:gd name="connsiteX2404" fmla="*/ 1887381 w 3565209"/>
                  <a:gd name="connsiteY2404" fmla="*/ 1339342 h 3993936"/>
                  <a:gd name="connsiteX2405" fmla="*/ 1884673 w 3565209"/>
                  <a:gd name="connsiteY2405" fmla="*/ 1340696 h 3993936"/>
                  <a:gd name="connsiteX2406" fmla="*/ 1884673 w 3565209"/>
                  <a:gd name="connsiteY2406" fmla="*/ 1340696 h 3993936"/>
                  <a:gd name="connsiteX2407" fmla="*/ 1868652 w 3565209"/>
                  <a:gd name="connsiteY2407" fmla="*/ 1326029 h 3993936"/>
                  <a:gd name="connsiteX2408" fmla="*/ 1854437 w 3565209"/>
                  <a:gd name="connsiteY2408" fmla="*/ 1322644 h 3993936"/>
                  <a:gd name="connsiteX2409" fmla="*/ 1853534 w 3565209"/>
                  <a:gd name="connsiteY2409" fmla="*/ 1322870 h 3993936"/>
                  <a:gd name="connsiteX2410" fmla="*/ 1830969 w 3565209"/>
                  <a:gd name="connsiteY2410" fmla="*/ 1322193 h 3993936"/>
                  <a:gd name="connsiteX2411" fmla="*/ 1780425 w 3565209"/>
                  <a:gd name="connsiteY2411" fmla="*/ 1298274 h 3993936"/>
                  <a:gd name="connsiteX2412" fmla="*/ 1758537 w 3565209"/>
                  <a:gd name="connsiteY2412" fmla="*/ 1287443 h 3993936"/>
                  <a:gd name="connsiteX2413" fmla="*/ 1745449 w 3565209"/>
                  <a:gd name="connsiteY2413" fmla="*/ 1280674 h 3993936"/>
                  <a:gd name="connsiteX2414" fmla="*/ 1744096 w 3565209"/>
                  <a:gd name="connsiteY2414" fmla="*/ 1279997 h 3993936"/>
                  <a:gd name="connsiteX2415" fmla="*/ 1714310 w 3565209"/>
                  <a:gd name="connsiteY2415" fmla="*/ 1270520 h 3993936"/>
                  <a:gd name="connsiteX2416" fmla="*/ 1674822 w 3565209"/>
                  <a:gd name="connsiteY2416" fmla="*/ 1253822 h 3993936"/>
                  <a:gd name="connsiteX2417" fmla="*/ 1662863 w 3565209"/>
                  <a:gd name="connsiteY2417" fmla="*/ 1244796 h 3993936"/>
                  <a:gd name="connsiteX2418" fmla="*/ 1641201 w 3565209"/>
                  <a:gd name="connsiteY2418" fmla="*/ 1225391 h 3993936"/>
                  <a:gd name="connsiteX2419" fmla="*/ 1610513 w 3565209"/>
                  <a:gd name="connsiteY2419" fmla="*/ 1201923 h 3993936"/>
                  <a:gd name="connsiteX2420" fmla="*/ 1591108 w 3565209"/>
                  <a:gd name="connsiteY2420" fmla="*/ 1190416 h 3993936"/>
                  <a:gd name="connsiteX2421" fmla="*/ 1545301 w 3565209"/>
                  <a:gd name="connsiteY2421" fmla="*/ 1170559 h 3993936"/>
                  <a:gd name="connsiteX2422" fmla="*/ 1524768 w 3565209"/>
                  <a:gd name="connsiteY2422" fmla="*/ 1163338 h 3993936"/>
                  <a:gd name="connsiteX2423" fmla="*/ 1485054 w 3565209"/>
                  <a:gd name="connsiteY2423" fmla="*/ 1126558 h 3993936"/>
                  <a:gd name="connsiteX2424" fmla="*/ 1490921 w 3565209"/>
                  <a:gd name="connsiteY2424" fmla="*/ 1111439 h 3993936"/>
                  <a:gd name="connsiteX2425" fmla="*/ 1501075 w 3565209"/>
                  <a:gd name="connsiteY2425" fmla="*/ 1077141 h 3993936"/>
                  <a:gd name="connsiteX2426" fmla="*/ 1516644 w 3565209"/>
                  <a:gd name="connsiteY2426" fmla="*/ 1041715 h 3993936"/>
                  <a:gd name="connsiteX2427" fmla="*/ 1526573 w 3565209"/>
                  <a:gd name="connsiteY2427" fmla="*/ 1019376 h 3993936"/>
                  <a:gd name="connsiteX2428" fmla="*/ 1530409 w 3565209"/>
                  <a:gd name="connsiteY2428" fmla="*/ 1004709 h 3993936"/>
                  <a:gd name="connsiteX2429" fmla="*/ 1544850 w 3565209"/>
                  <a:gd name="connsiteY2429" fmla="*/ 989365 h 3993936"/>
                  <a:gd name="connsiteX2430" fmla="*/ 1555230 w 3565209"/>
                  <a:gd name="connsiteY2430" fmla="*/ 980790 h 3993936"/>
                  <a:gd name="connsiteX2431" fmla="*/ 1560420 w 3565209"/>
                  <a:gd name="connsiteY2431" fmla="*/ 974021 h 3993936"/>
                  <a:gd name="connsiteX2432" fmla="*/ 1575764 w 3565209"/>
                  <a:gd name="connsiteY2432" fmla="*/ 940400 h 3993936"/>
                  <a:gd name="connsiteX2433" fmla="*/ 1573507 w 3565209"/>
                  <a:gd name="connsiteY2433" fmla="*/ 936338 h 3993936"/>
                  <a:gd name="connsiteX2434" fmla="*/ 1555681 w 3565209"/>
                  <a:gd name="connsiteY2434" fmla="*/ 916481 h 3993936"/>
                  <a:gd name="connsiteX2435" fmla="*/ 1527927 w 3565209"/>
                  <a:gd name="connsiteY2435" fmla="*/ 904973 h 3993936"/>
                  <a:gd name="connsiteX2436" fmla="*/ 1511454 w 3565209"/>
                  <a:gd name="connsiteY2436" fmla="*/ 891434 h 3993936"/>
                  <a:gd name="connsiteX2437" fmla="*/ 1505362 w 3565209"/>
                  <a:gd name="connsiteY2437" fmla="*/ 885342 h 3993936"/>
                  <a:gd name="connsiteX2438" fmla="*/ 1498141 w 3565209"/>
                  <a:gd name="connsiteY2438" fmla="*/ 877219 h 3993936"/>
                  <a:gd name="connsiteX2439" fmla="*/ 1487310 w 3565209"/>
                  <a:gd name="connsiteY2439" fmla="*/ 867065 h 3993936"/>
                  <a:gd name="connsiteX2440" fmla="*/ 1478284 w 3565209"/>
                  <a:gd name="connsiteY2440" fmla="*/ 861198 h 3993936"/>
                  <a:gd name="connsiteX2441" fmla="*/ 1455945 w 3565209"/>
                  <a:gd name="connsiteY2441" fmla="*/ 846982 h 3993936"/>
                  <a:gd name="connsiteX2442" fmla="*/ 1443760 w 3565209"/>
                  <a:gd name="connsiteY2442" fmla="*/ 844951 h 3993936"/>
                  <a:gd name="connsiteX2443" fmla="*/ 1429319 w 3565209"/>
                  <a:gd name="connsiteY2443" fmla="*/ 844274 h 3993936"/>
                  <a:gd name="connsiteX2444" fmla="*/ 1393216 w 3565209"/>
                  <a:gd name="connsiteY2444" fmla="*/ 815617 h 3993936"/>
                  <a:gd name="connsiteX2445" fmla="*/ 1392313 w 3565209"/>
                  <a:gd name="connsiteY2445" fmla="*/ 814038 h 3993936"/>
                  <a:gd name="connsiteX2446" fmla="*/ 1376292 w 3565209"/>
                  <a:gd name="connsiteY2446" fmla="*/ 792601 h 3993936"/>
                  <a:gd name="connsiteX2447" fmla="*/ 1360271 w 3565209"/>
                  <a:gd name="connsiteY2447" fmla="*/ 797340 h 3993936"/>
                  <a:gd name="connsiteX2448" fmla="*/ 1357112 w 3565209"/>
                  <a:gd name="connsiteY2448" fmla="*/ 799145 h 3993936"/>
                  <a:gd name="connsiteX2449" fmla="*/ 1338384 w 3565209"/>
                  <a:gd name="connsiteY2449" fmla="*/ 794181 h 3993936"/>
                  <a:gd name="connsiteX2450" fmla="*/ 1331614 w 3565209"/>
                  <a:gd name="connsiteY2450" fmla="*/ 766652 h 3993936"/>
                  <a:gd name="connsiteX2451" fmla="*/ 1326425 w 3565209"/>
                  <a:gd name="connsiteY2451" fmla="*/ 746344 h 3993936"/>
                  <a:gd name="connsiteX2452" fmla="*/ 1324168 w 3565209"/>
                  <a:gd name="connsiteY2452" fmla="*/ 731677 h 3993936"/>
                  <a:gd name="connsiteX2453" fmla="*/ 1325973 w 3565209"/>
                  <a:gd name="connsiteY2453" fmla="*/ 722425 h 3993936"/>
                  <a:gd name="connsiteX2454" fmla="*/ 1316045 w 3565209"/>
                  <a:gd name="connsiteY2454" fmla="*/ 689255 h 3993936"/>
                  <a:gd name="connsiteX2455" fmla="*/ 1313563 w 3565209"/>
                  <a:gd name="connsiteY2455" fmla="*/ 686096 h 3993936"/>
                  <a:gd name="connsiteX2456" fmla="*/ 1296639 w 3565209"/>
                  <a:gd name="connsiteY2456" fmla="*/ 660147 h 3993936"/>
                  <a:gd name="connsiteX2457" fmla="*/ 1295060 w 3565209"/>
                  <a:gd name="connsiteY2457" fmla="*/ 648414 h 3993936"/>
                  <a:gd name="connsiteX2458" fmla="*/ 1292578 w 3565209"/>
                  <a:gd name="connsiteY2458" fmla="*/ 636454 h 3993936"/>
                  <a:gd name="connsiteX2459" fmla="*/ 1292578 w 3565209"/>
                  <a:gd name="connsiteY2459" fmla="*/ 624269 h 3993936"/>
                  <a:gd name="connsiteX2460" fmla="*/ 1300475 w 3565209"/>
                  <a:gd name="connsiteY2460" fmla="*/ 618628 h 3993936"/>
                  <a:gd name="connsiteX2461" fmla="*/ 1306116 w 3565209"/>
                  <a:gd name="connsiteY2461" fmla="*/ 616823 h 3993936"/>
                  <a:gd name="connsiteX2462" fmla="*/ 1326425 w 3565209"/>
                  <a:gd name="connsiteY2462" fmla="*/ 613438 h 3993936"/>
                  <a:gd name="connsiteX2463" fmla="*/ 1338384 w 3565209"/>
                  <a:gd name="connsiteY2463" fmla="*/ 628105 h 3993936"/>
                  <a:gd name="connsiteX2464" fmla="*/ 1342220 w 3565209"/>
                  <a:gd name="connsiteY2464" fmla="*/ 634198 h 3993936"/>
                  <a:gd name="connsiteX2465" fmla="*/ 1345830 w 3565209"/>
                  <a:gd name="connsiteY2465" fmla="*/ 637131 h 3993936"/>
                  <a:gd name="connsiteX2466" fmla="*/ 1361400 w 3565209"/>
                  <a:gd name="connsiteY2466" fmla="*/ 645931 h 3993936"/>
                  <a:gd name="connsiteX2467" fmla="*/ 1381257 w 3565209"/>
                  <a:gd name="connsiteY2467" fmla="*/ 631941 h 3993936"/>
                  <a:gd name="connsiteX2468" fmla="*/ 1384416 w 3565209"/>
                  <a:gd name="connsiteY2468" fmla="*/ 628331 h 3993936"/>
                  <a:gd name="connsiteX2469" fmla="*/ 1405175 w 3565209"/>
                  <a:gd name="connsiteY2469" fmla="*/ 619756 h 3993936"/>
                  <a:gd name="connsiteX2470" fmla="*/ 1408560 w 3565209"/>
                  <a:gd name="connsiteY2470" fmla="*/ 620208 h 3993936"/>
                  <a:gd name="connsiteX2471" fmla="*/ 1421647 w 3565209"/>
                  <a:gd name="connsiteY2471" fmla="*/ 603510 h 3993936"/>
                  <a:gd name="connsiteX2472" fmla="*/ 1410591 w 3565209"/>
                  <a:gd name="connsiteY2472" fmla="*/ 575079 h 3993936"/>
                  <a:gd name="connsiteX2473" fmla="*/ 1407657 w 3565209"/>
                  <a:gd name="connsiteY2473" fmla="*/ 571920 h 3993936"/>
                  <a:gd name="connsiteX2474" fmla="*/ 1404272 w 3565209"/>
                  <a:gd name="connsiteY2474" fmla="*/ 545970 h 3993936"/>
                  <a:gd name="connsiteX2475" fmla="*/ 1404724 w 3565209"/>
                  <a:gd name="connsiteY2475" fmla="*/ 533334 h 3993936"/>
                  <a:gd name="connsiteX2476" fmla="*/ 1368395 w 3565209"/>
                  <a:gd name="connsiteY2476" fmla="*/ 520698 h 3993936"/>
                  <a:gd name="connsiteX2477" fmla="*/ 1364108 w 3565209"/>
                  <a:gd name="connsiteY2477" fmla="*/ 519795 h 3993936"/>
                  <a:gd name="connsiteX2478" fmla="*/ 1351471 w 3565209"/>
                  <a:gd name="connsiteY2478" fmla="*/ 500841 h 3993936"/>
                  <a:gd name="connsiteX2479" fmla="*/ 1351471 w 3565209"/>
                  <a:gd name="connsiteY2479" fmla="*/ 498810 h 3993936"/>
                  <a:gd name="connsiteX2480" fmla="*/ 1360723 w 3565209"/>
                  <a:gd name="connsiteY2480" fmla="*/ 481435 h 3993936"/>
                  <a:gd name="connsiteX2481" fmla="*/ 1365236 w 3565209"/>
                  <a:gd name="connsiteY2481" fmla="*/ 476922 h 3993936"/>
                  <a:gd name="connsiteX2482" fmla="*/ 1358241 w 3565209"/>
                  <a:gd name="connsiteY2482" fmla="*/ 457291 h 3993936"/>
                  <a:gd name="connsiteX2483" fmla="*/ 1351246 w 3565209"/>
                  <a:gd name="connsiteY2483" fmla="*/ 439465 h 3993936"/>
                  <a:gd name="connsiteX2484" fmla="*/ 1375164 w 3565209"/>
                  <a:gd name="connsiteY2484" fmla="*/ 420737 h 3993936"/>
                  <a:gd name="connsiteX2485" fmla="*/ 1396149 w 3565209"/>
                  <a:gd name="connsiteY2485" fmla="*/ 417803 h 3993936"/>
                  <a:gd name="connsiteX2486" fmla="*/ 1411042 w 3565209"/>
                  <a:gd name="connsiteY2486" fmla="*/ 414644 h 3993936"/>
                  <a:gd name="connsiteX2487" fmla="*/ 1417586 w 3565209"/>
                  <a:gd name="connsiteY2487" fmla="*/ 390951 h 3993936"/>
                  <a:gd name="connsiteX2488" fmla="*/ 1427965 w 3565209"/>
                  <a:gd name="connsiteY2488" fmla="*/ 365228 h 3993936"/>
                  <a:gd name="connsiteX2489" fmla="*/ 1436540 w 3565209"/>
                  <a:gd name="connsiteY2489" fmla="*/ 361617 h 3993936"/>
                  <a:gd name="connsiteX2490" fmla="*/ 1446694 w 3565209"/>
                  <a:gd name="connsiteY2490" fmla="*/ 353043 h 3993936"/>
                  <a:gd name="connsiteX2491" fmla="*/ 1458653 w 3565209"/>
                  <a:gd name="connsiteY2491" fmla="*/ 339504 h 3993936"/>
                  <a:gd name="connsiteX2492" fmla="*/ 1463843 w 3565209"/>
                  <a:gd name="connsiteY2492" fmla="*/ 336796 h 3993936"/>
                  <a:gd name="connsiteX2493" fmla="*/ 1481895 w 3565209"/>
                  <a:gd name="connsiteY2493" fmla="*/ 311524 h 3993936"/>
                  <a:gd name="connsiteX2494" fmla="*/ 1482346 w 3565209"/>
                  <a:gd name="connsiteY2494" fmla="*/ 309944 h 3993936"/>
                  <a:gd name="connsiteX2495" fmla="*/ 1501300 w 3565209"/>
                  <a:gd name="connsiteY2495" fmla="*/ 258271 h 3993936"/>
                  <a:gd name="connsiteX2496" fmla="*/ 1504234 w 3565209"/>
                  <a:gd name="connsiteY2496" fmla="*/ 214722 h 3993936"/>
                  <a:gd name="connsiteX2497" fmla="*/ 1499946 w 3565209"/>
                  <a:gd name="connsiteY2497" fmla="*/ 210886 h 3993936"/>
                  <a:gd name="connsiteX2498" fmla="*/ 1465423 w 3565209"/>
                  <a:gd name="connsiteY2498" fmla="*/ 193285 h 3993936"/>
                  <a:gd name="connsiteX2499" fmla="*/ 1432704 w 3565209"/>
                  <a:gd name="connsiteY2499" fmla="*/ 177490 h 3993936"/>
                  <a:gd name="connsiteX2500" fmla="*/ 1406980 w 3565209"/>
                  <a:gd name="connsiteY2500" fmla="*/ 166433 h 3993936"/>
                  <a:gd name="connsiteX2501" fmla="*/ 1393216 w 3565209"/>
                  <a:gd name="connsiteY2501" fmla="*/ 170495 h 3993936"/>
                  <a:gd name="connsiteX2502" fmla="*/ 1386221 w 3565209"/>
                  <a:gd name="connsiteY2502" fmla="*/ 175008 h 3993936"/>
                  <a:gd name="connsiteX2503" fmla="*/ 1358918 w 3565209"/>
                  <a:gd name="connsiteY2503" fmla="*/ 176136 h 3993936"/>
                  <a:gd name="connsiteX2504" fmla="*/ 1318527 w 3565209"/>
                  <a:gd name="connsiteY2504" fmla="*/ 178167 h 3993936"/>
                  <a:gd name="connsiteX2505" fmla="*/ 1274977 w 3565209"/>
                  <a:gd name="connsiteY2505" fmla="*/ 206598 h 3993936"/>
                  <a:gd name="connsiteX2506" fmla="*/ 1263244 w 3565209"/>
                  <a:gd name="connsiteY2506" fmla="*/ 215399 h 3993936"/>
                  <a:gd name="connsiteX2507" fmla="*/ 1219468 w 3565209"/>
                  <a:gd name="connsiteY2507" fmla="*/ 225101 h 3993936"/>
                  <a:gd name="connsiteX2508" fmla="*/ 1195324 w 3565209"/>
                  <a:gd name="connsiteY2508" fmla="*/ 214045 h 3993936"/>
                  <a:gd name="connsiteX2509" fmla="*/ 1179529 w 3565209"/>
                  <a:gd name="connsiteY2509" fmla="*/ 200957 h 3993936"/>
                  <a:gd name="connsiteX2510" fmla="*/ 1130112 w 3565209"/>
                  <a:gd name="connsiteY2510" fmla="*/ 181100 h 3993936"/>
                  <a:gd name="connsiteX2511" fmla="*/ 1120861 w 3565209"/>
                  <a:gd name="connsiteY2511" fmla="*/ 158085 h 3993936"/>
                  <a:gd name="connsiteX2512" fmla="*/ 1118604 w 3565209"/>
                  <a:gd name="connsiteY2512" fmla="*/ 149736 h 3993936"/>
                  <a:gd name="connsiteX2513" fmla="*/ 1095814 w 3565209"/>
                  <a:gd name="connsiteY2513" fmla="*/ 125817 h 3993936"/>
                  <a:gd name="connsiteX2514" fmla="*/ 1091076 w 3565209"/>
                  <a:gd name="connsiteY2514" fmla="*/ 122432 h 3993936"/>
                  <a:gd name="connsiteX2515" fmla="*/ 1077537 w 3565209"/>
                  <a:gd name="connsiteY2515" fmla="*/ 109345 h 3993936"/>
                  <a:gd name="connsiteX2516" fmla="*/ 1055424 w 3565209"/>
                  <a:gd name="connsiteY2516" fmla="*/ 89939 h 3993936"/>
                  <a:gd name="connsiteX2517" fmla="*/ 1031956 w 3565209"/>
                  <a:gd name="connsiteY2517" fmla="*/ 76626 h 3993936"/>
                  <a:gd name="connsiteX2518" fmla="*/ 1008940 w 3565209"/>
                  <a:gd name="connsiteY2518" fmla="*/ 63539 h 3993936"/>
                  <a:gd name="connsiteX2519" fmla="*/ 972611 w 3565209"/>
                  <a:gd name="connsiteY2519" fmla="*/ 26307 h 3993936"/>
                  <a:gd name="connsiteX2520" fmla="*/ 961103 w 3565209"/>
                  <a:gd name="connsiteY2520" fmla="*/ 12091 h 3993936"/>
                  <a:gd name="connsiteX2521" fmla="*/ 943052 w 3565209"/>
                  <a:gd name="connsiteY2521" fmla="*/ 10963 h 3993936"/>
                  <a:gd name="connsiteX2522" fmla="*/ 921390 w 3565209"/>
                  <a:gd name="connsiteY2522" fmla="*/ 13220 h 3993936"/>
                  <a:gd name="connsiteX2523" fmla="*/ 903112 w 3565209"/>
                  <a:gd name="connsiteY2523" fmla="*/ 7579 h 3993936"/>
                  <a:gd name="connsiteX2524" fmla="*/ 889122 w 3565209"/>
                  <a:gd name="connsiteY2524" fmla="*/ 4420 h 3993936"/>
                  <a:gd name="connsiteX2525" fmla="*/ 874907 w 3565209"/>
                  <a:gd name="connsiteY2525" fmla="*/ 6450 h 3993936"/>
                  <a:gd name="connsiteX2526" fmla="*/ 856178 w 3565209"/>
                  <a:gd name="connsiteY2526" fmla="*/ 8256 h 3993936"/>
                  <a:gd name="connsiteX2527" fmla="*/ 817818 w 3565209"/>
                  <a:gd name="connsiteY2527" fmla="*/ 21569 h 3993936"/>
                  <a:gd name="connsiteX2528" fmla="*/ 816239 w 3565209"/>
                  <a:gd name="connsiteY2528" fmla="*/ 22246 h 3993936"/>
                  <a:gd name="connsiteX2529" fmla="*/ 807664 w 3565209"/>
                  <a:gd name="connsiteY2529" fmla="*/ 26984 h 3993936"/>
                  <a:gd name="connsiteX2530" fmla="*/ 783971 w 3565209"/>
                  <a:gd name="connsiteY2530" fmla="*/ 36913 h 3993936"/>
                  <a:gd name="connsiteX2531" fmla="*/ 751704 w 3565209"/>
                  <a:gd name="connsiteY2531" fmla="*/ 36010 h 3993936"/>
                  <a:gd name="connsiteX2532" fmla="*/ 725980 w 3565209"/>
                  <a:gd name="connsiteY2532" fmla="*/ 34430 h 3993936"/>
                  <a:gd name="connsiteX2533" fmla="*/ 700031 w 3565209"/>
                  <a:gd name="connsiteY2533" fmla="*/ 44810 h 3993936"/>
                  <a:gd name="connsiteX2534" fmla="*/ 693938 w 3565209"/>
                  <a:gd name="connsiteY2534" fmla="*/ 56769 h 3993936"/>
                  <a:gd name="connsiteX2535" fmla="*/ 681754 w 3565209"/>
                  <a:gd name="connsiteY2535" fmla="*/ 76626 h 3993936"/>
                  <a:gd name="connsiteX2536" fmla="*/ 662122 w 3565209"/>
                  <a:gd name="connsiteY2536" fmla="*/ 88134 h 3993936"/>
                  <a:gd name="connsiteX2537" fmla="*/ 642717 w 3565209"/>
                  <a:gd name="connsiteY2537" fmla="*/ 99191 h 3993936"/>
                  <a:gd name="connsiteX2538" fmla="*/ 636624 w 3565209"/>
                  <a:gd name="connsiteY2538" fmla="*/ 112730 h 3993936"/>
                  <a:gd name="connsiteX2539" fmla="*/ 646101 w 3565209"/>
                  <a:gd name="connsiteY2539" fmla="*/ 144997 h 3993936"/>
                  <a:gd name="connsiteX2540" fmla="*/ 675435 w 3565209"/>
                  <a:gd name="connsiteY2540" fmla="*/ 149961 h 3993936"/>
                  <a:gd name="connsiteX2541" fmla="*/ 682656 w 3565209"/>
                  <a:gd name="connsiteY2541" fmla="*/ 150187 h 3993936"/>
                  <a:gd name="connsiteX2542" fmla="*/ 713118 w 3565209"/>
                  <a:gd name="connsiteY2542" fmla="*/ 179070 h 3993936"/>
                  <a:gd name="connsiteX2543" fmla="*/ 727560 w 3565209"/>
                  <a:gd name="connsiteY2543" fmla="*/ 196219 h 3993936"/>
                  <a:gd name="connsiteX2544" fmla="*/ 743581 w 3565209"/>
                  <a:gd name="connsiteY2544" fmla="*/ 203439 h 3993936"/>
                  <a:gd name="connsiteX2545" fmla="*/ 762309 w 3565209"/>
                  <a:gd name="connsiteY2545" fmla="*/ 212691 h 3993936"/>
                  <a:gd name="connsiteX2546" fmla="*/ 772238 w 3565209"/>
                  <a:gd name="connsiteY2546" fmla="*/ 226004 h 3993936"/>
                  <a:gd name="connsiteX2547" fmla="*/ 784874 w 3565209"/>
                  <a:gd name="connsiteY2547" fmla="*/ 242025 h 3993936"/>
                  <a:gd name="connsiteX2548" fmla="*/ 802474 w 3565209"/>
                  <a:gd name="connsiteY2548" fmla="*/ 276323 h 3993936"/>
                  <a:gd name="connsiteX2549" fmla="*/ 798638 w 3565209"/>
                  <a:gd name="connsiteY2549" fmla="*/ 286477 h 3993936"/>
                  <a:gd name="connsiteX2550" fmla="*/ 791192 w 3565209"/>
                  <a:gd name="connsiteY2550" fmla="*/ 295052 h 3993936"/>
                  <a:gd name="connsiteX2551" fmla="*/ 766371 w 3565209"/>
                  <a:gd name="connsiteY2551" fmla="*/ 312652 h 3993936"/>
                  <a:gd name="connsiteX2552" fmla="*/ 760504 w 3565209"/>
                  <a:gd name="connsiteY2552" fmla="*/ 315134 h 3993936"/>
                  <a:gd name="connsiteX2553" fmla="*/ 761181 w 3565209"/>
                  <a:gd name="connsiteY2553" fmla="*/ 324837 h 3993936"/>
                  <a:gd name="connsiteX2554" fmla="*/ 760278 w 3565209"/>
                  <a:gd name="connsiteY2554" fmla="*/ 336119 h 3993936"/>
                  <a:gd name="connsiteX2555" fmla="*/ 755540 w 3565209"/>
                  <a:gd name="connsiteY2555" fmla="*/ 338601 h 3993936"/>
                  <a:gd name="connsiteX2556" fmla="*/ 737037 w 3565209"/>
                  <a:gd name="connsiteY2556" fmla="*/ 353043 h 3993936"/>
                  <a:gd name="connsiteX2557" fmla="*/ 739068 w 3565209"/>
                  <a:gd name="connsiteY2557" fmla="*/ 375833 h 3993936"/>
                  <a:gd name="connsiteX2558" fmla="*/ 742452 w 3565209"/>
                  <a:gd name="connsiteY2558" fmla="*/ 385987 h 3993936"/>
                  <a:gd name="connsiteX2559" fmla="*/ 745611 w 3565209"/>
                  <a:gd name="connsiteY2559" fmla="*/ 410808 h 3993936"/>
                  <a:gd name="connsiteX2560" fmla="*/ 746288 w 3565209"/>
                  <a:gd name="connsiteY2560" fmla="*/ 417578 h 3993936"/>
                  <a:gd name="connsiteX2561" fmla="*/ 744483 w 3565209"/>
                  <a:gd name="connsiteY2561" fmla="*/ 472635 h 3993936"/>
                  <a:gd name="connsiteX2562" fmla="*/ 746514 w 3565209"/>
                  <a:gd name="connsiteY2562" fmla="*/ 514605 h 3993936"/>
                  <a:gd name="connsiteX2563" fmla="*/ 748319 w 3565209"/>
                  <a:gd name="connsiteY2563" fmla="*/ 522052 h 3993936"/>
                  <a:gd name="connsiteX2564" fmla="*/ 762986 w 3565209"/>
                  <a:gd name="connsiteY2564" fmla="*/ 547098 h 3993936"/>
                  <a:gd name="connsiteX2565" fmla="*/ 781940 w 3565209"/>
                  <a:gd name="connsiteY2565" fmla="*/ 554996 h 3993936"/>
                  <a:gd name="connsiteX2566" fmla="*/ 801346 w 3565209"/>
                  <a:gd name="connsiteY2566" fmla="*/ 565827 h 3993936"/>
                  <a:gd name="connsiteX2567" fmla="*/ 802925 w 3565209"/>
                  <a:gd name="connsiteY2567" fmla="*/ 566955 h 3993936"/>
                  <a:gd name="connsiteX2568" fmla="*/ 806761 w 3565209"/>
                  <a:gd name="connsiteY2568" fmla="*/ 570114 h 3993936"/>
                  <a:gd name="connsiteX2569" fmla="*/ 834516 w 3565209"/>
                  <a:gd name="connsiteY2569" fmla="*/ 583653 h 3993936"/>
                  <a:gd name="connsiteX2570" fmla="*/ 856855 w 3565209"/>
                  <a:gd name="connsiteY2570" fmla="*/ 587038 h 3993936"/>
                  <a:gd name="connsiteX2571" fmla="*/ 865204 w 3565209"/>
                  <a:gd name="connsiteY2571" fmla="*/ 589294 h 3993936"/>
                  <a:gd name="connsiteX2572" fmla="*/ 865429 w 3565209"/>
                  <a:gd name="connsiteY2572" fmla="*/ 591551 h 3993936"/>
                  <a:gd name="connsiteX2573" fmla="*/ 864978 w 3565209"/>
                  <a:gd name="connsiteY2573" fmla="*/ 612084 h 3993936"/>
                  <a:gd name="connsiteX2574" fmla="*/ 867235 w 3565209"/>
                  <a:gd name="connsiteY2574" fmla="*/ 621110 h 3993936"/>
                  <a:gd name="connsiteX2575" fmla="*/ 868588 w 3565209"/>
                  <a:gd name="connsiteY2575" fmla="*/ 622915 h 3993936"/>
                  <a:gd name="connsiteX2576" fmla="*/ 875132 w 3565209"/>
                  <a:gd name="connsiteY2576" fmla="*/ 626526 h 3993936"/>
                  <a:gd name="connsiteX2577" fmla="*/ 878968 w 3565209"/>
                  <a:gd name="connsiteY2577" fmla="*/ 627654 h 3993936"/>
                  <a:gd name="connsiteX2578" fmla="*/ 899051 w 3565209"/>
                  <a:gd name="connsiteY2578" fmla="*/ 628557 h 3993936"/>
                  <a:gd name="connsiteX2579" fmla="*/ 909205 w 3565209"/>
                  <a:gd name="connsiteY2579" fmla="*/ 628557 h 3993936"/>
                  <a:gd name="connsiteX2580" fmla="*/ 927933 w 3565209"/>
                  <a:gd name="connsiteY2580" fmla="*/ 640290 h 3993936"/>
                  <a:gd name="connsiteX2581" fmla="*/ 934703 w 3565209"/>
                  <a:gd name="connsiteY2581" fmla="*/ 645254 h 3993936"/>
                  <a:gd name="connsiteX2582" fmla="*/ 941923 w 3565209"/>
                  <a:gd name="connsiteY2582" fmla="*/ 666240 h 3993936"/>
                  <a:gd name="connsiteX2583" fmla="*/ 939667 w 3565209"/>
                  <a:gd name="connsiteY2583" fmla="*/ 670527 h 3993936"/>
                  <a:gd name="connsiteX2584" fmla="*/ 936282 w 3565209"/>
                  <a:gd name="connsiteY2584" fmla="*/ 677296 h 3993936"/>
                  <a:gd name="connsiteX2585" fmla="*/ 918908 w 3565209"/>
                  <a:gd name="connsiteY2585" fmla="*/ 689932 h 3993936"/>
                  <a:gd name="connsiteX2586" fmla="*/ 908754 w 3565209"/>
                  <a:gd name="connsiteY2586" fmla="*/ 690835 h 3993936"/>
                  <a:gd name="connsiteX2587" fmla="*/ 894989 w 3565209"/>
                  <a:gd name="connsiteY2587" fmla="*/ 691061 h 3993936"/>
                  <a:gd name="connsiteX2588" fmla="*/ 879871 w 3565209"/>
                  <a:gd name="connsiteY2588" fmla="*/ 695348 h 3993936"/>
                  <a:gd name="connsiteX2589" fmla="*/ 876035 w 3565209"/>
                  <a:gd name="connsiteY2589" fmla="*/ 697604 h 3993936"/>
                  <a:gd name="connsiteX2590" fmla="*/ 853019 w 3565209"/>
                  <a:gd name="connsiteY2590" fmla="*/ 712497 h 3993936"/>
                  <a:gd name="connsiteX2591" fmla="*/ 845573 w 3565209"/>
                  <a:gd name="connsiteY2591" fmla="*/ 723328 h 3993936"/>
                  <a:gd name="connsiteX2592" fmla="*/ 839932 w 3565209"/>
                  <a:gd name="connsiteY2592" fmla="*/ 732354 h 3993936"/>
                  <a:gd name="connsiteX2593" fmla="*/ 845798 w 3565209"/>
                  <a:gd name="connsiteY2593" fmla="*/ 747923 h 3993936"/>
                  <a:gd name="connsiteX2594" fmla="*/ 848957 w 3565209"/>
                  <a:gd name="connsiteY2594" fmla="*/ 751308 h 3993936"/>
                  <a:gd name="connsiteX2595" fmla="*/ 854373 w 3565209"/>
                  <a:gd name="connsiteY2595" fmla="*/ 773196 h 3993936"/>
                  <a:gd name="connsiteX2596" fmla="*/ 845798 w 3565209"/>
                  <a:gd name="connsiteY2596" fmla="*/ 780642 h 3993936"/>
                  <a:gd name="connsiteX2597" fmla="*/ 841962 w 3565209"/>
                  <a:gd name="connsiteY2597" fmla="*/ 787186 h 3993936"/>
                  <a:gd name="connsiteX2598" fmla="*/ 840157 w 3565209"/>
                  <a:gd name="connsiteY2598" fmla="*/ 791247 h 3993936"/>
                  <a:gd name="connsiteX2599" fmla="*/ 840834 w 3565209"/>
                  <a:gd name="connsiteY2599" fmla="*/ 805238 h 3993936"/>
                  <a:gd name="connsiteX2600" fmla="*/ 841060 w 3565209"/>
                  <a:gd name="connsiteY2600" fmla="*/ 806140 h 3993936"/>
                  <a:gd name="connsiteX2601" fmla="*/ 845798 w 3565209"/>
                  <a:gd name="connsiteY2601" fmla="*/ 816520 h 3993936"/>
                  <a:gd name="connsiteX2602" fmla="*/ 847603 w 3565209"/>
                  <a:gd name="connsiteY2602" fmla="*/ 819905 h 3993936"/>
                  <a:gd name="connsiteX2603" fmla="*/ 848280 w 3565209"/>
                  <a:gd name="connsiteY2603" fmla="*/ 824643 h 3993936"/>
                  <a:gd name="connsiteX2604" fmla="*/ 844444 w 3565209"/>
                  <a:gd name="connsiteY2604" fmla="*/ 827125 h 3993936"/>
                  <a:gd name="connsiteX2605" fmla="*/ 841737 w 3565209"/>
                  <a:gd name="connsiteY2605" fmla="*/ 828028 h 3993936"/>
                  <a:gd name="connsiteX2606" fmla="*/ 837675 w 3565209"/>
                  <a:gd name="connsiteY2606" fmla="*/ 830510 h 3993936"/>
                  <a:gd name="connsiteX2607" fmla="*/ 827070 w 3565209"/>
                  <a:gd name="connsiteY2607" fmla="*/ 835700 h 3993936"/>
                  <a:gd name="connsiteX2608" fmla="*/ 818495 w 3565209"/>
                  <a:gd name="connsiteY2608" fmla="*/ 840664 h 3993936"/>
                  <a:gd name="connsiteX2609" fmla="*/ 816690 w 3565209"/>
                  <a:gd name="connsiteY2609" fmla="*/ 842695 h 3993936"/>
                  <a:gd name="connsiteX2610" fmla="*/ 814433 w 3565209"/>
                  <a:gd name="connsiteY2610" fmla="*/ 847208 h 3993936"/>
                  <a:gd name="connsiteX2611" fmla="*/ 808341 w 3565209"/>
                  <a:gd name="connsiteY2611" fmla="*/ 855557 h 3993936"/>
                  <a:gd name="connsiteX2612" fmla="*/ 803602 w 3565209"/>
                  <a:gd name="connsiteY2612" fmla="*/ 863003 h 3993936"/>
                  <a:gd name="connsiteX2613" fmla="*/ 800218 w 3565209"/>
                  <a:gd name="connsiteY2613" fmla="*/ 869772 h 3993936"/>
                  <a:gd name="connsiteX2614" fmla="*/ 796833 w 3565209"/>
                  <a:gd name="connsiteY2614" fmla="*/ 872706 h 3993936"/>
                  <a:gd name="connsiteX2615" fmla="*/ 791418 w 3565209"/>
                  <a:gd name="connsiteY2615" fmla="*/ 878573 h 3993936"/>
                  <a:gd name="connsiteX2616" fmla="*/ 788710 w 3565209"/>
                  <a:gd name="connsiteY2616" fmla="*/ 883762 h 3993936"/>
                  <a:gd name="connsiteX2617" fmla="*/ 781715 w 3565209"/>
                  <a:gd name="connsiteY2617" fmla="*/ 890080 h 3993936"/>
                  <a:gd name="connsiteX2618" fmla="*/ 774720 w 3565209"/>
                  <a:gd name="connsiteY2618" fmla="*/ 894593 h 3993936"/>
                  <a:gd name="connsiteX2619" fmla="*/ 766822 w 3565209"/>
                  <a:gd name="connsiteY2619" fmla="*/ 900009 h 3993936"/>
                  <a:gd name="connsiteX2620" fmla="*/ 765468 w 3565209"/>
                  <a:gd name="connsiteY2620" fmla="*/ 904522 h 3993936"/>
                  <a:gd name="connsiteX2621" fmla="*/ 763212 w 3565209"/>
                  <a:gd name="connsiteY2621" fmla="*/ 915579 h 3993936"/>
                  <a:gd name="connsiteX2622" fmla="*/ 767273 w 3565209"/>
                  <a:gd name="connsiteY2622" fmla="*/ 927989 h 3993936"/>
                  <a:gd name="connsiteX2623" fmla="*/ 769530 w 3565209"/>
                  <a:gd name="connsiteY2623" fmla="*/ 930471 h 3993936"/>
                  <a:gd name="connsiteX2624" fmla="*/ 770432 w 3565209"/>
                  <a:gd name="connsiteY2624" fmla="*/ 937466 h 3993936"/>
                  <a:gd name="connsiteX2625" fmla="*/ 764340 w 3565209"/>
                  <a:gd name="connsiteY2625" fmla="*/ 943784 h 3993936"/>
                  <a:gd name="connsiteX2626" fmla="*/ 760955 w 3565209"/>
                  <a:gd name="connsiteY2626" fmla="*/ 945589 h 3993936"/>
                  <a:gd name="connsiteX2627" fmla="*/ 759376 w 3565209"/>
                  <a:gd name="connsiteY2627" fmla="*/ 947169 h 3993936"/>
                  <a:gd name="connsiteX2628" fmla="*/ 744483 w 3565209"/>
                  <a:gd name="connsiteY2628" fmla="*/ 959805 h 3993936"/>
                  <a:gd name="connsiteX2629" fmla="*/ 729816 w 3565209"/>
                  <a:gd name="connsiteY2629" fmla="*/ 964092 h 3993936"/>
                  <a:gd name="connsiteX2630" fmla="*/ 723498 w 3565209"/>
                  <a:gd name="connsiteY2630" fmla="*/ 963190 h 3993936"/>
                  <a:gd name="connsiteX2631" fmla="*/ 698451 w 3565209"/>
                  <a:gd name="connsiteY2631" fmla="*/ 971539 h 3993936"/>
                  <a:gd name="connsiteX2632" fmla="*/ 695969 w 3565209"/>
                  <a:gd name="connsiteY2632" fmla="*/ 979662 h 3993936"/>
                  <a:gd name="connsiteX2633" fmla="*/ 695292 w 3565209"/>
                  <a:gd name="connsiteY2633" fmla="*/ 985754 h 3993936"/>
                  <a:gd name="connsiteX2634" fmla="*/ 693938 w 3565209"/>
                  <a:gd name="connsiteY2634" fmla="*/ 993878 h 3993936"/>
                  <a:gd name="connsiteX2635" fmla="*/ 691456 w 3565209"/>
                  <a:gd name="connsiteY2635" fmla="*/ 1007868 h 3993936"/>
                  <a:gd name="connsiteX2636" fmla="*/ 677015 w 3565209"/>
                  <a:gd name="connsiteY2636" fmla="*/ 1034494 h 3993936"/>
                  <a:gd name="connsiteX2637" fmla="*/ 673405 w 3565209"/>
                  <a:gd name="connsiteY2637" fmla="*/ 1041263 h 3993936"/>
                  <a:gd name="connsiteX2638" fmla="*/ 660317 w 3565209"/>
                  <a:gd name="connsiteY2638" fmla="*/ 1060218 h 3993936"/>
                  <a:gd name="connsiteX2639" fmla="*/ 648584 w 3565209"/>
                  <a:gd name="connsiteY2639" fmla="*/ 1073756 h 3993936"/>
                  <a:gd name="connsiteX2640" fmla="*/ 644071 w 3565209"/>
                  <a:gd name="connsiteY2640" fmla="*/ 1079849 h 3993936"/>
                  <a:gd name="connsiteX2641" fmla="*/ 641137 w 3565209"/>
                  <a:gd name="connsiteY2641" fmla="*/ 1088198 h 3993936"/>
                  <a:gd name="connsiteX2642" fmla="*/ 633240 w 3565209"/>
                  <a:gd name="connsiteY2642" fmla="*/ 1101060 h 3993936"/>
                  <a:gd name="connsiteX2643" fmla="*/ 627598 w 3565209"/>
                  <a:gd name="connsiteY2643" fmla="*/ 1101285 h 3993936"/>
                  <a:gd name="connsiteX2644" fmla="*/ 621055 w 3565209"/>
                  <a:gd name="connsiteY2644" fmla="*/ 1101962 h 3993936"/>
                  <a:gd name="connsiteX2645" fmla="*/ 611352 w 3565209"/>
                  <a:gd name="connsiteY2645" fmla="*/ 1106926 h 3993936"/>
                  <a:gd name="connsiteX2646" fmla="*/ 598039 w 3565209"/>
                  <a:gd name="connsiteY2646" fmla="*/ 1113244 h 3993936"/>
                  <a:gd name="connsiteX2647" fmla="*/ 569156 w 3565209"/>
                  <a:gd name="connsiteY2647" fmla="*/ 1130168 h 3993936"/>
                  <a:gd name="connsiteX2648" fmla="*/ 562838 w 3565209"/>
                  <a:gd name="connsiteY2648" fmla="*/ 1142804 h 3993936"/>
                  <a:gd name="connsiteX2649" fmla="*/ 560130 w 3565209"/>
                  <a:gd name="connsiteY2649" fmla="*/ 1150927 h 3993936"/>
                  <a:gd name="connsiteX2650" fmla="*/ 555843 w 3565209"/>
                  <a:gd name="connsiteY2650" fmla="*/ 1161307 h 3993936"/>
                  <a:gd name="connsiteX2651" fmla="*/ 550202 w 3565209"/>
                  <a:gd name="connsiteY2651" fmla="*/ 1174169 h 3993936"/>
                  <a:gd name="connsiteX2652" fmla="*/ 548622 w 3565209"/>
                  <a:gd name="connsiteY2652" fmla="*/ 1176425 h 3993936"/>
                  <a:gd name="connsiteX2653" fmla="*/ 535535 w 3565209"/>
                  <a:gd name="connsiteY2653" fmla="*/ 1188610 h 3993936"/>
                  <a:gd name="connsiteX2654" fmla="*/ 521996 w 3565209"/>
                  <a:gd name="connsiteY2654" fmla="*/ 1198539 h 3993936"/>
                  <a:gd name="connsiteX2655" fmla="*/ 519740 w 3565209"/>
                  <a:gd name="connsiteY2655" fmla="*/ 1200570 h 3993936"/>
                  <a:gd name="connsiteX2656" fmla="*/ 511391 w 3565209"/>
                  <a:gd name="connsiteY2656" fmla="*/ 1212303 h 3993936"/>
                  <a:gd name="connsiteX2657" fmla="*/ 505750 w 3565209"/>
                  <a:gd name="connsiteY2657" fmla="*/ 1227647 h 3993936"/>
                  <a:gd name="connsiteX2658" fmla="*/ 505073 w 3565209"/>
                  <a:gd name="connsiteY2658" fmla="*/ 1229227 h 3993936"/>
                  <a:gd name="connsiteX2659" fmla="*/ 493113 w 3565209"/>
                  <a:gd name="connsiteY2659" fmla="*/ 1237801 h 3993936"/>
                  <a:gd name="connsiteX2660" fmla="*/ 487247 w 3565209"/>
                  <a:gd name="connsiteY2660" fmla="*/ 1240509 h 3993936"/>
                  <a:gd name="connsiteX2661" fmla="*/ 469646 w 3565209"/>
                  <a:gd name="connsiteY2661" fmla="*/ 1246827 h 3993936"/>
                  <a:gd name="connsiteX2662" fmla="*/ 456333 w 3565209"/>
                  <a:gd name="connsiteY2662" fmla="*/ 1246601 h 3993936"/>
                  <a:gd name="connsiteX2663" fmla="*/ 449789 w 3565209"/>
                  <a:gd name="connsiteY2663" fmla="*/ 1245924 h 3993936"/>
                  <a:gd name="connsiteX2664" fmla="*/ 443246 w 3565209"/>
                  <a:gd name="connsiteY2664" fmla="*/ 1245699 h 3993936"/>
                  <a:gd name="connsiteX2665" fmla="*/ 424743 w 3565209"/>
                  <a:gd name="connsiteY2665" fmla="*/ 1246601 h 3993936"/>
                  <a:gd name="connsiteX2666" fmla="*/ 415040 w 3565209"/>
                  <a:gd name="connsiteY2666" fmla="*/ 1250212 h 3993936"/>
                  <a:gd name="connsiteX2667" fmla="*/ 392926 w 3565209"/>
                  <a:gd name="connsiteY2667" fmla="*/ 1258335 h 3993936"/>
                  <a:gd name="connsiteX2668" fmla="*/ 366526 w 3565209"/>
                  <a:gd name="connsiteY2668" fmla="*/ 1260366 h 3993936"/>
                  <a:gd name="connsiteX2669" fmla="*/ 362690 w 3565209"/>
                  <a:gd name="connsiteY2669" fmla="*/ 1254048 h 3993936"/>
                  <a:gd name="connsiteX2670" fmla="*/ 359756 w 3565209"/>
                  <a:gd name="connsiteY2670" fmla="*/ 1249760 h 3993936"/>
                  <a:gd name="connsiteX2671" fmla="*/ 354567 w 3565209"/>
                  <a:gd name="connsiteY2671" fmla="*/ 1232611 h 3993936"/>
                  <a:gd name="connsiteX2672" fmla="*/ 349602 w 3565209"/>
                  <a:gd name="connsiteY2672" fmla="*/ 1216816 h 3993936"/>
                  <a:gd name="connsiteX2673" fmla="*/ 330197 w 3565209"/>
                  <a:gd name="connsiteY2673" fmla="*/ 1212529 h 3993936"/>
                  <a:gd name="connsiteX2674" fmla="*/ 321171 w 3565209"/>
                  <a:gd name="connsiteY2674" fmla="*/ 1217719 h 3993936"/>
                  <a:gd name="connsiteX2675" fmla="*/ 312822 w 3565209"/>
                  <a:gd name="connsiteY2675" fmla="*/ 1223586 h 3993936"/>
                  <a:gd name="connsiteX2676" fmla="*/ 305376 w 3565209"/>
                  <a:gd name="connsiteY2676" fmla="*/ 1228324 h 3993936"/>
                  <a:gd name="connsiteX2677" fmla="*/ 295899 w 3565209"/>
                  <a:gd name="connsiteY2677" fmla="*/ 1233965 h 3993936"/>
                  <a:gd name="connsiteX2678" fmla="*/ 287550 w 3565209"/>
                  <a:gd name="connsiteY2678" fmla="*/ 1252017 h 3993936"/>
                  <a:gd name="connsiteX2679" fmla="*/ 287324 w 3565209"/>
                  <a:gd name="connsiteY2679" fmla="*/ 1252694 h 3993936"/>
                  <a:gd name="connsiteX2680" fmla="*/ 278750 w 3565209"/>
                  <a:gd name="connsiteY2680" fmla="*/ 1272776 h 3993936"/>
                  <a:gd name="connsiteX2681" fmla="*/ 273560 w 3565209"/>
                  <a:gd name="connsiteY2681" fmla="*/ 1277064 h 3993936"/>
                  <a:gd name="connsiteX2682" fmla="*/ 267016 w 3565209"/>
                  <a:gd name="connsiteY2682" fmla="*/ 1282479 h 3993936"/>
                  <a:gd name="connsiteX2683" fmla="*/ 261149 w 3565209"/>
                  <a:gd name="connsiteY2683" fmla="*/ 1286992 h 3993936"/>
                  <a:gd name="connsiteX2684" fmla="*/ 249415 w 3565209"/>
                  <a:gd name="connsiteY2684" fmla="*/ 1296018 h 3993936"/>
                  <a:gd name="connsiteX2685" fmla="*/ 239261 w 3565209"/>
                  <a:gd name="connsiteY2685" fmla="*/ 1303915 h 3993936"/>
                  <a:gd name="connsiteX2686" fmla="*/ 228205 w 3565209"/>
                  <a:gd name="connsiteY2686" fmla="*/ 1311362 h 3993936"/>
                  <a:gd name="connsiteX2687" fmla="*/ 223015 w 3565209"/>
                  <a:gd name="connsiteY2687" fmla="*/ 1319936 h 3993936"/>
                  <a:gd name="connsiteX2688" fmla="*/ 216020 w 3565209"/>
                  <a:gd name="connsiteY2688" fmla="*/ 1331444 h 3993936"/>
                  <a:gd name="connsiteX2689" fmla="*/ 207445 w 3565209"/>
                  <a:gd name="connsiteY2689" fmla="*/ 1355814 h 3993936"/>
                  <a:gd name="connsiteX2690" fmla="*/ 210153 w 3565209"/>
                  <a:gd name="connsiteY2690" fmla="*/ 1379507 h 3993936"/>
                  <a:gd name="connsiteX2691" fmla="*/ 216471 w 3565209"/>
                  <a:gd name="connsiteY2691" fmla="*/ 1384020 h 3993936"/>
                  <a:gd name="connsiteX2692" fmla="*/ 225046 w 3565209"/>
                  <a:gd name="connsiteY2692" fmla="*/ 1388081 h 3993936"/>
                  <a:gd name="connsiteX2693" fmla="*/ 232041 w 3565209"/>
                  <a:gd name="connsiteY2693" fmla="*/ 1393948 h 3993936"/>
                  <a:gd name="connsiteX2694" fmla="*/ 242646 w 3565209"/>
                  <a:gd name="connsiteY2694" fmla="*/ 1400492 h 3993936"/>
                  <a:gd name="connsiteX2695" fmla="*/ 261375 w 3565209"/>
                  <a:gd name="connsiteY2695" fmla="*/ 1400266 h 3993936"/>
                  <a:gd name="connsiteX2696" fmla="*/ 263180 w 3565209"/>
                  <a:gd name="connsiteY2696" fmla="*/ 1400041 h 3993936"/>
                  <a:gd name="connsiteX2697" fmla="*/ 278298 w 3565209"/>
                  <a:gd name="connsiteY2697" fmla="*/ 1404554 h 3993936"/>
                  <a:gd name="connsiteX2698" fmla="*/ 279426 w 3565209"/>
                  <a:gd name="connsiteY2698" fmla="*/ 1405456 h 3993936"/>
                  <a:gd name="connsiteX2699" fmla="*/ 279878 w 3565209"/>
                  <a:gd name="connsiteY2699" fmla="*/ 1405682 h 3993936"/>
                  <a:gd name="connsiteX2700" fmla="*/ 284391 w 3565209"/>
                  <a:gd name="connsiteY2700" fmla="*/ 1417415 h 3993936"/>
                  <a:gd name="connsiteX2701" fmla="*/ 284391 w 3565209"/>
                  <a:gd name="connsiteY2701" fmla="*/ 1424862 h 3993936"/>
                  <a:gd name="connsiteX2702" fmla="*/ 284842 w 3565209"/>
                  <a:gd name="connsiteY2702" fmla="*/ 1440431 h 3993936"/>
                  <a:gd name="connsiteX2703" fmla="*/ 284391 w 3565209"/>
                  <a:gd name="connsiteY2703" fmla="*/ 1442914 h 3993936"/>
                  <a:gd name="connsiteX2704" fmla="*/ 270852 w 3565209"/>
                  <a:gd name="connsiteY2704" fmla="*/ 1468863 h 3993936"/>
                  <a:gd name="connsiteX2705" fmla="*/ 267693 w 3565209"/>
                  <a:gd name="connsiteY2705" fmla="*/ 1472247 h 3993936"/>
                  <a:gd name="connsiteX2706" fmla="*/ 269949 w 3565209"/>
                  <a:gd name="connsiteY2706" fmla="*/ 1475632 h 3993936"/>
                  <a:gd name="connsiteX2707" fmla="*/ 272431 w 3565209"/>
                  <a:gd name="connsiteY2707" fmla="*/ 1480596 h 3993936"/>
                  <a:gd name="connsiteX2708" fmla="*/ 274237 w 3565209"/>
                  <a:gd name="connsiteY2708" fmla="*/ 1499325 h 3993936"/>
                  <a:gd name="connsiteX2709" fmla="*/ 280329 w 3565209"/>
                  <a:gd name="connsiteY2709" fmla="*/ 1506546 h 3993936"/>
                  <a:gd name="connsiteX2710" fmla="*/ 286421 w 3565209"/>
                  <a:gd name="connsiteY2710" fmla="*/ 1513315 h 3993936"/>
                  <a:gd name="connsiteX2711" fmla="*/ 288452 w 3565209"/>
                  <a:gd name="connsiteY2711" fmla="*/ 1516474 h 3993936"/>
                  <a:gd name="connsiteX2712" fmla="*/ 298832 w 3565209"/>
                  <a:gd name="connsiteY2712" fmla="*/ 1528208 h 3993936"/>
                  <a:gd name="connsiteX2713" fmla="*/ 313499 w 3565209"/>
                  <a:gd name="connsiteY2713" fmla="*/ 1527305 h 3993936"/>
                  <a:gd name="connsiteX2714" fmla="*/ 322976 w 3565209"/>
                  <a:gd name="connsiteY2714" fmla="*/ 1525049 h 3993936"/>
                  <a:gd name="connsiteX2715" fmla="*/ 337192 w 3565209"/>
                  <a:gd name="connsiteY2715" fmla="*/ 1526628 h 3993936"/>
                  <a:gd name="connsiteX2716" fmla="*/ 336289 w 3565209"/>
                  <a:gd name="connsiteY2716" fmla="*/ 1534752 h 3993936"/>
                  <a:gd name="connsiteX2717" fmla="*/ 335838 w 3565209"/>
                  <a:gd name="connsiteY2717" fmla="*/ 1546711 h 3993936"/>
                  <a:gd name="connsiteX2718" fmla="*/ 336515 w 3565209"/>
                  <a:gd name="connsiteY2718" fmla="*/ 1551224 h 3993936"/>
                  <a:gd name="connsiteX2719" fmla="*/ 342833 w 3565209"/>
                  <a:gd name="connsiteY2719" fmla="*/ 1587778 h 3993936"/>
                  <a:gd name="connsiteX2720" fmla="*/ 352761 w 3565209"/>
                  <a:gd name="connsiteY2720" fmla="*/ 1595902 h 3993936"/>
                  <a:gd name="connsiteX2721" fmla="*/ 362464 w 3565209"/>
                  <a:gd name="connsiteY2721" fmla="*/ 1604702 h 3993936"/>
                  <a:gd name="connsiteX2722" fmla="*/ 362690 w 3565209"/>
                  <a:gd name="connsiteY2722" fmla="*/ 1613728 h 3993936"/>
                  <a:gd name="connsiteX2723" fmla="*/ 365172 w 3565209"/>
                  <a:gd name="connsiteY2723" fmla="*/ 1631554 h 3993936"/>
                  <a:gd name="connsiteX2724" fmla="*/ 371716 w 3565209"/>
                  <a:gd name="connsiteY2724" fmla="*/ 1646897 h 3993936"/>
                  <a:gd name="connsiteX2725" fmla="*/ 375552 w 3565209"/>
                  <a:gd name="connsiteY2725" fmla="*/ 1656826 h 3993936"/>
                  <a:gd name="connsiteX2726" fmla="*/ 379162 w 3565209"/>
                  <a:gd name="connsiteY2726" fmla="*/ 1661339 h 3993936"/>
                  <a:gd name="connsiteX2727" fmla="*/ 385931 w 3565209"/>
                  <a:gd name="connsiteY2727" fmla="*/ 1674426 h 3993936"/>
                  <a:gd name="connsiteX2728" fmla="*/ 382772 w 3565209"/>
                  <a:gd name="connsiteY2728" fmla="*/ 1677811 h 3993936"/>
                  <a:gd name="connsiteX2729" fmla="*/ 378936 w 3565209"/>
                  <a:gd name="connsiteY2729" fmla="*/ 1679165 h 3993936"/>
                  <a:gd name="connsiteX2730" fmla="*/ 376906 w 3565209"/>
                  <a:gd name="connsiteY2730" fmla="*/ 1680744 h 3993936"/>
                  <a:gd name="connsiteX2731" fmla="*/ 375100 w 3565209"/>
                  <a:gd name="connsiteY2731" fmla="*/ 1683001 h 3993936"/>
                  <a:gd name="connsiteX2732" fmla="*/ 370813 w 3565209"/>
                  <a:gd name="connsiteY2732" fmla="*/ 1692929 h 3993936"/>
                  <a:gd name="connsiteX2733" fmla="*/ 370813 w 3565209"/>
                  <a:gd name="connsiteY2733" fmla="*/ 1693381 h 3993936"/>
                  <a:gd name="connsiteX2734" fmla="*/ 378259 w 3565209"/>
                  <a:gd name="connsiteY2734" fmla="*/ 1700601 h 3993936"/>
                  <a:gd name="connsiteX2735" fmla="*/ 383901 w 3565209"/>
                  <a:gd name="connsiteY2735" fmla="*/ 1707596 h 3993936"/>
                  <a:gd name="connsiteX2736" fmla="*/ 381418 w 3565209"/>
                  <a:gd name="connsiteY2736" fmla="*/ 1713689 h 3993936"/>
                  <a:gd name="connsiteX2737" fmla="*/ 379839 w 3565209"/>
                  <a:gd name="connsiteY2737" fmla="*/ 1715720 h 3993936"/>
                  <a:gd name="connsiteX2738" fmla="*/ 370813 w 3565209"/>
                  <a:gd name="connsiteY2738" fmla="*/ 1720007 h 3993936"/>
                  <a:gd name="connsiteX2739" fmla="*/ 364269 w 3565209"/>
                  <a:gd name="connsiteY2739" fmla="*/ 1720458 h 3993936"/>
                  <a:gd name="connsiteX2740" fmla="*/ 361110 w 3565209"/>
                  <a:gd name="connsiteY2740" fmla="*/ 1721361 h 3993936"/>
                  <a:gd name="connsiteX2741" fmla="*/ 356597 w 3565209"/>
                  <a:gd name="connsiteY2741" fmla="*/ 1725874 h 3993936"/>
                  <a:gd name="connsiteX2742" fmla="*/ 352084 w 3565209"/>
                  <a:gd name="connsiteY2742" fmla="*/ 1731515 h 3993936"/>
                  <a:gd name="connsiteX2743" fmla="*/ 331776 w 3565209"/>
                  <a:gd name="connsiteY2743" fmla="*/ 1736253 h 3993936"/>
                  <a:gd name="connsiteX2744" fmla="*/ 308084 w 3565209"/>
                  <a:gd name="connsiteY2744" fmla="*/ 1723617 h 3993936"/>
                  <a:gd name="connsiteX2745" fmla="*/ 310114 w 3565209"/>
                  <a:gd name="connsiteY2745" fmla="*/ 1711207 h 3993936"/>
                  <a:gd name="connsiteX2746" fmla="*/ 312145 w 3565209"/>
                  <a:gd name="connsiteY2746" fmla="*/ 1707145 h 3993936"/>
                  <a:gd name="connsiteX2747" fmla="*/ 311694 w 3565209"/>
                  <a:gd name="connsiteY2747" fmla="*/ 1706468 h 3993936"/>
                  <a:gd name="connsiteX2748" fmla="*/ 303571 w 3565209"/>
                  <a:gd name="connsiteY2748" fmla="*/ 1707822 h 3993936"/>
                  <a:gd name="connsiteX2749" fmla="*/ 297252 w 3565209"/>
                  <a:gd name="connsiteY2749" fmla="*/ 1711207 h 3993936"/>
                  <a:gd name="connsiteX2750" fmla="*/ 292063 w 3565209"/>
                  <a:gd name="connsiteY2750" fmla="*/ 1714140 h 3993936"/>
                  <a:gd name="connsiteX2751" fmla="*/ 280329 w 3565209"/>
                  <a:gd name="connsiteY2751" fmla="*/ 1716848 h 3993936"/>
                  <a:gd name="connsiteX2752" fmla="*/ 260021 w 3565209"/>
                  <a:gd name="connsiteY2752" fmla="*/ 1721361 h 3993936"/>
                  <a:gd name="connsiteX2753" fmla="*/ 253026 w 3565209"/>
                  <a:gd name="connsiteY2753" fmla="*/ 1727453 h 3993936"/>
                  <a:gd name="connsiteX2754" fmla="*/ 244903 w 3565209"/>
                  <a:gd name="connsiteY2754" fmla="*/ 1733546 h 3993936"/>
                  <a:gd name="connsiteX2755" fmla="*/ 228656 w 3565209"/>
                  <a:gd name="connsiteY2755" fmla="*/ 1734674 h 3993936"/>
                  <a:gd name="connsiteX2756" fmla="*/ 220758 w 3565209"/>
                  <a:gd name="connsiteY2756" fmla="*/ 1734899 h 3993936"/>
                  <a:gd name="connsiteX2757" fmla="*/ 196614 w 3565209"/>
                  <a:gd name="connsiteY2757" fmla="*/ 1724520 h 3993936"/>
                  <a:gd name="connsiteX2758" fmla="*/ 189168 w 3565209"/>
                  <a:gd name="connsiteY2758" fmla="*/ 1718427 h 3993936"/>
                  <a:gd name="connsiteX2759" fmla="*/ 187814 w 3565209"/>
                  <a:gd name="connsiteY2759" fmla="*/ 1718202 h 3993936"/>
                  <a:gd name="connsiteX2760" fmla="*/ 164121 w 3565209"/>
                  <a:gd name="connsiteY2760" fmla="*/ 1717073 h 3993936"/>
                  <a:gd name="connsiteX2761" fmla="*/ 155547 w 3565209"/>
                  <a:gd name="connsiteY2761" fmla="*/ 1719104 h 3993936"/>
                  <a:gd name="connsiteX2762" fmla="*/ 144264 w 3565209"/>
                  <a:gd name="connsiteY2762" fmla="*/ 1720007 h 3993936"/>
                  <a:gd name="connsiteX2763" fmla="*/ 136818 w 3565209"/>
                  <a:gd name="connsiteY2763" fmla="*/ 1719104 h 3993936"/>
                  <a:gd name="connsiteX2764" fmla="*/ 125761 w 3565209"/>
                  <a:gd name="connsiteY2764" fmla="*/ 1719781 h 3993936"/>
                  <a:gd name="connsiteX2765" fmla="*/ 109289 w 3565209"/>
                  <a:gd name="connsiteY2765" fmla="*/ 1713463 h 3993936"/>
                  <a:gd name="connsiteX2766" fmla="*/ 107258 w 3565209"/>
                  <a:gd name="connsiteY2766" fmla="*/ 1712109 h 3993936"/>
                  <a:gd name="connsiteX2767" fmla="*/ 107033 w 3565209"/>
                  <a:gd name="connsiteY2767" fmla="*/ 1712335 h 3993936"/>
                  <a:gd name="connsiteX2768" fmla="*/ 98233 w 3565209"/>
                  <a:gd name="connsiteY2768" fmla="*/ 1713914 h 3993936"/>
                  <a:gd name="connsiteX2769" fmla="*/ 93268 w 3565209"/>
                  <a:gd name="connsiteY2769" fmla="*/ 1708048 h 3993936"/>
                  <a:gd name="connsiteX2770" fmla="*/ 88304 w 3565209"/>
                  <a:gd name="connsiteY2770" fmla="*/ 1707596 h 3993936"/>
                  <a:gd name="connsiteX2771" fmla="*/ 85145 w 3565209"/>
                  <a:gd name="connsiteY2771" fmla="*/ 1720458 h 3993936"/>
                  <a:gd name="connsiteX2772" fmla="*/ 86048 w 3565209"/>
                  <a:gd name="connsiteY2772" fmla="*/ 1724520 h 3993936"/>
                  <a:gd name="connsiteX2773" fmla="*/ 84243 w 3565209"/>
                  <a:gd name="connsiteY2773" fmla="*/ 1731966 h 3993936"/>
                  <a:gd name="connsiteX2774" fmla="*/ 82889 w 3565209"/>
                  <a:gd name="connsiteY2774" fmla="*/ 1734448 h 3993936"/>
                  <a:gd name="connsiteX2775" fmla="*/ 82663 w 3565209"/>
                  <a:gd name="connsiteY2775" fmla="*/ 1737833 h 3993936"/>
                  <a:gd name="connsiteX2776" fmla="*/ 78150 w 3565209"/>
                  <a:gd name="connsiteY2776" fmla="*/ 1749115 h 3993936"/>
                  <a:gd name="connsiteX2777" fmla="*/ 55811 w 3565209"/>
                  <a:gd name="connsiteY2777" fmla="*/ 1752951 h 3993936"/>
                  <a:gd name="connsiteX2778" fmla="*/ 40467 w 3565209"/>
                  <a:gd name="connsiteY2778" fmla="*/ 1750695 h 3993936"/>
                  <a:gd name="connsiteX2779" fmla="*/ 34600 w 3565209"/>
                  <a:gd name="connsiteY2779" fmla="*/ 1748664 h 3993936"/>
                  <a:gd name="connsiteX2780" fmla="*/ 16549 w 3565209"/>
                  <a:gd name="connsiteY2780" fmla="*/ 1752500 h 3993936"/>
                  <a:gd name="connsiteX2781" fmla="*/ 12713 w 3565209"/>
                  <a:gd name="connsiteY2781" fmla="*/ 1757690 h 3993936"/>
                  <a:gd name="connsiteX2782" fmla="*/ 14518 w 3565209"/>
                  <a:gd name="connsiteY2782" fmla="*/ 1769875 h 3993936"/>
                  <a:gd name="connsiteX2783" fmla="*/ 15420 w 3565209"/>
                  <a:gd name="connsiteY2783" fmla="*/ 1773936 h 3993936"/>
                  <a:gd name="connsiteX2784" fmla="*/ 16774 w 3565209"/>
                  <a:gd name="connsiteY2784" fmla="*/ 1776193 h 3993936"/>
                  <a:gd name="connsiteX2785" fmla="*/ 18805 w 3565209"/>
                  <a:gd name="connsiteY2785" fmla="*/ 1779803 h 3993936"/>
                  <a:gd name="connsiteX2786" fmla="*/ 5266 w 3565209"/>
                  <a:gd name="connsiteY2786" fmla="*/ 1791537 h 3993936"/>
                  <a:gd name="connsiteX2787" fmla="*/ 3912 w 3565209"/>
                  <a:gd name="connsiteY2787" fmla="*/ 1794019 h 3993936"/>
                  <a:gd name="connsiteX2788" fmla="*/ 6395 w 3565209"/>
                  <a:gd name="connsiteY2788" fmla="*/ 1795373 h 3993936"/>
                  <a:gd name="connsiteX2789" fmla="*/ 8425 w 3565209"/>
                  <a:gd name="connsiteY2789" fmla="*/ 1795373 h 3993936"/>
                  <a:gd name="connsiteX2790" fmla="*/ 20385 w 3565209"/>
                  <a:gd name="connsiteY2790" fmla="*/ 1794019 h 3993936"/>
                  <a:gd name="connsiteX2791" fmla="*/ 30313 w 3565209"/>
                  <a:gd name="connsiteY2791" fmla="*/ 1781157 h 3993936"/>
                  <a:gd name="connsiteX2792" fmla="*/ 44303 w 3565209"/>
                  <a:gd name="connsiteY2792" fmla="*/ 1775516 h 3993936"/>
                  <a:gd name="connsiteX2793" fmla="*/ 44754 w 3565209"/>
                  <a:gd name="connsiteY2793" fmla="*/ 1775516 h 3993936"/>
                  <a:gd name="connsiteX2794" fmla="*/ 50170 w 3565209"/>
                  <a:gd name="connsiteY2794" fmla="*/ 1770100 h 3993936"/>
                  <a:gd name="connsiteX2795" fmla="*/ 53103 w 3565209"/>
                  <a:gd name="connsiteY2795" fmla="*/ 1765813 h 3993936"/>
                  <a:gd name="connsiteX2796" fmla="*/ 65740 w 3565209"/>
                  <a:gd name="connsiteY2796" fmla="*/ 1761526 h 3993936"/>
                  <a:gd name="connsiteX2797" fmla="*/ 73863 w 3565209"/>
                  <a:gd name="connsiteY2797" fmla="*/ 1759721 h 3993936"/>
                  <a:gd name="connsiteX2798" fmla="*/ 87853 w 3565209"/>
                  <a:gd name="connsiteY2798" fmla="*/ 1760849 h 3993936"/>
                  <a:gd name="connsiteX2799" fmla="*/ 87176 w 3565209"/>
                  <a:gd name="connsiteY2799" fmla="*/ 1764459 h 3993936"/>
                  <a:gd name="connsiteX2800" fmla="*/ 85822 w 3565209"/>
                  <a:gd name="connsiteY2800" fmla="*/ 1765587 h 3993936"/>
                  <a:gd name="connsiteX2801" fmla="*/ 69801 w 3565209"/>
                  <a:gd name="connsiteY2801" fmla="*/ 1774613 h 3993936"/>
                  <a:gd name="connsiteX2802" fmla="*/ 64386 w 3565209"/>
                  <a:gd name="connsiteY2802" fmla="*/ 1777998 h 3993936"/>
                  <a:gd name="connsiteX2803" fmla="*/ 60550 w 3565209"/>
                  <a:gd name="connsiteY2803" fmla="*/ 1783413 h 3993936"/>
                  <a:gd name="connsiteX2804" fmla="*/ 47011 w 3565209"/>
                  <a:gd name="connsiteY2804" fmla="*/ 1789280 h 3993936"/>
                  <a:gd name="connsiteX2805" fmla="*/ 43852 w 3565209"/>
                  <a:gd name="connsiteY2805" fmla="*/ 1789957 h 3993936"/>
                  <a:gd name="connsiteX2806" fmla="*/ 39339 w 3565209"/>
                  <a:gd name="connsiteY2806" fmla="*/ 1792891 h 3993936"/>
                  <a:gd name="connsiteX2807" fmla="*/ 38211 w 3565209"/>
                  <a:gd name="connsiteY2807" fmla="*/ 1794245 h 3993936"/>
                  <a:gd name="connsiteX2808" fmla="*/ 37985 w 3565209"/>
                  <a:gd name="connsiteY2808" fmla="*/ 1806204 h 3993936"/>
                  <a:gd name="connsiteX2809" fmla="*/ 37534 w 3565209"/>
                  <a:gd name="connsiteY2809" fmla="*/ 1813424 h 3993936"/>
                  <a:gd name="connsiteX2810" fmla="*/ 38211 w 3565209"/>
                  <a:gd name="connsiteY2810" fmla="*/ 1817937 h 3993936"/>
                  <a:gd name="connsiteX2811" fmla="*/ 45883 w 3565209"/>
                  <a:gd name="connsiteY2811" fmla="*/ 1825384 h 3993936"/>
                  <a:gd name="connsiteX2812" fmla="*/ 50621 w 3565209"/>
                  <a:gd name="connsiteY2812" fmla="*/ 1831025 h 3993936"/>
                  <a:gd name="connsiteX2813" fmla="*/ 50396 w 3565209"/>
                  <a:gd name="connsiteY2813" fmla="*/ 1834410 h 3993936"/>
                  <a:gd name="connsiteX2814" fmla="*/ 50170 w 3565209"/>
                  <a:gd name="connsiteY2814" fmla="*/ 1837569 h 3993936"/>
                  <a:gd name="connsiteX2815" fmla="*/ 51524 w 3565209"/>
                  <a:gd name="connsiteY2815" fmla="*/ 1841179 h 3993936"/>
                  <a:gd name="connsiteX2816" fmla="*/ 54457 w 3565209"/>
                  <a:gd name="connsiteY2816" fmla="*/ 1849302 h 3993936"/>
                  <a:gd name="connsiteX2817" fmla="*/ 64837 w 3565209"/>
                  <a:gd name="connsiteY2817" fmla="*/ 1863292 h 3993936"/>
                  <a:gd name="connsiteX2818" fmla="*/ 71832 w 3565209"/>
                  <a:gd name="connsiteY2818" fmla="*/ 1868708 h 3993936"/>
                  <a:gd name="connsiteX2819" fmla="*/ 85822 w 3565209"/>
                  <a:gd name="connsiteY2819" fmla="*/ 1879313 h 3993936"/>
                  <a:gd name="connsiteX2820" fmla="*/ 92817 w 3565209"/>
                  <a:gd name="connsiteY2820" fmla="*/ 1883826 h 3993936"/>
                  <a:gd name="connsiteX2821" fmla="*/ 121925 w 3565209"/>
                  <a:gd name="connsiteY2821" fmla="*/ 1903909 h 3993936"/>
                  <a:gd name="connsiteX2822" fmla="*/ 138172 w 3565209"/>
                  <a:gd name="connsiteY2822" fmla="*/ 1909324 h 3993936"/>
                  <a:gd name="connsiteX2823" fmla="*/ 157803 w 3565209"/>
                  <a:gd name="connsiteY2823" fmla="*/ 1910227 h 3993936"/>
                  <a:gd name="connsiteX2824" fmla="*/ 170439 w 3565209"/>
                  <a:gd name="connsiteY2824" fmla="*/ 1911580 h 3993936"/>
                  <a:gd name="connsiteX2825" fmla="*/ 179916 w 3565209"/>
                  <a:gd name="connsiteY2825" fmla="*/ 1912934 h 3993936"/>
                  <a:gd name="connsiteX2826" fmla="*/ 186009 w 3565209"/>
                  <a:gd name="connsiteY2826" fmla="*/ 1912709 h 3993936"/>
                  <a:gd name="connsiteX2827" fmla="*/ 193907 w 3565209"/>
                  <a:gd name="connsiteY2827" fmla="*/ 1909098 h 3993936"/>
                  <a:gd name="connsiteX2828" fmla="*/ 199999 w 3565209"/>
                  <a:gd name="connsiteY2828" fmla="*/ 1907744 h 3993936"/>
                  <a:gd name="connsiteX2829" fmla="*/ 222564 w 3565209"/>
                  <a:gd name="connsiteY2829" fmla="*/ 1903231 h 3993936"/>
                  <a:gd name="connsiteX2830" fmla="*/ 232041 w 3565209"/>
                  <a:gd name="connsiteY2830" fmla="*/ 1898719 h 3993936"/>
                  <a:gd name="connsiteX2831" fmla="*/ 233169 w 3565209"/>
                  <a:gd name="connsiteY2831" fmla="*/ 1896462 h 3993936"/>
                  <a:gd name="connsiteX2832" fmla="*/ 241744 w 3565209"/>
                  <a:gd name="connsiteY2832" fmla="*/ 1893303 h 3993936"/>
                  <a:gd name="connsiteX2833" fmla="*/ 247159 w 3565209"/>
                  <a:gd name="connsiteY2833" fmla="*/ 1893077 h 3993936"/>
                  <a:gd name="connsiteX2834" fmla="*/ 248062 w 3565209"/>
                  <a:gd name="connsiteY2834" fmla="*/ 1893077 h 3993936"/>
                  <a:gd name="connsiteX2835" fmla="*/ 247610 w 3565209"/>
                  <a:gd name="connsiteY2835" fmla="*/ 1887211 h 3993936"/>
                  <a:gd name="connsiteX2836" fmla="*/ 246708 w 3565209"/>
                  <a:gd name="connsiteY2836" fmla="*/ 1880667 h 3993936"/>
                  <a:gd name="connsiteX2837" fmla="*/ 263180 w 3565209"/>
                  <a:gd name="connsiteY2837" fmla="*/ 1864195 h 3993936"/>
                  <a:gd name="connsiteX2838" fmla="*/ 277621 w 3565209"/>
                  <a:gd name="connsiteY2838" fmla="*/ 1864646 h 3993936"/>
                  <a:gd name="connsiteX2839" fmla="*/ 281232 w 3565209"/>
                  <a:gd name="connsiteY2839" fmla="*/ 1866902 h 3993936"/>
                  <a:gd name="connsiteX2840" fmla="*/ 296350 w 3565209"/>
                  <a:gd name="connsiteY2840" fmla="*/ 1871867 h 3993936"/>
                  <a:gd name="connsiteX2841" fmla="*/ 309437 w 3565209"/>
                  <a:gd name="connsiteY2841" fmla="*/ 1866902 h 3993936"/>
                  <a:gd name="connsiteX2842" fmla="*/ 317335 w 3565209"/>
                  <a:gd name="connsiteY2842" fmla="*/ 1866226 h 3993936"/>
                  <a:gd name="connsiteX2843" fmla="*/ 320720 w 3565209"/>
                  <a:gd name="connsiteY2843" fmla="*/ 1876380 h 3993936"/>
                  <a:gd name="connsiteX2844" fmla="*/ 304699 w 3565209"/>
                  <a:gd name="connsiteY2844" fmla="*/ 1891047 h 3993936"/>
                  <a:gd name="connsiteX2845" fmla="*/ 302442 w 3565209"/>
                  <a:gd name="connsiteY2845" fmla="*/ 1892626 h 3993936"/>
                  <a:gd name="connsiteX2846" fmla="*/ 296124 w 3565209"/>
                  <a:gd name="connsiteY2846" fmla="*/ 1895560 h 3993936"/>
                  <a:gd name="connsiteX2847" fmla="*/ 293642 w 3565209"/>
                  <a:gd name="connsiteY2847" fmla="*/ 1897139 h 3993936"/>
                  <a:gd name="connsiteX2848" fmla="*/ 292514 w 3565209"/>
                  <a:gd name="connsiteY2848" fmla="*/ 1900975 h 3993936"/>
                  <a:gd name="connsiteX2849" fmla="*/ 285519 w 3565209"/>
                  <a:gd name="connsiteY2849" fmla="*/ 1912032 h 3993936"/>
                  <a:gd name="connsiteX2850" fmla="*/ 279426 w 3565209"/>
                  <a:gd name="connsiteY2850" fmla="*/ 1917222 h 3993936"/>
                  <a:gd name="connsiteX2851" fmla="*/ 270175 w 3565209"/>
                  <a:gd name="connsiteY2851" fmla="*/ 1921283 h 3993936"/>
                  <a:gd name="connsiteX2852" fmla="*/ 267242 w 3565209"/>
                  <a:gd name="connsiteY2852" fmla="*/ 1916093 h 3993936"/>
                  <a:gd name="connsiteX2853" fmla="*/ 260247 w 3565209"/>
                  <a:gd name="connsiteY2853" fmla="*/ 1929181 h 3993936"/>
                  <a:gd name="connsiteX2854" fmla="*/ 247159 w 3565209"/>
                  <a:gd name="connsiteY2854" fmla="*/ 1953099 h 3993936"/>
                  <a:gd name="connsiteX2855" fmla="*/ 236102 w 3565209"/>
                  <a:gd name="connsiteY2855" fmla="*/ 1962576 h 3993936"/>
                  <a:gd name="connsiteX2856" fmla="*/ 224820 w 3565209"/>
                  <a:gd name="connsiteY2856" fmla="*/ 1955581 h 3993936"/>
                  <a:gd name="connsiteX2857" fmla="*/ 220758 w 3565209"/>
                  <a:gd name="connsiteY2857" fmla="*/ 1951520 h 3993936"/>
                  <a:gd name="connsiteX2858" fmla="*/ 219856 w 3565209"/>
                  <a:gd name="connsiteY2858" fmla="*/ 1952197 h 3993936"/>
                  <a:gd name="connsiteX2859" fmla="*/ 216697 w 3565209"/>
                  <a:gd name="connsiteY2859" fmla="*/ 1954453 h 3993936"/>
                  <a:gd name="connsiteX2860" fmla="*/ 213989 w 3565209"/>
                  <a:gd name="connsiteY2860" fmla="*/ 1958966 h 3993936"/>
                  <a:gd name="connsiteX2861" fmla="*/ 204061 w 3565209"/>
                  <a:gd name="connsiteY2861" fmla="*/ 1967315 h 3993936"/>
                  <a:gd name="connsiteX2862" fmla="*/ 200225 w 3565209"/>
                  <a:gd name="connsiteY2862" fmla="*/ 1969571 h 3993936"/>
                  <a:gd name="connsiteX2863" fmla="*/ 195486 w 3565209"/>
                  <a:gd name="connsiteY2863" fmla="*/ 1972956 h 3993936"/>
                  <a:gd name="connsiteX2864" fmla="*/ 188491 w 3565209"/>
                  <a:gd name="connsiteY2864" fmla="*/ 1970248 h 3993936"/>
                  <a:gd name="connsiteX2865" fmla="*/ 180819 w 3565209"/>
                  <a:gd name="connsiteY2865" fmla="*/ 1967315 h 3993936"/>
                  <a:gd name="connsiteX2866" fmla="*/ 179014 w 3565209"/>
                  <a:gd name="connsiteY2866" fmla="*/ 1967766 h 3993936"/>
                  <a:gd name="connsiteX2867" fmla="*/ 179916 w 3565209"/>
                  <a:gd name="connsiteY2867" fmla="*/ 1971151 h 3993936"/>
                  <a:gd name="connsiteX2868" fmla="*/ 180593 w 3565209"/>
                  <a:gd name="connsiteY2868" fmla="*/ 1976566 h 3993936"/>
                  <a:gd name="connsiteX2869" fmla="*/ 178337 w 3565209"/>
                  <a:gd name="connsiteY2869" fmla="*/ 1978146 h 3993936"/>
                  <a:gd name="connsiteX2870" fmla="*/ 172245 w 3565209"/>
                  <a:gd name="connsiteY2870" fmla="*/ 1977920 h 3993936"/>
                  <a:gd name="connsiteX2871" fmla="*/ 161188 w 3565209"/>
                  <a:gd name="connsiteY2871" fmla="*/ 1977244 h 3993936"/>
                  <a:gd name="connsiteX2872" fmla="*/ 156675 w 3565209"/>
                  <a:gd name="connsiteY2872" fmla="*/ 1977920 h 3993936"/>
                  <a:gd name="connsiteX2873" fmla="*/ 156675 w 3565209"/>
                  <a:gd name="connsiteY2873" fmla="*/ 1978372 h 3993936"/>
                  <a:gd name="connsiteX2874" fmla="*/ 153290 w 3565209"/>
                  <a:gd name="connsiteY2874" fmla="*/ 1983787 h 3993936"/>
                  <a:gd name="connsiteX2875" fmla="*/ 146747 w 3565209"/>
                  <a:gd name="connsiteY2875" fmla="*/ 1984464 h 3993936"/>
                  <a:gd name="connsiteX2876" fmla="*/ 145393 w 3565209"/>
                  <a:gd name="connsiteY2876" fmla="*/ 1983110 h 3993936"/>
                  <a:gd name="connsiteX2877" fmla="*/ 132080 w 3565209"/>
                  <a:gd name="connsiteY2877" fmla="*/ 1984239 h 3993936"/>
                  <a:gd name="connsiteX2878" fmla="*/ 122828 w 3565209"/>
                  <a:gd name="connsiteY2878" fmla="*/ 1987849 h 3993936"/>
                  <a:gd name="connsiteX2879" fmla="*/ 119895 w 3565209"/>
                  <a:gd name="connsiteY2879" fmla="*/ 1989654 h 3993936"/>
                  <a:gd name="connsiteX2880" fmla="*/ 111546 w 3565209"/>
                  <a:gd name="connsiteY2880" fmla="*/ 1989880 h 3993936"/>
                  <a:gd name="connsiteX2881" fmla="*/ 108161 w 3565209"/>
                  <a:gd name="connsiteY2881" fmla="*/ 1983787 h 3993936"/>
                  <a:gd name="connsiteX2882" fmla="*/ 110643 w 3565209"/>
                  <a:gd name="connsiteY2882" fmla="*/ 1975664 h 3993936"/>
                  <a:gd name="connsiteX2883" fmla="*/ 112900 w 3565209"/>
                  <a:gd name="connsiteY2883" fmla="*/ 1967315 h 3993936"/>
                  <a:gd name="connsiteX2884" fmla="*/ 112448 w 3565209"/>
                  <a:gd name="connsiteY2884" fmla="*/ 1966412 h 3993936"/>
                  <a:gd name="connsiteX2885" fmla="*/ 111094 w 3565209"/>
                  <a:gd name="connsiteY2885" fmla="*/ 1967089 h 3993936"/>
                  <a:gd name="connsiteX2886" fmla="*/ 106581 w 3565209"/>
                  <a:gd name="connsiteY2886" fmla="*/ 1968218 h 3993936"/>
                  <a:gd name="connsiteX2887" fmla="*/ 104551 w 3565209"/>
                  <a:gd name="connsiteY2887" fmla="*/ 1967315 h 3993936"/>
                  <a:gd name="connsiteX2888" fmla="*/ 102971 w 3565209"/>
                  <a:gd name="connsiteY2888" fmla="*/ 1959192 h 3993936"/>
                  <a:gd name="connsiteX2889" fmla="*/ 102745 w 3565209"/>
                  <a:gd name="connsiteY2889" fmla="*/ 1955130 h 3993936"/>
                  <a:gd name="connsiteX2890" fmla="*/ 90109 w 3565209"/>
                  <a:gd name="connsiteY2890" fmla="*/ 1972279 h 3993936"/>
                  <a:gd name="connsiteX2891" fmla="*/ 94171 w 3565209"/>
                  <a:gd name="connsiteY2891" fmla="*/ 1992362 h 3993936"/>
                  <a:gd name="connsiteX2892" fmla="*/ 146521 w 3565209"/>
                  <a:gd name="connsiteY2892" fmla="*/ 2054866 h 3993936"/>
                  <a:gd name="connsiteX2893" fmla="*/ 181947 w 3565209"/>
                  <a:gd name="connsiteY2893" fmla="*/ 2095933 h 3993936"/>
                  <a:gd name="connsiteX2894" fmla="*/ 191650 w 3565209"/>
                  <a:gd name="connsiteY2894" fmla="*/ 2108795 h 3993936"/>
                  <a:gd name="connsiteX2895" fmla="*/ 205189 w 3565209"/>
                  <a:gd name="connsiteY2895" fmla="*/ 2126621 h 3993936"/>
                  <a:gd name="connsiteX2896" fmla="*/ 220758 w 3565209"/>
                  <a:gd name="connsiteY2896" fmla="*/ 2146252 h 3993936"/>
                  <a:gd name="connsiteX2897" fmla="*/ 264534 w 3565209"/>
                  <a:gd name="connsiteY2897" fmla="*/ 2185741 h 3993936"/>
                  <a:gd name="connsiteX2898" fmla="*/ 275590 w 3565209"/>
                  <a:gd name="connsiteY2898" fmla="*/ 2193864 h 3993936"/>
                  <a:gd name="connsiteX2899" fmla="*/ 294545 w 3565209"/>
                  <a:gd name="connsiteY2899" fmla="*/ 2202664 h 3993936"/>
                  <a:gd name="connsiteX2900" fmla="*/ 303571 w 3565209"/>
                  <a:gd name="connsiteY2900" fmla="*/ 2205146 h 3993936"/>
                  <a:gd name="connsiteX2901" fmla="*/ 314402 w 3565209"/>
                  <a:gd name="connsiteY2901" fmla="*/ 2207628 h 3993936"/>
                  <a:gd name="connsiteX2902" fmla="*/ 314402 w 3565209"/>
                  <a:gd name="connsiteY2902" fmla="*/ 2205597 h 3993936"/>
                  <a:gd name="connsiteX2903" fmla="*/ 315530 w 3565209"/>
                  <a:gd name="connsiteY2903" fmla="*/ 2202438 h 3993936"/>
                  <a:gd name="connsiteX2904" fmla="*/ 325910 w 3565209"/>
                  <a:gd name="connsiteY2904" fmla="*/ 2201084 h 3993936"/>
                  <a:gd name="connsiteX2905" fmla="*/ 341028 w 3565209"/>
                  <a:gd name="connsiteY2905" fmla="*/ 2199730 h 3993936"/>
                  <a:gd name="connsiteX2906" fmla="*/ 354341 w 3565209"/>
                  <a:gd name="connsiteY2906" fmla="*/ 2196120 h 3993936"/>
                  <a:gd name="connsiteX2907" fmla="*/ 364721 w 3565209"/>
                  <a:gd name="connsiteY2907" fmla="*/ 2193187 h 3993936"/>
                  <a:gd name="connsiteX2908" fmla="*/ 376003 w 3565209"/>
                  <a:gd name="connsiteY2908" fmla="*/ 2188674 h 3993936"/>
                  <a:gd name="connsiteX2909" fmla="*/ 397891 w 3565209"/>
                  <a:gd name="connsiteY2909" fmla="*/ 2178294 h 3993936"/>
                  <a:gd name="connsiteX2910" fmla="*/ 410978 w 3565209"/>
                  <a:gd name="connsiteY2910" fmla="*/ 2174909 h 3993936"/>
                  <a:gd name="connsiteX2911" fmla="*/ 417071 w 3565209"/>
                  <a:gd name="connsiteY2911" fmla="*/ 2174684 h 3993936"/>
                  <a:gd name="connsiteX2912" fmla="*/ 431512 w 3565209"/>
                  <a:gd name="connsiteY2912" fmla="*/ 2168140 h 3993936"/>
                  <a:gd name="connsiteX2913" fmla="*/ 464908 w 3565209"/>
                  <a:gd name="connsiteY2913" fmla="*/ 2153699 h 3993936"/>
                  <a:gd name="connsiteX2914" fmla="*/ 472580 w 3565209"/>
                  <a:gd name="connsiteY2914" fmla="*/ 2149186 h 3993936"/>
                  <a:gd name="connsiteX2915" fmla="*/ 471677 w 3565209"/>
                  <a:gd name="connsiteY2915" fmla="*/ 2144447 h 3993936"/>
                  <a:gd name="connsiteX2916" fmla="*/ 476867 w 3565209"/>
                  <a:gd name="connsiteY2916" fmla="*/ 2132714 h 3993936"/>
                  <a:gd name="connsiteX2917" fmla="*/ 480477 w 3565209"/>
                  <a:gd name="connsiteY2917" fmla="*/ 2129780 h 3993936"/>
                  <a:gd name="connsiteX2918" fmla="*/ 483185 w 3565209"/>
                  <a:gd name="connsiteY2918" fmla="*/ 2127298 h 3993936"/>
                  <a:gd name="connsiteX2919" fmla="*/ 497852 w 3565209"/>
                  <a:gd name="connsiteY2919" fmla="*/ 2107667 h 3993936"/>
                  <a:gd name="connsiteX2920" fmla="*/ 494693 w 3565209"/>
                  <a:gd name="connsiteY2920" fmla="*/ 2090067 h 3993936"/>
                  <a:gd name="connsiteX2921" fmla="*/ 489052 w 3565209"/>
                  <a:gd name="connsiteY2921" fmla="*/ 2082620 h 3993936"/>
                  <a:gd name="connsiteX2922" fmla="*/ 487472 w 3565209"/>
                  <a:gd name="connsiteY2922" fmla="*/ 2076979 h 3993936"/>
                  <a:gd name="connsiteX2923" fmla="*/ 481154 w 3565209"/>
                  <a:gd name="connsiteY2923" fmla="*/ 2074271 h 3993936"/>
                  <a:gd name="connsiteX2924" fmla="*/ 475739 w 3565209"/>
                  <a:gd name="connsiteY2924" fmla="*/ 2074723 h 3993936"/>
                  <a:gd name="connsiteX2925" fmla="*/ 466938 w 3565209"/>
                  <a:gd name="connsiteY2925" fmla="*/ 2067953 h 3993936"/>
                  <a:gd name="connsiteX2926" fmla="*/ 466487 w 3565209"/>
                  <a:gd name="connsiteY2926" fmla="*/ 2061861 h 3993936"/>
                  <a:gd name="connsiteX2927" fmla="*/ 469646 w 3565209"/>
                  <a:gd name="connsiteY2927" fmla="*/ 2060507 h 3993936"/>
                  <a:gd name="connsiteX2928" fmla="*/ 483185 w 3565209"/>
                  <a:gd name="connsiteY2928" fmla="*/ 2058250 h 3993936"/>
                  <a:gd name="connsiteX2929" fmla="*/ 482057 w 3565209"/>
                  <a:gd name="connsiteY2929" fmla="*/ 2055994 h 3993936"/>
                  <a:gd name="connsiteX2930" fmla="*/ 479123 w 3565209"/>
                  <a:gd name="connsiteY2930" fmla="*/ 2047645 h 3993936"/>
                  <a:gd name="connsiteX2931" fmla="*/ 484990 w 3565209"/>
                  <a:gd name="connsiteY2931" fmla="*/ 2041101 h 3993936"/>
                  <a:gd name="connsiteX2932" fmla="*/ 488149 w 3565209"/>
                  <a:gd name="connsiteY2932" fmla="*/ 2039522 h 3993936"/>
                  <a:gd name="connsiteX2933" fmla="*/ 496498 w 3565209"/>
                  <a:gd name="connsiteY2933" fmla="*/ 2030045 h 3993936"/>
                  <a:gd name="connsiteX2934" fmla="*/ 501688 w 3565209"/>
                  <a:gd name="connsiteY2934" fmla="*/ 2017409 h 3993936"/>
                  <a:gd name="connsiteX2935" fmla="*/ 516806 w 3565209"/>
                  <a:gd name="connsiteY2935" fmla="*/ 1999131 h 3993936"/>
                  <a:gd name="connsiteX2936" fmla="*/ 522447 w 3565209"/>
                  <a:gd name="connsiteY2936" fmla="*/ 2002516 h 3993936"/>
                  <a:gd name="connsiteX2937" fmla="*/ 522222 w 3565209"/>
                  <a:gd name="connsiteY2937" fmla="*/ 2008157 h 3993936"/>
                  <a:gd name="connsiteX2938" fmla="*/ 521770 w 3565209"/>
                  <a:gd name="connsiteY2938" fmla="*/ 2012219 h 3993936"/>
                  <a:gd name="connsiteX2939" fmla="*/ 524027 w 3565209"/>
                  <a:gd name="connsiteY2939" fmla="*/ 2014249 h 3993936"/>
                  <a:gd name="connsiteX2940" fmla="*/ 526509 w 3565209"/>
                  <a:gd name="connsiteY2940" fmla="*/ 2014926 h 3993936"/>
                  <a:gd name="connsiteX2941" fmla="*/ 526960 w 3565209"/>
                  <a:gd name="connsiteY2941" fmla="*/ 2014024 h 3993936"/>
                  <a:gd name="connsiteX2942" fmla="*/ 527186 w 3565209"/>
                  <a:gd name="connsiteY2942" fmla="*/ 2013572 h 3993936"/>
                  <a:gd name="connsiteX2943" fmla="*/ 536663 w 3565209"/>
                  <a:gd name="connsiteY2943" fmla="*/ 2008608 h 3993936"/>
                  <a:gd name="connsiteX2944" fmla="*/ 550202 w 3565209"/>
                  <a:gd name="connsiteY2944" fmla="*/ 2008834 h 3993936"/>
                  <a:gd name="connsiteX2945" fmla="*/ 564418 w 3565209"/>
                  <a:gd name="connsiteY2945" fmla="*/ 2009285 h 3993936"/>
                  <a:gd name="connsiteX2946" fmla="*/ 584274 w 3565209"/>
                  <a:gd name="connsiteY2946" fmla="*/ 2012670 h 3993936"/>
                  <a:gd name="connsiteX2947" fmla="*/ 583372 w 3565209"/>
                  <a:gd name="connsiteY2947" fmla="*/ 2015378 h 3993936"/>
                  <a:gd name="connsiteX2948" fmla="*/ 581115 w 3565209"/>
                  <a:gd name="connsiteY2948" fmla="*/ 2018988 h 3993936"/>
                  <a:gd name="connsiteX2949" fmla="*/ 572089 w 3565209"/>
                  <a:gd name="connsiteY2949" fmla="*/ 2028465 h 3993936"/>
                  <a:gd name="connsiteX2950" fmla="*/ 560130 w 3565209"/>
                  <a:gd name="connsiteY2950" fmla="*/ 2025306 h 3993936"/>
                  <a:gd name="connsiteX2951" fmla="*/ 549976 w 3565209"/>
                  <a:gd name="connsiteY2951" fmla="*/ 2022373 h 3993936"/>
                  <a:gd name="connsiteX2952" fmla="*/ 547494 w 3565209"/>
                  <a:gd name="connsiteY2952" fmla="*/ 2023501 h 3993936"/>
                  <a:gd name="connsiteX2953" fmla="*/ 542530 w 3565209"/>
                  <a:gd name="connsiteY2953" fmla="*/ 2038394 h 3993936"/>
                  <a:gd name="connsiteX2954" fmla="*/ 544335 w 3565209"/>
                  <a:gd name="connsiteY2954" fmla="*/ 2048999 h 3993936"/>
                  <a:gd name="connsiteX2955" fmla="*/ 562161 w 3565209"/>
                  <a:gd name="connsiteY2955" fmla="*/ 2046291 h 3993936"/>
                  <a:gd name="connsiteX2956" fmla="*/ 568479 w 3565209"/>
                  <a:gd name="connsiteY2956" fmla="*/ 2050127 h 3993936"/>
                  <a:gd name="connsiteX2957" fmla="*/ 563064 w 3565209"/>
                  <a:gd name="connsiteY2957" fmla="*/ 2059153 h 3993936"/>
                  <a:gd name="connsiteX2958" fmla="*/ 553135 w 3565209"/>
                  <a:gd name="connsiteY2958" fmla="*/ 2062538 h 3993936"/>
                  <a:gd name="connsiteX2959" fmla="*/ 551104 w 3565209"/>
                  <a:gd name="connsiteY2959" fmla="*/ 2062538 h 3993936"/>
                  <a:gd name="connsiteX2960" fmla="*/ 545915 w 3565209"/>
                  <a:gd name="connsiteY2960" fmla="*/ 2075851 h 3993936"/>
                  <a:gd name="connsiteX2961" fmla="*/ 542981 w 3565209"/>
                  <a:gd name="connsiteY2961" fmla="*/ 2085102 h 3993936"/>
                  <a:gd name="connsiteX2962" fmla="*/ 542304 w 3565209"/>
                  <a:gd name="connsiteY2962" fmla="*/ 2088036 h 3993936"/>
                  <a:gd name="connsiteX2963" fmla="*/ 556746 w 3565209"/>
                  <a:gd name="connsiteY2963" fmla="*/ 2090067 h 3993936"/>
                  <a:gd name="connsiteX2964" fmla="*/ 569156 w 3565209"/>
                  <a:gd name="connsiteY2964" fmla="*/ 2093451 h 3993936"/>
                  <a:gd name="connsiteX2965" fmla="*/ 568930 w 3565209"/>
                  <a:gd name="connsiteY2965" fmla="*/ 2099318 h 3993936"/>
                  <a:gd name="connsiteX2966" fmla="*/ 568254 w 3565209"/>
                  <a:gd name="connsiteY2966" fmla="*/ 2101123 h 3993936"/>
                  <a:gd name="connsiteX2967" fmla="*/ 555843 w 3565209"/>
                  <a:gd name="connsiteY2967" fmla="*/ 2111954 h 3993936"/>
                  <a:gd name="connsiteX2968" fmla="*/ 553361 w 3565209"/>
                  <a:gd name="connsiteY2968" fmla="*/ 2113308 h 3993936"/>
                  <a:gd name="connsiteX2969" fmla="*/ 554489 w 3565209"/>
                  <a:gd name="connsiteY2969" fmla="*/ 2117595 h 3993936"/>
                  <a:gd name="connsiteX2970" fmla="*/ 556069 w 3565209"/>
                  <a:gd name="connsiteY2970" fmla="*/ 2125719 h 3993936"/>
                  <a:gd name="connsiteX2971" fmla="*/ 552684 w 3565209"/>
                  <a:gd name="connsiteY2971" fmla="*/ 2128878 h 3993936"/>
                  <a:gd name="connsiteX2972" fmla="*/ 546817 w 3565209"/>
                  <a:gd name="connsiteY2972" fmla="*/ 2139709 h 3993936"/>
                  <a:gd name="connsiteX2973" fmla="*/ 543432 w 3565209"/>
                  <a:gd name="connsiteY2973" fmla="*/ 2150991 h 3993936"/>
                  <a:gd name="connsiteX2974" fmla="*/ 542755 w 3565209"/>
                  <a:gd name="connsiteY2974" fmla="*/ 2155504 h 3993936"/>
                  <a:gd name="connsiteX2975" fmla="*/ 551781 w 3565209"/>
                  <a:gd name="connsiteY2975" fmla="*/ 2160468 h 3993936"/>
                  <a:gd name="connsiteX2976" fmla="*/ 561258 w 3565209"/>
                  <a:gd name="connsiteY2976" fmla="*/ 2164304 h 3993936"/>
                  <a:gd name="connsiteX2977" fmla="*/ 568479 w 3565209"/>
                  <a:gd name="connsiteY2977" fmla="*/ 2187094 h 3993936"/>
                  <a:gd name="connsiteX2978" fmla="*/ 568254 w 3565209"/>
                  <a:gd name="connsiteY2978" fmla="*/ 2187546 h 3993936"/>
                  <a:gd name="connsiteX2979" fmla="*/ 574120 w 3565209"/>
                  <a:gd name="connsiteY2979" fmla="*/ 2201987 h 3993936"/>
                  <a:gd name="connsiteX2980" fmla="*/ 572992 w 3565209"/>
                  <a:gd name="connsiteY2980" fmla="*/ 2222972 h 3993936"/>
                  <a:gd name="connsiteX2981" fmla="*/ 571864 w 3565209"/>
                  <a:gd name="connsiteY2981" fmla="*/ 2236962 h 3993936"/>
                  <a:gd name="connsiteX2982" fmla="*/ 572315 w 3565209"/>
                  <a:gd name="connsiteY2982" fmla="*/ 2244860 h 3993936"/>
                  <a:gd name="connsiteX2983" fmla="*/ 564643 w 3565209"/>
                  <a:gd name="connsiteY2983" fmla="*/ 2263137 h 3993936"/>
                  <a:gd name="connsiteX2984" fmla="*/ 560356 w 3565209"/>
                  <a:gd name="connsiteY2984" fmla="*/ 2270584 h 3993936"/>
                  <a:gd name="connsiteX2985" fmla="*/ 559679 w 3565209"/>
                  <a:gd name="connsiteY2985" fmla="*/ 2285025 h 3993936"/>
                  <a:gd name="connsiteX2986" fmla="*/ 557422 w 3565209"/>
                  <a:gd name="connsiteY2986" fmla="*/ 2300820 h 3993936"/>
                  <a:gd name="connsiteX2987" fmla="*/ 556294 w 3565209"/>
                  <a:gd name="connsiteY2987" fmla="*/ 2306010 h 3993936"/>
                  <a:gd name="connsiteX2988" fmla="*/ 551330 w 3565209"/>
                  <a:gd name="connsiteY2988" fmla="*/ 2320000 h 3993936"/>
                  <a:gd name="connsiteX2989" fmla="*/ 541853 w 3565209"/>
                  <a:gd name="connsiteY2989" fmla="*/ 2344821 h 3993936"/>
                  <a:gd name="connsiteX2990" fmla="*/ 546817 w 3565209"/>
                  <a:gd name="connsiteY2990" fmla="*/ 2361970 h 3993936"/>
                  <a:gd name="connsiteX2991" fmla="*/ 551104 w 3565209"/>
                  <a:gd name="connsiteY2991" fmla="*/ 2374381 h 3993936"/>
                  <a:gd name="connsiteX2992" fmla="*/ 552684 w 3565209"/>
                  <a:gd name="connsiteY2992" fmla="*/ 2404166 h 3993936"/>
                  <a:gd name="connsiteX2993" fmla="*/ 554263 w 3565209"/>
                  <a:gd name="connsiteY2993" fmla="*/ 2434177 h 3993936"/>
                  <a:gd name="connsiteX2994" fmla="*/ 558099 w 3565209"/>
                  <a:gd name="connsiteY2994" fmla="*/ 2457870 h 3993936"/>
                  <a:gd name="connsiteX2995" fmla="*/ 559453 w 3565209"/>
                  <a:gd name="connsiteY2995" fmla="*/ 2474567 h 3993936"/>
                  <a:gd name="connsiteX2996" fmla="*/ 559228 w 3565209"/>
                  <a:gd name="connsiteY2996" fmla="*/ 2475470 h 3993936"/>
                  <a:gd name="connsiteX2997" fmla="*/ 558551 w 3565209"/>
                  <a:gd name="connsiteY2997" fmla="*/ 2488783 h 3993936"/>
                  <a:gd name="connsiteX2998" fmla="*/ 561935 w 3565209"/>
                  <a:gd name="connsiteY2998" fmla="*/ 2514958 h 3993936"/>
                  <a:gd name="connsiteX2999" fmla="*/ 563289 w 3565209"/>
                  <a:gd name="connsiteY2999" fmla="*/ 2525789 h 3993936"/>
                  <a:gd name="connsiteX3000" fmla="*/ 563741 w 3565209"/>
                  <a:gd name="connsiteY3000" fmla="*/ 2540005 h 3993936"/>
                  <a:gd name="connsiteX3001" fmla="*/ 565771 w 3565209"/>
                  <a:gd name="connsiteY3001" fmla="*/ 2552641 h 3993936"/>
                  <a:gd name="connsiteX3002" fmla="*/ 567577 w 3565209"/>
                  <a:gd name="connsiteY3002" fmla="*/ 2563472 h 3993936"/>
                  <a:gd name="connsiteX3003" fmla="*/ 572541 w 3565209"/>
                  <a:gd name="connsiteY3003" fmla="*/ 2589196 h 3993936"/>
                  <a:gd name="connsiteX3004" fmla="*/ 576377 w 3565209"/>
                  <a:gd name="connsiteY3004" fmla="*/ 2596416 h 3993936"/>
                  <a:gd name="connsiteX3005" fmla="*/ 582921 w 3565209"/>
                  <a:gd name="connsiteY3005" fmla="*/ 2615371 h 3993936"/>
                  <a:gd name="connsiteX3006" fmla="*/ 587885 w 3565209"/>
                  <a:gd name="connsiteY3006" fmla="*/ 2632069 h 3993936"/>
                  <a:gd name="connsiteX3007" fmla="*/ 591269 w 3565209"/>
                  <a:gd name="connsiteY3007" fmla="*/ 2642674 h 3993936"/>
                  <a:gd name="connsiteX3008" fmla="*/ 592849 w 3565209"/>
                  <a:gd name="connsiteY3008" fmla="*/ 2654633 h 3993936"/>
                  <a:gd name="connsiteX3009" fmla="*/ 595105 w 3565209"/>
                  <a:gd name="connsiteY3009" fmla="*/ 2675844 h 3993936"/>
                  <a:gd name="connsiteX3010" fmla="*/ 598716 w 3565209"/>
                  <a:gd name="connsiteY3010" fmla="*/ 2691188 h 3993936"/>
                  <a:gd name="connsiteX3011" fmla="*/ 602552 w 3565209"/>
                  <a:gd name="connsiteY3011" fmla="*/ 2706757 h 3993936"/>
                  <a:gd name="connsiteX3012" fmla="*/ 600747 w 3565209"/>
                  <a:gd name="connsiteY3012" fmla="*/ 2713301 h 3993936"/>
                  <a:gd name="connsiteX3013" fmla="*/ 599167 w 3565209"/>
                  <a:gd name="connsiteY3013" fmla="*/ 2720747 h 3993936"/>
                  <a:gd name="connsiteX3014" fmla="*/ 601649 w 3565209"/>
                  <a:gd name="connsiteY3014" fmla="*/ 2743989 h 3993936"/>
                  <a:gd name="connsiteX3015" fmla="*/ 604357 w 3565209"/>
                  <a:gd name="connsiteY3015" fmla="*/ 2764297 h 3993936"/>
                  <a:gd name="connsiteX3016" fmla="*/ 605485 w 3565209"/>
                  <a:gd name="connsiteY3016" fmla="*/ 2774451 h 3993936"/>
                  <a:gd name="connsiteX3017" fmla="*/ 607290 w 3565209"/>
                  <a:gd name="connsiteY3017" fmla="*/ 2814842 h 3993936"/>
                  <a:gd name="connsiteX3018" fmla="*/ 610675 w 3565209"/>
                  <a:gd name="connsiteY3018" fmla="*/ 2835376 h 3993936"/>
                  <a:gd name="connsiteX3019" fmla="*/ 614285 w 3565209"/>
                  <a:gd name="connsiteY3019" fmla="*/ 2843048 h 3993936"/>
                  <a:gd name="connsiteX3020" fmla="*/ 616090 w 3565209"/>
                  <a:gd name="connsiteY3020" fmla="*/ 2850043 h 3993936"/>
                  <a:gd name="connsiteX3021" fmla="*/ 623537 w 3565209"/>
                  <a:gd name="connsiteY3021" fmla="*/ 2874864 h 3993936"/>
                  <a:gd name="connsiteX3022" fmla="*/ 633691 w 3565209"/>
                  <a:gd name="connsiteY3022" fmla="*/ 2888177 h 3993936"/>
                  <a:gd name="connsiteX3023" fmla="*/ 637076 w 3565209"/>
                  <a:gd name="connsiteY3023" fmla="*/ 2891562 h 3993936"/>
                  <a:gd name="connsiteX3024" fmla="*/ 644973 w 3565209"/>
                  <a:gd name="connsiteY3024" fmla="*/ 2903746 h 3993936"/>
                  <a:gd name="connsiteX3025" fmla="*/ 645876 w 3565209"/>
                  <a:gd name="connsiteY3025" fmla="*/ 2905551 h 3993936"/>
                  <a:gd name="connsiteX3026" fmla="*/ 646778 w 3565209"/>
                  <a:gd name="connsiteY3026" fmla="*/ 2915254 h 3993936"/>
                  <a:gd name="connsiteX3027" fmla="*/ 646553 w 3565209"/>
                  <a:gd name="connsiteY3027" fmla="*/ 2919993 h 3993936"/>
                  <a:gd name="connsiteX3028" fmla="*/ 656030 w 3565209"/>
                  <a:gd name="connsiteY3028" fmla="*/ 2942332 h 3993936"/>
                  <a:gd name="connsiteX3029" fmla="*/ 663251 w 3565209"/>
                  <a:gd name="connsiteY3029" fmla="*/ 2956999 h 3993936"/>
                  <a:gd name="connsiteX3030" fmla="*/ 665733 w 3565209"/>
                  <a:gd name="connsiteY3030" fmla="*/ 2963317 h 3993936"/>
                  <a:gd name="connsiteX3031" fmla="*/ 669117 w 3565209"/>
                  <a:gd name="connsiteY3031" fmla="*/ 2995133 h 3993936"/>
                  <a:gd name="connsiteX3032" fmla="*/ 669117 w 3565209"/>
                  <a:gd name="connsiteY3032" fmla="*/ 2996487 h 3993936"/>
                  <a:gd name="connsiteX3033" fmla="*/ 674082 w 3565209"/>
                  <a:gd name="connsiteY3033" fmla="*/ 3002805 h 3993936"/>
                  <a:gd name="connsiteX3034" fmla="*/ 680174 w 3565209"/>
                  <a:gd name="connsiteY3034" fmla="*/ 3009800 h 3993936"/>
                  <a:gd name="connsiteX3035" fmla="*/ 693713 w 3565209"/>
                  <a:gd name="connsiteY3035" fmla="*/ 3019051 h 3993936"/>
                  <a:gd name="connsiteX3036" fmla="*/ 698226 w 3565209"/>
                  <a:gd name="connsiteY3036" fmla="*/ 3021759 h 3993936"/>
                  <a:gd name="connsiteX3037" fmla="*/ 705221 w 3565209"/>
                  <a:gd name="connsiteY3037" fmla="*/ 3036201 h 3993936"/>
                  <a:gd name="connsiteX3038" fmla="*/ 702287 w 3565209"/>
                  <a:gd name="connsiteY3038" fmla="*/ 3039360 h 3993936"/>
                  <a:gd name="connsiteX3039" fmla="*/ 701836 w 3565209"/>
                  <a:gd name="connsiteY3039" fmla="*/ 3039360 h 3993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</a:cxnLst>
                <a:rect l="l" t="t" r="r" b="b"/>
                <a:pathLst>
                  <a:path w="3565209" h="3993936">
                    <a:moveTo>
                      <a:pt x="1138687" y="3991586"/>
                    </a:moveTo>
                    <a:cubicBezTo>
                      <a:pt x="1135979" y="3991586"/>
                      <a:pt x="1131918" y="3990684"/>
                      <a:pt x="1125600" y="3988879"/>
                    </a:cubicBezTo>
                    <a:cubicBezTo>
                      <a:pt x="1121989" y="3987976"/>
                      <a:pt x="1118604" y="3987073"/>
                      <a:pt x="1116348" y="3986848"/>
                    </a:cubicBezTo>
                    <a:cubicBezTo>
                      <a:pt x="1110707" y="3986171"/>
                      <a:pt x="1109579" y="3985494"/>
                      <a:pt x="1105743" y="3983689"/>
                    </a:cubicBezTo>
                    <a:cubicBezTo>
                      <a:pt x="1104840" y="3983237"/>
                      <a:pt x="1103937" y="3982786"/>
                      <a:pt x="1102584" y="3982109"/>
                    </a:cubicBezTo>
                    <a:cubicBezTo>
                      <a:pt x="1099650" y="3980529"/>
                      <a:pt x="1097168" y="3978047"/>
                      <a:pt x="1094009" y="3974888"/>
                    </a:cubicBezTo>
                    <a:cubicBezTo>
                      <a:pt x="1089496" y="3970150"/>
                      <a:pt x="1083404" y="3963606"/>
                      <a:pt x="1071670" y="3956160"/>
                    </a:cubicBezTo>
                    <a:cubicBezTo>
                      <a:pt x="1059485" y="3948262"/>
                      <a:pt x="1055875" y="3944200"/>
                      <a:pt x="1051813" y="3939236"/>
                    </a:cubicBezTo>
                    <a:cubicBezTo>
                      <a:pt x="1049331" y="3936303"/>
                      <a:pt x="1046623" y="3933144"/>
                      <a:pt x="1041433" y="3928631"/>
                    </a:cubicBezTo>
                    <a:cubicBezTo>
                      <a:pt x="1027669" y="3916897"/>
                      <a:pt x="1010520" y="3888466"/>
                      <a:pt x="1008940" y="3882148"/>
                    </a:cubicBezTo>
                    <a:cubicBezTo>
                      <a:pt x="1008264" y="3879666"/>
                      <a:pt x="1005781" y="3877184"/>
                      <a:pt x="1003299" y="3874250"/>
                    </a:cubicBezTo>
                    <a:cubicBezTo>
                      <a:pt x="1000366" y="3871091"/>
                      <a:pt x="997432" y="3867932"/>
                      <a:pt x="995853" y="3864096"/>
                    </a:cubicBezTo>
                    <a:cubicBezTo>
                      <a:pt x="994950" y="3862065"/>
                      <a:pt x="994048" y="3858906"/>
                      <a:pt x="992920" y="3855070"/>
                    </a:cubicBezTo>
                    <a:cubicBezTo>
                      <a:pt x="989761" y="3845142"/>
                      <a:pt x="985248" y="3830475"/>
                      <a:pt x="979155" y="3820772"/>
                    </a:cubicBezTo>
                    <a:cubicBezTo>
                      <a:pt x="971709" y="3808813"/>
                      <a:pt x="966519" y="3791889"/>
                      <a:pt x="962457" y="3767068"/>
                    </a:cubicBezTo>
                    <a:cubicBezTo>
                      <a:pt x="960878" y="3757365"/>
                      <a:pt x="960652" y="3747888"/>
                      <a:pt x="960201" y="3738637"/>
                    </a:cubicBezTo>
                    <a:cubicBezTo>
                      <a:pt x="959975" y="3728709"/>
                      <a:pt x="959524" y="3719231"/>
                      <a:pt x="957719" y="3710882"/>
                    </a:cubicBezTo>
                    <a:cubicBezTo>
                      <a:pt x="954334" y="3696216"/>
                      <a:pt x="950272" y="3686964"/>
                      <a:pt x="939441" y="3661917"/>
                    </a:cubicBezTo>
                    <a:lnTo>
                      <a:pt x="935380" y="3652440"/>
                    </a:lnTo>
                    <a:cubicBezTo>
                      <a:pt x="921164" y="3619496"/>
                      <a:pt x="918908" y="3613629"/>
                      <a:pt x="915523" y="3599865"/>
                    </a:cubicBezTo>
                    <a:cubicBezTo>
                      <a:pt x="914169" y="3593998"/>
                      <a:pt x="913718" y="3591064"/>
                      <a:pt x="913266" y="3588131"/>
                    </a:cubicBezTo>
                    <a:cubicBezTo>
                      <a:pt x="912590" y="3584069"/>
                      <a:pt x="911913" y="3580459"/>
                      <a:pt x="908979" y="3569402"/>
                    </a:cubicBezTo>
                    <a:cubicBezTo>
                      <a:pt x="904015" y="3550674"/>
                      <a:pt x="896569" y="3531945"/>
                      <a:pt x="893184" y="3525627"/>
                    </a:cubicBezTo>
                    <a:cubicBezTo>
                      <a:pt x="892056" y="3523596"/>
                      <a:pt x="891153" y="3521114"/>
                      <a:pt x="890251" y="3518858"/>
                    </a:cubicBezTo>
                    <a:cubicBezTo>
                      <a:pt x="888445" y="3514345"/>
                      <a:pt x="886640" y="3509381"/>
                      <a:pt x="883481" y="3507575"/>
                    </a:cubicBezTo>
                    <a:cubicBezTo>
                      <a:pt x="877840" y="3503965"/>
                      <a:pt x="871973" y="3493811"/>
                      <a:pt x="870394" y="3485236"/>
                    </a:cubicBezTo>
                    <a:cubicBezTo>
                      <a:pt x="869265" y="3478693"/>
                      <a:pt x="867686" y="3477113"/>
                      <a:pt x="864753" y="3474405"/>
                    </a:cubicBezTo>
                    <a:lnTo>
                      <a:pt x="863173" y="3472600"/>
                    </a:lnTo>
                    <a:cubicBezTo>
                      <a:pt x="859111" y="3468539"/>
                      <a:pt x="849860" y="3456354"/>
                      <a:pt x="845121" y="3449810"/>
                    </a:cubicBezTo>
                    <a:cubicBezTo>
                      <a:pt x="840383" y="3443492"/>
                      <a:pt x="814433" y="3404681"/>
                      <a:pt x="809695" y="3392947"/>
                    </a:cubicBezTo>
                    <a:cubicBezTo>
                      <a:pt x="807890" y="3388660"/>
                      <a:pt x="805408" y="3384373"/>
                      <a:pt x="802474" y="3379634"/>
                    </a:cubicBezTo>
                    <a:cubicBezTo>
                      <a:pt x="798187" y="3372188"/>
                      <a:pt x="793674" y="3364516"/>
                      <a:pt x="792094" y="3356844"/>
                    </a:cubicBezTo>
                    <a:cubicBezTo>
                      <a:pt x="790515" y="3348720"/>
                      <a:pt x="787582" y="3339018"/>
                      <a:pt x="784648" y="3329766"/>
                    </a:cubicBezTo>
                    <a:cubicBezTo>
                      <a:pt x="783294" y="3325253"/>
                      <a:pt x="781940" y="3320966"/>
                      <a:pt x="780812" y="3317130"/>
                    </a:cubicBezTo>
                    <a:cubicBezTo>
                      <a:pt x="779684" y="3313520"/>
                      <a:pt x="778330" y="3308781"/>
                      <a:pt x="776751" y="3304043"/>
                    </a:cubicBezTo>
                    <a:cubicBezTo>
                      <a:pt x="773366" y="3293437"/>
                      <a:pt x="769304" y="3281703"/>
                      <a:pt x="769079" y="3274934"/>
                    </a:cubicBezTo>
                    <a:cubicBezTo>
                      <a:pt x="768853" y="3270647"/>
                      <a:pt x="767048" y="3264780"/>
                      <a:pt x="765468" y="3259139"/>
                    </a:cubicBezTo>
                    <a:cubicBezTo>
                      <a:pt x="763663" y="3252821"/>
                      <a:pt x="761632" y="3246277"/>
                      <a:pt x="761632" y="3241538"/>
                    </a:cubicBezTo>
                    <a:cubicBezTo>
                      <a:pt x="761632" y="3237703"/>
                      <a:pt x="761858" y="3234769"/>
                      <a:pt x="762309" y="3231836"/>
                    </a:cubicBezTo>
                    <a:cubicBezTo>
                      <a:pt x="762760" y="3227549"/>
                      <a:pt x="763212" y="3223487"/>
                      <a:pt x="762535" y="3217846"/>
                    </a:cubicBezTo>
                    <a:cubicBezTo>
                      <a:pt x="762309" y="3214912"/>
                      <a:pt x="762309" y="3212656"/>
                      <a:pt x="762084" y="3210625"/>
                    </a:cubicBezTo>
                    <a:cubicBezTo>
                      <a:pt x="762084" y="3205661"/>
                      <a:pt x="761858" y="3202276"/>
                      <a:pt x="758473" y="3194830"/>
                    </a:cubicBezTo>
                    <a:cubicBezTo>
                      <a:pt x="753283" y="3183999"/>
                      <a:pt x="752606" y="3176327"/>
                      <a:pt x="752606" y="3170912"/>
                    </a:cubicBezTo>
                    <a:cubicBezTo>
                      <a:pt x="752606" y="3169106"/>
                      <a:pt x="750801" y="3166398"/>
                      <a:pt x="748996" y="3163465"/>
                    </a:cubicBezTo>
                    <a:cubicBezTo>
                      <a:pt x="746965" y="3160532"/>
                      <a:pt x="744483" y="3156696"/>
                      <a:pt x="742904" y="3152183"/>
                    </a:cubicBezTo>
                    <a:cubicBezTo>
                      <a:pt x="741550" y="3148347"/>
                      <a:pt x="739970" y="3144736"/>
                      <a:pt x="738391" y="3141126"/>
                    </a:cubicBezTo>
                    <a:cubicBezTo>
                      <a:pt x="736360" y="3136613"/>
                      <a:pt x="734555" y="3132326"/>
                      <a:pt x="733426" y="3128490"/>
                    </a:cubicBezTo>
                    <a:lnTo>
                      <a:pt x="732975" y="3126910"/>
                    </a:lnTo>
                    <a:cubicBezTo>
                      <a:pt x="731396" y="3121720"/>
                      <a:pt x="730944" y="3120141"/>
                      <a:pt x="731621" y="3115177"/>
                    </a:cubicBezTo>
                    <a:cubicBezTo>
                      <a:pt x="732073" y="3110213"/>
                      <a:pt x="730267" y="3104797"/>
                      <a:pt x="728462" y="3100510"/>
                    </a:cubicBezTo>
                    <a:cubicBezTo>
                      <a:pt x="726657" y="3095997"/>
                      <a:pt x="728688" y="3090130"/>
                      <a:pt x="729816" y="3087197"/>
                    </a:cubicBezTo>
                    <a:cubicBezTo>
                      <a:pt x="730042" y="3086520"/>
                      <a:pt x="730267" y="3086068"/>
                      <a:pt x="730267" y="3085843"/>
                    </a:cubicBezTo>
                    <a:cubicBezTo>
                      <a:pt x="730493" y="3084940"/>
                      <a:pt x="729590" y="3081330"/>
                      <a:pt x="726657" y="3078848"/>
                    </a:cubicBezTo>
                    <a:cubicBezTo>
                      <a:pt x="725529" y="3077945"/>
                      <a:pt x="724175" y="3077268"/>
                      <a:pt x="722821" y="3076366"/>
                    </a:cubicBezTo>
                    <a:cubicBezTo>
                      <a:pt x="720113" y="3075012"/>
                      <a:pt x="717406" y="3073432"/>
                      <a:pt x="716277" y="3070499"/>
                    </a:cubicBezTo>
                    <a:cubicBezTo>
                      <a:pt x="715375" y="3068017"/>
                      <a:pt x="714924" y="3064407"/>
                      <a:pt x="714472" y="3061022"/>
                    </a:cubicBezTo>
                    <a:cubicBezTo>
                      <a:pt x="714247" y="3058765"/>
                      <a:pt x="713795" y="3056735"/>
                      <a:pt x="713570" y="3055380"/>
                    </a:cubicBezTo>
                    <a:cubicBezTo>
                      <a:pt x="712893" y="3053124"/>
                      <a:pt x="706123" y="3047709"/>
                      <a:pt x="702964" y="3045001"/>
                    </a:cubicBezTo>
                    <a:cubicBezTo>
                      <a:pt x="701836" y="3044098"/>
                      <a:pt x="700933" y="3043421"/>
                      <a:pt x="700256" y="3042744"/>
                    </a:cubicBezTo>
                    <a:cubicBezTo>
                      <a:pt x="699128" y="3041616"/>
                      <a:pt x="698451" y="3040714"/>
                      <a:pt x="698451" y="3039585"/>
                    </a:cubicBezTo>
                    <a:cubicBezTo>
                      <a:pt x="698451" y="3037780"/>
                      <a:pt x="699805" y="3036878"/>
                      <a:pt x="701159" y="3035749"/>
                    </a:cubicBezTo>
                    <a:cubicBezTo>
                      <a:pt x="701836" y="3035072"/>
                      <a:pt x="702739" y="3034621"/>
                      <a:pt x="702964" y="3033944"/>
                    </a:cubicBezTo>
                    <a:cubicBezTo>
                      <a:pt x="703416" y="3032590"/>
                      <a:pt x="699128" y="3026272"/>
                      <a:pt x="696646" y="3023790"/>
                    </a:cubicBezTo>
                    <a:cubicBezTo>
                      <a:pt x="696421" y="3023565"/>
                      <a:pt x="694615" y="3022662"/>
                      <a:pt x="693036" y="3021759"/>
                    </a:cubicBezTo>
                    <a:cubicBezTo>
                      <a:pt x="686266" y="3018375"/>
                      <a:pt x="679948" y="3014764"/>
                      <a:pt x="677918" y="3011154"/>
                    </a:cubicBezTo>
                    <a:cubicBezTo>
                      <a:pt x="676789" y="3009123"/>
                      <a:pt x="674758" y="3007092"/>
                      <a:pt x="672502" y="3005061"/>
                    </a:cubicBezTo>
                    <a:cubicBezTo>
                      <a:pt x="669343" y="3002128"/>
                      <a:pt x="666410" y="2999195"/>
                      <a:pt x="666410" y="2996036"/>
                    </a:cubicBezTo>
                    <a:lnTo>
                      <a:pt x="666410" y="2994682"/>
                    </a:lnTo>
                    <a:cubicBezTo>
                      <a:pt x="666410" y="2989266"/>
                      <a:pt x="666635" y="2972568"/>
                      <a:pt x="663251" y="2964220"/>
                    </a:cubicBezTo>
                    <a:cubicBezTo>
                      <a:pt x="662348" y="2961963"/>
                      <a:pt x="661445" y="2959707"/>
                      <a:pt x="660768" y="2957676"/>
                    </a:cubicBezTo>
                    <a:cubicBezTo>
                      <a:pt x="658738" y="2952035"/>
                      <a:pt x="657158" y="2947973"/>
                      <a:pt x="653999" y="2943912"/>
                    </a:cubicBezTo>
                    <a:cubicBezTo>
                      <a:pt x="649937" y="2938496"/>
                      <a:pt x="643845" y="2925634"/>
                      <a:pt x="643845" y="2919316"/>
                    </a:cubicBezTo>
                    <a:cubicBezTo>
                      <a:pt x="643845" y="2917511"/>
                      <a:pt x="643845" y="2915931"/>
                      <a:pt x="644071" y="2914352"/>
                    </a:cubicBezTo>
                    <a:cubicBezTo>
                      <a:pt x="644296" y="2911193"/>
                      <a:pt x="644296" y="2908034"/>
                      <a:pt x="643619" y="2906680"/>
                    </a:cubicBezTo>
                    <a:cubicBezTo>
                      <a:pt x="643394" y="2906003"/>
                      <a:pt x="642942" y="2905326"/>
                      <a:pt x="642717" y="2904424"/>
                    </a:cubicBezTo>
                    <a:cubicBezTo>
                      <a:pt x="641589" y="2901716"/>
                      <a:pt x="640009" y="2898105"/>
                      <a:pt x="635496" y="2893367"/>
                    </a:cubicBezTo>
                    <a:cubicBezTo>
                      <a:pt x="634368" y="2892238"/>
                      <a:pt x="633240" y="2891110"/>
                      <a:pt x="632111" y="2889982"/>
                    </a:cubicBezTo>
                    <a:cubicBezTo>
                      <a:pt x="627598" y="2885695"/>
                      <a:pt x="623762" y="2882084"/>
                      <a:pt x="621055" y="2875315"/>
                    </a:cubicBezTo>
                    <a:cubicBezTo>
                      <a:pt x="618347" y="2868997"/>
                      <a:pt x="615865" y="2858843"/>
                      <a:pt x="613383" y="2850043"/>
                    </a:cubicBezTo>
                    <a:cubicBezTo>
                      <a:pt x="612706" y="2847561"/>
                      <a:pt x="612029" y="2845304"/>
                      <a:pt x="611578" y="2843048"/>
                    </a:cubicBezTo>
                    <a:cubicBezTo>
                      <a:pt x="610675" y="2839889"/>
                      <a:pt x="609547" y="2838083"/>
                      <a:pt x="608419" y="2836504"/>
                    </a:cubicBezTo>
                    <a:cubicBezTo>
                      <a:pt x="605936" y="2832668"/>
                      <a:pt x="603680" y="2829283"/>
                      <a:pt x="604357" y="2813939"/>
                    </a:cubicBezTo>
                    <a:cubicBezTo>
                      <a:pt x="605034" y="2797016"/>
                      <a:pt x="603906" y="2785282"/>
                      <a:pt x="602552" y="2774000"/>
                    </a:cubicBezTo>
                    <a:cubicBezTo>
                      <a:pt x="602100" y="2770615"/>
                      <a:pt x="601875" y="2767230"/>
                      <a:pt x="601423" y="2763846"/>
                    </a:cubicBezTo>
                    <a:cubicBezTo>
                      <a:pt x="600747" y="2757302"/>
                      <a:pt x="599844" y="2750307"/>
                      <a:pt x="598716" y="2743763"/>
                    </a:cubicBezTo>
                    <a:cubicBezTo>
                      <a:pt x="597362" y="2734738"/>
                      <a:pt x="596234" y="2726389"/>
                      <a:pt x="596234" y="2720071"/>
                    </a:cubicBezTo>
                    <a:cubicBezTo>
                      <a:pt x="596234" y="2713978"/>
                      <a:pt x="597136" y="2712173"/>
                      <a:pt x="598490" y="2710368"/>
                    </a:cubicBezTo>
                    <a:cubicBezTo>
                      <a:pt x="599167" y="2709465"/>
                      <a:pt x="599618" y="2708788"/>
                      <a:pt x="599618" y="2705855"/>
                    </a:cubicBezTo>
                    <a:cubicBezTo>
                      <a:pt x="599618" y="2702696"/>
                      <a:pt x="597813" y="2697055"/>
                      <a:pt x="596008" y="2691639"/>
                    </a:cubicBezTo>
                    <a:cubicBezTo>
                      <a:pt x="593752" y="2684870"/>
                      <a:pt x="591721" y="2678552"/>
                      <a:pt x="592172" y="2674716"/>
                    </a:cubicBezTo>
                    <a:cubicBezTo>
                      <a:pt x="592623" y="2671105"/>
                      <a:pt x="591269" y="2661854"/>
                      <a:pt x="590141" y="2654633"/>
                    </a:cubicBezTo>
                    <a:cubicBezTo>
                      <a:pt x="589239" y="2649218"/>
                      <a:pt x="588562" y="2644479"/>
                      <a:pt x="588562" y="2641997"/>
                    </a:cubicBezTo>
                    <a:cubicBezTo>
                      <a:pt x="588562" y="2639966"/>
                      <a:pt x="586982" y="2636581"/>
                      <a:pt x="585403" y="2632971"/>
                    </a:cubicBezTo>
                    <a:cubicBezTo>
                      <a:pt x="582921" y="2627556"/>
                      <a:pt x="579987" y="2621012"/>
                      <a:pt x="579987" y="2614694"/>
                    </a:cubicBezTo>
                    <a:cubicBezTo>
                      <a:pt x="579987" y="2608150"/>
                      <a:pt x="577054" y="2602960"/>
                      <a:pt x="573895" y="2597770"/>
                    </a:cubicBezTo>
                    <a:cubicBezTo>
                      <a:pt x="572541" y="2595288"/>
                      <a:pt x="570961" y="2592806"/>
                      <a:pt x="569833" y="2590098"/>
                    </a:cubicBezTo>
                    <a:cubicBezTo>
                      <a:pt x="565771" y="2581072"/>
                      <a:pt x="563289" y="2567308"/>
                      <a:pt x="564643" y="2561893"/>
                    </a:cubicBezTo>
                    <a:cubicBezTo>
                      <a:pt x="565094" y="2560087"/>
                      <a:pt x="563966" y="2556477"/>
                      <a:pt x="562838" y="2553092"/>
                    </a:cubicBezTo>
                    <a:cubicBezTo>
                      <a:pt x="561033" y="2547677"/>
                      <a:pt x="559453" y="2542036"/>
                      <a:pt x="561033" y="2537974"/>
                    </a:cubicBezTo>
                    <a:cubicBezTo>
                      <a:pt x="562161" y="2535041"/>
                      <a:pt x="561258" y="2530528"/>
                      <a:pt x="560356" y="2526015"/>
                    </a:cubicBezTo>
                    <a:cubicBezTo>
                      <a:pt x="559453" y="2522179"/>
                      <a:pt x="558776" y="2518117"/>
                      <a:pt x="559002" y="2514281"/>
                    </a:cubicBezTo>
                    <a:cubicBezTo>
                      <a:pt x="559905" y="2502999"/>
                      <a:pt x="558776" y="2494424"/>
                      <a:pt x="556069" y="2490363"/>
                    </a:cubicBezTo>
                    <a:cubicBezTo>
                      <a:pt x="552233" y="2484496"/>
                      <a:pt x="555617" y="2475921"/>
                      <a:pt x="556294" y="2473891"/>
                    </a:cubicBezTo>
                    <a:cubicBezTo>
                      <a:pt x="556294" y="2472085"/>
                      <a:pt x="556069" y="2464639"/>
                      <a:pt x="555166" y="2458321"/>
                    </a:cubicBezTo>
                    <a:cubicBezTo>
                      <a:pt x="553812" y="2450649"/>
                      <a:pt x="553361" y="2446813"/>
                      <a:pt x="551330" y="2434402"/>
                    </a:cubicBezTo>
                    <a:cubicBezTo>
                      <a:pt x="548397" y="2414546"/>
                      <a:pt x="548171" y="2405069"/>
                      <a:pt x="550427" y="2401684"/>
                    </a:cubicBezTo>
                    <a:cubicBezTo>
                      <a:pt x="552233" y="2398976"/>
                      <a:pt x="551781" y="2386566"/>
                      <a:pt x="548397" y="2375058"/>
                    </a:cubicBezTo>
                    <a:cubicBezTo>
                      <a:pt x="547268" y="2371222"/>
                      <a:pt x="545689" y="2366934"/>
                      <a:pt x="544109" y="2363098"/>
                    </a:cubicBezTo>
                    <a:cubicBezTo>
                      <a:pt x="541402" y="2355878"/>
                      <a:pt x="538920" y="2349334"/>
                      <a:pt x="538920" y="2344595"/>
                    </a:cubicBezTo>
                    <a:cubicBezTo>
                      <a:pt x="538920" y="2337149"/>
                      <a:pt x="542304" y="2323610"/>
                      <a:pt x="549525" y="2316841"/>
                    </a:cubicBezTo>
                    <a:cubicBezTo>
                      <a:pt x="552910" y="2313682"/>
                      <a:pt x="553135" y="2309395"/>
                      <a:pt x="553361" y="2305333"/>
                    </a:cubicBezTo>
                    <a:cubicBezTo>
                      <a:pt x="553586" y="2301948"/>
                      <a:pt x="553586" y="2298789"/>
                      <a:pt x="556069" y="2297210"/>
                    </a:cubicBezTo>
                    <a:cubicBezTo>
                      <a:pt x="557197" y="2296081"/>
                      <a:pt x="556746" y="2289086"/>
                      <a:pt x="556746" y="2284799"/>
                    </a:cubicBezTo>
                    <a:cubicBezTo>
                      <a:pt x="556520" y="2278707"/>
                      <a:pt x="556294" y="2272389"/>
                      <a:pt x="557648" y="2268778"/>
                    </a:cubicBezTo>
                    <a:cubicBezTo>
                      <a:pt x="558551" y="2266522"/>
                      <a:pt x="560356" y="2263814"/>
                      <a:pt x="562161" y="2260881"/>
                    </a:cubicBezTo>
                    <a:cubicBezTo>
                      <a:pt x="565546" y="2255465"/>
                      <a:pt x="569382" y="2249373"/>
                      <a:pt x="569382" y="2244634"/>
                    </a:cubicBezTo>
                    <a:cubicBezTo>
                      <a:pt x="569382" y="2242378"/>
                      <a:pt x="569156" y="2239670"/>
                      <a:pt x="568930" y="2237188"/>
                    </a:cubicBezTo>
                    <a:cubicBezTo>
                      <a:pt x="568254" y="2230870"/>
                      <a:pt x="567577" y="2224326"/>
                      <a:pt x="570736" y="2220490"/>
                    </a:cubicBezTo>
                    <a:cubicBezTo>
                      <a:pt x="574572" y="2215752"/>
                      <a:pt x="576828" y="2211690"/>
                      <a:pt x="571638" y="2204018"/>
                    </a:cubicBezTo>
                    <a:cubicBezTo>
                      <a:pt x="565771" y="2195443"/>
                      <a:pt x="563515" y="2192284"/>
                      <a:pt x="565320" y="2186417"/>
                    </a:cubicBezTo>
                    <a:lnTo>
                      <a:pt x="565546" y="2185966"/>
                    </a:lnTo>
                    <a:cubicBezTo>
                      <a:pt x="567577" y="2179422"/>
                      <a:pt x="568930" y="2171976"/>
                      <a:pt x="560130" y="2167463"/>
                    </a:cubicBezTo>
                    <a:cubicBezTo>
                      <a:pt x="557197" y="2165884"/>
                      <a:pt x="553812" y="2164755"/>
                      <a:pt x="551104" y="2163853"/>
                    </a:cubicBezTo>
                    <a:cubicBezTo>
                      <a:pt x="545915" y="2162048"/>
                      <a:pt x="541402" y="2160468"/>
                      <a:pt x="539822" y="2156858"/>
                    </a:cubicBezTo>
                    <a:cubicBezTo>
                      <a:pt x="538920" y="2154827"/>
                      <a:pt x="539145" y="2152345"/>
                      <a:pt x="540499" y="2149412"/>
                    </a:cubicBezTo>
                    <a:cubicBezTo>
                      <a:pt x="542079" y="2145801"/>
                      <a:pt x="542981" y="2142191"/>
                      <a:pt x="543658" y="2138806"/>
                    </a:cubicBezTo>
                    <a:cubicBezTo>
                      <a:pt x="545012" y="2133165"/>
                      <a:pt x="546140" y="2127749"/>
                      <a:pt x="551781" y="2125267"/>
                    </a:cubicBezTo>
                    <a:cubicBezTo>
                      <a:pt x="552910" y="2124816"/>
                      <a:pt x="553135" y="2124365"/>
                      <a:pt x="553135" y="2124139"/>
                    </a:cubicBezTo>
                    <a:cubicBezTo>
                      <a:pt x="553586" y="2123011"/>
                      <a:pt x="552458" y="2120754"/>
                      <a:pt x="551781" y="2118949"/>
                    </a:cubicBezTo>
                    <a:cubicBezTo>
                      <a:pt x="550427" y="2116016"/>
                      <a:pt x="548622" y="2111954"/>
                      <a:pt x="552233" y="2109923"/>
                    </a:cubicBezTo>
                    <a:cubicBezTo>
                      <a:pt x="552910" y="2109472"/>
                      <a:pt x="553812" y="2109021"/>
                      <a:pt x="554940" y="2108344"/>
                    </a:cubicBezTo>
                    <a:cubicBezTo>
                      <a:pt x="559002" y="2106087"/>
                      <a:pt x="564643" y="2102928"/>
                      <a:pt x="565546" y="2099544"/>
                    </a:cubicBezTo>
                    <a:cubicBezTo>
                      <a:pt x="565771" y="2098867"/>
                      <a:pt x="565997" y="2098190"/>
                      <a:pt x="566223" y="2097513"/>
                    </a:cubicBezTo>
                    <a:cubicBezTo>
                      <a:pt x="566448" y="2096610"/>
                      <a:pt x="567125" y="2095482"/>
                      <a:pt x="566900" y="2095031"/>
                    </a:cubicBezTo>
                    <a:cubicBezTo>
                      <a:pt x="566674" y="2094805"/>
                      <a:pt x="565320" y="2093677"/>
                      <a:pt x="557422" y="2093451"/>
                    </a:cubicBezTo>
                    <a:cubicBezTo>
                      <a:pt x="545915" y="2093000"/>
                      <a:pt x="541627" y="2092549"/>
                      <a:pt x="539822" y="2089615"/>
                    </a:cubicBezTo>
                    <a:cubicBezTo>
                      <a:pt x="538468" y="2087584"/>
                      <a:pt x="539371" y="2085102"/>
                      <a:pt x="540273" y="2083297"/>
                    </a:cubicBezTo>
                    <a:cubicBezTo>
                      <a:pt x="541176" y="2081266"/>
                      <a:pt x="542079" y="2078107"/>
                      <a:pt x="542981" y="2074723"/>
                    </a:cubicBezTo>
                    <a:cubicBezTo>
                      <a:pt x="545915" y="2064794"/>
                      <a:pt x="547720" y="2058702"/>
                      <a:pt x="551781" y="2058702"/>
                    </a:cubicBezTo>
                    <a:cubicBezTo>
                      <a:pt x="552458" y="2058702"/>
                      <a:pt x="553361" y="2058702"/>
                      <a:pt x="554038" y="2058702"/>
                    </a:cubicBezTo>
                    <a:cubicBezTo>
                      <a:pt x="556746" y="2058927"/>
                      <a:pt x="558325" y="2058927"/>
                      <a:pt x="561484" y="2056220"/>
                    </a:cubicBezTo>
                    <a:cubicBezTo>
                      <a:pt x="565320" y="2053286"/>
                      <a:pt x="565771" y="2051481"/>
                      <a:pt x="565546" y="2051255"/>
                    </a:cubicBezTo>
                    <a:cubicBezTo>
                      <a:pt x="565546" y="2051030"/>
                      <a:pt x="564869" y="2050579"/>
                      <a:pt x="562387" y="2050127"/>
                    </a:cubicBezTo>
                    <a:cubicBezTo>
                      <a:pt x="554489" y="2049225"/>
                      <a:pt x="548397" y="2050804"/>
                      <a:pt x="547043" y="2052158"/>
                    </a:cubicBezTo>
                    <a:cubicBezTo>
                      <a:pt x="546140" y="2053286"/>
                      <a:pt x="545012" y="2053512"/>
                      <a:pt x="543884" y="2053060"/>
                    </a:cubicBezTo>
                    <a:cubicBezTo>
                      <a:pt x="540273" y="2051707"/>
                      <a:pt x="539371" y="2042681"/>
                      <a:pt x="539371" y="2038168"/>
                    </a:cubicBezTo>
                    <a:cubicBezTo>
                      <a:pt x="539371" y="2032076"/>
                      <a:pt x="541402" y="2024178"/>
                      <a:pt x="545463" y="2020568"/>
                    </a:cubicBezTo>
                    <a:cubicBezTo>
                      <a:pt x="547043" y="2018988"/>
                      <a:pt x="548848" y="2018311"/>
                      <a:pt x="550879" y="2018537"/>
                    </a:cubicBezTo>
                    <a:cubicBezTo>
                      <a:pt x="553812" y="2018762"/>
                      <a:pt x="557874" y="2020116"/>
                      <a:pt x="561935" y="2021696"/>
                    </a:cubicBezTo>
                    <a:cubicBezTo>
                      <a:pt x="565997" y="2023050"/>
                      <a:pt x="570284" y="2024629"/>
                      <a:pt x="572766" y="2024629"/>
                    </a:cubicBezTo>
                    <a:cubicBezTo>
                      <a:pt x="575023" y="2024629"/>
                      <a:pt x="577279" y="2020116"/>
                      <a:pt x="578859" y="2017183"/>
                    </a:cubicBezTo>
                    <a:cubicBezTo>
                      <a:pt x="579536" y="2015829"/>
                      <a:pt x="580213" y="2014701"/>
                      <a:pt x="580664" y="2013798"/>
                    </a:cubicBezTo>
                    <a:cubicBezTo>
                      <a:pt x="578182" y="2013347"/>
                      <a:pt x="572992" y="2012895"/>
                      <a:pt x="565320" y="2012895"/>
                    </a:cubicBezTo>
                    <a:cubicBezTo>
                      <a:pt x="560582" y="2012895"/>
                      <a:pt x="555392" y="2012670"/>
                      <a:pt x="551104" y="2012444"/>
                    </a:cubicBezTo>
                    <a:cubicBezTo>
                      <a:pt x="545915" y="2012219"/>
                      <a:pt x="541176" y="2011993"/>
                      <a:pt x="538017" y="2012219"/>
                    </a:cubicBezTo>
                    <a:cubicBezTo>
                      <a:pt x="533053" y="2012444"/>
                      <a:pt x="533053" y="2012444"/>
                      <a:pt x="531699" y="2015152"/>
                    </a:cubicBezTo>
                    <a:lnTo>
                      <a:pt x="531473" y="2015603"/>
                    </a:lnTo>
                    <a:cubicBezTo>
                      <a:pt x="531248" y="2016280"/>
                      <a:pt x="531022" y="2016732"/>
                      <a:pt x="530796" y="2016957"/>
                    </a:cubicBezTo>
                    <a:cubicBezTo>
                      <a:pt x="530571" y="2017634"/>
                      <a:pt x="530119" y="2018311"/>
                      <a:pt x="529442" y="2018537"/>
                    </a:cubicBezTo>
                    <a:cubicBezTo>
                      <a:pt x="528540" y="2018988"/>
                      <a:pt x="527637" y="2018537"/>
                      <a:pt x="527186" y="2018311"/>
                    </a:cubicBezTo>
                    <a:cubicBezTo>
                      <a:pt x="526735" y="2018085"/>
                      <a:pt x="525832" y="2017634"/>
                      <a:pt x="524478" y="2017409"/>
                    </a:cubicBezTo>
                    <a:cubicBezTo>
                      <a:pt x="522222" y="2016732"/>
                      <a:pt x="520417" y="2015378"/>
                      <a:pt x="519740" y="2013121"/>
                    </a:cubicBezTo>
                    <a:cubicBezTo>
                      <a:pt x="518837" y="2010188"/>
                      <a:pt x="519514" y="2007029"/>
                      <a:pt x="520642" y="2005449"/>
                    </a:cubicBezTo>
                    <a:cubicBezTo>
                      <a:pt x="520642" y="2005224"/>
                      <a:pt x="520868" y="2004547"/>
                      <a:pt x="520417" y="2003644"/>
                    </a:cubicBezTo>
                    <a:cubicBezTo>
                      <a:pt x="519965" y="2002967"/>
                      <a:pt x="519288" y="2002516"/>
                      <a:pt x="518386" y="2002516"/>
                    </a:cubicBezTo>
                    <a:cubicBezTo>
                      <a:pt x="515227" y="2002516"/>
                      <a:pt x="507103" y="2008834"/>
                      <a:pt x="507103" y="2016957"/>
                    </a:cubicBezTo>
                    <a:cubicBezTo>
                      <a:pt x="507103" y="2026660"/>
                      <a:pt x="503719" y="2029819"/>
                      <a:pt x="500334" y="2032527"/>
                    </a:cubicBezTo>
                    <a:cubicBezTo>
                      <a:pt x="498078" y="2034332"/>
                      <a:pt x="495595" y="2037040"/>
                      <a:pt x="492888" y="2041101"/>
                    </a:cubicBezTo>
                    <a:cubicBezTo>
                      <a:pt x="491534" y="2043358"/>
                      <a:pt x="489277" y="2043809"/>
                      <a:pt x="487472" y="2044260"/>
                    </a:cubicBezTo>
                    <a:cubicBezTo>
                      <a:pt x="485216" y="2044937"/>
                      <a:pt x="484539" y="2044937"/>
                      <a:pt x="484539" y="2047194"/>
                    </a:cubicBezTo>
                    <a:cubicBezTo>
                      <a:pt x="484539" y="2049901"/>
                      <a:pt x="485667" y="2051932"/>
                      <a:pt x="486795" y="2053512"/>
                    </a:cubicBezTo>
                    <a:cubicBezTo>
                      <a:pt x="487923" y="2055543"/>
                      <a:pt x="489503" y="2058025"/>
                      <a:pt x="487472" y="2060281"/>
                    </a:cubicBezTo>
                    <a:cubicBezTo>
                      <a:pt x="484313" y="2063666"/>
                      <a:pt x="474610" y="2063892"/>
                      <a:pt x="471000" y="2063666"/>
                    </a:cubicBezTo>
                    <a:cubicBezTo>
                      <a:pt x="471000" y="2064343"/>
                      <a:pt x="471451" y="2065471"/>
                      <a:pt x="472354" y="2067051"/>
                    </a:cubicBezTo>
                    <a:cubicBezTo>
                      <a:pt x="473708" y="2069081"/>
                      <a:pt x="475739" y="2070435"/>
                      <a:pt x="477318" y="2070661"/>
                    </a:cubicBezTo>
                    <a:cubicBezTo>
                      <a:pt x="478898" y="2070661"/>
                      <a:pt x="480251" y="2070435"/>
                      <a:pt x="481831" y="2070210"/>
                    </a:cubicBezTo>
                    <a:cubicBezTo>
                      <a:pt x="485216" y="2069533"/>
                      <a:pt x="489052" y="2068856"/>
                      <a:pt x="492211" y="2074948"/>
                    </a:cubicBezTo>
                    <a:cubicBezTo>
                      <a:pt x="493790" y="2077882"/>
                      <a:pt x="494016" y="2080364"/>
                      <a:pt x="494016" y="2081943"/>
                    </a:cubicBezTo>
                    <a:cubicBezTo>
                      <a:pt x="494242" y="2084200"/>
                      <a:pt x="494242" y="2084877"/>
                      <a:pt x="497401" y="2086230"/>
                    </a:cubicBezTo>
                    <a:cubicBezTo>
                      <a:pt x="506201" y="2090292"/>
                      <a:pt x="507555" y="2096385"/>
                      <a:pt x="502365" y="2108795"/>
                    </a:cubicBezTo>
                    <a:cubicBezTo>
                      <a:pt x="497626" y="2120077"/>
                      <a:pt x="491534" y="2125267"/>
                      <a:pt x="486570" y="2129780"/>
                    </a:cubicBezTo>
                    <a:cubicBezTo>
                      <a:pt x="485667" y="2130683"/>
                      <a:pt x="484764" y="2131360"/>
                      <a:pt x="484087" y="2132037"/>
                    </a:cubicBezTo>
                    <a:cubicBezTo>
                      <a:pt x="482734" y="2133165"/>
                      <a:pt x="481605" y="2134293"/>
                      <a:pt x="480251" y="2135196"/>
                    </a:cubicBezTo>
                    <a:cubicBezTo>
                      <a:pt x="475964" y="2138580"/>
                      <a:pt x="474610" y="2139934"/>
                      <a:pt x="475964" y="2142191"/>
                    </a:cubicBezTo>
                    <a:cubicBezTo>
                      <a:pt x="477092" y="2144222"/>
                      <a:pt x="478221" y="2147155"/>
                      <a:pt x="477092" y="2150088"/>
                    </a:cubicBezTo>
                    <a:cubicBezTo>
                      <a:pt x="475964" y="2152796"/>
                      <a:pt x="472805" y="2155053"/>
                      <a:pt x="466938" y="2156858"/>
                    </a:cubicBezTo>
                    <a:cubicBezTo>
                      <a:pt x="460620" y="2158889"/>
                      <a:pt x="445953" y="2165658"/>
                      <a:pt x="433994" y="2171074"/>
                    </a:cubicBezTo>
                    <a:cubicBezTo>
                      <a:pt x="427676" y="2174007"/>
                      <a:pt x="422260" y="2176489"/>
                      <a:pt x="419327" y="2177617"/>
                    </a:cubicBezTo>
                    <a:cubicBezTo>
                      <a:pt x="415491" y="2179197"/>
                      <a:pt x="412783" y="2178520"/>
                      <a:pt x="410752" y="2177843"/>
                    </a:cubicBezTo>
                    <a:cubicBezTo>
                      <a:pt x="408270" y="2177166"/>
                      <a:pt x="406240" y="2176489"/>
                      <a:pt x="401050" y="2180551"/>
                    </a:cubicBezTo>
                    <a:cubicBezTo>
                      <a:pt x="394280" y="2185741"/>
                      <a:pt x="385706" y="2188900"/>
                      <a:pt x="378034" y="2191607"/>
                    </a:cubicBezTo>
                    <a:cubicBezTo>
                      <a:pt x="373972" y="2192961"/>
                      <a:pt x="370136" y="2194315"/>
                      <a:pt x="367428" y="2195895"/>
                    </a:cubicBezTo>
                    <a:cubicBezTo>
                      <a:pt x="363141" y="2198151"/>
                      <a:pt x="359305" y="2198602"/>
                      <a:pt x="355695" y="2199279"/>
                    </a:cubicBezTo>
                    <a:cubicBezTo>
                      <a:pt x="352084" y="2199730"/>
                      <a:pt x="348023" y="2200408"/>
                      <a:pt x="343284" y="2202664"/>
                    </a:cubicBezTo>
                    <a:cubicBezTo>
                      <a:pt x="338094" y="2205146"/>
                      <a:pt x="331551" y="2204695"/>
                      <a:pt x="326361" y="2204469"/>
                    </a:cubicBezTo>
                    <a:cubicBezTo>
                      <a:pt x="323879" y="2204244"/>
                      <a:pt x="319591" y="2204018"/>
                      <a:pt x="318915" y="2204695"/>
                    </a:cubicBezTo>
                    <a:cubicBezTo>
                      <a:pt x="319140" y="2206726"/>
                      <a:pt x="319140" y="2208982"/>
                      <a:pt x="317786" y="2210110"/>
                    </a:cubicBezTo>
                    <a:cubicBezTo>
                      <a:pt x="315755" y="2211690"/>
                      <a:pt x="313048" y="2211013"/>
                      <a:pt x="303571" y="2208305"/>
                    </a:cubicBezTo>
                    <a:cubicBezTo>
                      <a:pt x="301088" y="2207628"/>
                      <a:pt x="298155" y="2206726"/>
                      <a:pt x="294545" y="2205823"/>
                    </a:cubicBezTo>
                    <a:cubicBezTo>
                      <a:pt x="280555" y="2202213"/>
                      <a:pt x="277847" y="2199730"/>
                      <a:pt x="274011" y="2196346"/>
                    </a:cubicBezTo>
                    <a:cubicBezTo>
                      <a:pt x="271754" y="2194315"/>
                      <a:pt x="269272" y="2192059"/>
                      <a:pt x="263631" y="2188674"/>
                    </a:cubicBezTo>
                    <a:cubicBezTo>
                      <a:pt x="247610" y="2179422"/>
                      <a:pt x="230461" y="2161145"/>
                      <a:pt x="218953" y="2148283"/>
                    </a:cubicBezTo>
                    <a:cubicBezTo>
                      <a:pt x="212410" y="2140837"/>
                      <a:pt x="207897" y="2134744"/>
                      <a:pt x="203158" y="2128426"/>
                    </a:cubicBezTo>
                    <a:cubicBezTo>
                      <a:pt x="199322" y="2123011"/>
                      <a:pt x="195260" y="2117595"/>
                      <a:pt x="189619" y="2110600"/>
                    </a:cubicBezTo>
                    <a:cubicBezTo>
                      <a:pt x="186009" y="2106087"/>
                      <a:pt x="182850" y="2102026"/>
                      <a:pt x="179691" y="2097739"/>
                    </a:cubicBezTo>
                    <a:cubicBezTo>
                      <a:pt x="172019" y="2087359"/>
                      <a:pt x="163896" y="2076528"/>
                      <a:pt x="144716" y="2057122"/>
                    </a:cubicBezTo>
                    <a:cubicBezTo>
                      <a:pt x="117638" y="2030045"/>
                      <a:pt x="96653" y="2002967"/>
                      <a:pt x="91689" y="1993716"/>
                    </a:cubicBezTo>
                    <a:cubicBezTo>
                      <a:pt x="86725" y="1984239"/>
                      <a:pt x="86273" y="1978597"/>
                      <a:pt x="87176" y="1971377"/>
                    </a:cubicBezTo>
                    <a:cubicBezTo>
                      <a:pt x="88304" y="1963253"/>
                      <a:pt x="97781" y="1954453"/>
                      <a:pt x="102069" y="1951294"/>
                    </a:cubicBezTo>
                    <a:cubicBezTo>
                      <a:pt x="103648" y="1950166"/>
                      <a:pt x="104776" y="1950392"/>
                      <a:pt x="105453" y="1950843"/>
                    </a:cubicBezTo>
                    <a:cubicBezTo>
                      <a:pt x="107484" y="1951971"/>
                      <a:pt x="107484" y="1954904"/>
                      <a:pt x="107484" y="1958741"/>
                    </a:cubicBezTo>
                    <a:cubicBezTo>
                      <a:pt x="107484" y="1960320"/>
                      <a:pt x="107484" y="1963028"/>
                      <a:pt x="107710" y="1963930"/>
                    </a:cubicBezTo>
                    <a:cubicBezTo>
                      <a:pt x="108612" y="1963930"/>
                      <a:pt x="109289" y="1963479"/>
                      <a:pt x="110192" y="1963028"/>
                    </a:cubicBezTo>
                    <a:cubicBezTo>
                      <a:pt x="111546" y="1962351"/>
                      <a:pt x="113125" y="1961674"/>
                      <a:pt x="114705" y="1962351"/>
                    </a:cubicBezTo>
                    <a:cubicBezTo>
                      <a:pt x="115833" y="1962802"/>
                      <a:pt x="116510" y="1963930"/>
                      <a:pt x="117187" y="1965510"/>
                    </a:cubicBezTo>
                    <a:cubicBezTo>
                      <a:pt x="118089" y="1968895"/>
                      <a:pt x="116510" y="1972731"/>
                      <a:pt x="114705" y="1976341"/>
                    </a:cubicBezTo>
                    <a:cubicBezTo>
                      <a:pt x="113577" y="1978823"/>
                      <a:pt x="112448" y="1981305"/>
                      <a:pt x="112448" y="1982885"/>
                    </a:cubicBezTo>
                    <a:cubicBezTo>
                      <a:pt x="112448" y="1984239"/>
                      <a:pt x="112900" y="1985141"/>
                      <a:pt x="113802" y="1985818"/>
                    </a:cubicBezTo>
                    <a:cubicBezTo>
                      <a:pt x="114930" y="1986495"/>
                      <a:pt x="116736" y="1986495"/>
                      <a:pt x="118541" y="1985592"/>
                    </a:cubicBezTo>
                    <a:cubicBezTo>
                      <a:pt x="119443" y="1985141"/>
                      <a:pt x="120346" y="1984464"/>
                      <a:pt x="121248" y="1984013"/>
                    </a:cubicBezTo>
                    <a:cubicBezTo>
                      <a:pt x="124633" y="1981982"/>
                      <a:pt x="128018" y="1979725"/>
                      <a:pt x="132531" y="1979725"/>
                    </a:cubicBezTo>
                    <a:cubicBezTo>
                      <a:pt x="137495" y="1979725"/>
                      <a:pt x="146295" y="1978372"/>
                      <a:pt x="146295" y="1978372"/>
                    </a:cubicBezTo>
                    <a:lnTo>
                      <a:pt x="148326" y="1978146"/>
                    </a:lnTo>
                    <a:lnTo>
                      <a:pt x="148552" y="1980177"/>
                    </a:lnTo>
                    <a:lnTo>
                      <a:pt x="148552" y="1980177"/>
                    </a:lnTo>
                    <a:cubicBezTo>
                      <a:pt x="148552" y="1980177"/>
                      <a:pt x="148552" y="1980403"/>
                      <a:pt x="148777" y="1980403"/>
                    </a:cubicBezTo>
                    <a:cubicBezTo>
                      <a:pt x="149229" y="1980628"/>
                      <a:pt x="150131" y="1980403"/>
                      <a:pt x="151936" y="1979725"/>
                    </a:cubicBezTo>
                    <a:cubicBezTo>
                      <a:pt x="153290" y="1979049"/>
                      <a:pt x="153290" y="1978823"/>
                      <a:pt x="153290" y="1977920"/>
                    </a:cubicBezTo>
                    <a:cubicBezTo>
                      <a:pt x="152613" y="1974536"/>
                      <a:pt x="155547" y="1973633"/>
                      <a:pt x="160737" y="1973407"/>
                    </a:cubicBezTo>
                    <a:cubicBezTo>
                      <a:pt x="166829" y="1973182"/>
                      <a:pt x="170214" y="1973633"/>
                      <a:pt x="172696" y="1974084"/>
                    </a:cubicBezTo>
                    <a:cubicBezTo>
                      <a:pt x="174501" y="1974310"/>
                      <a:pt x="175629" y="1974536"/>
                      <a:pt x="176983" y="1974310"/>
                    </a:cubicBezTo>
                    <a:cubicBezTo>
                      <a:pt x="176757" y="1973859"/>
                      <a:pt x="176532" y="1972956"/>
                      <a:pt x="176306" y="1972279"/>
                    </a:cubicBezTo>
                    <a:cubicBezTo>
                      <a:pt x="175404" y="1970248"/>
                      <a:pt x="174501" y="1967541"/>
                      <a:pt x="175855" y="1965510"/>
                    </a:cubicBezTo>
                    <a:cubicBezTo>
                      <a:pt x="176757" y="1964156"/>
                      <a:pt x="178337" y="1963479"/>
                      <a:pt x="180593" y="1963253"/>
                    </a:cubicBezTo>
                    <a:cubicBezTo>
                      <a:pt x="186009" y="1963028"/>
                      <a:pt x="188717" y="1965284"/>
                      <a:pt x="190973" y="1967089"/>
                    </a:cubicBezTo>
                    <a:cubicBezTo>
                      <a:pt x="192778" y="1968443"/>
                      <a:pt x="193455" y="1969120"/>
                      <a:pt x="195035" y="1968895"/>
                    </a:cubicBezTo>
                    <a:cubicBezTo>
                      <a:pt x="196389" y="1968669"/>
                      <a:pt x="196614" y="1968218"/>
                      <a:pt x="197066" y="1967315"/>
                    </a:cubicBezTo>
                    <a:cubicBezTo>
                      <a:pt x="198194" y="1965284"/>
                      <a:pt x="199773" y="1963253"/>
                      <a:pt x="205414" y="1963705"/>
                    </a:cubicBezTo>
                    <a:cubicBezTo>
                      <a:pt x="209025" y="1963930"/>
                      <a:pt x="210153" y="1961674"/>
                      <a:pt x="211507" y="1957838"/>
                    </a:cubicBezTo>
                    <a:cubicBezTo>
                      <a:pt x="212635" y="1955130"/>
                      <a:pt x="213538" y="1952422"/>
                      <a:pt x="216020" y="1951294"/>
                    </a:cubicBezTo>
                    <a:cubicBezTo>
                      <a:pt x="217148" y="1950843"/>
                      <a:pt x="217825" y="1950166"/>
                      <a:pt x="218502" y="1949489"/>
                    </a:cubicBezTo>
                    <a:cubicBezTo>
                      <a:pt x="219405" y="1948586"/>
                      <a:pt x="220533" y="1947684"/>
                      <a:pt x="222112" y="1947909"/>
                    </a:cubicBezTo>
                    <a:cubicBezTo>
                      <a:pt x="223917" y="1948135"/>
                      <a:pt x="225497" y="1949489"/>
                      <a:pt x="228656" y="1953325"/>
                    </a:cubicBezTo>
                    <a:cubicBezTo>
                      <a:pt x="231815" y="1957161"/>
                      <a:pt x="234523" y="1958966"/>
                      <a:pt x="236779" y="1958966"/>
                    </a:cubicBezTo>
                    <a:cubicBezTo>
                      <a:pt x="239261" y="1958741"/>
                      <a:pt x="241969" y="1956258"/>
                      <a:pt x="244903" y="1951294"/>
                    </a:cubicBezTo>
                    <a:cubicBezTo>
                      <a:pt x="248964" y="1944750"/>
                      <a:pt x="253703" y="1935499"/>
                      <a:pt x="257764" y="1927601"/>
                    </a:cubicBezTo>
                    <a:cubicBezTo>
                      <a:pt x="261149" y="1921283"/>
                      <a:pt x="263857" y="1915868"/>
                      <a:pt x="265888" y="1912483"/>
                    </a:cubicBezTo>
                    <a:cubicBezTo>
                      <a:pt x="267242" y="1910227"/>
                      <a:pt x="268144" y="1908421"/>
                      <a:pt x="270175" y="1908873"/>
                    </a:cubicBezTo>
                    <a:cubicBezTo>
                      <a:pt x="271754" y="1909324"/>
                      <a:pt x="271754" y="1911129"/>
                      <a:pt x="271754" y="1912934"/>
                    </a:cubicBezTo>
                    <a:cubicBezTo>
                      <a:pt x="271754" y="1914514"/>
                      <a:pt x="271529" y="1917673"/>
                      <a:pt x="272657" y="1918350"/>
                    </a:cubicBezTo>
                    <a:cubicBezTo>
                      <a:pt x="273560" y="1918801"/>
                      <a:pt x="274914" y="1917447"/>
                      <a:pt x="277170" y="1914965"/>
                    </a:cubicBezTo>
                    <a:cubicBezTo>
                      <a:pt x="279201" y="1912709"/>
                      <a:pt x="281457" y="1910001"/>
                      <a:pt x="284616" y="1908873"/>
                    </a:cubicBezTo>
                    <a:cubicBezTo>
                      <a:pt x="287775" y="1907744"/>
                      <a:pt x="288452" y="1903909"/>
                      <a:pt x="289129" y="1900524"/>
                    </a:cubicBezTo>
                    <a:cubicBezTo>
                      <a:pt x="289581" y="1898719"/>
                      <a:pt x="289806" y="1896913"/>
                      <a:pt x="290483" y="1895560"/>
                    </a:cubicBezTo>
                    <a:cubicBezTo>
                      <a:pt x="291837" y="1893077"/>
                      <a:pt x="293642" y="1892626"/>
                      <a:pt x="295222" y="1892175"/>
                    </a:cubicBezTo>
                    <a:cubicBezTo>
                      <a:pt x="296576" y="1891724"/>
                      <a:pt x="298155" y="1891272"/>
                      <a:pt x="300412" y="1889693"/>
                    </a:cubicBezTo>
                    <a:lnTo>
                      <a:pt x="302668" y="1888113"/>
                    </a:lnTo>
                    <a:cubicBezTo>
                      <a:pt x="306504" y="1885406"/>
                      <a:pt x="316658" y="1878185"/>
                      <a:pt x="317109" y="1875928"/>
                    </a:cubicBezTo>
                    <a:cubicBezTo>
                      <a:pt x="317335" y="1874123"/>
                      <a:pt x="316884" y="1870513"/>
                      <a:pt x="315304" y="1869610"/>
                    </a:cubicBezTo>
                    <a:cubicBezTo>
                      <a:pt x="314176" y="1868933"/>
                      <a:pt x="312596" y="1869610"/>
                      <a:pt x="311468" y="1870287"/>
                    </a:cubicBezTo>
                    <a:cubicBezTo>
                      <a:pt x="303796" y="1875026"/>
                      <a:pt x="300412" y="1876831"/>
                      <a:pt x="295447" y="1875703"/>
                    </a:cubicBezTo>
                    <a:cubicBezTo>
                      <a:pt x="291160" y="1874800"/>
                      <a:pt x="285293" y="1872769"/>
                      <a:pt x="279652" y="1870513"/>
                    </a:cubicBezTo>
                    <a:cubicBezTo>
                      <a:pt x="277847" y="1869836"/>
                      <a:pt x="276493" y="1868708"/>
                      <a:pt x="275365" y="1867805"/>
                    </a:cubicBezTo>
                    <a:cubicBezTo>
                      <a:pt x="272431" y="1865549"/>
                      <a:pt x="270626" y="1864420"/>
                      <a:pt x="264985" y="1867580"/>
                    </a:cubicBezTo>
                    <a:cubicBezTo>
                      <a:pt x="255508" y="1872769"/>
                      <a:pt x="250769" y="1877057"/>
                      <a:pt x="250544" y="1881118"/>
                    </a:cubicBezTo>
                    <a:cubicBezTo>
                      <a:pt x="250318" y="1882472"/>
                      <a:pt x="250769" y="1884503"/>
                      <a:pt x="251221" y="1886534"/>
                    </a:cubicBezTo>
                    <a:cubicBezTo>
                      <a:pt x="251898" y="1889693"/>
                      <a:pt x="252800" y="1893077"/>
                      <a:pt x="251221" y="1895334"/>
                    </a:cubicBezTo>
                    <a:cubicBezTo>
                      <a:pt x="250544" y="1896462"/>
                      <a:pt x="249190" y="1897139"/>
                      <a:pt x="247610" y="1897365"/>
                    </a:cubicBezTo>
                    <a:cubicBezTo>
                      <a:pt x="245128" y="1897816"/>
                      <a:pt x="243097" y="1897590"/>
                      <a:pt x="241292" y="1897590"/>
                    </a:cubicBezTo>
                    <a:cubicBezTo>
                      <a:pt x="238133" y="1897365"/>
                      <a:pt x="237005" y="1897590"/>
                      <a:pt x="236102" y="1898944"/>
                    </a:cubicBezTo>
                    <a:cubicBezTo>
                      <a:pt x="235651" y="1899621"/>
                      <a:pt x="235425" y="1900298"/>
                      <a:pt x="235200" y="1900749"/>
                    </a:cubicBezTo>
                    <a:cubicBezTo>
                      <a:pt x="233395" y="1904585"/>
                      <a:pt x="231364" y="1907293"/>
                      <a:pt x="222338" y="1907293"/>
                    </a:cubicBezTo>
                    <a:cubicBezTo>
                      <a:pt x="212184" y="1907293"/>
                      <a:pt x="206994" y="1909098"/>
                      <a:pt x="201127" y="1911580"/>
                    </a:cubicBezTo>
                    <a:cubicBezTo>
                      <a:pt x="198419" y="1912709"/>
                      <a:pt x="195937" y="1913160"/>
                      <a:pt x="193907" y="1913386"/>
                    </a:cubicBezTo>
                    <a:cubicBezTo>
                      <a:pt x="191424" y="1913611"/>
                      <a:pt x="189845" y="1913837"/>
                      <a:pt x="188491" y="1915642"/>
                    </a:cubicBezTo>
                    <a:cubicBezTo>
                      <a:pt x="185783" y="1919027"/>
                      <a:pt x="182399" y="1918124"/>
                      <a:pt x="178563" y="1917222"/>
                    </a:cubicBezTo>
                    <a:cubicBezTo>
                      <a:pt x="176306" y="1916319"/>
                      <a:pt x="173598" y="1915642"/>
                      <a:pt x="170214" y="1915642"/>
                    </a:cubicBezTo>
                    <a:cubicBezTo>
                      <a:pt x="166378" y="1915642"/>
                      <a:pt x="161865" y="1914965"/>
                      <a:pt x="157126" y="1914288"/>
                    </a:cubicBezTo>
                    <a:cubicBezTo>
                      <a:pt x="150357" y="1913386"/>
                      <a:pt x="143362" y="1912257"/>
                      <a:pt x="138849" y="1913160"/>
                    </a:cubicBezTo>
                    <a:cubicBezTo>
                      <a:pt x="130049" y="1914965"/>
                      <a:pt x="128695" y="1914514"/>
                      <a:pt x="119443" y="1906842"/>
                    </a:cubicBezTo>
                    <a:cubicBezTo>
                      <a:pt x="112223" y="1900975"/>
                      <a:pt x="100715" y="1893529"/>
                      <a:pt x="90561" y="1886985"/>
                    </a:cubicBezTo>
                    <a:cubicBezTo>
                      <a:pt x="88079" y="1885406"/>
                      <a:pt x="85822" y="1883826"/>
                      <a:pt x="83566" y="1882472"/>
                    </a:cubicBezTo>
                    <a:cubicBezTo>
                      <a:pt x="77247" y="1878410"/>
                      <a:pt x="72735" y="1874574"/>
                      <a:pt x="69124" y="1871641"/>
                    </a:cubicBezTo>
                    <a:cubicBezTo>
                      <a:pt x="66642" y="1869385"/>
                      <a:pt x="64386" y="1867805"/>
                      <a:pt x="62580" y="1866677"/>
                    </a:cubicBezTo>
                    <a:cubicBezTo>
                      <a:pt x="57165" y="1863518"/>
                      <a:pt x="51975" y="1855620"/>
                      <a:pt x="50396" y="1850430"/>
                    </a:cubicBezTo>
                    <a:cubicBezTo>
                      <a:pt x="49944" y="1847948"/>
                      <a:pt x="48816" y="1845240"/>
                      <a:pt x="47688" y="1842758"/>
                    </a:cubicBezTo>
                    <a:cubicBezTo>
                      <a:pt x="46560" y="1839825"/>
                      <a:pt x="46108" y="1838697"/>
                      <a:pt x="46108" y="1837794"/>
                    </a:cubicBezTo>
                    <a:cubicBezTo>
                      <a:pt x="46108" y="1837117"/>
                      <a:pt x="46334" y="1835538"/>
                      <a:pt x="46334" y="1834184"/>
                    </a:cubicBezTo>
                    <a:cubicBezTo>
                      <a:pt x="46560" y="1833281"/>
                      <a:pt x="46560" y="1832153"/>
                      <a:pt x="46560" y="1831476"/>
                    </a:cubicBezTo>
                    <a:cubicBezTo>
                      <a:pt x="46108" y="1830799"/>
                      <a:pt x="44303" y="1829220"/>
                      <a:pt x="43175" y="1828091"/>
                    </a:cubicBezTo>
                    <a:cubicBezTo>
                      <a:pt x="40693" y="1825835"/>
                      <a:pt x="37759" y="1823127"/>
                      <a:pt x="35729" y="1820419"/>
                    </a:cubicBezTo>
                    <a:cubicBezTo>
                      <a:pt x="32795" y="1816809"/>
                      <a:pt x="33698" y="1814327"/>
                      <a:pt x="34375" y="1812296"/>
                    </a:cubicBezTo>
                    <a:cubicBezTo>
                      <a:pt x="34826" y="1810942"/>
                      <a:pt x="35277" y="1809588"/>
                      <a:pt x="34600" y="1807558"/>
                    </a:cubicBezTo>
                    <a:cubicBezTo>
                      <a:pt x="32795" y="1802142"/>
                      <a:pt x="31893" y="1796501"/>
                      <a:pt x="35503" y="1791988"/>
                    </a:cubicBezTo>
                    <a:lnTo>
                      <a:pt x="36631" y="1790634"/>
                    </a:lnTo>
                    <a:cubicBezTo>
                      <a:pt x="38662" y="1788152"/>
                      <a:pt x="39113" y="1787475"/>
                      <a:pt x="42949" y="1786347"/>
                    </a:cubicBezTo>
                    <a:cubicBezTo>
                      <a:pt x="44077" y="1786121"/>
                      <a:pt x="45206" y="1785670"/>
                      <a:pt x="46560" y="1785444"/>
                    </a:cubicBezTo>
                    <a:cubicBezTo>
                      <a:pt x="50170" y="1784542"/>
                      <a:pt x="54909" y="1783639"/>
                      <a:pt x="58293" y="1780480"/>
                    </a:cubicBezTo>
                    <a:cubicBezTo>
                      <a:pt x="59873" y="1778901"/>
                      <a:pt x="60550" y="1777547"/>
                      <a:pt x="61227" y="1776193"/>
                    </a:cubicBezTo>
                    <a:cubicBezTo>
                      <a:pt x="62355" y="1773711"/>
                      <a:pt x="63709" y="1771003"/>
                      <a:pt x="69801" y="1770552"/>
                    </a:cubicBezTo>
                    <a:cubicBezTo>
                      <a:pt x="75894" y="1770100"/>
                      <a:pt x="80632" y="1765362"/>
                      <a:pt x="83566" y="1762654"/>
                    </a:cubicBezTo>
                    <a:cubicBezTo>
                      <a:pt x="83791" y="1762428"/>
                      <a:pt x="83791" y="1762428"/>
                      <a:pt x="84017" y="1762203"/>
                    </a:cubicBezTo>
                    <a:cubicBezTo>
                      <a:pt x="82212" y="1761751"/>
                      <a:pt x="78827" y="1761526"/>
                      <a:pt x="75668" y="1762880"/>
                    </a:cubicBezTo>
                    <a:cubicBezTo>
                      <a:pt x="73186" y="1764008"/>
                      <a:pt x="69801" y="1764459"/>
                      <a:pt x="66416" y="1764910"/>
                    </a:cubicBezTo>
                    <a:cubicBezTo>
                      <a:pt x="62355" y="1765587"/>
                      <a:pt x="57842" y="1766039"/>
                      <a:pt x="56262" y="1768069"/>
                    </a:cubicBezTo>
                    <a:cubicBezTo>
                      <a:pt x="55360" y="1769198"/>
                      <a:pt x="54457" y="1770552"/>
                      <a:pt x="53555" y="1771905"/>
                    </a:cubicBezTo>
                    <a:cubicBezTo>
                      <a:pt x="51524" y="1775290"/>
                      <a:pt x="49267" y="1778675"/>
                      <a:pt x="45206" y="1778901"/>
                    </a:cubicBezTo>
                    <a:lnTo>
                      <a:pt x="44754" y="1778901"/>
                    </a:lnTo>
                    <a:cubicBezTo>
                      <a:pt x="40918" y="1779126"/>
                      <a:pt x="35277" y="1779577"/>
                      <a:pt x="33923" y="1782511"/>
                    </a:cubicBezTo>
                    <a:cubicBezTo>
                      <a:pt x="31893" y="1786798"/>
                      <a:pt x="25575" y="1794245"/>
                      <a:pt x="23092" y="1796501"/>
                    </a:cubicBezTo>
                    <a:cubicBezTo>
                      <a:pt x="20610" y="1798983"/>
                      <a:pt x="14744" y="1798983"/>
                      <a:pt x="8425" y="1798983"/>
                    </a:cubicBezTo>
                    <a:lnTo>
                      <a:pt x="6395" y="1798983"/>
                    </a:lnTo>
                    <a:cubicBezTo>
                      <a:pt x="2333" y="1798983"/>
                      <a:pt x="528" y="1796727"/>
                      <a:pt x="77" y="1794470"/>
                    </a:cubicBezTo>
                    <a:cubicBezTo>
                      <a:pt x="-375" y="1791762"/>
                      <a:pt x="1205" y="1788829"/>
                      <a:pt x="3912" y="1787926"/>
                    </a:cubicBezTo>
                    <a:cubicBezTo>
                      <a:pt x="7297" y="1786798"/>
                      <a:pt x="14518" y="1781157"/>
                      <a:pt x="14969" y="1779577"/>
                    </a:cubicBezTo>
                    <a:cubicBezTo>
                      <a:pt x="14969" y="1779352"/>
                      <a:pt x="14969" y="1779352"/>
                      <a:pt x="14292" y="1778901"/>
                    </a:cubicBezTo>
                    <a:cubicBezTo>
                      <a:pt x="13390" y="1778224"/>
                      <a:pt x="12036" y="1777095"/>
                      <a:pt x="11584" y="1774388"/>
                    </a:cubicBezTo>
                    <a:cubicBezTo>
                      <a:pt x="11359" y="1773259"/>
                      <a:pt x="11133" y="1771905"/>
                      <a:pt x="10682" y="1770552"/>
                    </a:cubicBezTo>
                    <a:cubicBezTo>
                      <a:pt x="10005" y="1766716"/>
                      <a:pt x="8877" y="1762203"/>
                      <a:pt x="8877" y="1757464"/>
                    </a:cubicBezTo>
                    <a:cubicBezTo>
                      <a:pt x="8877" y="1754756"/>
                      <a:pt x="10682" y="1751823"/>
                      <a:pt x="14067" y="1749341"/>
                    </a:cubicBezTo>
                    <a:cubicBezTo>
                      <a:pt x="19031" y="1745731"/>
                      <a:pt x="28057" y="1742572"/>
                      <a:pt x="35277" y="1745054"/>
                    </a:cubicBezTo>
                    <a:cubicBezTo>
                      <a:pt x="37985" y="1745956"/>
                      <a:pt x="39790" y="1746633"/>
                      <a:pt x="41144" y="1747084"/>
                    </a:cubicBezTo>
                    <a:cubicBezTo>
                      <a:pt x="45206" y="1748664"/>
                      <a:pt x="46334" y="1749115"/>
                      <a:pt x="55360" y="1749115"/>
                    </a:cubicBezTo>
                    <a:cubicBezTo>
                      <a:pt x="67319" y="1749115"/>
                      <a:pt x="72283" y="1747310"/>
                      <a:pt x="76119" y="1745505"/>
                    </a:cubicBezTo>
                    <a:cubicBezTo>
                      <a:pt x="78150" y="1744602"/>
                      <a:pt x="78376" y="1740766"/>
                      <a:pt x="78601" y="1737382"/>
                    </a:cubicBezTo>
                    <a:cubicBezTo>
                      <a:pt x="78601" y="1736028"/>
                      <a:pt x="78827" y="1734899"/>
                      <a:pt x="78827" y="1733771"/>
                    </a:cubicBezTo>
                    <a:cubicBezTo>
                      <a:pt x="79278" y="1731289"/>
                      <a:pt x="80181" y="1730161"/>
                      <a:pt x="81083" y="1729258"/>
                    </a:cubicBezTo>
                    <a:cubicBezTo>
                      <a:pt x="81986" y="1728356"/>
                      <a:pt x="82437" y="1727679"/>
                      <a:pt x="81986" y="1724971"/>
                    </a:cubicBezTo>
                    <a:cubicBezTo>
                      <a:pt x="81760" y="1723843"/>
                      <a:pt x="81535" y="1722489"/>
                      <a:pt x="81309" y="1721361"/>
                    </a:cubicBezTo>
                    <a:cubicBezTo>
                      <a:pt x="79955" y="1715720"/>
                      <a:pt x="78150" y="1707822"/>
                      <a:pt x="86725" y="1704212"/>
                    </a:cubicBezTo>
                    <a:cubicBezTo>
                      <a:pt x="92817" y="1701729"/>
                      <a:pt x="94622" y="1702632"/>
                      <a:pt x="96427" y="1706243"/>
                    </a:cubicBezTo>
                    <a:cubicBezTo>
                      <a:pt x="97330" y="1707596"/>
                      <a:pt x="98233" y="1709402"/>
                      <a:pt x="100489" y="1710981"/>
                    </a:cubicBezTo>
                    <a:cubicBezTo>
                      <a:pt x="102520" y="1712335"/>
                      <a:pt x="102745" y="1711884"/>
                      <a:pt x="104099" y="1710078"/>
                    </a:cubicBezTo>
                    <a:cubicBezTo>
                      <a:pt x="104776" y="1709176"/>
                      <a:pt x="105905" y="1707822"/>
                      <a:pt x="107484" y="1707822"/>
                    </a:cubicBezTo>
                    <a:cubicBezTo>
                      <a:pt x="109515" y="1708048"/>
                      <a:pt x="110417" y="1709853"/>
                      <a:pt x="111546" y="1712335"/>
                    </a:cubicBezTo>
                    <a:cubicBezTo>
                      <a:pt x="114930" y="1720007"/>
                      <a:pt x="117864" y="1719104"/>
                      <a:pt x="123279" y="1716622"/>
                    </a:cubicBezTo>
                    <a:cubicBezTo>
                      <a:pt x="127792" y="1714591"/>
                      <a:pt x="130951" y="1715043"/>
                      <a:pt x="136367" y="1715720"/>
                    </a:cubicBezTo>
                    <a:cubicBezTo>
                      <a:pt x="138398" y="1715945"/>
                      <a:pt x="140654" y="1716171"/>
                      <a:pt x="143587" y="1716622"/>
                    </a:cubicBezTo>
                    <a:cubicBezTo>
                      <a:pt x="149680" y="1717073"/>
                      <a:pt x="151034" y="1716622"/>
                      <a:pt x="153290" y="1715945"/>
                    </a:cubicBezTo>
                    <a:cubicBezTo>
                      <a:pt x="155095" y="1715268"/>
                      <a:pt x="157578" y="1714591"/>
                      <a:pt x="162542" y="1713914"/>
                    </a:cubicBezTo>
                    <a:cubicBezTo>
                      <a:pt x="174952" y="1712335"/>
                      <a:pt x="184204" y="1714366"/>
                      <a:pt x="187588" y="1715268"/>
                    </a:cubicBezTo>
                    <a:lnTo>
                      <a:pt x="188942" y="1715494"/>
                    </a:lnTo>
                    <a:cubicBezTo>
                      <a:pt x="192553" y="1716171"/>
                      <a:pt x="194132" y="1716848"/>
                      <a:pt x="198645" y="1723166"/>
                    </a:cubicBezTo>
                    <a:cubicBezTo>
                      <a:pt x="203384" y="1729710"/>
                      <a:pt x="209927" y="1732417"/>
                      <a:pt x="219630" y="1732192"/>
                    </a:cubicBezTo>
                    <a:cubicBezTo>
                      <a:pt x="222564" y="1732192"/>
                      <a:pt x="225046" y="1731966"/>
                      <a:pt x="227528" y="1731966"/>
                    </a:cubicBezTo>
                    <a:cubicBezTo>
                      <a:pt x="234072" y="1731966"/>
                      <a:pt x="239261" y="1731740"/>
                      <a:pt x="243097" y="1730838"/>
                    </a:cubicBezTo>
                    <a:cubicBezTo>
                      <a:pt x="245354" y="1730387"/>
                      <a:pt x="247159" y="1728356"/>
                      <a:pt x="249415" y="1725874"/>
                    </a:cubicBezTo>
                    <a:cubicBezTo>
                      <a:pt x="251672" y="1723617"/>
                      <a:pt x="253928" y="1720910"/>
                      <a:pt x="257539" y="1719104"/>
                    </a:cubicBezTo>
                    <a:cubicBezTo>
                      <a:pt x="264308" y="1715720"/>
                      <a:pt x="269047" y="1713463"/>
                      <a:pt x="279878" y="1714140"/>
                    </a:cubicBezTo>
                    <a:cubicBezTo>
                      <a:pt x="285970" y="1714591"/>
                      <a:pt x="287098" y="1713689"/>
                      <a:pt x="289129" y="1712109"/>
                    </a:cubicBezTo>
                    <a:cubicBezTo>
                      <a:pt x="290483" y="1711207"/>
                      <a:pt x="292063" y="1709853"/>
                      <a:pt x="294996" y="1708725"/>
                    </a:cubicBezTo>
                    <a:cubicBezTo>
                      <a:pt x="297252" y="1707822"/>
                      <a:pt x="299058" y="1706468"/>
                      <a:pt x="300863" y="1705566"/>
                    </a:cubicBezTo>
                    <a:cubicBezTo>
                      <a:pt x="304699" y="1703083"/>
                      <a:pt x="308309" y="1701053"/>
                      <a:pt x="313048" y="1704212"/>
                    </a:cubicBezTo>
                    <a:cubicBezTo>
                      <a:pt x="314176" y="1705114"/>
                      <a:pt x="315079" y="1706017"/>
                      <a:pt x="315304" y="1707145"/>
                    </a:cubicBezTo>
                    <a:cubicBezTo>
                      <a:pt x="315755" y="1709402"/>
                      <a:pt x="314176" y="1711658"/>
                      <a:pt x="312596" y="1714140"/>
                    </a:cubicBezTo>
                    <a:cubicBezTo>
                      <a:pt x="310340" y="1717525"/>
                      <a:pt x="308986" y="1720007"/>
                      <a:pt x="310566" y="1722263"/>
                    </a:cubicBezTo>
                    <a:cubicBezTo>
                      <a:pt x="315079" y="1728807"/>
                      <a:pt x="326586" y="1733320"/>
                      <a:pt x="331325" y="1733320"/>
                    </a:cubicBezTo>
                    <a:cubicBezTo>
                      <a:pt x="336515" y="1733320"/>
                      <a:pt x="345541" y="1731966"/>
                      <a:pt x="349377" y="1729258"/>
                    </a:cubicBezTo>
                    <a:cubicBezTo>
                      <a:pt x="350956" y="1728130"/>
                      <a:pt x="351859" y="1726551"/>
                      <a:pt x="352761" y="1724745"/>
                    </a:cubicBezTo>
                    <a:cubicBezTo>
                      <a:pt x="354115" y="1722263"/>
                      <a:pt x="355920" y="1719104"/>
                      <a:pt x="359756" y="1718202"/>
                    </a:cubicBezTo>
                    <a:cubicBezTo>
                      <a:pt x="361110" y="1717751"/>
                      <a:pt x="362013" y="1717525"/>
                      <a:pt x="362690" y="1717525"/>
                    </a:cubicBezTo>
                    <a:cubicBezTo>
                      <a:pt x="364495" y="1717073"/>
                      <a:pt x="364721" y="1717073"/>
                      <a:pt x="370362" y="1717073"/>
                    </a:cubicBezTo>
                    <a:cubicBezTo>
                      <a:pt x="374649" y="1717073"/>
                      <a:pt x="375326" y="1716171"/>
                      <a:pt x="376229" y="1714591"/>
                    </a:cubicBezTo>
                    <a:cubicBezTo>
                      <a:pt x="376680" y="1713689"/>
                      <a:pt x="377357" y="1712561"/>
                      <a:pt x="378485" y="1711658"/>
                    </a:cubicBezTo>
                    <a:cubicBezTo>
                      <a:pt x="379162" y="1710981"/>
                      <a:pt x="379839" y="1710078"/>
                      <a:pt x="379839" y="1708725"/>
                    </a:cubicBezTo>
                    <a:cubicBezTo>
                      <a:pt x="379613" y="1707145"/>
                      <a:pt x="378259" y="1705791"/>
                      <a:pt x="376229" y="1704663"/>
                    </a:cubicBezTo>
                    <a:cubicBezTo>
                      <a:pt x="372167" y="1702407"/>
                      <a:pt x="366752" y="1699022"/>
                      <a:pt x="366752" y="1694283"/>
                    </a:cubicBezTo>
                    <a:lnTo>
                      <a:pt x="366752" y="1693832"/>
                    </a:lnTo>
                    <a:cubicBezTo>
                      <a:pt x="366752" y="1690673"/>
                      <a:pt x="366752" y="1687740"/>
                      <a:pt x="371941" y="1681647"/>
                    </a:cubicBezTo>
                    <a:cubicBezTo>
                      <a:pt x="372844" y="1680744"/>
                      <a:pt x="373295" y="1679842"/>
                      <a:pt x="373747" y="1679391"/>
                    </a:cubicBezTo>
                    <a:cubicBezTo>
                      <a:pt x="375326" y="1677360"/>
                      <a:pt x="375552" y="1677134"/>
                      <a:pt x="377583" y="1676457"/>
                    </a:cubicBezTo>
                    <a:cubicBezTo>
                      <a:pt x="378259" y="1676232"/>
                      <a:pt x="379388" y="1676006"/>
                      <a:pt x="381193" y="1675103"/>
                    </a:cubicBezTo>
                    <a:cubicBezTo>
                      <a:pt x="382095" y="1674652"/>
                      <a:pt x="382095" y="1674426"/>
                      <a:pt x="382321" y="1674201"/>
                    </a:cubicBezTo>
                    <a:cubicBezTo>
                      <a:pt x="382772" y="1672170"/>
                      <a:pt x="378936" y="1667657"/>
                      <a:pt x="376229" y="1664272"/>
                    </a:cubicBezTo>
                    <a:cubicBezTo>
                      <a:pt x="374875" y="1662693"/>
                      <a:pt x="373521" y="1661113"/>
                      <a:pt x="372618" y="1659534"/>
                    </a:cubicBezTo>
                    <a:cubicBezTo>
                      <a:pt x="370362" y="1656149"/>
                      <a:pt x="369234" y="1652313"/>
                      <a:pt x="368105" y="1648251"/>
                    </a:cubicBezTo>
                    <a:cubicBezTo>
                      <a:pt x="366977" y="1643513"/>
                      <a:pt x="365623" y="1638774"/>
                      <a:pt x="362239" y="1634261"/>
                    </a:cubicBezTo>
                    <a:cubicBezTo>
                      <a:pt x="357500" y="1627943"/>
                      <a:pt x="358403" y="1620046"/>
                      <a:pt x="359080" y="1613953"/>
                    </a:cubicBezTo>
                    <a:cubicBezTo>
                      <a:pt x="359305" y="1611020"/>
                      <a:pt x="359756" y="1608086"/>
                      <a:pt x="359080" y="1606507"/>
                    </a:cubicBezTo>
                    <a:cubicBezTo>
                      <a:pt x="358403" y="1604476"/>
                      <a:pt x="354567" y="1601994"/>
                      <a:pt x="350956" y="1599738"/>
                    </a:cubicBezTo>
                    <a:cubicBezTo>
                      <a:pt x="346669" y="1597030"/>
                      <a:pt x="342382" y="1594096"/>
                      <a:pt x="339900" y="1590486"/>
                    </a:cubicBezTo>
                    <a:cubicBezTo>
                      <a:pt x="335161" y="1583265"/>
                      <a:pt x="332905" y="1555060"/>
                      <a:pt x="332905" y="1551900"/>
                    </a:cubicBezTo>
                    <a:cubicBezTo>
                      <a:pt x="332905" y="1550998"/>
                      <a:pt x="332679" y="1549644"/>
                      <a:pt x="332228" y="1548290"/>
                    </a:cubicBezTo>
                    <a:cubicBezTo>
                      <a:pt x="331325" y="1544229"/>
                      <a:pt x="329971" y="1538813"/>
                      <a:pt x="333130" y="1533623"/>
                    </a:cubicBezTo>
                    <a:cubicBezTo>
                      <a:pt x="334484" y="1531141"/>
                      <a:pt x="334710" y="1530013"/>
                      <a:pt x="334258" y="1529336"/>
                    </a:cubicBezTo>
                    <a:cubicBezTo>
                      <a:pt x="334033" y="1529110"/>
                      <a:pt x="332453" y="1527531"/>
                      <a:pt x="323879" y="1529336"/>
                    </a:cubicBezTo>
                    <a:cubicBezTo>
                      <a:pt x="320494" y="1530013"/>
                      <a:pt x="317335" y="1530690"/>
                      <a:pt x="314627" y="1531592"/>
                    </a:cubicBezTo>
                    <a:cubicBezTo>
                      <a:pt x="307407" y="1533398"/>
                      <a:pt x="302217" y="1534752"/>
                      <a:pt x="297252" y="1532044"/>
                    </a:cubicBezTo>
                    <a:cubicBezTo>
                      <a:pt x="291837" y="1529110"/>
                      <a:pt x="288452" y="1523920"/>
                      <a:pt x="285293" y="1518956"/>
                    </a:cubicBezTo>
                    <a:cubicBezTo>
                      <a:pt x="284616" y="1517828"/>
                      <a:pt x="283939" y="1516925"/>
                      <a:pt x="283262" y="1515797"/>
                    </a:cubicBezTo>
                    <a:cubicBezTo>
                      <a:pt x="281683" y="1513315"/>
                      <a:pt x="279652" y="1511510"/>
                      <a:pt x="277847" y="1509479"/>
                    </a:cubicBezTo>
                    <a:cubicBezTo>
                      <a:pt x="275590" y="1507223"/>
                      <a:pt x="273108" y="1504966"/>
                      <a:pt x="271078" y="1501582"/>
                    </a:cubicBezTo>
                    <a:cubicBezTo>
                      <a:pt x="267016" y="1495038"/>
                      <a:pt x="267918" y="1483530"/>
                      <a:pt x="268821" y="1480145"/>
                    </a:cubicBezTo>
                    <a:cubicBezTo>
                      <a:pt x="268595" y="1479694"/>
                      <a:pt x="267918" y="1479243"/>
                      <a:pt x="267467" y="1478791"/>
                    </a:cubicBezTo>
                    <a:cubicBezTo>
                      <a:pt x="265888" y="1477212"/>
                      <a:pt x="263631" y="1475181"/>
                      <a:pt x="263857" y="1472473"/>
                    </a:cubicBezTo>
                    <a:cubicBezTo>
                      <a:pt x="264083" y="1470217"/>
                      <a:pt x="265662" y="1468186"/>
                      <a:pt x="268595" y="1466155"/>
                    </a:cubicBezTo>
                    <a:cubicBezTo>
                      <a:pt x="277170" y="1460514"/>
                      <a:pt x="278524" y="1453293"/>
                      <a:pt x="280555" y="1442688"/>
                    </a:cubicBezTo>
                    <a:lnTo>
                      <a:pt x="281006" y="1440206"/>
                    </a:lnTo>
                    <a:cubicBezTo>
                      <a:pt x="282134" y="1434113"/>
                      <a:pt x="281232" y="1429826"/>
                      <a:pt x="280555" y="1426216"/>
                    </a:cubicBezTo>
                    <a:cubicBezTo>
                      <a:pt x="279878" y="1422605"/>
                      <a:pt x="279201" y="1419446"/>
                      <a:pt x="280780" y="1416287"/>
                    </a:cubicBezTo>
                    <a:cubicBezTo>
                      <a:pt x="282585" y="1412677"/>
                      <a:pt x="280780" y="1411323"/>
                      <a:pt x="277621" y="1409518"/>
                    </a:cubicBezTo>
                    <a:lnTo>
                      <a:pt x="277170" y="1409292"/>
                    </a:lnTo>
                    <a:cubicBezTo>
                      <a:pt x="276719" y="1409067"/>
                      <a:pt x="276267" y="1408841"/>
                      <a:pt x="275816" y="1408390"/>
                    </a:cubicBezTo>
                    <a:cubicBezTo>
                      <a:pt x="273334" y="1406584"/>
                      <a:pt x="269047" y="1403651"/>
                      <a:pt x="263406" y="1404328"/>
                    </a:cubicBezTo>
                    <a:lnTo>
                      <a:pt x="261600" y="1404554"/>
                    </a:lnTo>
                    <a:cubicBezTo>
                      <a:pt x="255057" y="1405456"/>
                      <a:pt x="249415" y="1406133"/>
                      <a:pt x="241744" y="1404779"/>
                    </a:cubicBezTo>
                    <a:cubicBezTo>
                      <a:pt x="236102" y="1403877"/>
                      <a:pt x="232718" y="1400718"/>
                      <a:pt x="229107" y="1397333"/>
                    </a:cubicBezTo>
                    <a:cubicBezTo>
                      <a:pt x="227077" y="1395528"/>
                      <a:pt x="225271" y="1393497"/>
                      <a:pt x="222564" y="1391917"/>
                    </a:cubicBezTo>
                    <a:cubicBezTo>
                      <a:pt x="219630" y="1389887"/>
                      <a:pt x="217148" y="1388984"/>
                      <a:pt x="214892" y="1388307"/>
                    </a:cubicBezTo>
                    <a:cubicBezTo>
                      <a:pt x="211507" y="1387179"/>
                      <a:pt x="208348" y="1386051"/>
                      <a:pt x="206543" y="1381763"/>
                    </a:cubicBezTo>
                    <a:cubicBezTo>
                      <a:pt x="203609" y="1375220"/>
                      <a:pt x="203609" y="1370255"/>
                      <a:pt x="203609" y="1356491"/>
                    </a:cubicBezTo>
                    <a:cubicBezTo>
                      <a:pt x="203609" y="1344080"/>
                      <a:pt x="205414" y="1334829"/>
                      <a:pt x="213763" y="1328962"/>
                    </a:cubicBezTo>
                    <a:cubicBezTo>
                      <a:pt x="216697" y="1327157"/>
                      <a:pt x="218051" y="1323095"/>
                      <a:pt x="219179" y="1319259"/>
                    </a:cubicBezTo>
                    <a:cubicBezTo>
                      <a:pt x="220758" y="1314746"/>
                      <a:pt x="222338" y="1310008"/>
                      <a:pt x="226851" y="1308428"/>
                    </a:cubicBezTo>
                    <a:cubicBezTo>
                      <a:pt x="230236" y="1307300"/>
                      <a:pt x="233169" y="1304818"/>
                      <a:pt x="236554" y="1301659"/>
                    </a:cubicBezTo>
                    <a:cubicBezTo>
                      <a:pt x="239487" y="1298951"/>
                      <a:pt x="242872" y="1296018"/>
                      <a:pt x="247159" y="1293536"/>
                    </a:cubicBezTo>
                    <a:cubicBezTo>
                      <a:pt x="252123" y="1290602"/>
                      <a:pt x="255508" y="1287443"/>
                      <a:pt x="258441" y="1284961"/>
                    </a:cubicBezTo>
                    <a:cubicBezTo>
                      <a:pt x="260923" y="1282930"/>
                      <a:pt x="262954" y="1280900"/>
                      <a:pt x="265211" y="1279771"/>
                    </a:cubicBezTo>
                    <a:cubicBezTo>
                      <a:pt x="267242" y="1278643"/>
                      <a:pt x="269047" y="1276838"/>
                      <a:pt x="270852" y="1275033"/>
                    </a:cubicBezTo>
                    <a:cubicBezTo>
                      <a:pt x="272657" y="1273002"/>
                      <a:pt x="274688" y="1270971"/>
                      <a:pt x="277170" y="1269843"/>
                    </a:cubicBezTo>
                    <a:cubicBezTo>
                      <a:pt x="279201" y="1268940"/>
                      <a:pt x="281457" y="1263074"/>
                      <a:pt x="283488" y="1252468"/>
                    </a:cubicBezTo>
                    <a:lnTo>
                      <a:pt x="283714" y="1251791"/>
                    </a:lnTo>
                    <a:cubicBezTo>
                      <a:pt x="284616" y="1247278"/>
                      <a:pt x="287098" y="1235093"/>
                      <a:pt x="294093" y="1231257"/>
                    </a:cubicBezTo>
                    <a:cubicBezTo>
                      <a:pt x="297704" y="1229227"/>
                      <a:pt x="300186" y="1227873"/>
                      <a:pt x="303345" y="1225842"/>
                    </a:cubicBezTo>
                    <a:cubicBezTo>
                      <a:pt x="305376" y="1224488"/>
                      <a:pt x="307632" y="1223134"/>
                      <a:pt x="311017" y="1221103"/>
                    </a:cubicBezTo>
                    <a:cubicBezTo>
                      <a:pt x="314176" y="1219298"/>
                      <a:pt x="316884" y="1217267"/>
                      <a:pt x="319140" y="1215462"/>
                    </a:cubicBezTo>
                    <a:cubicBezTo>
                      <a:pt x="323427" y="1212303"/>
                      <a:pt x="326586" y="1209821"/>
                      <a:pt x="330197" y="1209595"/>
                    </a:cubicBezTo>
                    <a:cubicBezTo>
                      <a:pt x="335161" y="1209144"/>
                      <a:pt x="348249" y="1211852"/>
                      <a:pt x="352084" y="1214560"/>
                    </a:cubicBezTo>
                    <a:cubicBezTo>
                      <a:pt x="356372" y="1217493"/>
                      <a:pt x="358403" y="1229227"/>
                      <a:pt x="358403" y="1233514"/>
                    </a:cubicBezTo>
                    <a:cubicBezTo>
                      <a:pt x="358403" y="1240735"/>
                      <a:pt x="359756" y="1246150"/>
                      <a:pt x="361787" y="1247504"/>
                    </a:cubicBezTo>
                    <a:cubicBezTo>
                      <a:pt x="364269" y="1249083"/>
                      <a:pt x="365172" y="1251566"/>
                      <a:pt x="366075" y="1253596"/>
                    </a:cubicBezTo>
                    <a:cubicBezTo>
                      <a:pt x="366752" y="1255402"/>
                      <a:pt x="367428" y="1257207"/>
                      <a:pt x="369008" y="1258335"/>
                    </a:cubicBezTo>
                    <a:cubicBezTo>
                      <a:pt x="371490" y="1260591"/>
                      <a:pt x="380065" y="1260366"/>
                      <a:pt x="391573" y="1255627"/>
                    </a:cubicBezTo>
                    <a:cubicBezTo>
                      <a:pt x="398116" y="1252919"/>
                      <a:pt x="406916" y="1249760"/>
                      <a:pt x="413912" y="1247278"/>
                    </a:cubicBezTo>
                    <a:cubicBezTo>
                      <a:pt x="417973" y="1245924"/>
                      <a:pt x="421358" y="1244571"/>
                      <a:pt x="423614" y="1243894"/>
                    </a:cubicBezTo>
                    <a:cubicBezTo>
                      <a:pt x="428579" y="1242088"/>
                      <a:pt x="436476" y="1242314"/>
                      <a:pt x="443697" y="1242540"/>
                    </a:cubicBezTo>
                    <a:cubicBezTo>
                      <a:pt x="445953" y="1242540"/>
                      <a:pt x="448210" y="1242765"/>
                      <a:pt x="450241" y="1242765"/>
                    </a:cubicBezTo>
                    <a:cubicBezTo>
                      <a:pt x="453400" y="1242765"/>
                      <a:pt x="455430" y="1243217"/>
                      <a:pt x="457461" y="1243442"/>
                    </a:cubicBezTo>
                    <a:cubicBezTo>
                      <a:pt x="460620" y="1243894"/>
                      <a:pt x="463328" y="1244571"/>
                      <a:pt x="469646" y="1243668"/>
                    </a:cubicBezTo>
                    <a:cubicBezTo>
                      <a:pt x="476416" y="1242765"/>
                      <a:pt x="481605" y="1240058"/>
                      <a:pt x="485893" y="1237801"/>
                    </a:cubicBezTo>
                    <a:cubicBezTo>
                      <a:pt x="488149" y="1236673"/>
                      <a:pt x="490180" y="1235545"/>
                      <a:pt x="492211" y="1234868"/>
                    </a:cubicBezTo>
                    <a:cubicBezTo>
                      <a:pt x="497626" y="1233063"/>
                      <a:pt x="500785" y="1231032"/>
                      <a:pt x="501914" y="1228324"/>
                    </a:cubicBezTo>
                    <a:lnTo>
                      <a:pt x="502590" y="1226745"/>
                    </a:lnTo>
                    <a:cubicBezTo>
                      <a:pt x="504170" y="1223134"/>
                      <a:pt x="506652" y="1217267"/>
                      <a:pt x="508006" y="1212078"/>
                    </a:cubicBezTo>
                    <a:cubicBezTo>
                      <a:pt x="509586" y="1205534"/>
                      <a:pt x="513196" y="1202375"/>
                      <a:pt x="517257" y="1198539"/>
                    </a:cubicBezTo>
                    <a:cubicBezTo>
                      <a:pt x="518160" y="1197636"/>
                      <a:pt x="518837" y="1197185"/>
                      <a:pt x="519740" y="1196282"/>
                    </a:cubicBezTo>
                    <a:cubicBezTo>
                      <a:pt x="524027" y="1192221"/>
                      <a:pt x="530119" y="1186805"/>
                      <a:pt x="534858" y="1185451"/>
                    </a:cubicBezTo>
                    <a:cubicBezTo>
                      <a:pt x="538694" y="1184323"/>
                      <a:pt x="542304" y="1179359"/>
                      <a:pt x="545915" y="1174620"/>
                    </a:cubicBezTo>
                    <a:lnTo>
                      <a:pt x="547494" y="1172364"/>
                    </a:lnTo>
                    <a:cubicBezTo>
                      <a:pt x="549525" y="1169656"/>
                      <a:pt x="551104" y="1165143"/>
                      <a:pt x="552684" y="1160630"/>
                    </a:cubicBezTo>
                    <a:cubicBezTo>
                      <a:pt x="554038" y="1156343"/>
                      <a:pt x="555392" y="1152281"/>
                      <a:pt x="557422" y="1149348"/>
                    </a:cubicBezTo>
                    <a:cubicBezTo>
                      <a:pt x="558551" y="1147543"/>
                      <a:pt x="559002" y="1145286"/>
                      <a:pt x="559453" y="1142579"/>
                    </a:cubicBezTo>
                    <a:cubicBezTo>
                      <a:pt x="560356" y="1138066"/>
                      <a:pt x="561258" y="1132650"/>
                      <a:pt x="567125" y="1127686"/>
                    </a:cubicBezTo>
                    <a:cubicBezTo>
                      <a:pt x="575249" y="1120916"/>
                      <a:pt x="586982" y="1112342"/>
                      <a:pt x="597588" y="1109860"/>
                    </a:cubicBezTo>
                    <a:cubicBezTo>
                      <a:pt x="602552" y="1108732"/>
                      <a:pt x="606162" y="1106250"/>
                      <a:pt x="609772" y="1103993"/>
                    </a:cubicBezTo>
                    <a:cubicBezTo>
                      <a:pt x="613157" y="1101737"/>
                      <a:pt x="616542" y="1099480"/>
                      <a:pt x="620603" y="1098578"/>
                    </a:cubicBezTo>
                    <a:cubicBezTo>
                      <a:pt x="625342" y="1097449"/>
                      <a:pt x="626921" y="1097675"/>
                      <a:pt x="628275" y="1097675"/>
                    </a:cubicBezTo>
                    <a:cubicBezTo>
                      <a:pt x="629178" y="1097675"/>
                      <a:pt x="630306" y="1097901"/>
                      <a:pt x="633014" y="1097449"/>
                    </a:cubicBezTo>
                    <a:cubicBezTo>
                      <a:pt x="635496" y="1096998"/>
                      <a:pt x="636850" y="1092034"/>
                      <a:pt x="637753" y="1087521"/>
                    </a:cubicBezTo>
                    <a:cubicBezTo>
                      <a:pt x="638655" y="1083459"/>
                      <a:pt x="639558" y="1079398"/>
                      <a:pt x="641814" y="1077367"/>
                    </a:cubicBezTo>
                    <a:cubicBezTo>
                      <a:pt x="643168" y="1076013"/>
                      <a:pt x="644522" y="1074208"/>
                      <a:pt x="645876" y="1071951"/>
                    </a:cubicBezTo>
                    <a:cubicBezTo>
                      <a:pt x="648584" y="1067890"/>
                      <a:pt x="651968" y="1062700"/>
                      <a:pt x="658512" y="1057510"/>
                    </a:cubicBezTo>
                    <a:cubicBezTo>
                      <a:pt x="664604" y="1052546"/>
                      <a:pt x="667763" y="1045551"/>
                      <a:pt x="670471" y="1039909"/>
                    </a:cubicBezTo>
                    <a:cubicBezTo>
                      <a:pt x="672051" y="1036750"/>
                      <a:pt x="673179" y="1034043"/>
                      <a:pt x="674758" y="1032238"/>
                    </a:cubicBezTo>
                    <a:cubicBezTo>
                      <a:pt x="678143" y="1028402"/>
                      <a:pt x="686041" y="1015314"/>
                      <a:pt x="688523" y="1007191"/>
                    </a:cubicBezTo>
                    <a:cubicBezTo>
                      <a:pt x="689877" y="1002452"/>
                      <a:pt x="690328" y="997714"/>
                      <a:pt x="691005" y="993652"/>
                    </a:cubicBezTo>
                    <a:cubicBezTo>
                      <a:pt x="691456" y="990493"/>
                      <a:pt x="691682" y="987560"/>
                      <a:pt x="692359" y="985077"/>
                    </a:cubicBezTo>
                    <a:cubicBezTo>
                      <a:pt x="692810" y="983272"/>
                      <a:pt x="692810" y="981467"/>
                      <a:pt x="693036" y="979662"/>
                    </a:cubicBezTo>
                    <a:cubicBezTo>
                      <a:pt x="693261" y="976052"/>
                      <a:pt x="693487" y="972441"/>
                      <a:pt x="696646" y="969057"/>
                    </a:cubicBezTo>
                    <a:cubicBezTo>
                      <a:pt x="701385" y="964318"/>
                      <a:pt x="715149" y="959580"/>
                      <a:pt x="724401" y="959580"/>
                    </a:cubicBezTo>
                    <a:cubicBezTo>
                      <a:pt x="727560" y="959580"/>
                      <a:pt x="729816" y="960256"/>
                      <a:pt x="731621" y="960708"/>
                    </a:cubicBezTo>
                    <a:cubicBezTo>
                      <a:pt x="735457" y="961610"/>
                      <a:pt x="737488" y="962062"/>
                      <a:pt x="742904" y="957323"/>
                    </a:cubicBezTo>
                    <a:cubicBezTo>
                      <a:pt x="749447" y="951456"/>
                      <a:pt x="754412" y="947169"/>
                      <a:pt x="758022" y="944461"/>
                    </a:cubicBezTo>
                    <a:cubicBezTo>
                      <a:pt x="758473" y="944236"/>
                      <a:pt x="758699" y="943784"/>
                      <a:pt x="758925" y="943559"/>
                    </a:cubicBezTo>
                    <a:cubicBezTo>
                      <a:pt x="759827" y="942430"/>
                      <a:pt x="760730" y="941528"/>
                      <a:pt x="763889" y="940400"/>
                    </a:cubicBezTo>
                    <a:cubicBezTo>
                      <a:pt x="765694" y="939723"/>
                      <a:pt x="767048" y="938369"/>
                      <a:pt x="767725" y="936564"/>
                    </a:cubicBezTo>
                    <a:cubicBezTo>
                      <a:pt x="767950" y="935887"/>
                      <a:pt x="768176" y="934307"/>
                      <a:pt x="767273" y="932953"/>
                    </a:cubicBezTo>
                    <a:cubicBezTo>
                      <a:pt x="766822" y="932276"/>
                      <a:pt x="766145" y="931599"/>
                      <a:pt x="765468" y="930697"/>
                    </a:cubicBezTo>
                    <a:cubicBezTo>
                      <a:pt x="761858" y="926861"/>
                      <a:pt x="755314" y="919640"/>
                      <a:pt x="761632" y="913096"/>
                    </a:cubicBezTo>
                    <a:cubicBezTo>
                      <a:pt x="764114" y="910614"/>
                      <a:pt x="763437" y="908132"/>
                      <a:pt x="762986" y="905424"/>
                    </a:cubicBezTo>
                    <a:cubicBezTo>
                      <a:pt x="762309" y="902491"/>
                      <a:pt x="761632" y="898655"/>
                      <a:pt x="766597" y="896624"/>
                    </a:cubicBezTo>
                    <a:cubicBezTo>
                      <a:pt x="769756" y="895270"/>
                      <a:pt x="771561" y="893691"/>
                      <a:pt x="773366" y="892111"/>
                    </a:cubicBezTo>
                    <a:cubicBezTo>
                      <a:pt x="775622" y="890080"/>
                      <a:pt x="777653" y="888050"/>
                      <a:pt x="781715" y="886696"/>
                    </a:cubicBezTo>
                    <a:cubicBezTo>
                      <a:pt x="785325" y="885568"/>
                      <a:pt x="785551" y="884665"/>
                      <a:pt x="786453" y="882409"/>
                    </a:cubicBezTo>
                    <a:cubicBezTo>
                      <a:pt x="787130" y="881055"/>
                      <a:pt x="787807" y="879024"/>
                      <a:pt x="789838" y="876316"/>
                    </a:cubicBezTo>
                    <a:cubicBezTo>
                      <a:pt x="792997" y="872254"/>
                      <a:pt x="794351" y="871126"/>
                      <a:pt x="795930" y="869772"/>
                    </a:cubicBezTo>
                    <a:cubicBezTo>
                      <a:pt x="796833" y="869095"/>
                      <a:pt x="797736" y="868418"/>
                      <a:pt x="798864" y="867065"/>
                    </a:cubicBezTo>
                    <a:cubicBezTo>
                      <a:pt x="800218" y="865711"/>
                      <a:pt x="800669" y="863906"/>
                      <a:pt x="801346" y="861875"/>
                    </a:cubicBezTo>
                    <a:cubicBezTo>
                      <a:pt x="802474" y="858490"/>
                      <a:pt x="803602" y="854880"/>
                      <a:pt x="807664" y="852172"/>
                    </a:cubicBezTo>
                    <a:cubicBezTo>
                      <a:pt x="810597" y="850367"/>
                      <a:pt x="811274" y="848336"/>
                      <a:pt x="812177" y="845854"/>
                    </a:cubicBezTo>
                    <a:cubicBezTo>
                      <a:pt x="812854" y="843823"/>
                      <a:pt x="813531" y="841792"/>
                      <a:pt x="815336" y="839761"/>
                    </a:cubicBezTo>
                    <a:cubicBezTo>
                      <a:pt x="816013" y="839085"/>
                      <a:pt x="816690" y="838408"/>
                      <a:pt x="817141" y="837956"/>
                    </a:cubicBezTo>
                    <a:cubicBezTo>
                      <a:pt x="819623" y="835248"/>
                      <a:pt x="821203" y="833895"/>
                      <a:pt x="827295" y="831864"/>
                    </a:cubicBezTo>
                    <a:cubicBezTo>
                      <a:pt x="831808" y="830510"/>
                      <a:pt x="834516" y="828705"/>
                      <a:pt x="836998" y="827125"/>
                    </a:cubicBezTo>
                    <a:cubicBezTo>
                      <a:pt x="838578" y="826223"/>
                      <a:pt x="839932" y="825094"/>
                      <a:pt x="841737" y="824417"/>
                    </a:cubicBezTo>
                    <a:cubicBezTo>
                      <a:pt x="842865" y="823966"/>
                      <a:pt x="843993" y="823515"/>
                      <a:pt x="844896" y="823289"/>
                    </a:cubicBezTo>
                    <a:cubicBezTo>
                      <a:pt x="845347" y="823064"/>
                      <a:pt x="846024" y="823064"/>
                      <a:pt x="846250" y="822838"/>
                    </a:cubicBezTo>
                    <a:cubicBezTo>
                      <a:pt x="846250" y="822612"/>
                      <a:pt x="846024" y="822161"/>
                      <a:pt x="845573" y="821258"/>
                    </a:cubicBezTo>
                    <a:cubicBezTo>
                      <a:pt x="844896" y="820130"/>
                      <a:pt x="844444" y="819002"/>
                      <a:pt x="843767" y="817874"/>
                    </a:cubicBezTo>
                    <a:cubicBezTo>
                      <a:pt x="841962" y="814489"/>
                      <a:pt x="840383" y="811330"/>
                      <a:pt x="838803" y="806817"/>
                    </a:cubicBezTo>
                    <a:lnTo>
                      <a:pt x="838578" y="805914"/>
                    </a:lnTo>
                    <a:cubicBezTo>
                      <a:pt x="836772" y="800499"/>
                      <a:pt x="834967" y="795535"/>
                      <a:pt x="838126" y="788991"/>
                    </a:cubicBezTo>
                    <a:cubicBezTo>
                      <a:pt x="838803" y="787637"/>
                      <a:pt x="839255" y="786283"/>
                      <a:pt x="839932" y="784929"/>
                    </a:cubicBezTo>
                    <a:cubicBezTo>
                      <a:pt x="841962" y="780191"/>
                      <a:pt x="843542" y="776581"/>
                      <a:pt x="846701" y="776129"/>
                    </a:cubicBezTo>
                    <a:cubicBezTo>
                      <a:pt x="849183" y="775678"/>
                      <a:pt x="852116" y="773196"/>
                      <a:pt x="852116" y="772293"/>
                    </a:cubicBezTo>
                    <a:cubicBezTo>
                      <a:pt x="852116" y="770262"/>
                      <a:pt x="848280" y="754467"/>
                      <a:pt x="847152" y="751985"/>
                    </a:cubicBezTo>
                    <a:cubicBezTo>
                      <a:pt x="846926" y="751534"/>
                      <a:pt x="845798" y="750631"/>
                      <a:pt x="844896" y="749729"/>
                    </a:cubicBezTo>
                    <a:cubicBezTo>
                      <a:pt x="840608" y="745893"/>
                      <a:pt x="832485" y="738672"/>
                      <a:pt x="838352" y="729420"/>
                    </a:cubicBezTo>
                    <a:cubicBezTo>
                      <a:pt x="840608" y="725810"/>
                      <a:pt x="842414" y="722877"/>
                      <a:pt x="843767" y="720395"/>
                    </a:cubicBezTo>
                    <a:cubicBezTo>
                      <a:pt x="846475" y="715882"/>
                      <a:pt x="848506" y="712497"/>
                      <a:pt x="851665" y="708887"/>
                    </a:cubicBezTo>
                    <a:cubicBezTo>
                      <a:pt x="856629" y="703471"/>
                      <a:pt x="871973" y="693768"/>
                      <a:pt x="876712" y="692866"/>
                    </a:cubicBezTo>
                    <a:cubicBezTo>
                      <a:pt x="877389" y="692640"/>
                      <a:pt x="877840" y="692415"/>
                      <a:pt x="878743" y="691512"/>
                    </a:cubicBezTo>
                    <a:cubicBezTo>
                      <a:pt x="880999" y="689481"/>
                      <a:pt x="883932" y="686548"/>
                      <a:pt x="896343" y="686322"/>
                    </a:cubicBezTo>
                    <a:cubicBezTo>
                      <a:pt x="902887" y="686096"/>
                      <a:pt x="907174" y="686096"/>
                      <a:pt x="910333" y="686096"/>
                    </a:cubicBezTo>
                    <a:cubicBezTo>
                      <a:pt x="915072" y="686096"/>
                      <a:pt x="916651" y="686096"/>
                      <a:pt x="919359" y="685419"/>
                    </a:cubicBezTo>
                    <a:cubicBezTo>
                      <a:pt x="923872" y="684066"/>
                      <a:pt x="932898" y="677973"/>
                      <a:pt x="934026" y="676168"/>
                    </a:cubicBezTo>
                    <a:cubicBezTo>
                      <a:pt x="934252" y="674588"/>
                      <a:pt x="935380" y="672332"/>
                      <a:pt x="937636" y="668045"/>
                    </a:cubicBezTo>
                    <a:cubicBezTo>
                      <a:pt x="938539" y="666465"/>
                      <a:pt x="939441" y="664886"/>
                      <a:pt x="939667" y="664209"/>
                    </a:cubicBezTo>
                    <a:cubicBezTo>
                      <a:pt x="940118" y="662404"/>
                      <a:pt x="938088" y="650444"/>
                      <a:pt x="933800" y="647737"/>
                    </a:cubicBezTo>
                    <a:cubicBezTo>
                      <a:pt x="931995" y="646608"/>
                      <a:pt x="929739" y="644803"/>
                      <a:pt x="926805" y="642547"/>
                    </a:cubicBezTo>
                    <a:cubicBezTo>
                      <a:pt x="921615" y="638259"/>
                      <a:pt x="913492" y="631941"/>
                      <a:pt x="910107" y="631716"/>
                    </a:cubicBezTo>
                    <a:cubicBezTo>
                      <a:pt x="908302" y="631490"/>
                      <a:pt x="904466" y="631716"/>
                      <a:pt x="900405" y="631716"/>
                    </a:cubicBezTo>
                    <a:cubicBezTo>
                      <a:pt x="892056" y="631941"/>
                      <a:pt x="882804" y="631941"/>
                      <a:pt x="878968" y="630587"/>
                    </a:cubicBezTo>
                    <a:cubicBezTo>
                      <a:pt x="877614" y="630136"/>
                      <a:pt x="876486" y="629685"/>
                      <a:pt x="875358" y="629459"/>
                    </a:cubicBezTo>
                    <a:cubicBezTo>
                      <a:pt x="871973" y="628557"/>
                      <a:pt x="868814" y="627654"/>
                      <a:pt x="866783" y="624269"/>
                    </a:cubicBezTo>
                    <a:cubicBezTo>
                      <a:pt x="866332" y="623592"/>
                      <a:pt x="865881" y="623141"/>
                      <a:pt x="865655" y="622690"/>
                    </a:cubicBezTo>
                    <a:cubicBezTo>
                      <a:pt x="863850" y="620208"/>
                      <a:pt x="863173" y="618854"/>
                      <a:pt x="862722" y="611633"/>
                    </a:cubicBezTo>
                    <a:cubicBezTo>
                      <a:pt x="862496" y="605766"/>
                      <a:pt x="862045" y="595161"/>
                      <a:pt x="862947" y="590648"/>
                    </a:cubicBezTo>
                    <a:cubicBezTo>
                      <a:pt x="861819" y="590422"/>
                      <a:pt x="859788" y="590197"/>
                      <a:pt x="857757" y="589971"/>
                    </a:cubicBezTo>
                    <a:cubicBezTo>
                      <a:pt x="852793" y="589520"/>
                      <a:pt x="845121" y="588843"/>
                      <a:pt x="834967" y="586361"/>
                    </a:cubicBezTo>
                    <a:cubicBezTo>
                      <a:pt x="818495" y="582525"/>
                      <a:pt x="811049" y="576432"/>
                      <a:pt x="805633" y="572145"/>
                    </a:cubicBezTo>
                    <a:cubicBezTo>
                      <a:pt x="804279" y="571017"/>
                      <a:pt x="803151" y="570114"/>
                      <a:pt x="802023" y="569212"/>
                    </a:cubicBezTo>
                    <a:lnTo>
                      <a:pt x="800443" y="568084"/>
                    </a:lnTo>
                    <a:cubicBezTo>
                      <a:pt x="795028" y="564248"/>
                      <a:pt x="789838" y="560637"/>
                      <a:pt x="781940" y="557704"/>
                    </a:cubicBezTo>
                    <a:cubicBezTo>
                      <a:pt x="781489" y="557478"/>
                      <a:pt x="770207" y="553416"/>
                      <a:pt x="762535" y="549581"/>
                    </a:cubicBezTo>
                    <a:cubicBezTo>
                      <a:pt x="754637" y="545745"/>
                      <a:pt x="748545" y="535590"/>
                      <a:pt x="745837" y="522052"/>
                    </a:cubicBezTo>
                    <a:cubicBezTo>
                      <a:pt x="745386" y="519570"/>
                      <a:pt x="744709" y="517313"/>
                      <a:pt x="744258" y="514831"/>
                    </a:cubicBezTo>
                    <a:cubicBezTo>
                      <a:pt x="741550" y="504000"/>
                      <a:pt x="738616" y="491815"/>
                      <a:pt x="742227" y="471281"/>
                    </a:cubicBezTo>
                    <a:cubicBezTo>
                      <a:pt x="746514" y="446912"/>
                      <a:pt x="745386" y="430665"/>
                      <a:pt x="744032" y="417352"/>
                    </a:cubicBezTo>
                    <a:lnTo>
                      <a:pt x="743355" y="410583"/>
                    </a:lnTo>
                    <a:cubicBezTo>
                      <a:pt x="742452" y="401557"/>
                      <a:pt x="741775" y="394336"/>
                      <a:pt x="740196" y="386213"/>
                    </a:cubicBezTo>
                    <a:cubicBezTo>
                      <a:pt x="739745" y="383279"/>
                      <a:pt x="738391" y="380120"/>
                      <a:pt x="737037" y="376736"/>
                    </a:cubicBezTo>
                    <a:cubicBezTo>
                      <a:pt x="733652" y="368161"/>
                      <a:pt x="730042" y="358233"/>
                      <a:pt x="735457" y="350335"/>
                    </a:cubicBezTo>
                    <a:cubicBezTo>
                      <a:pt x="741098" y="342212"/>
                      <a:pt x="748996" y="337924"/>
                      <a:pt x="755314" y="334765"/>
                    </a:cubicBezTo>
                    <a:cubicBezTo>
                      <a:pt x="756894" y="333863"/>
                      <a:pt x="758473" y="333186"/>
                      <a:pt x="759827" y="332283"/>
                    </a:cubicBezTo>
                    <a:cubicBezTo>
                      <a:pt x="760955" y="331606"/>
                      <a:pt x="760053" y="328222"/>
                      <a:pt x="759150" y="325288"/>
                    </a:cubicBezTo>
                    <a:cubicBezTo>
                      <a:pt x="757796" y="321001"/>
                      <a:pt x="756442" y="316037"/>
                      <a:pt x="758925" y="312426"/>
                    </a:cubicBezTo>
                    <a:cubicBezTo>
                      <a:pt x="760504" y="310170"/>
                      <a:pt x="763212" y="308816"/>
                      <a:pt x="767499" y="308365"/>
                    </a:cubicBezTo>
                    <a:cubicBezTo>
                      <a:pt x="778556" y="307237"/>
                      <a:pt x="784197" y="299565"/>
                      <a:pt x="789612" y="292344"/>
                    </a:cubicBezTo>
                    <a:cubicBezTo>
                      <a:pt x="792320" y="288734"/>
                      <a:pt x="794802" y="285349"/>
                      <a:pt x="797736" y="283092"/>
                    </a:cubicBezTo>
                    <a:cubicBezTo>
                      <a:pt x="799766" y="281513"/>
                      <a:pt x="800218" y="278354"/>
                      <a:pt x="800218" y="275872"/>
                    </a:cubicBezTo>
                    <a:cubicBezTo>
                      <a:pt x="799992" y="265943"/>
                      <a:pt x="792094" y="250374"/>
                      <a:pt x="783971" y="244733"/>
                    </a:cubicBezTo>
                    <a:cubicBezTo>
                      <a:pt x="777428" y="239994"/>
                      <a:pt x="773817" y="233676"/>
                      <a:pt x="770207" y="227584"/>
                    </a:cubicBezTo>
                    <a:cubicBezTo>
                      <a:pt x="767499" y="222845"/>
                      <a:pt x="764791" y="218332"/>
                      <a:pt x="761181" y="215173"/>
                    </a:cubicBezTo>
                    <a:cubicBezTo>
                      <a:pt x="756668" y="211337"/>
                      <a:pt x="750350" y="209081"/>
                      <a:pt x="743581" y="206598"/>
                    </a:cubicBezTo>
                    <a:cubicBezTo>
                      <a:pt x="737714" y="204568"/>
                      <a:pt x="731621" y="202311"/>
                      <a:pt x="726883" y="198926"/>
                    </a:cubicBezTo>
                    <a:cubicBezTo>
                      <a:pt x="722821" y="196219"/>
                      <a:pt x="717631" y="188998"/>
                      <a:pt x="711539" y="180875"/>
                    </a:cubicBezTo>
                    <a:cubicBezTo>
                      <a:pt x="702739" y="168916"/>
                      <a:pt x="691682" y="153797"/>
                      <a:pt x="684010" y="153346"/>
                    </a:cubicBezTo>
                    <a:cubicBezTo>
                      <a:pt x="681754" y="153346"/>
                      <a:pt x="679271" y="153120"/>
                      <a:pt x="676789" y="153120"/>
                    </a:cubicBezTo>
                    <a:cubicBezTo>
                      <a:pt x="664604" y="152669"/>
                      <a:pt x="651968" y="152443"/>
                      <a:pt x="645199" y="147254"/>
                    </a:cubicBezTo>
                    <a:cubicBezTo>
                      <a:pt x="639558" y="143192"/>
                      <a:pt x="633465" y="126043"/>
                      <a:pt x="634368" y="111827"/>
                    </a:cubicBezTo>
                    <a:cubicBezTo>
                      <a:pt x="634819" y="103704"/>
                      <a:pt x="637527" y="98063"/>
                      <a:pt x="642265" y="95129"/>
                    </a:cubicBezTo>
                    <a:cubicBezTo>
                      <a:pt x="648358" y="91519"/>
                      <a:pt x="655127" y="87683"/>
                      <a:pt x="661671" y="84073"/>
                    </a:cubicBezTo>
                    <a:cubicBezTo>
                      <a:pt x="669794" y="79560"/>
                      <a:pt x="677241" y="75047"/>
                      <a:pt x="681077" y="72790"/>
                    </a:cubicBezTo>
                    <a:cubicBezTo>
                      <a:pt x="684913" y="70308"/>
                      <a:pt x="688523" y="61959"/>
                      <a:pt x="691682" y="54513"/>
                    </a:cubicBezTo>
                    <a:cubicBezTo>
                      <a:pt x="693938" y="49549"/>
                      <a:pt x="695969" y="44810"/>
                      <a:pt x="698000" y="41877"/>
                    </a:cubicBezTo>
                    <a:cubicBezTo>
                      <a:pt x="703190" y="34882"/>
                      <a:pt x="706800" y="29918"/>
                      <a:pt x="727108" y="29918"/>
                    </a:cubicBezTo>
                    <a:cubicBezTo>
                      <a:pt x="735232" y="29918"/>
                      <a:pt x="744483" y="30820"/>
                      <a:pt x="753283" y="31723"/>
                    </a:cubicBezTo>
                    <a:cubicBezTo>
                      <a:pt x="765694" y="32851"/>
                      <a:pt x="777428" y="33979"/>
                      <a:pt x="784422" y="32625"/>
                    </a:cubicBezTo>
                    <a:cubicBezTo>
                      <a:pt x="793448" y="30820"/>
                      <a:pt x="799315" y="27661"/>
                      <a:pt x="807213" y="23148"/>
                    </a:cubicBezTo>
                    <a:cubicBezTo>
                      <a:pt x="809921" y="21569"/>
                      <a:pt x="812628" y="19989"/>
                      <a:pt x="816013" y="18410"/>
                    </a:cubicBezTo>
                    <a:lnTo>
                      <a:pt x="817592" y="17733"/>
                    </a:lnTo>
                    <a:cubicBezTo>
                      <a:pt x="830454" y="10963"/>
                      <a:pt x="843993" y="3968"/>
                      <a:pt x="857757" y="3968"/>
                    </a:cubicBezTo>
                    <a:cubicBezTo>
                      <a:pt x="865655" y="3968"/>
                      <a:pt x="870394" y="3066"/>
                      <a:pt x="875809" y="2163"/>
                    </a:cubicBezTo>
                    <a:cubicBezTo>
                      <a:pt x="879645" y="1486"/>
                      <a:pt x="884158" y="809"/>
                      <a:pt x="890251" y="132"/>
                    </a:cubicBezTo>
                    <a:cubicBezTo>
                      <a:pt x="898148" y="-545"/>
                      <a:pt x="902210" y="1486"/>
                      <a:pt x="906271" y="3743"/>
                    </a:cubicBezTo>
                    <a:cubicBezTo>
                      <a:pt x="910107" y="5773"/>
                      <a:pt x="914395" y="8030"/>
                      <a:pt x="923195" y="8932"/>
                    </a:cubicBezTo>
                    <a:cubicBezTo>
                      <a:pt x="931092" y="9609"/>
                      <a:pt x="937636" y="8030"/>
                      <a:pt x="943729" y="6676"/>
                    </a:cubicBezTo>
                    <a:cubicBezTo>
                      <a:pt x="951852" y="4645"/>
                      <a:pt x="959073" y="3066"/>
                      <a:pt x="965165" y="8707"/>
                    </a:cubicBezTo>
                    <a:cubicBezTo>
                      <a:pt x="968324" y="11640"/>
                      <a:pt x="972837" y="17056"/>
                      <a:pt x="977801" y="23374"/>
                    </a:cubicBezTo>
                    <a:cubicBezTo>
                      <a:pt x="987955" y="36010"/>
                      <a:pt x="1000592" y="51805"/>
                      <a:pt x="1013228" y="59928"/>
                    </a:cubicBezTo>
                    <a:cubicBezTo>
                      <a:pt x="1022930" y="66247"/>
                      <a:pt x="1029249" y="69406"/>
                      <a:pt x="1035792" y="72790"/>
                    </a:cubicBezTo>
                    <a:cubicBezTo>
                      <a:pt x="1042336" y="76175"/>
                      <a:pt x="1049105" y="79560"/>
                      <a:pt x="1059485" y="86329"/>
                    </a:cubicBezTo>
                    <a:cubicBezTo>
                      <a:pt x="1071670" y="94001"/>
                      <a:pt x="1077311" y="100545"/>
                      <a:pt x="1082275" y="106412"/>
                    </a:cubicBezTo>
                    <a:cubicBezTo>
                      <a:pt x="1086111" y="110699"/>
                      <a:pt x="1089496" y="114760"/>
                      <a:pt x="1095137" y="118822"/>
                    </a:cubicBezTo>
                    <a:cubicBezTo>
                      <a:pt x="1096717" y="119950"/>
                      <a:pt x="1098296" y="121079"/>
                      <a:pt x="1099876" y="122207"/>
                    </a:cubicBezTo>
                    <a:cubicBezTo>
                      <a:pt x="1111835" y="130781"/>
                      <a:pt x="1121087" y="137551"/>
                      <a:pt x="1124020" y="148156"/>
                    </a:cubicBezTo>
                    <a:cubicBezTo>
                      <a:pt x="1124697" y="150638"/>
                      <a:pt x="1125374" y="153572"/>
                      <a:pt x="1126276" y="156731"/>
                    </a:cubicBezTo>
                    <a:cubicBezTo>
                      <a:pt x="1128082" y="163951"/>
                      <a:pt x="1131015" y="175685"/>
                      <a:pt x="1132820" y="177039"/>
                    </a:cubicBezTo>
                    <a:cubicBezTo>
                      <a:pt x="1135528" y="177490"/>
                      <a:pt x="1162154" y="183131"/>
                      <a:pt x="1183365" y="197347"/>
                    </a:cubicBezTo>
                    <a:cubicBezTo>
                      <a:pt x="1191037" y="202537"/>
                      <a:pt x="1196001" y="207050"/>
                      <a:pt x="1199611" y="210886"/>
                    </a:cubicBezTo>
                    <a:cubicBezTo>
                      <a:pt x="1206155" y="217204"/>
                      <a:pt x="1209540" y="220588"/>
                      <a:pt x="1221048" y="221040"/>
                    </a:cubicBezTo>
                    <a:cubicBezTo>
                      <a:pt x="1240228" y="221717"/>
                      <a:pt x="1249931" y="221040"/>
                      <a:pt x="1262567" y="212014"/>
                    </a:cubicBezTo>
                    <a:cubicBezTo>
                      <a:pt x="1265726" y="209757"/>
                      <a:pt x="1269787" y="206598"/>
                      <a:pt x="1274300" y="203214"/>
                    </a:cubicBezTo>
                    <a:cubicBezTo>
                      <a:pt x="1288967" y="191931"/>
                      <a:pt x="1307245" y="178167"/>
                      <a:pt x="1318753" y="174105"/>
                    </a:cubicBezTo>
                    <a:cubicBezTo>
                      <a:pt x="1327553" y="171172"/>
                      <a:pt x="1344928" y="171623"/>
                      <a:pt x="1360497" y="171849"/>
                    </a:cubicBezTo>
                    <a:cubicBezTo>
                      <a:pt x="1372005" y="172075"/>
                      <a:pt x="1382836" y="172300"/>
                      <a:pt x="1386446" y="170946"/>
                    </a:cubicBezTo>
                    <a:cubicBezTo>
                      <a:pt x="1389380" y="169818"/>
                      <a:pt x="1390508" y="168690"/>
                      <a:pt x="1392088" y="167336"/>
                    </a:cubicBezTo>
                    <a:cubicBezTo>
                      <a:pt x="1394795" y="164854"/>
                      <a:pt x="1397503" y="162146"/>
                      <a:pt x="1408560" y="162146"/>
                    </a:cubicBezTo>
                    <a:cubicBezTo>
                      <a:pt x="1417360" y="162146"/>
                      <a:pt x="1426160" y="167562"/>
                      <a:pt x="1436314" y="173880"/>
                    </a:cubicBezTo>
                    <a:cubicBezTo>
                      <a:pt x="1445340" y="179521"/>
                      <a:pt x="1455720" y="186065"/>
                      <a:pt x="1467905" y="189224"/>
                    </a:cubicBezTo>
                    <a:cubicBezTo>
                      <a:pt x="1490469" y="195316"/>
                      <a:pt x="1495659" y="200055"/>
                      <a:pt x="1504008" y="207727"/>
                    </a:cubicBezTo>
                    <a:cubicBezTo>
                      <a:pt x="1505362" y="208855"/>
                      <a:pt x="1506716" y="210209"/>
                      <a:pt x="1508295" y="211563"/>
                    </a:cubicBezTo>
                    <a:cubicBezTo>
                      <a:pt x="1520932" y="222619"/>
                      <a:pt x="1519126" y="226907"/>
                      <a:pt x="1506265" y="259400"/>
                    </a:cubicBezTo>
                    <a:cubicBezTo>
                      <a:pt x="1493628" y="291216"/>
                      <a:pt x="1491372" y="298211"/>
                      <a:pt x="1487310" y="310847"/>
                    </a:cubicBezTo>
                    <a:lnTo>
                      <a:pt x="1486859" y="312426"/>
                    </a:lnTo>
                    <a:cubicBezTo>
                      <a:pt x="1482346" y="326191"/>
                      <a:pt x="1476479" y="334540"/>
                      <a:pt x="1467228" y="339730"/>
                    </a:cubicBezTo>
                    <a:cubicBezTo>
                      <a:pt x="1465197" y="340858"/>
                      <a:pt x="1463392" y="341760"/>
                      <a:pt x="1461812" y="342663"/>
                    </a:cubicBezTo>
                    <a:cubicBezTo>
                      <a:pt x="1456622" y="345145"/>
                      <a:pt x="1454140" y="346273"/>
                      <a:pt x="1451884" y="353720"/>
                    </a:cubicBezTo>
                    <a:cubicBezTo>
                      <a:pt x="1449627" y="361843"/>
                      <a:pt x="1444212" y="363422"/>
                      <a:pt x="1439248" y="364776"/>
                    </a:cubicBezTo>
                    <a:cubicBezTo>
                      <a:pt x="1436766" y="365453"/>
                      <a:pt x="1434058" y="366356"/>
                      <a:pt x="1431576" y="367935"/>
                    </a:cubicBezTo>
                    <a:cubicBezTo>
                      <a:pt x="1424129" y="372448"/>
                      <a:pt x="1421196" y="379895"/>
                      <a:pt x="1423001" y="389823"/>
                    </a:cubicBezTo>
                    <a:cubicBezTo>
                      <a:pt x="1425032" y="401331"/>
                      <a:pt x="1420293" y="409906"/>
                      <a:pt x="1415780" y="416224"/>
                    </a:cubicBezTo>
                    <a:cubicBezTo>
                      <a:pt x="1412847" y="420285"/>
                      <a:pt x="1406303" y="420737"/>
                      <a:pt x="1397954" y="420962"/>
                    </a:cubicBezTo>
                    <a:cubicBezTo>
                      <a:pt x="1391636" y="421188"/>
                      <a:pt x="1384190" y="421639"/>
                      <a:pt x="1377872" y="423670"/>
                    </a:cubicBezTo>
                    <a:cubicBezTo>
                      <a:pt x="1363205" y="428860"/>
                      <a:pt x="1355984" y="431568"/>
                      <a:pt x="1356661" y="438788"/>
                    </a:cubicBezTo>
                    <a:cubicBezTo>
                      <a:pt x="1356887" y="442399"/>
                      <a:pt x="1360046" y="448942"/>
                      <a:pt x="1363205" y="455260"/>
                    </a:cubicBezTo>
                    <a:cubicBezTo>
                      <a:pt x="1367718" y="464512"/>
                      <a:pt x="1372005" y="473312"/>
                      <a:pt x="1370200" y="477825"/>
                    </a:cubicBezTo>
                    <a:cubicBezTo>
                      <a:pt x="1369072" y="480984"/>
                      <a:pt x="1366590" y="482564"/>
                      <a:pt x="1364333" y="484143"/>
                    </a:cubicBezTo>
                    <a:cubicBezTo>
                      <a:pt x="1360497" y="486851"/>
                      <a:pt x="1356661" y="489333"/>
                      <a:pt x="1356661" y="498359"/>
                    </a:cubicBezTo>
                    <a:lnTo>
                      <a:pt x="1356661" y="500390"/>
                    </a:lnTo>
                    <a:cubicBezTo>
                      <a:pt x="1356661" y="514154"/>
                      <a:pt x="1356661" y="516411"/>
                      <a:pt x="1367718" y="518441"/>
                    </a:cubicBezTo>
                    <a:lnTo>
                      <a:pt x="1372005" y="519344"/>
                    </a:lnTo>
                    <a:cubicBezTo>
                      <a:pt x="1390508" y="522729"/>
                      <a:pt x="1407657" y="526339"/>
                      <a:pt x="1411042" y="534011"/>
                    </a:cubicBezTo>
                    <a:cubicBezTo>
                      <a:pt x="1412847" y="537847"/>
                      <a:pt x="1411944" y="543037"/>
                      <a:pt x="1410816" y="548904"/>
                    </a:cubicBezTo>
                    <a:cubicBezTo>
                      <a:pt x="1409462" y="556801"/>
                      <a:pt x="1407883" y="566053"/>
                      <a:pt x="1413298" y="571694"/>
                    </a:cubicBezTo>
                    <a:cubicBezTo>
                      <a:pt x="1414201" y="572822"/>
                      <a:pt x="1415329" y="573725"/>
                      <a:pt x="1416232" y="574627"/>
                    </a:cubicBezTo>
                    <a:cubicBezTo>
                      <a:pt x="1425032" y="583653"/>
                      <a:pt x="1432478" y="591551"/>
                      <a:pt x="1428191" y="606669"/>
                    </a:cubicBezTo>
                    <a:cubicBezTo>
                      <a:pt x="1423904" y="622239"/>
                      <a:pt x="1419616" y="626977"/>
                      <a:pt x="1411268" y="626300"/>
                    </a:cubicBezTo>
                    <a:cubicBezTo>
                      <a:pt x="1409914" y="626075"/>
                      <a:pt x="1408785" y="626075"/>
                      <a:pt x="1407657" y="625849"/>
                    </a:cubicBezTo>
                    <a:cubicBezTo>
                      <a:pt x="1402467" y="624946"/>
                      <a:pt x="1398406" y="624269"/>
                      <a:pt x="1390282" y="633295"/>
                    </a:cubicBezTo>
                    <a:lnTo>
                      <a:pt x="1387123" y="636906"/>
                    </a:lnTo>
                    <a:cubicBezTo>
                      <a:pt x="1378323" y="646834"/>
                      <a:pt x="1373133" y="652926"/>
                      <a:pt x="1364333" y="652250"/>
                    </a:cubicBezTo>
                    <a:cubicBezTo>
                      <a:pt x="1357112" y="651798"/>
                      <a:pt x="1350794" y="646157"/>
                      <a:pt x="1346507" y="642547"/>
                    </a:cubicBezTo>
                    <a:cubicBezTo>
                      <a:pt x="1345153" y="641419"/>
                      <a:pt x="1344025" y="640516"/>
                      <a:pt x="1343348" y="640065"/>
                    </a:cubicBezTo>
                    <a:cubicBezTo>
                      <a:pt x="1341769" y="639162"/>
                      <a:pt x="1340415" y="636680"/>
                      <a:pt x="1338158" y="632393"/>
                    </a:cubicBezTo>
                    <a:cubicBezTo>
                      <a:pt x="1335450" y="627428"/>
                      <a:pt x="1331614" y="620659"/>
                      <a:pt x="1328004" y="619531"/>
                    </a:cubicBezTo>
                    <a:cubicBezTo>
                      <a:pt x="1323942" y="618177"/>
                      <a:pt x="1315819" y="621110"/>
                      <a:pt x="1310178" y="622915"/>
                    </a:cubicBezTo>
                    <a:cubicBezTo>
                      <a:pt x="1306568" y="624269"/>
                      <a:pt x="1304537" y="624946"/>
                      <a:pt x="1303183" y="624946"/>
                    </a:cubicBezTo>
                    <a:cubicBezTo>
                      <a:pt x="1302280" y="624946"/>
                      <a:pt x="1300024" y="626075"/>
                      <a:pt x="1298670" y="628557"/>
                    </a:cubicBezTo>
                    <a:cubicBezTo>
                      <a:pt x="1297542" y="630362"/>
                      <a:pt x="1296639" y="633295"/>
                      <a:pt x="1298896" y="637131"/>
                    </a:cubicBezTo>
                    <a:cubicBezTo>
                      <a:pt x="1301604" y="642095"/>
                      <a:pt x="1301829" y="646608"/>
                      <a:pt x="1301829" y="650896"/>
                    </a:cubicBezTo>
                    <a:cubicBezTo>
                      <a:pt x="1301829" y="654280"/>
                      <a:pt x="1301829" y="657665"/>
                      <a:pt x="1303183" y="661275"/>
                    </a:cubicBezTo>
                    <a:cubicBezTo>
                      <a:pt x="1305891" y="668722"/>
                      <a:pt x="1313563" y="678424"/>
                      <a:pt x="1319655" y="686096"/>
                    </a:cubicBezTo>
                    <a:lnTo>
                      <a:pt x="1322137" y="689255"/>
                    </a:lnTo>
                    <a:cubicBezTo>
                      <a:pt x="1329132" y="698281"/>
                      <a:pt x="1332968" y="714302"/>
                      <a:pt x="1332968" y="724682"/>
                    </a:cubicBezTo>
                    <a:cubicBezTo>
                      <a:pt x="1332968" y="728744"/>
                      <a:pt x="1331840" y="732128"/>
                      <a:pt x="1331163" y="735062"/>
                    </a:cubicBezTo>
                    <a:cubicBezTo>
                      <a:pt x="1329809" y="739575"/>
                      <a:pt x="1328907" y="742282"/>
                      <a:pt x="1332517" y="746118"/>
                    </a:cubicBezTo>
                    <a:cubicBezTo>
                      <a:pt x="1340415" y="754016"/>
                      <a:pt x="1341543" y="758754"/>
                      <a:pt x="1338609" y="770037"/>
                    </a:cubicBezTo>
                    <a:cubicBezTo>
                      <a:pt x="1335902" y="779965"/>
                      <a:pt x="1340415" y="787863"/>
                      <a:pt x="1344928" y="794407"/>
                    </a:cubicBezTo>
                    <a:cubicBezTo>
                      <a:pt x="1349215" y="800499"/>
                      <a:pt x="1357338" y="798919"/>
                      <a:pt x="1359143" y="798017"/>
                    </a:cubicBezTo>
                    <a:cubicBezTo>
                      <a:pt x="1359820" y="797791"/>
                      <a:pt x="1360723" y="797114"/>
                      <a:pt x="1361851" y="796437"/>
                    </a:cubicBezTo>
                    <a:cubicBezTo>
                      <a:pt x="1366590" y="793504"/>
                      <a:pt x="1374713" y="788765"/>
                      <a:pt x="1381257" y="791473"/>
                    </a:cubicBezTo>
                    <a:cubicBezTo>
                      <a:pt x="1387349" y="793955"/>
                      <a:pt x="1393441" y="804109"/>
                      <a:pt x="1399083" y="814715"/>
                    </a:cubicBezTo>
                    <a:lnTo>
                      <a:pt x="1399985" y="816294"/>
                    </a:lnTo>
                    <a:cubicBezTo>
                      <a:pt x="1403144" y="821935"/>
                      <a:pt x="1419391" y="841341"/>
                      <a:pt x="1433381" y="843146"/>
                    </a:cubicBezTo>
                    <a:cubicBezTo>
                      <a:pt x="1439473" y="843823"/>
                      <a:pt x="1443760" y="843823"/>
                      <a:pt x="1447371" y="843597"/>
                    </a:cubicBezTo>
                    <a:cubicBezTo>
                      <a:pt x="1452561" y="843372"/>
                      <a:pt x="1456171" y="843372"/>
                      <a:pt x="1461361" y="846079"/>
                    </a:cubicBezTo>
                    <a:cubicBezTo>
                      <a:pt x="1467228" y="849239"/>
                      <a:pt x="1476254" y="855105"/>
                      <a:pt x="1484151" y="860521"/>
                    </a:cubicBezTo>
                    <a:cubicBezTo>
                      <a:pt x="1487310" y="862552"/>
                      <a:pt x="1490469" y="864582"/>
                      <a:pt x="1492951" y="866388"/>
                    </a:cubicBezTo>
                    <a:cubicBezTo>
                      <a:pt x="1498818" y="870224"/>
                      <a:pt x="1501752" y="873608"/>
                      <a:pt x="1504685" y="877219"/>
                    </a:cubicBezTo>
                    <a:cubicBezTo>
                      <a:pt x="1506490" y="879475"/>
                      <a:pt x="1508521" y="881957"/>
                      <a:pt x="1511680" y="884891"/>
                    </a:cubicBezTo>
                    <a:cubicBezTo>
                      <a:pt x="1513936" y="887147"/>
                      <a:pt x="1515967" y="889178"/>
                      <a:pt x="1517773" y="891209"/>
                    </a:cubicBezTo>
                    <a:cubicBezTo>
                      <a:pt x="1522060" y="895722"/>
                      <a:pt x="1525896" y="899783"/>
                      <a:pt x="1533342" y="904071"/>
                    </a:cubicBezTo>
                    <a:cubicBezTo>
                      <a:pt x="1544173" y="910163"/>
                      <a:pt x="1549589" y="911968"/>
                      <a:pt x="1560194" y="915127"/>
                    </a:cubicBezTo>
                    <a:cubicBezTo>
                      <a:pt x="1570574" y="918286"/>
                      <a:pt x="1574861" y="926410"/>
                      <a:pt x="1580276" y="936789"/>
                    </a:cubicBezTo>
                    <a:cubicBezTo>
                      <a:pt x="1580953" y="938143"/>
                      <a:pt x="1581630" y="939497"/>
                      <a:pt x="1582533" y="940851"/>
                    </a:cubicBezTo>
                    <a:cubicBezTo>
                      <a:pt x="1588400" y="951908"/>
                      <a:pt x="1575989" y="967251"/>
                      <a:pt x="1566963" y="978534"/>
                    </a:cubicBezTo>
                    <a:cubicBezTo>
                      <a:pt x="1564933" y="981016"/>
                      <a:pt x="1563127" y="983272"/>
                      <a:pt x="1561773" y="985077"/>
                    </a:cubicBezTo>
                    <a:cubicBezTo>
                      <a:pt x="1558389" y="989816"/>
                      <a:pt x="1554327" y="992298"/>
                      <a:pt x="1550265" y="994555"/>
                    </a:cubicBezTo>
                    <a:cubicBezTo>
                      <a:pt x="1545301" y="997714"/>
                      <a:pt x="1540563" y="1000421"/>
                      <a:pt x="1537404" y="1008093"/>
                    </a:cubicBezTo>
                    <a:cubicBezTo>
                      <a:pt x="1535373" y="1013058"/>
                      <a:pt x="1534696" y="1017571"/>
                      <a:pt x="1533793" y="1022084"/>
                    </a:cubicBezTo>
                    <a:cubicBezTo>
                      <a:pt x="1532439" y="1030432"/>
                      <a:pt x="1531086" y="1038104"/>
                      <a:pt x="1522737" y="1046453"/>
                    </a:cubicBezTo>
                    <a:cubicBezTo>
                      <a:pt x="1510552" y="1058638"/>
                      <a:pt x="1506490" y="1063602"/>
                      <a:pt x="1508295" y="1078721"/>
                    </a:cubicBezTo>
                    <a:cubicBezTo>
                      <a:pt x="1509649" y="1089552"/>
                      <a:pt x="1503106" y="1103542"/>
                      <a:pt x="1497690" y="1115050"/>
                    </a:cubicBezTo>
                    <a:cubicBezTo>
                      <a:pt x="1494982" y="1121142"/>
                      <a:pt x="1492500" y="1126332"/>
                      <a:pt x="1492274" y="1129040"/>
                    </a:cubicBezTo>
                    <a:cubicBezTo>
                      <a:pt x="1491598" y="1136035"/>
                      <a:pt x="1507844" y="1153410"/>
                      <a:pt x="1529732" y="1161758"/>
                    </a:cubicBezTo>
                    <a:cubicBezTo>
                      <a:pt x="1536276" y="1164241"/>
                      <a:pt x="1543045" y="1166497"/>
                      <a:pt x="1550040" y="1168979"/>
                    </a:cubicBezTo>
                    <a:cubicBezTo>
                      <a:pt x="1566286" y="1174395"/>
                      <a:pt x="1582759" y="1180036"/>
                      <a:pt x="1596749" y="1189287"/>
                    </a:cubicBezTo>
                    <a:cubicBezTo>
                      <a:pt x="1603067" y="1193349"/>
                      <a:pt x="1609611" y="1197185"/>
                      <a:pt x="1615929" y="1200795"/>
                    </a:cubicBezTo>
                    <a:cubicBezTo>
                      <a:pt x="1629693" y="1208467"/>
                      <a:pt x="1642781" y="1215688"/>
                      <a:pt x="1647970" y="1225842"/>
                    </a:cubicBezTo>
                    <a:cubicBezTo>
                      <a:pt x="1652258" y="1233965"/>
                      <a:pt x="1660832" y="1239155"/>
                      <a:pt x="1668278" y="1243894"/>
                    </a:cubicBezTo>
                    <a:cubicBezTo>
                      <a:pt x="1673468" y="1247053"/>
                      <a:pt x="1678207" y="1250212"/>
                      <a:pt x="1681140" y="1253596"/>
                    </a:cubicBezTo>
                    <a:cubicBezTo>
                      <a:pt x="1687458" y="1261043"/>
                      <a:pt x="1703931" y="1268038"/>
                      <a:pt x="1717921" y="1268940"/>
                    </a:cubicBezTo>
                    <a:cubicBezTo>
                      <a:pt x="1731459" y="1269843"/>
                      <a:pt x="1737778" y="1273002"/>
                      <a:pt x="1749285" y="1278869"/>
                    </a:cubicBezTo>
                    <a:lnTo>
                      <a:pt x="1750639" y="1279546"/>
                    </a:lnTo>
                    <a:cubicBezTo>
                      <a:pt x="1754701" y="1281577"/>
                      <a:pt x="1759214" y="1284059"/>
                      <a:pt x="1763727" y="1286315"/>
                    </a:cubicBezTo>
                    <a:cubicBezTo>
                      <a:pt x="1772527" y="1290828"/>
                      <a:pt x="1780650" y="1295115"/>
                      <a:pt x="1785163" y="1296920"/>
                    </a:cubicBezTo>
                    <a:cubicBezTo>
                      <a:pt x="1792610" y="1299854"/>
                      <a:pt x="1808179" y="1307300"/>
                      <a:pt x="1836159" y="1320839"/>
                    </a:cubicBezTo>
                    <a:lnTo>
                      <a:pt x="1836159" y="1320839"/>
                    </a:lnTo>
                    <a:cubicBezTo>
                      <a:pt x="1838641" y="1321967"/>
                      <a:pt x="1845411" y="1324449"/>
                      <a:pt x="1856016" y="1321290"/>
                    </a:cubicBezTo>
                    <a:lnTo>
                      <a:pt x="1856919" y="1321065"/>
                    </a:lnTo>
                    <a:cubicBezTo>
                      <a:pt x="1865267" y="1318357"/>
                      <a:pt x="1869781" y="1317003"/>
                      <a:pt x="1875422" y="1325803"/>
                    </a:cubicBezTo>
                    <a:cubicBezTo>
                      <a:pt x="1879935" y="1333024"/>
                      <a:pt x="1885801" y="1337988"/>
                      <a:pt x="1887832" y="1338665"/>
                    </a:cubicBezTo>
                    <a:cubicBezTo>
                      <a:pt x="1887832" y="1337762"/>
                      <a:pt x="1887607" y="1335732"/>
                      <a:pt x="1887155" y="1334152"/>
                    </a:cubicBezTo>
                    <a:cubicBezTo>
                      <a:pt x="1886478" y="1329639"/>
                      <a:pt x="1885350" y="1323998"/>
                      <a:pt x="1888058" y="1320613"/>
                    </a:cubicBezTo>
                    <a:cubicBezTo>
                      <a:pt x="1889186" y="1319034"/>
                      <a:pt x="1890766" y="1318357"/>
                      <a:pt x="1893022" y="1318131"/>
                    </a:cubicBezTo>
                    <a:lnTo>
                      <a:pt x="1894602" y="1317906"/>
                    </a:lnTo>
                    <a:cubicBezTo>
                      <a:pt x="1905207" y="1316777"/>
                      <a:pt x="1922807" y="1314972"/>
                      <a:pt x="1929577" y="1320839"/>
                    </a:cubicBezTo>
                    <a:cubicBezTo>
                      <a:pt x="1931833" y="1322644"/>
                      <a:pt x="1934541" y="1324449"/>
                      <a:pt x="1937023" y="1326254"/>
                    </a:cubicBezTo>
                    <a:cubicBezTo>
                      <a:pt x="1941085" y="1328962"/>
                      <a:pt x="1944695" y="1331444"/>
                      <a:pt x="1946951" y="1334378"/>
                    </a:cubicBezTo>
                    <a:cubicBezTo>
                      <a:pt x="1946951" y="1334152"/>
                      <a:pt x="1947177" y="1333926"/>
                      <a:pt x="1947177" y="1333926"/>
                    </a:cubicBezTo>
                    <a:cubicBezTo>
                      <a:pt x="1949208" y="1328511"/>
                      <a:pt x="1952818" y="1318583"/>
                      <a:pt x="1961393" y="1319936"/>
                    </a:cubicBezTo>
                    <a:lnTo>
                      <a:pt x="1963875" y="1320388"/>
                    </a:lnTo>
                    <a:cubicBezTo>
                      <a:pt x="1970870" y="1321516"/>
                      <a:pt x="1970870" y="1321516"/>
                      <a:pt x="1974706" y="1317454"/>
                    </a:cubicBezTo>
                    <a:lnTo>
                      <a:pt x="1975383" y="1316777"/>
                    </a:lnTo>
                    <a:cubicBezTo>
                      <a:pt x="1981475" y="1310234"/>
                      <a:pt x="1990050" y="1309557"/>
                      <a:pt x="1996819" y="1315198"/>
                    </a:cubicBezTo>
                    <a:cubicBezTo>
                      <a:pt x="1999527" y="1317454"/>
                      <a:pt x="2000881" y="1321065"/>
                      <a:pt x="2001783" y="1323998"/>
                    </a:cubicBezTo>
                    <a:cubicBezTo>
                      <a:pt x="2003363" y="1328511"/>
                      <a:pt x="2004266" y="1330316"/>
                      <a:pt x="2006973" y="1330316"/>
                    </a:cubicBezTo>
                    <a:cubicBezTo>
                      <a:pt x="2010132" y="1330316"/>
                      <a:pt x="2011937" y="1329639"/>
                      <a:pt x="2014194" y="1328962"/>
                    </a:cubicBezTo>
                    <a:cubicBezTo>
                      <a:pt x="2016902" y="1328060"/>
                      <a:pt x="2019835" y="1327157"/>
                      <a:pt x="2025251" y="1327157"/>
                    </a:cubicBezTo>
                    <a:cubicBezTo>
                      <a:pt x="2036759" y="1327157"/>
                      <a:pt x="2042625" y="1334152"/>
                      <a:pt x="2045107" y="1338439"/>
                    </a:cubicBezTo>
                    <a:cubicBezTo>
                      <a:pt x="2048041" y="1343404"/>
                      <a:pt x="2051651" y="1353783"/>
                      <a:pt x="2050072" y="1359650"/>
                    </a:cubicBezTo>
                    <a:cubicBezTo>
                      <a:pt x="2049846" y="1360778"/>
                      <a:pt x="2049169" y="1362358"/>
                      <a:pt x="2048492" y="1363937"/>
                    </a:cubicBezTo>
                    <a:cubicBezTo>
                      <a:pt x="2047364" y="1367096"/>
                      <a:pt x="2045333" y="1372286"/>
                      <a:pt x="2046236" y="1373866"/>
                    </a:cubicBezTo>
                    <a:cubicBezTo>
                      <a:pt x="2046236" y="1373866"/>
                      <a:pt x="2046461" y="1374317"/>
                      <a:pt x="2047364" y="1374317"/>
                    </a:cubicBezTo>
                    <a:cubicBezTo>
                      <a:pt x="2066093" y="1375671"/>
                      <a:pt x="2079631" y="1377476"/>
                      <a:pt x="2095201" y="1388758"/>
                    </a:cubicBezTo>
                    <a:cubicBezTo>
                      <a:pt x="2097232" y="1390338"/>
                      <a:pt x="2099488" y="1391917"/>
                      <a:pt x="2101519" y="1393497"/>
                    </a:cubicBezTo>
                    <a:cubicBezTo>
                      <a:pt x="2114381" y="1403425"/>
                      <a:pt x="2126566" y="1412903"/>
                      <a:pt x="2143715" y="1402748"/>
                    </a:cubicBezTo>
                    <a:cubicBezTo>
                      <a:pt x="2145294" y="1401846"/>
                      <a:pt x="2146648" y="1400943"/>
                      <a:pt x="2148228" y="1399815"/>
                    </a:cubicBezTo>
                    <a:cubicBezTo>
                      <a:pt x="2156351" y="1394625"/>
                      <a:pt x="2165377" y="1388758"/>
                      <a:pt x="2173049" y="1394851"/>
                    </a:cubicBezTo>
                    <a:cubicBezTo>
                      <a:pt x="2177788" y="1398687"/>
                      <a:pt x="2178013" y="1404554"/>
                      <a:pt x="2178239" y="1410195"/>
                    </a:cubicBezTo>
                    <a:cubicBezTo>
                      <a:pt x="2178464" y="1414031"/>
                      <a:pt x="2178690" y="1417867"/>
                      <a:pt x="2180270" y="1421026"/>
                    </a:cubicBezTo>
                    <a:cubicBezTo>
                      <a:pt x="2183429" y="1427344"/>
                      <a:pt x="2192003" y="1429149"/>
                      <a:pt x="2198998" y="1428021"/>
                    </a:cubicBezTo>
                    <a:cubicBezTo>
                      <a:pt x="2202834" y="1427570"/>
                      <a:pt x="2206670" y="1426216"/>
                      <a:pt x="2210732" y="1425087"/>
                    </a:cubicBezTo>
                    <a:cubicBezTo>
                      <a:pt x="2214342" y="1423959"/>
                      <a:pt x="2217953" y="1422831"/>
                      <a:pt x="2221789" y="1422154"/>
                    </a:cubicBezTo>
                    <a:cubicBezTo>
                      <a:pt x="2237809" y="1419446"/>
                      <a:pt x="2253605" y="1425764"/>
                      <a:pt x="2268497" y="1432082"/>
                    </a:cubicBezTo>
                    <a:lnTo>
                      <a:pt x="2272333" y="1433662"/>
                    </a:lnTo>
                    <a:cubicBezTo>
                      <a:pt x="2286775" y="1439529"/>
                      <a:pt x="2305278" y="1445396"/>
                      <a:pt x="2320621" y="1438175"/>
                    </a:cubicBezTo>
                    <a:cubicBezTo>
                      <a:pt x="2338899" y="1429600"/>
                      <a:pt x="2341832" y="1430954"/>
                      <a:pt x="2354920" y="1439980"/>
                    </a:cubicBezTo>
                    <a:cubicBezTo>
                      <a:pt x="2356274" y="1440883"/>
                      <a:pt x="2357627" y="1441785"/>
                      <a:pt x="2359207" y="1442914"/>
                    </a:cubicBezTo>
                    <a:cubicBezTo>
                      <a:pt x="2371392" y="1451037"/>
                      <a:pt x="2373874" y="1448780"/>
                      <a:pt x="2378161" y="1445170"/>
                    </a:cubicBezTo>
                    <a:cubicBezTo>
                      <a:pt x="2381772" y="1442236"/>
                      <a:pt x="2386059" y="1438401"/>
                      <a:pt x="2396213" y="1439078"/>
                    </a:cubicBezTo>
                    <a:cubicBezTo>
                      <a:pt x="2400952" y="1439303"/>
                      <a:pt x="2402757" y="1441560"/>
                      <a:pt x="2404336" y="1443365"/>
                    </a:cubicBezTo>
                    <a:cubicBezTo>
                      <a:pt x="2405464" y="1444719"/>
                      <a:pt x="2406367" y="1445621"/>
                      <a:pt x="2408398" y="1445847"/>
                    </a:cubicBezTo>
                    <a:cubicBezTo>
                      <a:pt x="2411783" y="1446073"/>
                      <a:pt x="2412911" y="1445621"/>
                      <a:pt x="2414265" y="1444944"/>
                    </a:cubicBezTo>
                    <a:cubicBezTo>
                      <a:pt x="2415167" y="1444493"/>
                      <a:pt x="2416070" y="1444042"/>
                      <a:pt x="2417649" y="1443590"/>
                    </a:cubicBezTo>
                    <a:cubicBezTo>
                      <a:pt x="2421485" y="1442688"/>
                      <a:pt x="2423291" y="1441334"/>
                      <a:pt x="2424419" y="1438626"/>
                    </a:cubicBezTo>
                    <a:cubicBezTo>
                      <a:pt x="2424644" y="1437949"/>
                      <a:pt x="2424644" y="1437272"/>
                      <a:pt x="2424193" y="1436595"/>
                    </a:cubicBezTo>
                    <a:cubicBezTo>
                      <a:pt x="2423967" y="1435693"/>
                      <a:pt x="2423516" y="1434339"/>
                      <a:pt x="2424419" y="1433211"/>
                    </a:cubicBezTo>
                    <a:cubicBezTo>
                      <a:pt x="2425321" y="1431857"/>
                      <a:pt x="2426901" y="1431406"/>
                      <a:pt x="2430511" y="1430954"/>
                    </a:cubicBezTo>
                    <a:cubicBezTo>
                      <a:pt x="2432091" y="1430729"/>
                      <a:pt x="2433445" y="1430503"/>
                      <a:pt x="2434799" y="1430277"/>
                    </a:cubicBezTo>
                    <a:cubicBezTo>
                      <a:pt x="2440440" y="1429375"/>
                      <a:pt x="2444501" y="1428923"/>
                      <a:pt x="2447435" y="1434113"/>
                    </a:cubicBezTo>
                    <a:cubicBezTo>
                      <a:pt x="2450142" y="1439078"/>
                      <a:pt x="2451271" y="1439754"/>
                      <a:pt x="2454204" y="1441334"/>
                    </a:cubicBezTo>
                    <a:cubicBezTo>
                      <a:pt x="2455107" y="1441785"/>
                      <a:pt x="2455784" y="1442236"/>
                      <a:pt x="2456461" y="1442688"/>
                    </a:cubicBezTo>
                    <a:cubicBezTo>
                      <a:pt x="2457814" y="1443590"/>
                      <a:pt x="2458491" y="1444042"/>
                      <a:pt x="2458943" y="1444042"/>
                    </a:cubicBezTo>
                    <a:cubicBezTo>
                      <a:pt x="2459620" y="1442688"/>
                      <a:pt x="2460748" y="1438852"/>
                      <a:pt x="2461650" y="1436144"/>
                    </a:cubicBezTo>
                    <a:cubicBezTo>
                      <a:pt x="2463907" y="1428472"/>
                      <a:pt x="2465486" y="1423282"/>
                      <a:pt x="2467517" y="1421477"/>
                    </a:cubicBezTo>
                    <a:cubicBezTo>
                      <a:pt x="2468645" y="1420349"/>
                      <a:pt x="2469774" y="1416964"/>
                      <a:pt x="2470450" y="1414256"/>
                    </a:cubicBezTo>
                    <a:cubicBezTo>
                      <a:pt x="2471579" y="1410195"/>
                      <a:pt x="2472481" y="1406810"/>
                      <a:pt x="2474738" y="1405456"/>
                    </a:cubicBezTo>
                    <a:cubicBezTo>
                      <a:pt x="2476543" y="1404328"/>
                      <a:pt x="2478123" y="1393046"/>
                      <a:pt x="2475866" y="1385599"/>
                    </a:cubicBezTo>
                    <a:lnTo>
                      <a:pt x="2475189" y="1383794"/>
                    </a:lnTo>
                    <a:cubicBezTo>
                      <a:pt x="2473158" y="1377025"/>
                      <a:pt x="2471353" y="1371158"/>
                      <a:pt x="2462327" y="1365066"/>
                    </a:cubicBezTo>
                    <a:cubicBezTo>
                      <a:pt x="2451271" y="1357619"/>
                      <a:pt x="2447435" y="1347916"/>
                      <a:pt x="2447435" y="1343404"/>
                    </a:cubicBezTo>
                    <a:cubicBezTo>
                      <a:pt x="2447435" y="1340019"/>
                      <a:pt x="2450594" y="1336409"/>
                      <a:pt x="2453076" y="1333475"/>
                    </a:cubicBezTo>
                    <a:cubicBezTo>
                      <a:pt x="2453978" y="1332347"/>
                      <a:pt x="2455332" y="1330993"/>
                      <a:pt x="2455558" y="1330542"/>
                    </a:cubicBezTo>
                    <a:cubicBezTo>
                      <a:pt x="2455558" y="1330316"/>
                      <a:pt x="2455107" y="1329188"/>
                      <a:pt x="2454881" y="1328511"/>
                    </a:cubicBezTo>
                    <a:cubicBezTo>
                      <a:pt x="2453753" y="1325352"/>
                      <a:pt x="2451722" y="1320388"/>
                      <a:pt x="2452173" y="1310685"/>
                    </a:cubicBezTo>
                    <a:cubicBezTo>
                      <a:pt x="2452625" y="1298049"/>
                      <a:pt x="2454204" y="1295115"/>
                      <a:pt x="2456686" y="1290602"/>
                    </a:cubicBezTo>
                    <a:cubicBezTo>
                      <a:pt x="2457137" y="1289700"/>
                      <a:pt x="2457589" y="1288797"/>
                      <a:pt x="2458040" y="1287895"/>
                    </a:cubicBezTo>
                    <a:cubicBezTo>
                      <a:pt x="2459394" y="1285412"/>
                      <a:pt x="2459168" y="1282930"/>
                      <a:pt x="2458943" y="1279997"/>
                    </a:cubicBezTo>
                    <a:cubicBezTo>
                      <a:pt x="2458717" y="1276612"/>
                      <a:pt x="2458266" y="1272551"/>
                      <a:pt x="2461876" y="1269392"/>
                    </a:cubicBezTo>
                    <a:cubicBezTo>
                      <a:pt x="2464584" y="1266910"/>
                      <a:pt x="2465261" y="1265330"/>
                      <a:pt x="2465938" y="1263299"/>
                    </a:cubicBezTo>
                    <a:cubicBezTo>
                      <a:pt x="2466389" y="1261720"/>
                      <a:pt x="2467066" y="1260140"/>
                      <a:pt x="2468645" y="1258109"/>
                    </a:cubicBezTo>
                    <a:cubicBezTo>
                      <a:pt x="2469999" y="1256304"/>
                      <a:pt x="2469322" y="1255176"/>
                      <a:pt x="2467066" y="1252242"/>
                    </a:cubicBezTo>
                    <a:cubicBezTo>
                      <a:pt x="2465938" y="1250889"/>
                      <a:pt x="2464809" y="1249309"/>
                      <a:pt x="2463907" y="1247278"/>
                    </a:cubicBezTo>
                    <a:cubicBezTo>
                      <a:pt x="2463004" y="1245473"/>
                      <a:pt x="2461876" y="1243894"/>
                      <a:pt x="2460973" y="1242540"/>
                    </a:cubicBezTo>
                    <a:cubicBezTo>
                      <a:pt x="2458943" y="1239832"/>
                      <a:pt x="2457137" y="1237124"/>
                      <a:pt x="2458266" y="1234191"/>
                    </a:cubicBezTo>
                    <a:cubicBezTo>
                      <a:pt x="2460296" y="1229678"/>
                      <a:pt x="2466840" y="1229227"/>
                      <a:pt x="2474061" y="1229227"/>
                    </a:cubicBezTo>
                    <a:cubicBezTo>
                      <a:pt x="2476994" y="1229227"/>
                      <a:pt x="2479025" y="1229904"/>
                      <a:pt x="2481056" y="1230355"/>
                    </a:cubicBezTo>
                    <a:cubicBezTo>
                      <a:pt x="2484215" y="1231257"/>
                      <a:pt x="2486020" y="1231709"/>
                      <a:pt x="2488954" y="1229678"/>
                    </a:cubicBezTo>
                    <a:cubicBezTo>
                      <a:pt x="2494595" y="1225391"/>
                      <a:pt x="2496851" y="1223586"/>
                      <a:pt x="2500913" y="1219073"/>
                    </a:cubicBezTo>
                    <a:cubicBezTo>
                      <a:pt x="2502041" y="1217719"/>
                      <a:pt x="2502944" y="1216590"/>
                      <a:pt x="2503620" y="1215237"/>
                    </a:cubicBezTo>
                    <a:cubicBezTo>
                      <a:pt x="2505200" y="1212529"/>
                      <a:pt x="2506780" y="1209821"/>
                      <a:pt x="2512872" y="1208918"/>
                    </a:cubicBezTo>
                    <a:cubicBezTo>
                      <a:pt x="2514903" y="1208693"/>
                      <a:pt x="2515354" y="1208242"/>
                      <a:pt x="2515580" y="1207790"/>
                    </a:cubicBezTo>
                    <a:cubicBezTo>
                      <a:pt x="2517385" y="1205308"/>
                      <a:pt x="2519416" y="1205534"/>
                      <a:pt x="2527765" y="1208693"/>
                    </a:cubicBezTo>
                    <a:cubicBezTo>
                      <a:pt x="2542657" y="1214108"/>
                      <a:pt x="2547170" y="1217719"/>
                      <a:pt x="2551683" y="1222909"/>
                    </a:cubicBezTo>
                    <a:lnTo>
                      <a:pt x="2552134" y="1223360"/>
                    </a:lnTo>
                    <a:cubicBezTo>
                      <a:pt x="2556422" y="1228550"/>
                      <a:pt x="2561160" y="1234417"/>
                      <a:pt x="2557099" y="1245699"/>
                    </a:cubicBezTo>
                    <a:cubicBezTo>
                      <a:pt x="2553940" y="1254950"/>
                      <a:pt x="2553488" y="1261043"/>
                      <a:pt x="2553037" y="1266910"/>
                    </a:cubicBezTo>
                    <a:lnTo>
                      <a:pt x="2552811" y="1269166"/>
                    </a:lnTo>
                    <a:cubicBezTo>
                      <a:pt x="2552586" y="1273453"/>
                      <a:pt x="2550555" y="1275710"/>
                      <a:pt x="2548750" y="1277741"/>
                    </a:cubicBezTo>
                    <a:cubicBezTo>
                      <a:pt x="2547622" y="1279094"/>
                      <a:pt x="2546268" y="1280448"/>
                      <a:pt x="2545591" y="1282479"/>
                    </a:cubicBezTo>
                    <a:cubicBezTo>
                      <a:pt x="2544237" y="1286315"/>
                      <a:pt x="2543334" y="1291505"/>
                      <a:pt x="2546268" y="1295341"/>
                    </a:cubicBezTo>
                    <a:cubicBezTo>
                      <a:pt x="2547396" y="1296695"/>
                      <a:pt x="2547847" y="1297823"/>
                      <a:pt x="2548298" y="1298726"/>
                    </a:cubicBezTo>
                    <a:cubicBezTo>
                      <a:pt x="2548975" y="1300305"/>
                      <a:pt x="2549427" y="1301208"/>
                      <a:pt x="2553263" y="1303239"/>
                    </a:cubicBezTo>
                    <a:cubicBezTo>
                      <a:pt x="2556196" y="1304592"/>
                      <a:pt x="2557776" y="1306398"/>
                      <a:pt x="2558227" y="1308428"/>
                    </a:cubicBezTo>
                    <a:cubicBezTo>
                      <a:pt x="2558904" y="1311587"/>
                      <a:pt x="2556873" y="1314295"/>
                      <a:pt x="2554842" y="1317003"/>
                    </a:cubicBezTo>
                    <a:cubicBezTo>
                      <a:pt x="2553940" y="1318131"/>
                      <a:pt x="2552360" y="1319936"/>
                      <a:pt x="2550781" y="1321967"/>
                    </a:cubicBezTo>
                    <a:cubicBezTo>
                      <a:pt x="2547847" y="1325577"/>
                      <a:pt x="2543334" y="1330767"/>
                      <a:pt x="2542883" y="1332347"/>
                    </a:cubicBezTo>
                    <a:cubicBezTo>
                      <a:pt x="2543334" y="1333024"/>
                      <a:pt x="2546719" y="1333926"/>
                      <a:pt x="2548524" y="1334378"/>
                    </a:cubicBezTo>
                    <a:lnTo>
                      <a:pt x="2549652" y="1334603"/>
                    </a:lnTo>
                    <a:cubicBezTo>
                      <a:pt x="2554391" y="1335732"/>
                      <a:pt x="2561837" y="1345660"/>
                      <a:pt x="2561837" y="1350624"/>
                    </a:cubicBezTo>
                    <a:cubicBezTo>
                      <a:pt x="2561837" y="1352204"/>
                      <a:pt x="2561160" y="1353783"/>
                      <a:pt x="2560483" y="1355363"/>
                    </a:cubicBezTo>
                    <a:cubicBezTo>
                      <a:pt x="2560032" y="1356265"/>
                      <a:pt x="2559355" y="1357845"/>
                      <a:pt x="2559581" y="1358296"/>
                    </a:cubicBezTo>
                    <a:cubicBezTo>
                      <a:pt x="2559581" y="1358296"/>
                      <a:pt x="2560032" y="1358973"/>
                      <a:pt x="2563417" y="1358973"/>
                    </a:cubicBezTo>
                    <a:cubicBezTo>
                      <a:pt x="2572443" y="1358973"/>
                      <a:pt x="2573796" y="1359650"/>
                      <a:pt x="2578761" y="1363035"/>
                    </a:cubicBezTo>
                    <a:cubicBezTo>
                      <a:pt x="2579438" y="1363486"/>
                      <a:pt x="2580340" y="1364163"/>
                      <a:pt x="2581469" y="1364840"/>
                    </a:cubicBezTo>
                    <a:cubicBezTo>
                      <a:pt x="2583951" y="1366645"/>
                      <a:pt x="2586658" y="1368450"/>
                      <a:pt x="2589140" y="1370255"/>
                    </a:cubicBezTo>
                    <a:cubicBezTo>
                      <a:pt x="2592299" y="1372512"/>
                      <a:pt x="2596361" y="1375445"/>
                      <a:pt x="2597489" y="1375897"/>
                    </a:cubicBezTo>
                    <a:lnTo>
                      <a:pt x="2597489" y="1375897"/>
                    </a:lnTo>
                    <a:cubicBezTo>
                      <a:pt x="2598843" y="1375897"/>
                      <a:pt x="2599746" y="1377025"/>
                      <a:pt x="2599971" y="1377476"/>
                    </a:cubicBezTo>
                    <a:cubicBezTo>
                      <a:pt x="2600423" y="1377476"/>
                      <a:pt x="2601325" y="1377025"/>
                      <a:pt x="2602905" y="1376122"/>
                    </a:cubicBezTo>
                    <a:cubicBezTo>
                      <a:pt x="2605387" y="1374768"/>
                      <a:pt x="2606966" y="1373189"/>
                      <a:pt x="2608772" y="1371609"/>
                    </a:cubicBezTo>
                    <a:cubicBezTo>
                      <a:pt x="2611479" y="1369127"/>
                      <a:pt x="2613961" y="1366645"/>
                      <a:pt x="2618474" y="1366645"/>
                    </a:cubicBezTo>
                    <a:cubicBezTo>
                      <a:pt x="2619151" y="1366645"/>
                      <a:pt x="2620054" y="1366645"/>
                      <a:pt x="2620731" y="1366645"/>
                    </a:cubicBezTo>
                    <a:cubicBezTo>
                      <a:pt x="2625695" y="1366645"/>
                      <a:pt x="2629531" y="1366419"/>
                      <a:pt x="2636075" y="1371835"/>
                    </a:cubicBezTo>
                    <a:cubicBezTo>
                      <a:pt x="2638106" y="1373415"/>
                      <a:pt x="2639685" y="1374994"/>
                      <a:pt x="2641039" y="1376348"/>
                    </a:cubicBezTo>
                    <a:cubicBezTo>
                      <a:pt x="2644198" y="1379281"/>
                      <a:pt x="2645778" y="1380861"/>
                      <a:pt x="2650516" y="1380861"/>
                    </a:cubicBezTo>
                    <a:cubicBezTo>
                      <a:pt x="2652998" y="1380861"/>
                      <a:pt x="2654578" y="1380635"/>
                      <a:pt x="2656157" y="1380635"/>
                    </a:cubicBezTo>
                    <a:cubicBezTo>
                      <a:pt x="2659316" y="1380409"/>
                      <a:pt x="2661347" y="1380184"/>
                      <a:pt x="2664732" y="1381989"/>
                    </a:cubicBezTo>
                    <a:cubicBezTo>
                      <a:pt x="2666763" y="1383117"/>
                      <a:pt x="2669019" y="1383117"/>
                      <a:pt x="2671501" y="1383343"/>
                    </a:cubicBezTo>
                    <a:cubicBezTo>
                      <a:pt x="2673532" y="1383343"/>
                      <a:pt x="2675563" y="1383569"/>
                      <a:pt x="2677594" y="1384246"/>
                    </a:cubicBezTo>
                    <a:cubicBezTo>
                      <a:pt x="2678948" y="1384697"/>
                      <a:pt x="2683009" y="1383794"/>
                      <a:pt x="2686620" y="1383117"/>
                    </a:cubicBezTo>
                    <a:cubicBezTo>
                      <a:pt x="2691133" y="1382215"/>
                      <a:pt x="2696774" y="1380861"/>
                      <a:pt x="2702189" y="1380861"/>
                    </a:cubicBezTo>
                    <a:cubicBezTo>
                      <a:pt x="2712343" y="1380861"/>
                      <a:pt x="2713020" y="1380861"/>
                      <a:pt x="2718210" y="1374543"/>
                    </a:cubicBezTo>
                    <a:cubicBezTo>
                      <a:pt x="2720466" y="1371835"/>
                      <a:pt x="2721595" y="1369578"/>
                      <a:pt x="2722497" y="1367548"/>
                    </a:cubicBezTo>
                    <a:cubicBezTo>
                      <a:pt x="2724077" y="1364614"/>
                      <a:pt x="2725205" y="1361907"/>
                      <a:pt x="2729041" y="1360101"/>
                    </a:cubicBezTo>
                    <a:cubicBezTo>
                      <a:pt x="2730169" y="1359650"/>
                      <a:pt x="2731072" y="1358973"/>
                      <a:pt x="2731749" y="1358747"/>
                    </a:cubicBezTo>
                    <a:cubicBezTo>
                      <a:pt x="2735359" y="1356717"/>
                      <a:pt x="2737390" y="1355814"/>
                      <a:pt x="2743482" y="1355814"/>
                    </a:cubicBezTo>
                    <a:cubicBezTo>
                      <a:pt x="2748672" y="1355814"/>
                      <a:pt x="2751380" y="1359424"/>
                      <a:pt x="2753862" y="1362358"/>
                    </a:cubicBezTo>
                    <a:cubicBezTo>
                      <a:pt x="2755216" y="1364163"/>
                      <a:pt x="2756570" y="1365743"/>
                      <a:pt x="2757924" y="1366194"/>
                    </a:cubicBezTo>
                    <a:cubicBezTo>
                      <a:pt x="2761534" y="1367548"/>
                      <a:pt x="2772591" y="1372061"/>
                      <a:pt x="2788386" y="1368225"/>
                    </a:cubicBezTo>
                    <a:cubicBezTo>
                      <a:pt x="2793801" y="1366871"/>
                      <a:pt x="2796284" y="1365968"/>
                      <a:pt x="2798314" y="1365291"/>
                    </a:cubicBezTo>
                    <a:cubicBezTo>
                      <a:pt x="2801925" y="1363937"/>
                      <a:pt x="2803053" y="1363712"/>
                      <a:pt x="2813884" y="1363712"/>
                    </a:cubicBezTo>
                    <a:cubicBezTo>
                      <a:pt x="2821330" y="1363712"/>
                      <a:pt x="2824715" y="1360553"/>
                      <a:pt x="2828100" y="1357394"/>
                    </a:cubicBezTo>
                    <a:cubicBezTo>
                      <a:pt x="2831710" y="1354009"/>
                      <a:pt x="2835546" y="1350399"/>
                      <a:pt x="2843444" y="1353783"/>
                    </a:cubicBezTo>
                    <a:cubicBezTo>
                      <a:pt x="2848408" y="1356040"/>
                      <a:pt x="2852018" y="1358296"/>
                      <a:pt x="2854726" y="1359876"/>
                    </a:cubicBezTo>
                    <a:cubicBezTo>
                      <a:pt x="2859690" y="1363035"/>
                      <a:pt x="2860141" y="1362809"/>
                      <a:pt x="2861270" y="1361230"/>
                    </a:cubicBezTo>
                    <a:cubicBezTo>
                      <a:pt x="2865106" y="1356040"/>
                      <a:pt x="2869619" y="1351301"/>
                      <a:pt x="2878419" y="1354235"/>
                    </a:cubicBezTo>
                    <a:cubicBezTo>
                      <a:pt x="2882255" y="1355588"/>
                      <a:pt x="2885414" y="1354912"/>
                      <a:pt x="2889701" y="1354235"/>
                    </a:cubicBezTo>
                    <a:cubicBezTo>
                      <a:pt x="2893086" y="1353558"/>
                      <a:pt x="2896696" y="1352881"/>
                      <a:pt x="2901660" y="1352881"/>
                    </a:cubicBezTo>
                    <a:cubicBezTo>
                      <a:pt x="2905045" y="1352881"/>
                      <a:pt x="2907076" y="1349947"/>
                      <a:pt x="2909784" y="1345209"/>
                    </a:cubicBezTo>
                    <a:cubicBezTo>
                      <a:pt x="2912943" y="1339568"/>
                      <a:pt x="2917230" y="1331896"/>
                      <a:pt x="2927610" y="1337537"/>
                    </a:cubicBezTo>
                    <a:cubicBezTo>
                      <a:pt x="2932574" y="1340245"/>
                      <a:pt x="2935507" y="1342275"/>
                      <a:pt x="2937538" y="1343855"/>
                    </a:cubicBezTo>
                    <a:cubicBezTo>
                      <a:pt x="2940923" y="1346337"/>
                      <a:pt x="2941600" y="1346788"/>
                      <a:pt x="2948143" y="1344983"/>
                    </a:cubicBezTo>
                    <a:cubicBezTo>
                      <a:pt x="2948595" y="1342727"/>
                      <a:pt x="2949949" y="1337311"/>
                      <a:pt x="2949497" y="1331896"/>
                    </a:cubicBezTo>
                    <a:cubicBezTo>
                      <a:pt x="2949046" y="1324449"/>
                      <a:pt x="2947241" y="1319711"/>
                      <a:pt x="2943856" y="1317906"/>
                    </a:cubicBezTo>
                    <a:cubicBezTo>
                      <a:pt x="2938666" y="1314972"/>
                      <a:pt x="2935056" y="1308203"/>
                      <a:pt x="2938892" y="1301208"/>
                    </a:cubicBezTo>
                    <a:cubicBezTo>
                      <a:pt x="2942277" y="1295115"/>
                      <a:pt x="2942954" y="1289700"/>
                      <a:pt x="2942954" y="1286089"/>
                    </a:cubicBezTo>
                    <a:cubicBezTo>
                      <a:pt x="2942954" y="1283382"/>
                      <a:pt x="2937764" y="1274356"/>
                      <a:pt x="2935733" y="1271197"/>
                    </a:cubicBezTo>
                    <a:cubicBezTo>
                      <a:pt x="2935056" y="1270069"/>
                      <a:pt x="2934379" y="1269166"/>
                      <a:pt x="2934153" y="1268715"/>
                    </a:cubicBezTo>
                    <a:cubicBezTo>
                      <a:pt x="2933251" y="1266910"/>
                      <a:pt x="2927384" y="1261494"/>
                      <a:pt x="2924451" y="1262171"/>
                    </a:cubicBezTo>
                    <a:lnTo>
                      <a:pt x="2923322" y="1262397"/>
                    </a:lnTo>
                    <a:cubicBezTo>
                      <a:pt x="2915199" y="1264202"/>
                      <a:pt x="2907076" y="1265781"/>
                      <a:pt x="2903014" y="1264879"/>
                    </a:cubicBezTo>
                    <a:cubicBezTo>
                      <a:pt x="2901886" y="1264653"/>
                      <a:pt x="2901886" y="1264879"/>
                      <a:pt x="2901435" y="1265556"/>
                    </a:cubicBezTo>
                    <a:cubicBezTo>
                      <a:pt x="2901209" y="1266233"/>
                      <a:pt x="2900532" y="1267361"/>
                      <a:pt x="2899404" y="1267361"/>
                    </a:cubicBezTo>
                    <a:cubicBezTo>
                      <a:pt x="2898050" y="1267586"/>
                      <a:pt x="2896922" y="1266458"/>
                      <a:pt x="2896470" y="1266007"/>
                    </a:cubicBezTo>
                    <a:cubicBezTo>
                      <a:pt x="2893988" y="1263525"/>
                      <a:pt x="2889250" y="1261945"/>
                      <a:pt x="2887445" y="1261945"/>
                    </a:cubicBezTo>
                    <a:cubicBezTo>
                      <a:pt x="2883834" y="1261945"/>
                      <a:pt x="2876614" y="1255176"/>
                      <a:pt x="2876162" y="1248858"/>
                    </a:cubicBezTo>
                    <a:cubicBezTo>
                      <a:pt x="2876162" y="1247730"/>
                      <a:pt x="2875937" y="1246601"/>
                      <a:pt x="2875711" y="1245473"/>
                    </a:cubicBezTo>
                    <a:cubicBezTo>
                      <a:pt x="2875034" y="1241637"/>
                      <a:pt x="2874583" y="1238252"/>
                      <a:pt x="2878870" y="1235319"/>
                    </a:cubicBezTo>
                    <a:cubicBezTo>
                      <a:pt x="2880675" y="1234191"/>
                      <a:pt x="2880901" y="1232611"/>
                      <a:pt x="2881352" y="1230806"/>
                    </a:cubicBezTo>
                    <a:cubicBezTo>
                      <a:pt x="2881578" y="1229227"/>
                      <a:pt x="2882029" y="1227421"/>
                      <a:pt x="2883157" y="1225842"/>
                    </a:cubicBezTo>
                    <a:cubicBezTo>
                      <a:pt x="2883383" y="1225391"/>
                      <a:pt x="2882480" y="1223586"/>
                      <a:pt x="2882029" y="1222683"/>
                    </a:cubicBezTo>
                    <a:cubicBezTo>
                      <a:pt x="2881127" y="1220652"/>
                      <a:pt x="2879998" y="1218170"/>
                      <a:pt x="2880901" y="1216139"/>
                    </a:cubicBezTo>
                    <a:cubicBezTo>
                      <a:pt x="2881352" y="1215011"/>
                      <a:pt x="2882480" y="1214108"/>
                      <a:pt x="2884286" y="1213883"/>
                    </a:cubicBezTo>
                    <a:cubicBezTo>
                      <a:pt x="2891055" y="1212303"/>
                      <a:pt x="2897147" y="1214785"/>
                      <a:pt x="2904819" y="1221780"/>
                    </a:cubicBezTo>
                    <a:cubicBezTo>
                      <a:pt x="2907978" y="1224714"/>
                      <a:pt x="2908881" y="1226745"/>
                      <a:pt x="2909558" y="1228098"/>
                    </a:cubicBezTo>
                    <a:cubicBezTo>
                      <a:pt x="2910235" y="1229452"/>
                      <a:pt x="2910460" y="1229678"/>
                      <a:pt x="2914296" y="1229678"/>
                    </a:cubicBezTo>
                    <a:cubicBezTo>
                      <a:pt x="2918358" y="1229678"/>
                      <a:pt x="2921969" y="1226745"/>
                      <a:pt x="2925128" y="1224037"/>
                    </a:cubicBezTo>
                    <a:cubicBezTo>
                      <a:pt x="2928061" y="1221555"/>
                      <a:pt x="2930769" y="1219298"/>
                      <a:pt x="2933702" y="1219298"/>
                    </a:cubicBezTo>
                    <a:cubicBezTo>
                      <a:pt x="2935056" y="1219298"/>
                      <a:pt x="2935733" y="1218396"/>
                      <a:pt x="2937312" y="1215914"/>
                    </a:cubicBezTo>
                    <a:cubicBezTo>
                      <a:pt x="2938892" y="1213431"/>
                      <a:pt x="2940697" y="1210498"/>
                      <a:pt x="2944533" y="1208242"/>
                    </a:cubicBezTo>
                    <a:cubicBezTo>
                      <a:pt x="2946338" y="1207339"/>
                      <a:pt x="2947015" y="1206662"/>
                      <a:pt x="2947241" y="1206436"/>
                    </a:cubicBezTo>
                    <a:cubicBezTo>
                      <a:pt x="2947466" y="1205082"/>
                      <a:pt x="2948369" y="1205082"/>
                      <a:pt x="2951979" y="1204180"/>
                    </a:cubicBezTo>
                    <a:cubicBezTo>
                      <a:pt x="2957169" y="1203052"/>
                      <a:pt x="2959651" y="1206436"/>
                      <a:pt x="2961457" y="1208918"/>
                    </a:cubicBezTo>
                    <a:cubicBezTo>
                      <a:pt x="2962359" y="1210272"/>
                      <a:pt x="2963487" y="1211401"/>
                      <a:pt x="2964390" y="1211626"/>
                    </a:cubicBezTo>
                    <a:cubicBezTo>
                      <a:pt x="2967098" y="1212303"/>
                      <a:pt x="2976800" y="1208467"/>
                      <a:pt x="2983344" y="1206211"/>
                    </a:cubicBezTo>
                    <a:cubicBezTo>
                      <a:pt x="2987180" y="1204857"/>
                      <a:pt x="2990339" y="1203503"/>
                      <a:pt x="2992821" y="1202826"/>
                    </a:cubicBezTo>
                    <a:cubicBezTo>
                      <a:pt x="2993949" y="1196959"/>
                      <a:pt x="2998914" y="1191769"/>
                      <a:pt x="3004781" y="1190416"/>
                    </a:cubicBezTo>
                    <a:cubicBezTo>
                      <a:pt x="3006360" y="1159953"/>
                      <a:pt x="3034566" y="1133101"/>
                      <a:pt x="3065028" y="1132650"/>
                    </a:cubicBezTo>
                    <a:cubicBezTo>
                      <a:pt x="3066156" y="1113470"/>
                      <a:pt x="3069541" y="1094742"/>
                      <a:pt x="3084434" y="1085716"/>
                    </a:cubicBezTo>
                    <a:cubicBezTo>
                      <a:pt x="3091654" y="1081203"/>
                      <a:pt x="3100229" y="1080300"/>
                      <a:pt x="3108352" y="1079398"/>
                    </a:cubicBezTo>
                    <a:cubicBezTo>
                      <a:pt x="3112865" y="1078946"/>
                      <a:pt x="3117604" y="1078495"/>
                      <a:pt x="3122117" y="1077367"/>
                    </a:cubicBezTo>
                    <a:cubicBezTo>
                      <a:pt x="3144456" y="1071726"/>
                      <a:pt x="3157543" y="1051869"/>
                      <a:pt x="3171307" y="1030884"/>
                    </a:cubicBezTo>
                    <a:cubicBezTo>
                      <a:pt x="3176723" y="1022760"/>
                      <a:pt x="3182139" y="1014186"/>
                      <a:pt x="3188231" y="1006740"/>
                    </a:cubicBezTo>
                    <a:cubicBezTo>
                      <a:pt x="3196805" y="996360"/>
                      <a:pt x="3205380" y="990042"/>
                      <a:pt x="3214406" y="987108"/>
                    </a:cubicBezTo>
                    <a:cubicBezTo>
                      <a:pt x="3225237" y="983724"/>
                      <a:pt x="3234940" y="987560"/>
                      <a:pt x="3244191" y="991170"/>
                    </a:cubicBezTo>
                    <a:cubicBezTo>
                      <a:pt x="3252315" y="994329"/>
                      <a:pt x="3260663" y="997488"/>
                      <a:pt x="3270140" y="996360"/>
                    </a:cubicBezTo>
                    <a:cubicBezTo>
                      <a:pt x="3278038" y="995457"/>
                      <a:pt x="3285033" y="996811"/>
                      <a:pt x="3292931" y="1001324"/>
                    </a:cubicBezTo>
                    <a:cubicBezTo>
                      <a:pt x="3295639" y="1002904"/>
                      <a:pt x="3297444" y="1003806"/>
                      <a:pt x="3298572" y="1004709"/>
                    </a:cubicBezTo>
                    <a:cubicBezTo>
                      <a:pt x="3300603" y="1005837"/>
                      <a:pt x="3301280" y="1006288"/>
                      <a:pt x="3303987" y="1007416"/>
                    </a:cubicBezTo>
                    <a:cubicBezTo>
                      <a:pt x="3305793" y="1008093"/>
                      <a:pt x="3306921" y="1008770"/>
                      <a:pt x="3307823" y="1009447"/>
                    </a:cubicBezTo>
                    <a:cubicBezTo>
                      <a:pt x="3309403" y="1010350"/>
                      <a:pt x="3310080" y="1010801"/>
                      <a:pt x="3313690" y="1010576"/>
                    </a:cubicBezTo>
                    <a:cubicBezTo>
                      <a:pt x="3314367" y="1010576"/>
                      <a:pt x="3314818" y="1010576"/>
                      <a:pt x="3314818" y="1007191"/>
                    </a:cubicBezTo>
                    <a:cubicBezTo>
                      <a:pt x="3314818" y="1003806"/>
                      <a:pt x="3315044" y="998616"/>
                      <a:pt x="3321362" y="997037"/>
                    </a:cubicBezTo>
                    <a:cubicBezTo>
                      <a:pt x="3326101" y="995909"/>
                      <a:pt x="3326778" y="993201"/>
                      <a:pt x="3328132" y="989590"/>
                    </a:cubicBezTo>
                    <a:cubicBezTo>
                      <a:pt x="3328809" y="987334"/>
                      <a:pt x="3329711" y="984626"/>
                      <a:pt x="3331742" y="982144"/>
                    </a:cubicBezTo>
                    <a:cubicBezTo>
                      <a:pt x="3336706" y="975826"/>
                      <a:pt x="3358594" y="963190"/>
                      <a:pt x="3364235" y="961836"/>
                    </a:cubicBezTo>
                    <a:cubicBezTo>
                      <a:pt x="3366040" y="961385"/>
                      <a:pt x="3370102" y="958226"/>
                      <a:pt x="3374163" y="955067"/>
                    </a:cubicBezTo>
                    <a:cubicBezTo>
                      <a:pt x="3381610" y="949425"/>
                      <a:pt x="3389282" y="943333"/>
                      <a:pt x="3394471" y="943333"/>
                    </a:cubicBezTo>
                    <a:lnTo>
                      <a:pt x="3395600" y="943333"/>
                    </a:lnTo>
                    <a:cubicBezTo>
                      <a:pt x="3402820" y="943333"/>
                      <a:pt x="3404174" y="943784"/>
                      <a:pt x="3409139" y="952133"/>
                    </a:cubicBezTo>
                    <a:cubicBezTo>
                      <a:pt x="3411621" y="956195"/>
                      <a:pt x="3411169" y="959354"/>
                      <a:pt x="3410944" y="961385"/>
                    </a:cubicBezTo>
                    <a:cubicBezTo>
                      <a:pt x="3410944" y="961836"/>
                      <a:pt x="3410718" y="962513"/>
                      <a:pt x="3410718" y="962739"/>
                    </a:cubicBezTo>
                    <a:cubicBezTo>
                      <a:pt x="3410718" y="962739"/>
                      <a:pt x="3411621" y="963190"/>
                      <a:pt x="3415457" y="963415"/>
                    </a:cubicBezTo>
                    <a:cubicBezTo>
                      <a:pt x="3419518" y="963641"/>
                      <a:pt x="3422226" y="964769"/>
                      <a:pt x="3423129" y="967251"/>
                    </a:cubicBezTo>
                    <a:cubicBezTo>
                      <a:pt x="3424708" y="970862"/>
                      <a:pt x="3422452" y="976052"/>
                      <a:pt x="3415682" y="983949"/>
                    </a:cubicBezTo>
                    <a:cubicBezTo>
                      <a:pt x="3413877" y="986206"/>
                      <a:pt x="3412072" y="987560"/>
                      <a:pt x="3410718" y="988462"/>
                    </a:cubicBezTo>
                    <a:cubicBezTo>
                      <a:pt x="3408462" y="990042"/>
                      <a:pt x="3408010" y="990267"/>
                      <a:pt x="3408913" y="994103"/>
                    </a:cubicBezTo>
                    <a:cubicBezTo>
                      <a:pt x="3409590" y="997262"/>
                      <a:pt x="3410041" y="999293"/>
                      <a:pt x="3410041" y="1000873"/>
                    </a:cubicBezTo>
                    <a:cubicBezTo>
                      <a:pt x="3410267" y="1003129"/>
                      <a:pt x="3410492" y="1004257"/>
                      <a:pt x="3412072" y="1007416"/>
                    </a:cubicBezTo>
                    <a:cubicBezTo>
                      <a:pt x="3412298" y="1007868"/>
                      <a:pt x="3412523" y="1008093"/>
                      <a:pt x="3412749" y="1008319"/>
                    </a:cubicBezTo>
                    <a:cubicBezTo>
                      <a:pt x="3414554" y="1008545"/>
                      <a:pt x="3419067" y="1003581"/>
                      <a:pt x="3421549" y="1000873"/>
                    </a:cubicBezTo>
                    <a:lnTo>
                      <a:pt x="3423129" y="999068"/>
                    </a:lnTo>
                    <a:cubicBezTo>
                      <a:pt x="3424482" y="997714"/>
                      <a:pt x="3425159" y="996360"/>
                      <a:pt x="3425836" y="995232"/>
                    </a:cubicBezTo>
                    <a:cubicBezTo>
                      <a:pt x="3427867" y="991847"/>
                      <a:pt x="3429672" y="989816"/>
                      <a:pt x="3435990" y="990944"/>
                    </a:cubicBezTo>
                    <a:cubicBezTo>
                      <a:pt x="3441406" y="991847"/>
                      <a:pt x="3443211" y="996585"/>
                      <a:pt x="3444791" y="1000421"/>
                    </a:cubicBezTo>
                    <a:cubicBezTo>
                      <a:pt x="3445919" y="1003355"/>
                      <a:pt x="3447047" y="1006288"/>
                      <a:pt x="3449529" y="1008093"/>
                    </a:cubicBezTo>
                    <a:cubicBezTo>
                      <a:pt x="3457427" y="1013735"/>
                      <a:pt x="3462617" y="1021632"/>
                      <a:pt x="3463068" y="1028853"/>
                    </a:cubicBezTo>
                    <a:cubicBezTo>
                      <a:pt x="3463519" y="1036976"/>
                      <a:pt x="3461940" y="1040361"/>
                      <a:pt x="3456524" y="1046228"/>
                    </a:cubicBezTo>
                    <a:cubicBezTo>
                      <a:pt x="3454493" y="1048484"/>
                      <a:pt x="3453139" y="1050515"/>
                      <a:pt x="3451786" y="1052546"/>
                    </a:cubicBezTo>
                    <a:cubicBezTo>
                      <a:pt x="3449980" y="1055479"/>
                      <a:pt x="3448175" y="1058412"/>
                      <a:pt x="3444114" y="1061797"/>
                    </a:cubicBezTo>
                    <a:cubicBezTo>
                      <a:pt x="3439601" y="1065633"/>
                      <a:pt x="3439601" y="1068792"/>
                      <a:pt x="3439601" y="1073080"/>
                    </a:cubicBezTo>
                    <a:cubicBezTo>
                      <a:pt x="3439601" y="1074433"/>
                      <a:pt x="3439601" y="1075562"/>
                      <a:pt x="3439601" y="1077141"/>
                    </a:cubicBezTo>
                    <a:cubicBezTo>
                      <a:pt x="3439375" y="1080075"/>
                      <a:pt x="3439826" y="1082105"/>
                      <a:pt x="3440729" y="1083008"/>
                    </a:cubicBezTo>
                    <a:cubicBezTo>
                      <a:pt x="3441406" y="1083685"/>
                      <a:pt x="3442309" y="1084136"/>
                      <a:pt x="3443888" y="1084136"/>
                    </a:cubicBezTo>
                    <a:cubicBezTo>
                      <a:pt x="3447950" y="1084136"/>
                      <a:pt x="3449980" y="1083008"/>
                      <a:pt x="3456524" y="1078721"/>
                    </a:cubicBezTo>
                    <a:cubicBezTo>
                      <a:pt x="3458555" y="1077367"/>
                      <a:pt x="3459909" y="1075787"/>
                      <a:pt x="3461263" y="1074433"/>
                    </a:cubicBezTo>
                    <a:cubicBezTo>
                      <a:pt x="3463970" y="1071500"/>
                      <a:pt x="3466678" y="1068341"/>
                      <a:pt x="3473673" y="1070146"/>
                    </a:cubicBezTo>
                    <a:cubicBezTo>
                      <a:pt x="3477961" y="1071274"/>
                      <a:pt x="3482699" y="1073982"/>
                      <a:pt x="3487212" y="1076464"/>
                    </a:cubicBezTo>
                    <a:cubicBezTo>
                      <a:pt x="3492176" y="1079172"/>
                      <a:pt x="3497592" y="1082105"/>
                      <a:pt x="3500074" y="1081880"/>
                    </a:cubicBezTo>
                    <a:cubicBezTo>
                      <a:pt x="3502105" y="1081654"/>
                      <a:pt x="3503684" y="1081654"/>
                      <a:pt x="3505490" y="1081880"/>
                    </a:cubicBezTo>
                    <a:cubicBezTo>
                      <a:pt x="3508649" y="1082105"/>
                      <a:pt x="3512033" y="1082331"/>
                      <a:pt x="3518803" y="1078721"/>
                    </a:cubicBezTo>
                    <a:cubicBezTo>
                      <a:pt x="3527151" y="1074208"/>
                      <a:pt x="3530987" y="1076239"/>
                      <a:pt x="3534372" y="1078044"/>
                    </a:cubicBezTo>
                    <a:cubicBezTo>
                      <a:pt x="3535726" y="1078721"/>
                      <a:pt x="3537080" y="1079398"/>
                      <a:pt x="3538885" y="1079849"/>
                    </a:cubicBezTo>
                    <a:cubicBezTo>
                      <a:pt x="3545429" y="1081203"/>
                      <a:pt x="3545429" y="1081203"/>
                      <a:pt x="3554229" y="1082557"/>
                    </a:cubicBezTo>
                    <a:cubicBezTo>
                      <a:pt x="3560096" y="1083459"/>
                      <a:pt x="3566414" y="1084813"/>
                      <a:pt x="3569122" y="1089326"/>
                    </a:cubicBezTo>
                    <a:cubicBezTo>
                      <a:pt x="3570701" y="1092034"/>
                      <a:pt x="3570475" y="1095193"/>
                      <a:pt x="3568896" y="1099254"/>
                    </a:cubicBezTo>
                    <a:cubicBezTo>
                      <a:pt x="3567768" y="1101962"/>
                      <a:pt x="3566865" y="1103767"/>
                      <a:pt x="3566188" y="1104896"/>
                    </a:cubicBezTo>
                    <a:cubicBezTo>
                      <a:pt x="3565060" y="1106926"/>
                      <a:pt x="3565060" y="1106926"/>
                      <a:pt x="3566639" y="1110085"/>
                    </a:cubicBezTo>
                    <a:cubicBezTo>
                      <a:pt x="3567091" y="1110988"/>
                      <a:pt x="3567542" y="1111891"/>
                      <a:pt x="3568219" y="1113244"/>
                    </a:cubicBezTo>
                    <a:cubicBezTo>
                      <a:pt x="3571829" y="1120916"/>
                      <a:pt x="3568219" y="1124978"/>
                      <a:pt x="3564834" y="1128814"/>
                    </a:cubicBezTo>
                    <a:cubicBezTo>
                      <a:pt x="3563029" y="1130845"/>
                      <a:pt x="3561450" y="1132876"/>
                      <a:pt x="3560321" y="1135358"/>
                    </a:cubicBezTo>
                    <a:cubicBezTo>
                      <a:pt x="3558065" y="1140548"/>
                      <a:pt x="3556937" y="1141902"/>
                      <a:pt x="3554680" y="1144158"/>
                    </a:cubicBezTo>
                    <a:cubicBezTo>
                      <a:pt x="3553326" y="1145512"/>
                      <a:pt x="3551747" y="1147317"/>
                      <a:pt x="3548814" y="1151153"/>
                    </a:cubicBezTo>
                    <a:cubicBezTo>
                      <a:pt x="3545880" y="1154989"/>
                      <a:pt x="3544526" y="1157697"/>
                      <a:pt x="3543172" y="1159953"/>
                    </a:cubicBezTo>
                    <a:cubicBezTo>
                      <a:pt x="3541367" y="1163338"/>
                      <a:pt x="3539788" y="1166046"/>
                      <a:pt x="3534823" y="1169882"/>
                    </a:cubicBezTo>
                    <a:cubicBezTo>
                      <a:pt x="3529408" y="1173943"/>
                      <a:pt x="3528731" y="1176200"/>
                      <a:pt x="3527828" y="1179133"/>
                    </a:cubicBezTo>
                    <a:cubicBezTo>
                      <a:pt x="3527377" y="1180261"/>
                      <a:pt x="3527151" y="1181615"/>
                      <a:pt x="3526249" y="1182969"/>
                    </a:cubicBezTo>
                    <a:cubicBezTo>
                      <a:pt x="3524444" y="1186579"/>
                      <a:pt x="3524444" y="1188159"/>
                      <a:pt x="3524895" y="1193575"/>
                    </a:cubicBezTo>
                    <a:lnTo>
                      <a:pt x="3525121" y="1195831"/>
                    </a:lnTo>
                    <a:cubicBezTo>
                      <a:pt x="3525121" y="1197410"/>
                      <a:pt x="3525121" y="1199216"/>
                      <a:pt x="3525121" y="1200795"/>
                    </a:cubicBezTo>
                    <a:cubicBezTo>
                      <a:pt x="3524669" y="1206436"/>
                      <a:pt x="3524444" y="1210949"/>
                      <a:pt x="3532116" y="1214560"/>
                    </a:cubicBezTo>
                    <a:cubicBezTo>
                      <a:pt x="3542947" y="1219524"/>
                      <a:pt x="3545429" y="1224714"/>
                      <a:pt x="3547911" y="1230355"/>
                    </a:cubicBezTo>
                    <a:lnTo>
                      <a:pt x="3548588" y="1231934"/>
                    </a:lnTo>
                    <a:cubicBezTo>
                      <a:pt x="3550844" y="1237124"/>
                      <a:pt x="3551070" y="1241863"/>
                      <a:pt x="3548814" y="1245022"/>
                    </a:cubicBezTo>
                    <a:cubicBezTo>
                      <a:pt x="3546782" y="1247955"/>
                      <a:pt x="3543172" y="1249083"/>
                      <a:pt x="3538208" y="1248632"/>
                    </a:cubicBezTo>
                    <a:cubicBezTo>
                      <a:pt x="3528731" y="1247955"/>
                      <a:pt x="3526249" y="1244796"/>
                      <a:pt x="3523315" y="1240960"/>
                    </a:cubicBezTo>
                    <a:cubicBezTo>
                      <a:pt x="3522187" y="1239606"/>
                      <a:pt x="3521285" y="1238252"/>
                      <a:pt x="3519705" y="1236899"/>
                    </a:cubicBezTo>
                    <a:lnTo>
                      <a:pt x="3518577" y="1235770"/>
                    </a:lnTo>
                    <a:cubicBezTo>
                      <a:pt x="3513161" y="1230355"/>
                      <a:pt x="3509325" y="1226519"/>
                      <a:pt x="3502331" y="1225165"/>
                    </a:cubicBezTo>
                    <a:cubicBezTo>
                      <a:pt x="3495110" y="1223811"/>
                      <a:pt x="3484279" y="1226519"/>
                      <a:pt x="3477961" y="1231032"/>
                    </a:cubicBezTo>
                    <a:cubicBezTo>
                      <a:pt x="3470740" y="1236222"/>
                      <a:pt x="3465099" y="1237124"/>
                      <a:pt x="3455622" y="1237124"/>
                    </a:cubicBezTo>
                    <a:cubicBezTo>
                      <a:pt x="3447047" y="1237124"/>
                      <a:pt x="3438698" y="1244345"/>
                      <a:pt x="3431026" y="1252017"/>
                    </a:cubicBezTo>
                    <a:cubicBezTo>
                      <a:pt x="3415231" y="1267812"/>
                      <a:pt x="3399210" y="1283607"/>
                      <a:pt x="3383640" y="1298951"/>
                    </a:cubicBezTo>
                    <a:lnTo>
                      <a:pt x="3371907" y="1310459"/>
                    </a:lnTo>
                    <a:cubicBezTo>
                      <a:pt x="3369650" y="1312716"/>
                      <a:pt x="3367168" y="1315423"/>
                      <a:pt x="3364686" y="1318131"/>
                    </a:cubicBezTo>
                    <a:cubicBezTo>
                      <a:pt x="3358368" y="1325126"/>
                      <a:pt x="3351824" y="1332347"/>
                      <a:pt x="3344378" y="1336183"/>
                    </a:cubicBezTo>
                    <a:cubicBezTo>
                      <a:pt x="3341445" y="1337762"/>
                      <a:pt x="3338511" y="1337085"/>
                      <a:pt x="3336255" y="1336860"/>
                    </a:cubicBezTo>
                    <a:cubicBezTo>
                      <a:pt x="3333321" y="1336409"/>
                      <a:pt x="3331742" y="1335957"/>
                      <a:pt x="3329937" y="1338891"/>
                    </a:cubicBezTo>
                    <a:cubicBezTo>
                      <a:pt x="3326552" y="1344080"/>
                      <a:pt x="3320685" y="1358973"/>
                      <a:pt x="3322039" y="1367322"/>
                    </a:cubicBezTo>
                    <a:cubicBezTo>
                      <a:pt x="3322942" y="1372286"/>
                      <a:pt x="3325198" y="1375220"/>
                      <a:pt x="3327229" y="1377702"/>
                    </a:cubicBezTo>
                    <a:cubicBezTo>
                      <a:pt x="3328583" y="1379507"/>
                      <a:pt x="3329937" y="1381086"/>
                      <a:pt x="3330388" y="1383117"/>
                    </a:cubicBezTo>
                    <a:cubicBezTo>
                      <a:pt x="3331065" y="1386502"/>
                      <a:pt x="3330614" y="1392143"/>
                      <a:pt x="3330162" y="1396656"/>
                    </a:cubicBezTo>
                    <a:cubicBezTo>
                      <a:pt x="3329937" y="1398010"/>
                      <a:pt x="3329937" y="1399364"/>
                      <a:pt x="3329937" y="1400266"/>
                    </a:cubicBezTo>
                    <a:cubicBezTo>
                      <a:pt x="3329711" y="1402072"/>
                      <a:pt x="3331291" y="1403877"/>
                      <a:pt x="3332870" y="1405908"/>
                    </a:cubicBezTo>
                    <a:cubicBezTo>
                      <a:pt x="3334450" y="1407938"/>
                      <a:pt x="3336029" y="1409969"/>
                      <a:pt x="3336706" y="1412451"/>
                    </a:cubicBezTo>
                    <a:cubicBezTo>
                      <a:pt x="3338060" y="1417867"/>
                      <a:pt x="3337834" y="1420123"/>
                      <a:pt x="3333773" y="1427570"/>
                    </a:cubicBezTo>
                    <a:cubicBezTo>
                      <a:pt x="3332645" y="1429600"/>
                      <a:pt x="3331291" y="1431406"/>
                      <a:pt x="3330162" y="1432759"/>
                    </a:cubicBezTo>
                    <a:cubicBezTo>
                      <a:pt x="3327229" y="1436595"/>
                      <a:pt x="3324973" y="1439529"/>
                      <a:pt x="3324973" y="1448103"/>
                    </a:cubicBezTo>
                    <a:cubicBezTo>
                      <a:pt x="3324973" y="1452616"/>
                      <a:pt x="3325424" y="1456001"/>
                      <a:pt x="3325875" y="1458934"/>
                    </a:cubicBezTo>
                    <a:cubicBezTo>
                      <a:pt x="3326778" y="1463899"/>
                      <a:pt x="3327229" y="1467509"/>
                      <a:pt x="3323618" y="1472247"/>
                    </a:cubicBezTo>
                    <a:cubicBezTo>
                      <a:pt x="3321362" y="1474955"/>
                      <a:pt x="3320459" y="1476986"/>
                      <a:pt x="3319331" y="1479017"/>
                    </a:cubicBezTo>
                    <a:cubicBezTo>
                      <a:pt x="3318203" y="1481499"/>
                      <a:pt x="3316849" y="1483981"/>
                      <a:pt x="3313690" y="1487366"/>
                    </a:cubicBezTo>
                    <a:cubicBezTo>
                      <a:pt x="3308726" y="1492781"/>
                      <a:pt x="3304213" y="1497294"/>
                      <a:pt x="3299700" y="1501130"/>
                    </a:cubicBezTo>
                    <a:cubicBezTo>
                      <a:pt x="3295639" y="1504515"/>
                      <a:pt x="3285710" y="1509479"/>
                      <a:pt x="3281874" y="1510833"/>
                    </a:cubicBezTo>
                    <a:cubicBezTo>
                      <a:pt x="3281423" y="1511059"/>
                      <a:pt x="3281423" y="1511059"/>
                      <a:pt x="3281423" y="1511059"/>
                    </a:cubicBezTo>
                    <a:cubicBezTo>
                      <a:pt x="3281197" y="1511284"/>
                      <a:pt x="3281423" y="1512412"/>
                      <a:pt x="3281423" y="1513090"/>
                    </a:cubicBezTo>
                    <a:cubicBezTo>
                      <a:pt x="3281423" y="1515120"/>
                      <a:pt x="3281648" y="1518054"/>
                      <a:pt x="3280294" y="1521890"/>
                    </a:cubicBezTo>
                    <a:cubicBezTo>
                      <a:pt x="3279843" y="1523469"/>
                      <a:pt x="3279392" y="1524597"/>
                      <a:pt x="3278941" y="1525726"/>
                    </a:cubicBezTo>
                    <a:cubicBezTo>
                      <a:pt x="3277361" y="1530238"/>
                      <a:pt x="3276684" y="1531592"/>
                      <a:pt x="3279166" y="1537008"/>
                    </a:cubicBezTo>
                    <a:cubicBezTo>
                      <a:pt x="3282100" y="1543326"/>
                      <a:pt x="3287967" y="1546936"/>
                      <a:pt x="3292480" y="1549870"/>
                    </a:cubicBezTo>
                    <a:lnTo>
                      <a:pt x="3293833" y="1550772"/>
                    </a:lnTo>
                    <a:cubicBezTo>
                      <a:pt x="3297669" y="1553254"/>
                      <a:pt x="3295639" y="1558444"/>
                      <a:pt x="3293156" y="1565214"/>
                    </a:cubicBezTo>
                    <a:cubicBezTo>
                      <a:pt x="3290900" y="1571081"/>
                      <a:pt x="3288418" y="1578301"/>
                      <a:pt x="3288418" y="1585973"/>
                    </a:cubicBezTo>
                    <a:cubicBezTo>
                      <a:pt x="3288418" y="1599286"/>
                      <a:pt x="3283228" y="1608312"/>
                      <a:pt x="3278941" y="1615758"/>
                    </a:cubicBezTo>
                    <a:cubicBezTo>
                      <a:pt x="3277812" y="1617564"/>
                      <a:pt x="3276910" y="1619369"/>
                      <a:pt x="3276007" y="1621174"/>
                    </a:cubicBezTo>
                    <a:cubicBezTo>
                      <a:pt x="3272848" y="1627718"/>
                      <a:pt x="3271494" y="1631328"/>
                      <a:pt x="3268561" y="1639451"/>
                    </a:cubicBezTo>
                    <a:cubicBezTo>
                      <a:pt x="3267658" y="1641708"/>
                      <a:pt x="3266756" y="1644416"/>
                      <a:pt x="3265628" y="1647800"/>
                    </a:cubicBezTo>
                    <a:cubicBezTo>
                      <a:pt x="3264274" y="1651862"/>
                      <a:pt x="3262017" y="1656600"/>
                      <a:pt x="3259535" y="1661565"/>
                    </a:cubicBezTo>
                    <a:cubicBezTo>
                      <a:pt x="3254571" y="1671719"/>
                      <a:pt x="3248930" y="1683227"/>
                      <a:pt x="3249607" y="1691350"/>
                    </a:cubicBezTo>
                    <a:cubicBezTo>
                      <a:pt x="3249832" y="1693381"/>
                      <a:pt x="3250058" y="1695186"/>
                      <a:pt x="3250283" y="1697217"/>
                    </a:cubicBezTo>
                    <a:cubicBezTo>
                      <a:pt x="3250960" y="1702181"/>
                      <a:pt x="3251863" y="1707371"/>
                      <a:pt x="3250509" y="1712561"/>
                    </a:cubicBezTo>
                    <a:cubicBezTo>
                      <a:pt x="3247350" y="1724971"/>
                      <a:pt x="3233811" y="1731289"/>
                      <a:pt x="3221852" y="1731289"/>
                    </a:cubicBezTo>
                    <a:cubicBezTo>
                      <a:pt x="3221852" y="1731289"/>
                      <a:pt x="3221627" y="1731289"/>
                      <a:pt x="3221627" y="1731289"/>
                    </a:cubicBezTo>
                    <a:cubicBezTo>
                      <a:pt x="3211924" y="1731289"/>
                      <a:pt x="3202898" y="1727905"/>
                      <a:pt x="3194098" y="1724971"/>
                    </a:cubicBezTo>
                    <a:cubicBezTo>
                      <a:pt x="3192067" y="1724294"/>
                      <a:pt x="3189810" y="1723392"/>
                      <a:pt x="3187780" y="1722715"/>
                    </a:cubicBezTo>
                    <a:cubicBezTo>
                      <a:pt x="3183718" y="1721361"/>
                      <a:pt x="3178754" y="1720007"/>
                      <a:pt x="3174466" y="1721135"/>
                    </a:cubicBezTo>
                    <a:cubicBezTo>
                      <a:pt x="3172887" y="1721586"/>
                      <a:pt x="3171307" y="1722263"/>
                      <a:pt x="3169502" y="1723166"/>
                    </a:cubicBezTo>
                    <a:cubicBezTo>
                      <a:pt x="3166343" y="1724745"/>
                      <a:pt x="3162959" y="1726325"/>
                      <a:pt x="3159348" y="1725648"/>
                    </a:cubicBezTo>
                    <a:cubicBezTo>
                      <a:pt x="3155061" y="1724971"/>
                      <a:pt x="3152128" y="1721586"/>
                      <a:pt x="3149420" y="1718879"/>
                    </a:cubicBezTo>
                    <a:cubicBezTo>
                      <a:pt x="3148969" y="1718427"/>
                      <a:pt x="3148517" y="1717976"/>
                      <a:pt x="3148066" y="1717525"/>
                    </a:cubicBezTo>
                    <a:cubicBezTo>
                      <a:pt x="3145584" y="1715043"/>
                      <a:pt x="3141748" y="1712561"/>
                      <a:pt x="3138815" y="1713914"/>
                    </a:cubicBezTo>
                    <a:cubicBezTo>
                      <a:pt x="3134076" y="1716397"/>
                      <a:pt x="3138137" y="1725422"/>
                      <a:pt x="3139717" y="1728356"/>
                    </a:cubicBezTo>
                    <a:cubicBezTo>
                      <a:pt x="3155061" y="1758141"/>
                      <a:pt x="3155061" y="1812296"/>
                      <a:pt x="3139943" y="1841856"/>
                    </a:cubicBezTo>
                    <a:cubicBezTo>
                      <a:pt x="3137912" y="1845918"/>
                      <a:pt x="3135204" y="1849979"/>
                      <a:pt x="3132948" y="1853815"/>
                    </a:cubicBezTo>
                    <a:cubicBezTo>
                      <a:pt x="3129337" y="1859682"/>
                      <a:pt x="3125727" y="1865549"/>
                      <a:pt x="3123245" y="1871867"/>
                    </a:cubicBezTo>
                    <a:cubicBezTo>
                      <a:pt x="3120086" y="1879764"/>
                      <a:pt x="3121665" y="1884954"/>
                      <a:pt x="3123470" y="1890821"/>
                    </a:cubicBezTo>
                    <a:cubicBezTo>
                      <a:pt x="3124599" y="1894206"/>
                      <a:pt x="3125501" y="1897816"/>
                      <a:pt x="3125953" y="1902329"/>
                    </a:cubicBezTo>
                    <a:cubicBezTo>
                      <a:pt x="3126178" y="1905714"/>
                      <a:pt x="3125501" y="1908873"/>
                      <a:pt x="3124824" y="1911806"/>
                    </a:cubicBezTo>
                    <a:cubicBezTo>
                      <a:pt x="3123696" y="1917447"/>
                      <a:pt x="3122568" y="1921960"/>
                      <a:pt x="3127306" y="1926699"/>
                    </a:cubicBezTo>
                    <a:cubicBezTo>
                      <a:pt x="3132271" y="1931663"/>
                      <a:pt x="3136107" y="1937530"/>
                      <a:pt x="3137235" y="1942043"/>
                    </a:cubicBezTo>
                    <a:lnTo>
                      <a:pt x="3137460" y="1942945"/>
                    </a:lnTo>
                    <a:cubicBezTo>
                      <a:pt x="3138363" y="1946330"/>
                      <a:pt x="3139491" y="1950843"/>
                      <a:pt x="3135881" y="1955807"/>
                    </a:cubicBezTo>
                    <a:cubicBezTo>
                      <a:pt x="3134978" y="1957161"/>
                      <a:pt x="3135881" y="1958966"/>
                      <a:pt x="3137460" y="1961674"/>
                    </a:cubicBezTo>
                    <a:cubicBezTo>
                      <a:pt x="3139040" y="1964382"/>
                      <a:pt x="3141297" y="1968443"/>
                      <a:pt x="3137235" y="1970925"/>
                    </a:cubicBezTo>
                    <a:cubicBezTo>
                      <a:pt x="3136332" y="1971377"/>
                      <a:pt x="3135656" y="1971828"/>
                      <a:pt x="3134753" y="1972279"/>
                    </a:cubicBezTo>
                    <a:cubicBezTo>
                      <a:pt x="3131142" y="1974310"/>
                      <a:pt x="3129789" y="1975213"/>
                      <a:pt x="3129112" y="1978146"/>
                    </a:cubicBezTo>
                    <a:cubicBezTo>
                      <a:pt x="3128209" y="1982208"/>
                      <a:pt x="3126629" y="1986269"/>
                      <a:pt x="3124824" y="1990331"/>
                    </a:cubicBezTo>
                    <a:lnTo>
                      <a:pt x="3123696" y="1993039"/>
                    </a:lnTo>
                    <a:cubicBezTo>
                      <a:pt x="3123470" y="1993716"/>
                      <a:pt x="3123245" y="1994167"/>
                      <a:pt x="3123019" y="1994844"/>
                    </a:cubicBezTo>
                    <a:cubicBezTo>
                      <a:pt x="3121891" y="1997777"/>
                      <a:pt x="3120763" y="2000936"/>
                      <a:pt x="3117829" y="2002290"/>
                    </a:cubicBezTo>
                    <a:cubicBezTo>
                      <a:pt x="3116024" y="2002967"/>
                      <a:pt x="3113768" y="2002741"/>
                      <a:pt x="3111286" y="2001613"/>
                    </a:cubicBezTo>
                    <a:cubicBezTo>
                      <a:pt x="3105645" y="1998906"/>
                      <a:pt x="3099327" y="1995972"/>
                      <a:pt x="3097521" y="1995521"/>
                    </a:cubicBezTo>
                    <a:cubicBezTo>
                      <a:pt x="3095490" y="1995069"/>
                      <a:pt x="3095265" y="1993264"/>
                      <a:pt x="3095265" y="1992587"/>
                    </a:cubicBezTo>
                    <a:cubicBezTo>
                      <a:pt x="3095265" y="1992136"/>
                      <a:pt x="3095265" y="1991685"/>
                      <a:pt x="3093234" y="1991233"/>
                    </a:cubicBezTo>
                    <a:cubicBezTo>
                      <a:pt x="3090977" y="1990557"/>
                      <a:pt x="3089624" y="1989654"/>
                      <a:pt x="3088721" y="1989203"/>
                    </a:cubicBezTo>
                    <a:cubicBezTo>
                      <a:pt x="3087818" y="1988526"/>
                      <a:pt x="3087818" y="1988526"/>
                      <a:pt x="3086690" y="1989203"/>
                    </a:cubicBezTo>
                    <a:cubicBezTo>
                      <a:pt x="3086013" y="1989654"/>
                      <a:pt x="3085562" y="1990331"/>
                      <a:pt x="3084885" y="1991685"/>
                    </a:cubicBezTo>
                    <a:cubicBezTo>
                      <a:pt x="3083757" y="1993941"/>
                      <a:pt x="3082403" y="1996875"/>
                      <a:pt x="3077664" y="1999582"/>
                    </a:cubicBezTo>
                    <a:cubicBezTo>
                      <a:pt x="3074280" y="2001388"/>
                      <a:pt x="3072023" y="2000485"/>
                      <a:pt x="3070443" y="1999582"/>
                    </a:cubicBezTo>
                    <a:cubicBezTo>
                      <a:pt x="3066156" y="1996875"/>
                      <a:pt x="3064577" y="1989428"/>
                      <a:pt x="3065028" y="1983110"/>
                    </a:cubicBezTo>
                    <a:cubicBezTo>
                      <a:pt x="3065254" y="1979725"/>
                      <a:pt x="3064351" y="1978146"/>
                      <a:pt x="3062997" y="1976115"/>
                    </a:cubicBezTo>
                    <a:cubicBezTo>
                      <a:pt x="3061418" y="1973407"/>
                      <a:pt x="3059387" y="1969797"/>
                      <a:pt x="3059387" y="1962125"/>
                    </a:cubicBezTo>
                    <a:cubicBezTo>
                      <a:pt x="3059387" y="1955807"/>
                      <a:pt x="3058710" y="1952648"/>
                      <a:pt x="3057807" y="1949489"/>
                    </a:cubicBezTo>
                    <a:cubicBezTo>
                      <a:pt x="3056905" y="1946104"/>
                      <a:pt x="3056002" y="1942720"/>
                      <a:pt x="3056002" y="1935950"/>
                    </a:cubicBezTo>
                    <a:cubicBezTo>
                      <a:pt x="3056002" y="1927827"/>
                      <a:pt x="3051264" y="1919704"/>
                      <a:pt x="3046751" y="1912032"/>
                    </a:cubicBezTo>
                    <a:cubicBezTo>
                      <a:pt x="3044946" y="1908647"/>
                      <a:pt x="3043140" y="1905488"/>
                      <a:pt x="3041561" y="1902555"/>
                    </a:cubicBezTo>
                    <a:cubicBezTo>
                      <a:pt x="3031181" y="1880667"/>
                      <a:pt x="3024863" y="1861487"/>
                      <a:pt x="3021253" y="1842081"/>
                    </a:cubicBezTo>
                    <a:cubicBezTo>
                      <a:pt x="3020801" y="1839148"/>
                      <a:pt x="3020350" y="1835763"/>
                      <a:pt x="3021478" y="1832830"/>
                    </a:cubicBezTo>
                    <a:cubicBezTo>
                      <a:pt x="3022155" y="1831025"/>
                      <a:pt x="3023509" y="1829671"/>
                      <a:pt x="3025314" y="1828768"/>
                    </a:cubicBezTo>
                    <a:cubicBezTo>
                      <a:pt x="3017642" y="1819517"/>
                      <a:pt x="3008842" y="1795373"/>
                      <a:pt x="3010422" y="1787475"/>
                    </a:cubicBezTo>
                    <a:cubicBezTo>
                      <a:pt x="3010647" y="1785896"/>
                      <a:pt x="3011099" y="1784316"/>
                      <a:pt x="3011550" y="1782962"/>
                    </a:cubicBezTo>
                    <a:cubicBezTo>
                      <a:pt x="3012001" y="1781383"/>
                      <a:pt x="3012453" y="1779352"/>
                      <a:pt x="3012227" y="1778675"/>
                    </a:cubicBezTo>
                    <a:cubicBezTo>
                      <a:pt x="3012227" y="1778675"/>
                      <a:pt x="3012001" y="1778675"/>
                      <a:pt x="3011776" y="1778675"/>
                    </a:cubicBezTo>
                    <a:cubicBezTo>
                      <a:pt x="3011550" y="1778675"/>
                      <a:pt x="3010873" y="1778675"/>
                      <a:pt x="3010196" y="1778901"/>
                    </a:cubicBezTo>
                    <a:cubicBezTo>
                      <a:pt x="3007940" y="1779126"/>
                      <a:pt x="3006360" y="1779577"/>
                      <a:pt x="3004781" y="1780029"/>
                    </a:cubicBezTo>
                    <a:cubicBezTo>
                      <a:pt x="3001847" y="1780931"/>
                      <a:pt x="2999140" y="1781608"/>
                      <a:pt x="2996883" y="1779352"/>
                    </a:cubicBezTo>
                    <a:cubicBezTo>
                      <a:pt x="2996206" y="1778675"/>
                      <a:pt x="2995755" y="1778224"/>
                      <a:pt x="2995304" y="1777547"/>
                    </a:cubicBezTo>
                    <a:cubicBezTo>
                      <a:pt x="2995304" y="1777321"/>
                      <a:pt x="2995078" y="1777321"/>
                      <a:pt x="2994852" y="1777095"/>
                    </a:cubicBezTo>
                    <a:cubicBezTo>
                      <a:pt x="2994627" y="1777321"/>
                      <a:pt x="2994175" y="1777772"/>
                      <a:pt x="2993273" y="1778675"/>
                    </a:cubicBezTo>
                    <a:cubicBezTo>
                      <a:pt x="2989211" y="1783865"/>
                      <a:pt x="2984698" y="1784542"/>
                      <a:pt x="2981539" y="1784542"/>
                    </a:cubicBezTo>
                    <a:cubicBezTo>
                      <a:pt x="2980411" y="1784542"/>
                      <a:pt x="2979283" y="1784090"/>
                      <a:pt x="2978380" y="1783639"/>
                    </a:cubicBezTo>
                    <a:cubicBezTo>
                      <a:pt x="2976124" y="1782737"/>
                      <a:pt x="2974770" y="1782285"/>
                      <a:pt x="2972965" y="1784993"/>
                    </a:cubicBezTo>
                    <a:cubicBezTo>
                      <a:pt x="2970257" y="1789055"/>
                      <a:pt x="2970257" y="1789731"/>
                      <a:pt x="2971159" y="1794019"/>
                    </a:cubicBezTo>
                    <a:cubicBezTo>
                      <a:pt x="2971385" y="1794696"/>
                      <a:pt x="2971611" y="1795598"/>
                      <a:pt x="2971836" y="1796727"/>
                    </a:cubicBezTo>
                    <a:cubicBezTo>
                      <a:pt x="2972062" y="1797629"/>
                      <a:pt x="2972288" y="1798306"/>
                      <a:pt x="2972288" y="1799209"/>
                    </a:cubicBezTo>
                    <a:cubicBezTo>
                      <a:pt x="2973641" y="1804850"/>
                      <a:pt x="2974544" y="1808911"/>
                      <a:pt x="2968000" y="1815455"/>
                    </a:cubicBezTo>
                    <a:cubicBezTo>
                      <a:pt x="2966646" y="1816809"/>
                      <a:pt x="2965518" y="1817937"/>
                      <a:pt x="2964390" y="1819066"/>
                    </a:cubicBezTo>
                    <a:cubicBezTo>
                      <a:pt x="2960103" y="1823127"/>
                      <a:pt x="2958298" y="1824932"/>
                      <a:pt x="2958298" y="1829220"/>
                    </a:cubicBezTo>
                    <a:cubicBezTo>
                      <a:pt x="2958298" y="1831927"/>
                      <a:pt x="2959200" y="1834410"/>
                      <a:pt x="2960103" y="1837117"/>
                    </a:cubicBezTo>
                    <a:cubicBezTo>
                      <a:pt x="2961231" y="1840728"/>
                      <a:pt x="2962585" y="1844338"/>
                      <a:pt x="2962134" y="1848625"/>
                    </a:cubicBezTo>
                    <a:cubicBezTo>
                      <a:pt x="2961231" y="1855620"/>
                      <a:pt x="2957846" y="1866677"/>
                      <a:pt x="2955816" y="1870739"/>
                    </a:cubicBezTo>
                    <a:cubicBezTo>
                      <a:pt x="2953784" y="1874574"/>
                      <a:pt x="2952882" y="1876154"/>
                      <a:pt x="2947466" y="1882021"/>
                    </a:cubicBezTo>
                    <a:cubicBezTo>
                      <a:pt x="2946338" y="1883149"/>
                      <a:pt x="2945661" y="1884277"/>
                      <a:pt x="2944984" y="1884954"/>
                    </a:cubicBezTo>
                    <a:cubicBezTo>
                      <a:pt x="2942277" y="1888339"/>
                      <a:pt x="2941374" y="1888565"/>
                      <a:pt x="2936410" y="1887888"/>
                    </a:cubicBezTo>
                    <a:lnTo>
                      <a:pt x="2935056" y="1887662"/>
                    </a:lnTo>
                    <a:cubicBezTo>
                      <a:pt x="2930317" y="1886985"/>
                      <a:pt x="2927384" y="1886308"/>
                      <a:pt x="2922871" y="1881118"/>
                    </a:cubicBezTo>
                    <a:cubicBezTo>
                      <a:pt x="2919261" y="1876605"/>
                      <a:pt x="2920389" y="1871415"/>
                      <a:pt x="2921066" y="1868031"/>
                    </a:cubicBezTo>
                    <a:cubicBezTo>
                      <a:pt x="2921292" y="1866902"/>
                      <a:pt x="2921517" y="1866000"/>
                      <a:pt x="2921517" y="1865323"/>
                    </a:cubicBezTo>
                    <a:cubicBezTo>
                      <a:pt x="2921517" y="1864646"/>
                      <a:pt x="2919938" y="1863518"/>
                      <a:pt x="2918810" y="1862615"/>
                    </a:cubicBezTo>
                    <a:cubicBezTo>
                      <a:pt x="2916779" y="1861261"/>
                      <a:pt x="2914748" y="1859682"/>
                      <a:pt x="2914748" y="1857200"/>
                    </a:cubicBezTo>
                    <a:cubicBezTo>
                      <a:pt x="2914748" y="1855395"/>
                      <a:pt x="2914296" y="1854943"/>
                      <a:pt x="2911363" y="1853138"/>
                    </a:cubicBezTo>
                    <a:cubicBezTo>
                      <a:pt x="2908204" y="1851559"/>
                      <a:pt x="2906850" y="1851559"/>
                      <a:pt x="2906399" y="1851784"/>
                    </a:cubicBezTo>
                    <a:cubicBezTo>
                      <a:pt x="2906173" y="1851784"/>
                      <a:pt x="2905948" y="1852010"/>
                      <a:pt x="2905496" y="1852461"/>
                    </a:cubicBezTo>
                    <a:cubicBezTo>
                      <a:pt x="2904819" y="1854041"/>
                      <a:pt x="2904819" y="1854492"/>
                      <a:pt x="2905271" y="1856072"/>
                    </a:cubicBezTo>
                    <a:cubicBezTo>
                      <a:pt x="2905496" y="1856974"/>
                      <a:pt x="2905722" y="1858102"/>
                      <a:pt x="2905722" y="1859682"/>
                    </a:cubicBezTo>
                    <a:cubicBezTo>
                      <a:pt x="2906173" y="1864646"/>
                      <a:pt x="2903240" y="1870287"/>
                      <a:pt x="2902112" y="1871415"/>
                    </a:cubicBezTo>
                    <a:lnTo>
                      <a:pt x="2901209" y="1872318"/>
                    </a:lnTo>
                    <a:lnTo>
                      <a:pt x="2899630" y="1871867"/>
                    </a:lnTo>
                    <a:cubicBezTo>
                      <a:pt x="2897147" y="1870964"/>
                      <a:pt x="2893763" y="1863292"/>
                      <a:pt x="2893537" y="1859231"/>
                    </a:cubicBezTo>
                    <a:cubicBezTo>
                      <a:pt x="2893311" y="1856297"/>
                      <a:pt x="2893311" y="1851559"/>
                      <a:pt x="2893311" y="1845692"/>
                    </a:cubicBezTo>
                    <a:cubicBezTo>
                      <a:pt x="2893086" y="1845240"/>
                      <a:pt x="2892183" y="1844564"/>
                      <a:pt x="2891506" y="1844112"/>
                    </a:cubicBezTo>
                    <a:cubicBezTo>
                      <a:pt x="2889476" y="1842307"/>
                      <a:pt x="2886542" y="1839825"/>
                      <a:pt x="2885188" y="1836440"/>
                    </a:cubicBezTo>
                    <a:cubicBezTo>
                      <a:pt x="2884737" y="1835312"/>
                      <a:pt x="2884286" y="1834184"/>
                      <a:pt x="2883834" y="1833507"/>
                    </a:cubicBezTo>
                    <a:cubicBezTo>
                      <a:pt x="2882706" y="1830799"/>
                      <a:pt x="2882029" y="1829220"/>
                      <a:pt x="2882706" y="1825384"/>
                    </a:cubicBezTo>
                    <a:cubicBezTo>
                      <a:pt x="2883157" y="1823804"/>
                      <a:pt x="2881803" y="1821999"/>
                      <a:pt x="2879773" y="1819968"/>
                    </a:cubicBezTo>
                    <a:cubicBezTo>
                      <a:pt x="2878419" y="1818614"/>
                      <a:pt x="2877291" y="1817486"/>
                      <a:pt x="2876839" y="1815907"/>
                    </a:cubicBezTo>
                    <a:cubicBezTo>
                      <a:pt x="2876614" y="1815004"/>
                      <a:pt x="2875485" y="1813424"/>
                      <a:pt x="2874583" y="1812071"/>
                    </a:cubicBezTo>
                    <a:cubicBezTo>
                      <a:pt x="2872778" y="1809588"/>
                      <a:pt x="2871198" y="1807106"/>
                      <a:pt x="2871198" y="1804850"/>
                    </a:cubicBezTo>
                    <a:cubicBezTo>
                      <a:pt x="2871198" y="1804173"/>
                      <a:pt x="2870972" y="1803045"/>
                      <a:pt x="2870521" y="1801916"/>
                    </a:cubicBezTo>
                    <a:cubicBezTo>
                      <a:pt x="2869619" y="1798757"/>
                      <a:pt x="2868716" y="1794696"/>
                      <a:pt x="2870747" y="1791085"/>
                    </a:cubicBezTo>
                    <a:cubicBezTo>
                      <a:pt x="2871875" y="1789280"/>
                      <a:pt x="2871424" y="1784993"/>
                      <a:pt x="2871198" y="1781383"/>
                    </a:cubicBezTo>
                    <a:cubicBezTo>
                      <a:pt x="2870972" y="1777095"/>
                      <a:pt x="2870747" y="1773259"/>
                      <a:pt x="2872101" y="1771229"/>
                    </a:cubicBezTo>
                    <a:cubicBezTo>
                      <a:pt x="2872778" y="1770326"/>
                      <a:pt x="2873003" y="1768746"/>
                      <a:pt x="2873229" y="1767167"/>
                    </a:cubicBezTo>
                    <a:cubicBezTo>
                      <a:pt x="2873680" y="1764685"/>
                      <a:pt x="2874132" y="1761977"/>
                      <a:pt x="2876614" y="1760398"/>
                    </a:cubicBezTo>
                    <a:cubicBezTo>
                      <a:pt x="2877968" y="1759495"/>
                      <a:pt x="2879321" y="1759269"/>
                      <a:pt x="2880224" y="1759044"/>
                    </a:cubicBezTo>
                    <a:cubicBezTo>
                      <a:pt x="2881803" y="1758592"/>
                      <a:pt x="2882255" y="1758592"/>
                      <a:pt x="2882706" y="1756787"/>
                    </a:cubicBezTo>
                    <a:cubicBezTo>
                      <a:pt x="2882932" y="1755659"/>
                      <a:pt x="2883157" y="1754305"/>
                      <a:pt x="2883157" y="1753177"/>
                    </a:cubicBezTo>
                    <a:cubicBezTo>
                      <a:pt x="2883383" y="1750018"/>
                      <a:pt x="2883834" y="1746859"/>
                      <a:pt x="2886768" y="1744151"/>
                    </a:cubicBezTo>
                    <a:cubicBezTo>
                      <a:pt x="2888122" y="1742797"/>
                      <a:pt x="2888799" y="1742120"/>
                      <a:pt x="2889476" y="1741218"/>
                    </a:cubicBezTo>
                    <a:cubicBezTo>
                      <a:pt x="2890604" y="1740089"/>
                      <a:pt x="2891506" y="1738961"/>
                      <a:pt x="2893988" y="1737156"/>
                    </a:cubicBezTo>
                    <a:cubicBezTo>
                      <a:pt x="2895794" y="1735802"/>
                      <a:pt x="2896245" y="1734448"/>
                      <a:pt x="2896922" y="1733094"/>
                    </a:cubicBezTo>
                    <a:cubicBezTo>
                      <a:pt x="2897599" y="1731740"/>
                      <a:pt x="2898276" y="1729935"/>
                      <a:pt x="2900306" y="1729484"/>
                    </a:cubicBezTo>
                    <a:lnTo>
                      <a:pt x="2901660" y="1729033"/>
                    </a:lnTo>
                    <a:cubicBezTo>
                      <a:pt x="2904368" y="1728356"/>
                      <a:pt x="2908655" y="1727228"/>
                      <a:pt x="2912943" y="1727453"/>
                    </a:cubicBezTo>
                    <a:cubicBezTo>
                      <a:pt x="2917230" y="1727679"/>
                      <a:pt x="2922646" y="1726551"/>
                      <a:pt x="2925353" y="1722715"/>
                    </a:cubicBezTo>
                    <a:cubicBezTo>
                      <a:pt x="2926256" y="1721361"/>
                      <a:pt x="2926933" y="1719556"/>
                      <a:pt x="2927384" y="1717751"/>
                    </a:cubicBezTo>
                    <a:cubicBezTo>
                      <a:pt x="2928512" y="1714140"/>
                      <a:pt x="2929866" y="1709853"/>
                      <a:pt x="2935056" y="1708950"/>
                    </a:cubicBezTo>
                    <a:cubicBezTo>
                      <a:pt x="2938441" y="1708499"/>
                      <a:pt x="2940923" y="1709402"/>
                      <a:pt x="2943179" y="1710304"/>
                    </a:cubicBezTo>
                    <a:cubicBezTo>
                      <a:pt x="2945436" y="1711207"/>
                      <a:pt x="2946338" y="1711432"/>
                      <a:pt x="2947015" y="1710755"/>
                    </a:cubicBezTo>
                    <a:cubicBezTo>
                      <a:pt x="2948369" y="1709627"/>
                      <a:pt x="2949723" y="1708725"/>
                      <a:pt x="2951077" y="1707822"/>
                    </a:cubicBezTo>
                    <a:cubicBezTo>
                      <a:pt x="2952882" y="1706694"/>
                      <a:pt x="2954913" y="1705340"/>
                      <a:pt x="2955139" y="1704212"/>
                    </a:cubicBezTo>
                    <a:cubicBezTo>
                      <a:pt x="2955364" y="1703309"/>
                      <a:pt x="2954913" y="1701729"/>
                      <a:pt x="2954687" y="1700376"/>
                    </a:cubicBezTo>
                    <a:cubicBezTo>
                      <a:pt x="2954010" y="1697442"/>
                      <a:pt x="2953333" y="1694058"/>
                      <a:pt x="2955139" y="1691124"/>
                    </a:cubicBezTo>
                    <a:cubicBezTo>
                      <a:pt x="2957395" y="1687063"/>
                      <a:pt x="2962585" y="1682324"/>
                      <a:pt x="2969580" y="1682098"/>
                    </a:cubicBezTo>
                    <a:cubicBezTo>
                      <a:pt x="2971159" y="1682098"/>
                      <a:pt x="2972739" y="1682098"/>
                      <a:pt x="2974093" y="1682098"/>
                    </a:cubicBezTo>
                    <a:cubicBezTo>
                      <a:pt x="2977477" y="1682098"/>
                      <a:pt x="2978831" y="1682098"/>
                      <a:pt x="2979960" y="1680744"/>
                    </a:cubicBezTo>
                    <a:cubicBezTo>
                      <a:pt x="2982216" y="1677811"/>
                      <a:pt x="2982442" y="1677360"/>
                      <a:pt x="2984021" y="1673073"/>
                    </a:cubicBezTo>
                    <a:cubicBezTo>
                      <a:pt x="2985826" y="1668334"/>
                      <a:pt x="2989437" y="1664272"/>
                      <a:pt x="2990790" y="1663370"/>
                    </a:cubicBezTo>
                    <a:cubicBezTo>
                      <a:pt x="2991242" y="1662693"/>
                      <a:pt x="2992596" y="1657277"/>
                      <a:pt x="2992596" y="1656149"/>
                    </a:cubicBezTo>
                    <a:cubicBezTo>
                      <a:pt x="2992596" y="1655923"/>
                      <a:pt x="2992370" y="1655472"/>
                      <a:pt x="2991919" y="1654795"/>
                    </a:cubicBezTo>
                    <a:cubicBezTo>
                      <a:pt x="2990339" y="1650959"/>
                      <a:pt x="2987180" y="1643964"/>
                      <a:pt x="2990565" y="1639451"/>
                    </a:cubicBezTo>
                    <a:cubicBezTo>
                      <a:pt x="2993047" y="1636067"/>
                      <a:pt x="2992370" y="1632908"/>
                      <a:pt x="2991919" y="1630200"/>
                    </a:cubicBezTo>
                    <a:cubicBezTo>
                      <a:pt x="2991919" y="1629523"/>
                      <a:pt x="2991693" y="1629072"/>
                      <a:pt x="2991693" y="1628620"/>
                    </a:cubicBezTo>
                    <a:cubicBezTo>
                      <a:pt x="2991693" y="1627943"/>
                      <a:pt x="2991467" y="1627266"/>
                      <a:pt x="2991242" y="1626815"/>
                    </a:cubicBezTo>
                    <a:cubicBezTo>
                      <a:pt x="2990790" y="1624784"/>
                      <a:pt x="2990339" y="1622302"/>
                      <a:pt x="2991016" y="1616887"/>
                    </a:cubicBezTo>
                    <a:cubicBezTo>
                      <a:pt x="2991693" y="1611471"/>
                      <a:pt x="2995078" y="1608312"/>
                      <a:pt x="2997786" y="1607409"/>
                    </a:cubicBezTo>
                    <a:cubicBezTo>
                      <a:pt x="2999816" y="1606732"/>
                      <a:pt x="3001847" y="1607184"/>
                      <a:pt x="3002976" y="1608763"/>
                    </a:cubicBezTo>
                    <a:cubicBezTo>
                      <a:pt x="3003652" y="1609440"/>
                      <a:pt x="3004104" y="1610343"/>
                      <a:pt x="3004781" y="1611246"/>
                    </a:cubicBezTo>
                    <a:cubicBezTo>
                      <a:pt x="3005458" y="1612374"/>
                      <a:pt x="3007037" y="1614405"/>
                      <a:pt x="3007488" y="1614630"/>
                    </a:cubicBezTo>
                    <a:cubicBezTo>
                      <a:pt x="3008391" y="1613728"/>
                      <a:pt x="3010196" y="1612825"/>
                      <a:pt x="3012001" y="1611922"/>
                    </a:cubicBezTo>
                    <a:cubicBezTo>
                      <a:pt x="3013806" y="1611020"/>
                      <a:pt x="3017417" y="1609440"/>
                      <a:pt x="3017417" y="1608312"/>
                    </a:cubicBezTo>
                    <a:cubicBezTo>
                      <a:pt x="3017417" y="1606732"/>
                      <a:pt x="3014258" y="1602445"/>
                      <a:pt x="3012678" y="1599963"/>
                    </a:cubicBezTo>
                    <a:cubicBezTo>
                      <a:pt x="3010873" y="1597481"/>
                      <a:pt x="3010196" y="1596353"/>
                      <a:pt x="3009970" y="1595450"/>
                    </a:cubicBezTo>
                    <a:cubicBezTo>
                      <a:pt x="3009970" y="1594999"/>
                      <a:pt x="3009745" y="1594322"/>
                      <a:pt x="3009294" y="1593871"/>
                    </a:cubicBezTo>
                    <a:cubicBezTo>
                      <a:pt x="3008842" y="1592517"/>
                      <a:pt x="3008165" y="1591163"/>
                      <a:pt x="3007940" y="1589132"/>
                    </a:cubicBezTo>
                    <a:cubicBezTo>
                      <a:pt x="3007263" y="1588681"/>
                      <a:pt x="3003427" y="1588906"/>
                      <a:pt x="3001170" y="1589132"/>
                    </a:cubicBezTo>
                    <a:cubicBezTo>
                      <a:pt x="2999816" y="1589132"/>
                      <a:pt x="2998688" y="1589358"/>
                      <a:pt x="2997560" y="1589358"/>
                    </a:cubicBezTo>
                    <a:cubicBezTo>
                      <a:pt x="2992370" y="1589358"/>
                      <a:pt x="2984472" y="1586424"/>
                      <a:pt x="2981088" y="1584619"/>
                    </a:cubicBezTo>
                    <a:cubicBezTo>
                      <a:pt x="2979960" y="1583942"/>
                      <a:pt x="2979057" y="1583265"/>
                      <a:pt x="2977929" y="1582363"/>
                    </a:cubicBezTo>
                    <a:cubicBezTo>
                      <a:pt x="2975221" y="1580332"/>
                      <a:pt x="2972288" y="1577850"/>
                      <a:pt x="2967775" y="1577850"/>
                    </a:cubicBezTo>
                    <a:cubicBezTo>
                      <a:pt x="2964841" y="1577850"/>
                      <a:pt x="2962359" y="1576722"/>
                      <a:pt x="2960328" y="1575819"/>
                    </a:cubicBezTo>
                    <a:cubicBezTo>
                      <a:pt x="2957169" y="1574465"/>
                      <a:pt x="2955139" y="1573562"/>
                      <a:pt x="2951528" y="1576496"/>
                    </a:cubicBezTo>
                    <a:cubicBezTo>
                      <a:pt x="2944759" y="1581911"/>
                      <a:pt x="2935507" y="1587101"/>
                      <a:pt x="2930543" y="1585747"/>
                    </a:cubicBezTo>
                    <a:cubicBezTo>
                      <a:pt x="2927384" y="1584845"/>
                      <a:pt x="2925128" y="1585296"/>
                      <a:pt x="2921969" y="1586876"/>
                    </a:cubicBezTo>
                    <a:cubicBezTo>
                      <a:pt x="2919712" y="1588230"/>
                      <a:pt x="2917230" y="1587553"/>
                      <a:pt x="2914296" y="1587101"/>
                    </a:cubicBezTo>
                    <a:cubicBezTo>
                      <a:pt x="2911589" y="1586650"/>
                      <a:pt x="2908430" y="1585747"/>
                      <a:pt x="2904142" y="1586199"/>
                    </a:cubicBezTo>
                    <a:lnTo>
                      <a:pt x="2903240" y="1586199"/>
                    </a:lnTo>
                    <a:cubicBezTo>
                      <a:pt x="2895342" y="1587101"/>
                      <a:pt x="2893537" y="1587327"/>
                      <a:pt x="2887445" y="1584845"/>
                    </a:cubicBezTo>
                    <a:lnTo>
                      <a:pt x="2885865" y="1584168"/>
                    </a:lnTo>
                    <a:cubicBezTo>
                      <a:pt x="2880901" y="1582137"/>
                      <a:pt x="2877291" y="1580783"/>
                      <a:pt x="2869167" y="1580332"/>
                    </a:cubicBezTo>
                    <a:cubicBezTo>
                      <a:pt x="2867362" y="1580332"/>
                      <a:pt x="2865557" y="1580106"/>
                      <a:pt x="2863977" y="1580106"/>
                    </a:cubicBezTo>
                    <a:cubicBezTo>
                      <a:pt x="2857208" y="1579655"/>
                      <a:pt x="2851116" y="1579429"/>
                      <a:pt x="2848408" y="1580558"/>
                    </a:cubicBezTo>
                    <a:cubicBezTo>
                      <a:pt x="2846828" y="1581235"/>
                      <a:pt x="2846377" y="1581460"/>
                      <a:pt x="2845700" y="1581911"/>
                    </a:cubicBezTo>
                    <a:cubicBezTo>
                      <a:pt x="2844798" y="1582588"/>
                      <a:pt x="2843669" y="1583265"/>
                      <a:pt x="2839833" y="1584619"/>
                    </a:cubicBezTo>
                    <a:cubicBezTo>
                      <a:pt x="2838479" y="1585070"/>
                      <a:pt x="2837351" y="1585522"/>
                      <a:pt x="2836223" y="1586199"/>
                    </a:cubicBezTo>
                    <a:cubicBezTo>
                      <a:pt x="2832387" y="1588004"/>
                      <a:pt x="2829002" y="1589584"/>
                      <a:pt x="2821105" y="1587327"/>
                    </a:cubicBezTo>
                    <a:cubicBezTo>
                      <a:pt x="2812079" y="1584845"/>
                      <a:pt x="2799443" y="1583491"/>
                      <a:pt x="2792448" y="1585522"/>
                    </a:cubicBezTo>
                    <a:cubicBezTo>
                      <a:pt x="2789740" y="1586424"/>
                      <a:pt x="2789289" y="1586650"/>
                      <a:pt x="2788612" y="1587101"/>
                    </a:cubicBezTo>
                    <a:cubicBezTo>
                      <a:pt x="2787483" y="1588004"/>
                      <a:pt x="2786130" y="1589132"/>
                      <a:pt x="2777104" y="1591840"/>
                    </a:cubicBezTo>
                    <a:lnTo>
                      <a:pt x="2773945" y="1592968"/>
                    </a:lnTo>
                    <a:cubicBezTo>
                      <a:pt x="2761760" y="1596804"/>
                      <a:pt x="2758826" y="1597707"/>
                      <a:pt x="2750477" y="1594548"/>
                    </a:cubicBezTo>
                    <a:cubicBezTo>
                      <a:pt x="2748221" y="1593645"/>
                      <a:pt x="2746641" y="1592968"/>
                      <a:pt x="2745062" y="1592291"/>
                    </a:cubicBezTo>
                    <a:cubicBezTo>
                      <a:pt x="2740775" y="1590260"/>
                      <a:pt x="2738067" y="1589132"/>
                      <a:pt x="2729944" y="1589132"/>
                    </a:cubicBezTo>
                    <a:cubicBezTo>
                      <a:pt x="2723625" y="1589132"/>
                      <a:pt x="2721820" y="1587327"/>
                      <a:pt x="2720241" y="1585296"/>
                    </a:cubicBezTo>
                    <a:cubicBezTo>
                      <a:pt x="2719338" y="1584168"/>
                      <a:pt x="2718887" y="1583717"/>
                      <a:pt x="2715728" y="1583942"/>
                    </a:cubicBezTo>
                    <a:cubicBezTo>
                      <a:pt x="2708959" y="1584619"/>
                      <a:pt x="2702866" y="1583491"/>
                      <a:pt x="2698804" y="1582814"/>
                    </a:cubicBezTo>
                    <a:cubicBezTo>
                      <a:pt x="2697451" y="1582588"/>
                      <a:pt x="2696097" y="1582363"/>
                      <a:pt x="2695420" y="1582363"/>
                    </a:cubicBezTo>
                    <a:cubicBezTo>
                      <a:pt x="2691809" y="1582363"/>
                      <a:pt x="2688199" y="1577850"/>
                      <a:pt x="2686394" y="1571306"/>
                    </a:cubicBezTo>
                    <a:cubicBezTo>
                      <a:pt x="2684814" y="1565439"/>
                      <a:pt x="2687296" y="1559121"/>
                      <a:pt x="2688650" y="1555962"/>
                    </a:cubicBezTo>
                    <a:lnTo>
                      <a:pt x="2689102" y="1555060"/>
                    </a:lnTo>
                    <a:cubicBezTo>
                      <a:pt x="2690004" y="1552578"/>
                      <a:pt x="2690681" y="1545131"/>
                      <a:pt x="2689779" y="1543100"/>
                    </a:cubicBezTo>
                    <a:cubicBezTo>
                      <a:pt x="2689327" y="1541972"/>
                      <a:pt x="2689327" y="1540393"/>
                      <a:pt x="2689102" y="1538362"/>
                    </a:cubicBezTo>
                    <a:cubicBezTo>
                      <a:pt x="2689102" y="1534752"/>
                      <a:pt x="2689102" y="1530238"/>
                      <a:pt x="2685266" y="1526628"/>
                    </a:cubicBezTo>
                    <a:cubicBezTo>
                      <a:pt x="2678045" y="1519408"/>
                      <a:pt x="2679173" y="1510607"/>
                      <a:pt x="2679625" y="1507674"/>
                    </a:cubicBezTo>
                    <a:cubicBezTo>
                      <a:pt x="2679850" y="1505869"/>
                      <a:pt x="2680753" y="1502710"/>
                      <a:pt x="2681655" y="1499099"/>
                    </a:cubicBezTo>
                    <a:cubicBezTo>
                      <a:pt x="2682784" y="1495038"/>
                      <a:pt x="2683912" y="1490074"/>
                      <a:pt x="2683912" y="1488494"/>
                    </a:cubicBezTo>
                    <a:cubicBezTo>
                      <a:pt x="2683912" y="1486914"/>
                      <a:pt x="2680301" y="1481950"/>
                      <a:pt x="2678271" y="1479017"/>
                    </a:cubicBezTo>
                    <a:cubicBezTo>
                      <a:pt x="2676466" y="1476535"/>
                      <a:pt x="2675112" y="1474504"/>
                      <a:pt x="2674209" y="1472924"/>
                    </a:cubicBezTo>
                    <a:cubicBezTo>
                      <a:pt x="2669471" y="1463673"/>
                      <a:pt x="2667665" y="1461868"/>
                      <a:pt x="2666988" y="1461642"/>
                    </a:cubicBezTo>
                    <a:cubicBezTo>
                      <a:pt x="2666086" y="1461642"/>
                      <a:pt x="2665183" y="1461417"/>
                      <a:pt x="2663829" y="1461191"/>
                    </a:cubicBezTo>
                    <a:cubicBezTo>
                      <a:pt x="2659993" y="1460514"/>
                      <a:pt x="2656157" y="1460063"/>
                      <a:pt x="2655706" y="1462093"/>
                    </a:cubicBezTo>
                    <a:cubicBezTo>
                      <a:pt x="2655255" y="1463899"/>
                      <a:pt x="2655480" y="1465929"/>
                      <a:pt x="2655932" y="1468186"/>
                    </a:cubicBezTo>
                    <a:cubicBezTo>
                      <a:pt x="2656383" y="1472022"/>
                      <a:pt x="2657060" y="1476309"/>
                      <a:pt x="2653901" y="1479468"/>
                    </a:cubicBezTo>
                    <a:cubicBezTo>
                      <a:pt x="2649162" y="1484207"/>
                      <a:pt x="2640813" y="1488043"/>
                      <a:pt x="2635172" y="1488043"/>
                    </a:cubicBezTo>
                    <a:lnTo>
                      <a:pt x="2633593" y="1488043"/>
                    </a:lnTo>
                    <a:cubicBezTo>
                      <a:pt x="2627952" y="1488043"/>
                      <a:pt x="2618474" y="1488268"/>
                      <a:pt x="2612608" y="1484432"/>
                    </a:cubicBezTo>
                    <a:cubicBezTo>
                      <a:pt x="2608095" y="1481725"/>
                      <a:pt x="2606515" y="1478566"/>
                      <a:pt x="2604484" y="1475181"/>
                    </a:cubicBezTo>
                    <a:cubicBezTo>
                      <a:pt x="2603582" y="1473601"/>
                      <a:pt x="2602679" y="1471796"/>
                      <a:pt x="2601100" y="1469991"/>
                    </a:cubicBezTo>
                    <a:cubicBezTo>
                      <a:pt x="2599295" y="1467735"/>
                      <a:pt x="2597715" y="1466381"/>
                      <a:pt x="2596361" y="1465478"/>
                    </a:cubicBezTo>
                    <a:cubicBezTo>
                      <a:pt x="2594556" y="1464124"/>
                      <a:pt x="2592751" y="1462996"/>
                      <a:pt x="2592751" y="1459837"/>
                    </a:cubicBezTo>
                    <a:cubicBezTo>
                      <a:pt x="2592751" y="1458934"/>
                      <a:pt x="2592074" y="1458257"/>
                      <a:pt x="2591171" y="1457129"/>
                    </a:cubicBezTo>
                    <a:cubicBezTo>
                      <a:pt x="2589592" y="1455324"/>
                      <a:pt x="2587335" y="1452842"/>
                      <a:pt x="2586658" y="1447878"/>
                    </a:cubicBezTo>
                    <a:cubicBezTo>
                      <a:pt x="2586433" y="1446298"/>
                      <a:pt x="2586433" y="1444944"/>
                      <a:pt x="2586207" y="1443590"/>
                    </a:cubicBezTo>
                    <a:cubicBezTo>
                      <a:pt x="2585756" y="1438175"/>
                      <a:pt x="2585304" y="1435241"/>
                      <a:pt x="2583274" y="1434565"/>
                    </a:cubicBezTo>
                    <a:cubicBezTo>
                      <a:pt x="2578761" y="1432985"/>
                      <a:pt x="2574925" y="1432759"/>
                      <a:pt x="2573345" y="1433888"/>
                    </a:cubicBezTo>
                    <a:cubicBezTo>
                      <a:pt x="2573120" y="1434113"/>
                      <a:pt x="2572668" y="1434565"/>
                      <a:pt x="2572668" y="1435467"/>
                    </a:cubicBezTo>
                    <a:cubicBezTo>
                      <a:pt x="2572668" y="1436595"/>
                      <a:pt x="2572443" y="1437949"/>
                      <a:pt x="2572443" y="1439078"/>
                    </a:cubicBezTo>
                    <a:cubicBezTo>
                      <a:pt x="2572217" y="1443590"/>
                      <a:pt x="2571991" y="1448555"/>
                      <a:pt x="2569284" y="1451488"/>
                    </a:cubicBezTo>
                    <a:cubicBezTo>
                      <a:pt x="2567930" y="1453068"/>
                      <a:pt x="2566125" y="1453970"/>
                      <a:pt x="2564545" y="1455098"/>
                    </a:cubicBezTo>
                    <a:cubicBezTo>
                      <a:pt x="2562063" y="1456678"/>
                      <a:pt x="2559581" y="1458032"/>
                      <a:pt x="2558227" y="1460965"/>
                    </a:cubicBezTo>
                    <a:cubicBezTo>
                      <a:pt x="2557550" y="1462770"/>
                      <a:pt x="2556873" y="1464576"/>
                      <a:pt x="2556422" y="1466381"/>
                    </a:cubicBezTo>
                    <a:cubicBezTo>
                      <a:pt x="2555519" y="1469991"/>
                      <a:pt x="2554617" y="1472924"/>
                      <a:pt x="2551458" y="1473376"/>
                    </a:cubicBezTo>
                    <a:cubicBezTo>
                      <a:pt x="2550781" y="1473601"/>
                      <a:pt x="2550104" y="1473827"/>
                      <a:pt x="2549652" y="1474053"/>
                    </a:cubicBezTo>
                    <a:cubicBezTo>
                      <a:pt x="2548298" y="1474730"/>
                      <a:pt x="2547170" y="1474955"/>
                      <a:pt x="2544914" y="1473827"/>
                    </a:cubicBezTo>
                    <a:cubicBezTo>
                      <a:pt x="2542432" y="1472473"/>
                      <a:pt x="2541529" y="1467058"/>
                      <a:pt x="2541304" y="1463447"/>
                    </a:cubicBezTo>
                    <a:cubicBezTo>
                      <a:pt x="2539498" y="1463447"/>
                      <a:pt x="2537016" y="1463222"/>
                      <a:pt x="2535662" y="1461642"/>
                    </a:cubicBezTo>
                    <a:cubicBezTo>
                      <a:pt x="2534985" y="1460739"/>
                      <a:pt x="2534308" y="1459386"/>
                      <a:pt x="2535211" y="1456903"/>
                    </a:cubicBezTo>
                    <a:cubicBezTo>
                      <a:pt x="2537016" y="1452165"/>
                      <a:pt x="2536339" y="1445847"/>
                      <a:pt x="2534760" y="1444267"/>
                    </a:cubicBezTo>
                    <a:cubicBezTo>
                      <a:pt x="2533631" y="1443139"/>
                      <a:pt x="2532278" y="1442236"/>
                      <a:pt x="2530472" y="1441108"/>
                    </a:cubicBezTo>
                    <a:cubicBezTo>
                      <a:pt x="2528893" y="1440206"/>
                      <a:pt x="2527088" y="1439078"/>
                      <a:pt x="2525057" y="1437498"/>
                    </a:cubicBezTo>
                    <a:cubicBezTo>
                      <a:pt x="2523703" y="1436595"/>
                      <a:pt x="2522575" y="1435467"/>
                      <a:pt x="2521447" y="1434565"/>
                    </a:cubicBezTo>
                    <a:cubicBezTo>
                      <a:pt x="2518964" y="1432534"/>
                      <a:pt x="2516708" y="1430503"/>
                      <a:pt x="2514677" y="1429600"/>
                    </a:cubicBezTo>
                    <a:cubicBezTo>
                      <a:pt x="2513098" y="1428923"/>
                      <a:pt x="2511744" y="1428021"/>
                      <a:pt x="2510841" y="1427118"/>
                    </a:cubicBezTo>
                    <a:cubicBezTo>
                      <a:pt x="2509487" y="1426216"/>
                      <a:pt x="2508810" y="1425539"/>
                      <a:pt x="2507908" y="1425539"/>
                    </a:cubicBezTo>
                    <a:cubicBezTo>
                      <a:pt x="2507005" y="1425539"/>
                      <a:pt x="2504974" y="1427344"/>
                      <a:pt x="2503395" y="1429149"/>
                    </a:cubicBezTo>
                    <a:cubicBezTo>
                      <a:pt x="2504072" y="1430729"/>
                      <a:pt x="2504974" y="1432308"/>
                      <a:pt x="2505426" y="1432759"/>
                    </a:cubicBezTo>
                    <a:cubicBezTo>
                      <a:pt x="2508134" y="1433211"/>
                      <a:pt x="2514226" y="1436821"/>
                      <a:pt x="2515128" y="1440657"/>
                    </a:cubicBezTo>
                    <a:cubicBezTo>
                      <a:pt x="2515354" y="1441560"/>
                      <a:pt x="2516482" y="1442914"/>
                      <a:pt x="2517385" y="1444042"/>
                    </a:cubicBezTo>
                    <a:cubicBezTo>
                      <a:pt x="2518964" y="1446073"/>
                      <a:pt x="2520544" y="1448103"/>
                      <a:pt x="2519867" y="1450134"/>
                    </a:cubicBezTo>
                    <a:cubicBezTo>
                      <a:pt x="2519641" y="1450811"/>
                      <a:pt x="2519190" y="1451714"/>
                      <a:pt x="2517836" y="1452391"/>
                    </a:cubicBezTo>
                    <a:cubicBezTo>
                      <a:pt x="2516257" y="1453068"/>
                      <a:pt x="2513775" y="1453293"/>
                      <a:pt x="2510841" y="1453293"/>
                    </a:cubicBezTo>
                    <a:cubicBezTo>
                      <a:pt x="2508359" y="1453519"/>
                      <a:pt x="2503395" y="1453744"/>
                      <a:pt x="2502718" y="1454647"/>
                    </a:cubicBezTo>
                    <a:cubicBezTo>
                      <a:pt x="2502267" y="1455550"/>
                      <a:pt x="2502267" y="1456452"/>
                      <a:pt x="2502267" y="1457806"/>
                    </a:cubicBezTo>
                    <a:cubicBezTo>
                      <a:pt x="2502041" y="1460288"/>
                      <a:pt x="2502041" y="1463222"/>
                      <a:pt x="2499333" y="1467058"/>
                    </a:cubicBezTo>
                    <a:cubicBezTo>
                      <a:pt x="2497302" y="1470217"/>
                      <a:pt x="2495046" y="1471345"/>
                      <a:pt x="2493015" y="1472247"/>
                    </a:cubicBezTo>
                    <a:cubicBezTo>
                      <a:pt x="2491210" y="1473150"/>
                      <a:pt x="2489631" y="1473827"/>
                      <a:pt x="2488051" y="1476535"/>
                    </a:cubicBezTo>
                    <a:cubicBezTo>
                      <a:pt x="2486246" y="1479468"/>
                      <a:pt x="2483764" y="1481950"/>
                      <a:pt x="2481282" y="1484658"/>
                    </a:cubicBezTo>
                    <a:cubicBezTo>
                      <a:pt x="2478574" y="1487366"/>
                      <a:pt x="2475866" y="1490074"/>
                      <a:pt x="2475640" y="1491879"/>
                    </a:cubicBezTo>
                    <a:cubicBezTo>
                      <a:pt x="2475415" y="1493233"/>
                      <a:pt x="2475866" y="1494812"/>
                      <a:pt x="2476543" y="1496392"/>
                    </a:cubicBezTo>
                    <a:cubicBezTo>
                      <a:pt x="2477446" y="1499099"/>
                      <a:pt x="2478348" y="1502484"/>
                      <a:pt x="2476994" y="1506320"/>
                    </a:cubicBezTo>
                    <a:cubicBezTo>
                      <a:pt x="2475189" y="1511736"/>
                      <a:pt x="2474287" y="1517377"/>
                      <a:pt x="2475189" y="1519633"/>
                    </a:cubicBezTo>
                    <a:cubicBezTo>
                      <a:pt x="2475640" y="1520761"/>
                      <a:pt x="2475415" y="1522115"/>
                      <a:pt x="2475189" y="1523695"/>
                    </a:cubicBezTo>
                    <a:cubicBezTo>
                      <a:pt x="2474964" y="1524597"/>
                      <a:pt x="2474738" y="1527079"/>
                      <a:pt x="2475189" y="1527531"/>
                    </a:cubicBezTo>
                    <a:cubicBezTo>
                      <a:pt x="2475189" y="1527531"/>
                      <a:pt x="2476092" y="1528208"/>
                      <a:pt x="2480605" y="1526177"/>
                    </a:cubicBezTo>
                    <a:lnTo>
                      <a:pt x="2483989" y="1524597"/>
                    </a:lnTo>
                    <a:cubicBezTo>
                      <a:pt x="2493015" y="1520310"/>
                      <a:pt x="2495723" y="1519182"/>
                      <a:pt x="2499785" y="1526403"/>
                    </a:cubicBezTo>
                    <a:cubicBezTo>
                      <a:pt x="2501138" y="1528659"/>
                      <a:pt x="2501590" y="1530464"/>
                      <a:pt x="2502041" y="1531818"/>
                    </a:cubicBezTo>
                    <a:cubicBezTo>
                      <a:pt x="2502944" y="1534300"/>
                      <a:pt x="2502944" y="1534977"/>
                      <a:pt x="2507457" y="1535654"/>
                    </a:cubicBezTo>
                    <a:cubicBezTo>
                      <a:pt x="2514226" y="1536782"/>
                      <a:pt x="2517385" y="1540844"/>
                      <a:pt x="2518513" y="1542423"/>
                    </a:cubicBezTo>
                    <a:cubicBezTo>
                      <a:pt x="2519641" y="1544003"/>
                      <a:pt x="2520093" y="1545808"/>
                      <a:pt x="2519867" y="1546936"/>
                    </a:cubicBezTo>
                    <a:cubicBezTo>
                      <a:pt x="2519867" y="1546936"/>
                      <a:pt x="2520093" y="1547162"/>
                      <a:pt x="2520093" y="1547162"/>
                    </a:cubicBezTo>
                    <a:cubicBezTo>
                      <a:pt x="2521221" y="1548290"/>
                      <a:pt x="2523026" y="1550095"/>
                      <a:pt x="2523929" y="1555285"/>
                    </a:cubicBezTo>
                    <a:cubicBezTo>
                      <a:pt x="2525057" y="1561829"/>
                      <a:pt x="2527088" y="1562506"/>
                      <a:pt x="2533180" y="1561829"/>
                    </a:cubicBezTo>
                    <a:cubicBezTo>
                      <a:pt x="2536339" y="1561378"/>
                      <a:pt x="2539273" y="1561378"/>
                      <a:pt x="2542206" y="1561378"/>
                    </a:cubicBezTo>
                    <a:cubicBezTo>
                      <a:pt x="2546042" y="1561378"/>
                      <a:pt x="2549652" y="1561378"/>
                      <a:pt x="2552360" y="1560475"/>
                    </a:cubicBezTo>
                    <a:cubicBezTo>
                      <a:pt x="2553714" y="1560024"/>
                      <a:pt x="2554617" y="1559347"/>
                      <a:pt x="2555745" y="1558896"/>
                    </a:cubicBezTo>
                    <a:cubicBezTo>
                      <a:pt x="2557550" y="1557993"/>
                      <a:pt x="2559129" y="1556865"/>
                      <a:pt x="2560935" y="1557542"/>
                    </a:cubicBezTo>
                    <a:cubicBezTo>
                      <a:pt x="2562740" y="1558219"/>
                      <a:pt x="2563868" y="1560249"/>
                      <a:pt x="2564771" y="1561829"/>
                    </a:cubicBezTo>
                    <a:cubicBezTo>
                      <a:pt x="2566576" y="1565665"/>
                      <a:pt x="2564996" y="1569275"/>
                      <a:pt x="2564094" y="1571757"/>
                    </a:cubicBezTo>
                    <a:cubicBezTo>
                      <a:pt x="2562966" y="1574691"/>
                      <a:pt x="2562966" y="1575368"/>
                      <a:pt x="2563868" y="1576270"/>
                    </a:cubicBezTo>
                    <a:cubicBezTo>
                      <a:pt x="2568155" y="1579655"/>
                      <a:pt x="2573796" y="1582137"/>
                      <a:pt x="2577407" y="1583717"/>
                    </a:cubicBezTo>
                    <a:cubicBezTo>
                      <a:pt x="2583048" y="1586199"/>
                      <a:pt x="2585304" y="1590260"/>
                      <a:pt x="2583725" y="1594999"/>
                    </a:cubicBezTo>
                    <a:cubicBezTo>
                      <a:pt x="2583048" y="1597030"/>
                      <a:pt x="2582371" y="1598158"/>
                      <a:pt x="2581694" y="1599061"/>
                    </a:cubicBezTo>
                    <a:cubicBezTo>
                      <a:pt x="2581017" y="1600189"/>
                      <a:pt x="2580792" y="1600640"/>
                      <a:pt x="2580792" y="1601768"/>
                    </a:cubicBezTo>
                    <a:cubicBezTo>
                      <a:pt x="2580792" y="1606507"/>
                      <a:pt x="2575827" y="1607409"/>
                      <a:pt x="2569058" y="1608538"/>
                    </a:cubicBezTo>
                    <a:cubicBezTo>
                      <a:pt x="2567027" y="1608989"/>
                      <a:pt x="2565673" y="1609440"/>
                      <a:pt x="2564319" y="1609892"/>
                    </a:cubicBezTo>
                    <a:cubicBezTo>
                      <a:pt x="2561612" y="1611020"/>
                      <a:pt x="2558904" y="1612148"/>
                      <a:pt x="2554617" y="1609440"/>
                    </a:cubicBezTo>
                    <a:cubicBezTo>
                      <a:pt x="2553263" y="1608763"/>
                      <a:pt x="2552360" y="1608086"/>
                      <a:pt x="2551458" y="1607409"/>
                    </a:cubicBezTo>
                    <a:cubicBezTo>
                      <a:pt x="2548750" y="1605604"/>
                      <a:pt x="2548750" y="1605604"/>
                      <a:pt x="2547170" y="1606281"/>
                    </a:cubicBezTo>
                    <a:cubicBezTo>
                      <a:pt x="2546268" y="1606732"/>
                      <a:pt x="2545816" y="1607184"/>
                      <a:pt x="2545139" y="1607861"/>
                    </a:cubicBezTo>
                    <a:cubicBezTo>
                      <a:pt x="2543785" y="1609215"/>
                      <a:pt x="2542206" y="1610569"/>
                      <a:pt x="2537693" y="1610794"/>
                    </a:cubicBezTo>
                    <a:cubicBezTo>
                      <a:pt x="2534985" y="1610794"/>
                      <a:pt x="2532278" y="1610569"/>
                      <a:pt x="2530247" y="1610343"/>
                    </a:cubicBezTo>
                    <a:cubicBezTo>
                      <a:pt x="2528893" y="1610117"/>
                      <a:pt x="2527088" y="1609892"/>
                      <a:pt x="2526636" y="1610117"/>
                    </a:cubicBezTo>
                    <a:cubicBezTo>
                      <a:pt x="2526636" y="1610343"/>
                      <a:pt x="2526185" y="1610569"/>
                      <a:pt x="2525734" y="1611020"/>
                    </a:cubicBezTo>
                    <a:cubicBezTo>
                      <a:pt x="2524154" y="1612374"/>
                      <a:pt x="2522801" y="1613502"/>
                      <a:pt x="2522801" y="1615533"/>
                    </a:cubicBezTo>
                    <a:cubicBezTo>
                      <a:pt x="2522801" y="1617112"/>
                      <a:pt x="2523252" y="1619143"/>
                      <a:pt x="2523703" y="1620948"/>
                    </a:cubicBezTo>
                    <a:cubicBezTo>
                      <a:pt x="2524380" y="1623882"/>
                      <a:pt x="2525057" y="1626815"/>
                      <a:pt x="2524380" y="1628846"/>
                    </a:cubicBezTo>
                    <a:cubicBezTo>
                      <a:pt x="2523703" y="1630877"/>
                      <a:pt x="2522123" y="1632682"/>
                      <a:pt x="2520770" y="1634487"/>
                    </a:cubicBezTo>
                    <a:cubicBezTo>
                      <a:pt x="2520093" y="1635390"/>
                      <a:pt x="2519190" y="1636292"/>
                      <a:pt x="2518964" y="1636743"/>
                    </a:cubicBezTo>
                    <a:cubicBezTo>
                      <a:pt x="2518513" y="1637872"/>
                      <a:pt x="2517611" y="1638774"/>
                      <a:pt x="2516257" y="1640128"/>
                    </a:cubicBezTo>
                    <a:cubicBezTo>
                      <a:pt x="2514677" y="1641708"/>
                      <a:pt x="2512646" y="1643738"/>
                      <a:pt x="2510616" y="1646897"/>
                    </a:cubicBezTo>
                    <a:cubicBezTo>
                      <a:pt x="2509487" y="1648477"/>
                      <a:pt x="2508810" y="1649831"/>
                      <a:pt x="2508359" y="1651185"/>
                    </a:cubicBezTo>
                    <a:cubicBezTo>
                      <a:pt x="2507457" y="1652990"/>
                      <a:pt x="2506780" y="1654570"/>
                      <a:pt x="2504974" y="1654795"/>
                    </a:cubicBezTo>
                    <a:cubicBezTo>
                      <a:pt x="2503395" y="1655021"/>
                      <a:pt x="2502041" y="1654118"/>
                      <a:pt x="2500913" y="1653216"/>
                    </a:cubicBezTo>
                    <a:cubicBezTo>
                      <a:pt x="2498882" y="1651411"/>
                      <a:pt x="2498656" y="1649154"/>
                      <a:pt x="2498431" y="1647575"/>
                    </a:cubicBezTo>
                    <a:cubicBezTo>
                      <a:pt x="2498431" y="1647123"/>
                      <a:pt x="2498431" y="1646446"/>
                      <a:pt x="2498205" y="1646221"/>
                    </a:cubicBezTo>
                    <a:cubicBezTo>
                      <a:pt x="2498205" y="1646221"/>
                      <a:pt x="2497979" y="1646221"/>
                      <a:pt x="2497528" y="1646221"/>
                    </a:cubicBezTo>
                    <a:cubicBezTo>
                      <a:pt x="2497077" y="1646221"/>
                      <a:pt x="2496400" y="1646221"/>
                      <a:pt x="2495497" y="1646446"/>
                    </a:cubicBezTo>
                    <a:cubicBezTo>
                      <a:pt x="2490533" y="1647349"/>
                      <a:pt x="2490533" y="1648251"/>
                      <a:pt x="2490984" y="1650734"/>
                    </a:cubicBezTo>
                    <a:cubicBezTo>
                      <a:pt x="2490984" y="1651411"/>
                      <a:pt x="2491210" y="1652313"/>
                      <a:pt x="2491210" y="1652990"/>
                    </a:cubicBezTo>
                    <a:cubicBezTo>
                      <a:pt x="2491210" y="1656826"/>
                      <a:pt x="2489179" y="1658857"/>
                      <a:pt x="2486697" y="1661565"/>
                    </a:cubicBezTo>
                    <a:cubicBezTo>
                      <a:pt x="2485794" y="1662467"/>
                      <a:pt x="2484892" y="1663370"/>
                      <a:pt x="2483989" y="1664498"/>
                    </a:cubicBezTo>
                    <a:cubicBezTo>
                      <a:pt x="2480153" y="1669011"/>
                      <a:pt x="2479251" y="1670139"/>
                      <a:pt x="2477446" y="1675555"/>
                    </a:cubicBezTo>
                    <a:cubicBezTo>
                      <a:pt x="2476543" y="1678037"/>
                      <a:pt x="2477220" y="1679165"/>
                      <a:pt x="2478799" y="1681196"/>
                    </a:cubicBezTo>
                    <a:cubicBezTo>
                      <a:pt x="2479928" y="1682775"/>
                      <a:pt x="2481056" y="1684581"/>
                      <a:pt x="2481958" y="1687288"/>
                    </a:cubicBezTo>
                    <a:cubicBezTo>
                      <a:pt x="2482861" y="1690447"/>
                      <a:pt x="2485794" y="1693155"/>
                      <a:pt x="2488502" y="1696088"/>
                    </a:cubicBezTo>
                    <a:cubicBezTo>
                      <a:pt x="2490759" y="1698345"/>
                      <a:pt x="2493015" y="1700601"/>
                      <a:pt x="2494369" y="1703083"/>
                    </a:cubicBezTo>
                    <a:cubicBezTo>
                      <a:pt x="2496626" y="1707371"/>
                      <a:pt x="2499108" y="1709176"/>
                      <a:pt x="2506328" y="1713914"/>
                    </a:cubicBezTo>
                    <a:lnTo>
                      <a:pt x="2507457" y="1714591"/>
                    </a:lnTo>
                    <a:cubicBezTo>
                      <a:pt x="2515805" y="1720007"/>
                      <a:pt x="2528216" y="1724294"/>
                      <a:pt x="2532729" y="1721812"/>
                    </a:cubicBezTo>
                    <a:cubicBezTo>
                      <a:pt x="2540401" y="1717525"/>
                      <a:pt x="2554165" y="1721586"/>
                      <a:pt x="2554842" y="1721586"/>
                    </a:cubicBezTo>
                    <a:cubicBezTo>
                      <a:pt x="2558227" y="1722489"/>
                      <a:pt x="2561837" y="1725874"/>
                      <a:pt x="2563417" y="1729258"/>
                    </a:cubicBezTo>
                    <a:cubicBezTo>
                      <a:pt x="2564545" y="1731515"/>
                      <a:pt x="2564545" y="1733771"/>
                      <a:pt x="2563417" y="1735802"/>
                    </a:cubicBezTo>
                    <a:cubicBezTo>
                      <a:pt x="2560032" y="1742572"/>
                      <a:pt x="2559355" y="1747987"/>
                      <a:pt x="2561612" y="1752726"/>
                    </a:cubicBezTo>
                    <a:cubicBezTo>
                      <a:pt x="2562289" y="1754079"/>
                      <a:pt x="2562740" y="1755433"/>
                      <a:pt x="2563417" y="1756561"/>
                    </a:cubicBezTo>
                    <a:cubicBezTo>
                      <a:pt x="2566576" y="1762880"/>
                      <a:pt x="2569284" y="1768972"/>
                      <a:pt x="2567478" y="1773034"/>
                    </a:cubicBezTo>
                    <a:cubicBezTo>
                      <a:pt x="2564771" y="1779126"/>
                      <a:pt x="2560032" y="1782737"/>
                      <a:pt x="2555970" y="1786121"/>
                    </a:cubicBezTo>
                    <a:cubicBezTo>
                      <a:pt x="2552134" y="1789280"/>
                      <a:pt x="2548298" y="1792214"/>
                      <a:pt x="2546719" y="1797178"/>
                    </a:cubicBezTo>
                    <a:cubicBezTo>
                      <a:pt x="2541304" y="1812522"/>
                      <a:pt x="2550555" y="1818614"/>
                      <a:pt x="2560483" y="1825158"/>
                    </a:cubicBezTo>
                    <a:cubicBezTo>
                      <a:pt x="2570412" y="1831476"/>
                      <a:pt x="2581469" y="1838697"/>
                      <a:pt x="2573571" y="1856072"/>
                    </a:cubicBezTo>
                    <a:cubicBezTo>
                      <a:pt x="2572894" y="1857651"/>
                      <a:pt x="2570637" y="1863518"/>
                      <a:pt x="2573345" y="1866902"/>
                    </a:cubicBezTo>
                    <a:cubicBezTo>
                      <a:pt x="2575827" y="1869836"/>
                      <a:pt x="2580792" y="1869610"/>
                      <a:pt x="2585981" y="1869159"/>
                    </a:cubicBezTo>
                    <a:cubicBezTo>
                      <a:pt x="2592074" y="1868708"/>
                      <a:pt x="2598843" y="1868256"/>
                      <a:pt x="2601551" y="1874123"/>
                    </a:cubicBezTo>
                    <a:cubicBezTo>
                      <a:pt x="2603356" y="1878185"/>
                      <a:pt x="2601777" y="1882246"/>
                      <a:pt x="2600197" y="1885857"/>
                    </a:cubicBezTo>
                    <a:lnTo>
                      <a:pt x="2599746" y="1886759"/>
                    </a:lnTo>
                    <a:cubicBezTo>
                      <a:pt x="2592751" y="1905037"/>
                      <a:pt x="2597941" y="1924442"/>
                      <a:pt x="2603131" y="1943397"/>
                    </a:cubicBezTo>
                    <a:cubicBezTo>
                      <a:pt x="2604936" y="1949940"/>
                      <a:pt x="2606741" y="1956484"/>
                      <a:pt x="2607869" y="1962802"/>
                    </a:cubicBezTo>
                    <a:cubicBezTo>
                      <a:pt x="2608546" y="1966638"/>
                      <a:pt x="2608546" y="1971828"/>
                      <a:pt x="2608320" y="1977018"/>
                    </a:cubicBezTo>
                    <a:cubicBezTo>
                      <a:pt x="2608320" y="1983110"/>
                      <a:pt x="2608095" y="1989428"/>
                      <a:pt x="2609449" y="1992362"/>
                    </a:cubicBezTo>
                    <a:cubicBezTo>
                      <a:pt x="2610125" y="1994167"/>
                      <a:pt x="2609449" y="1995521"/>
                      <a:pt x="2609223" y="1996649"/>
                    </a:cubicBezTo>
                    <a:cubicBezTo>
                      <a:pt x="2608772" y="1997777"/>
                      <a:pt x="2608320" y="1998454"/>
                      <a:pt x="2611931" y="2000259"/>
                    </a:cubicBezTo>
                    <a:cubicBezTo>
                      <a:pt x="2620280" y="2004772"/>
                      <a:pt x="2621633" y="2008834"/>
                      <a:pt x="2621633" y="2015378"/>
                    </a:cubicBezTo>
                    <a:cubicBezTo>
                      <a:pt x="2621633" y="2017183"/>
                      <a:pt x="2621633" y="2018762"/>
                      <a:pt x="2621408" y="2020342"/>
                    </a:cubicBezTo>
                    <a:cubicBezTo>
                      <a:pt x="2621182" y="2023501"/>
                      <a:pt x="2621182" y="2025532"/>
                      <a:pt x="2622085" y="2027563"/>
                    </a:cubicBezTo>
                    <a:cubicBezTo>
                      <a:pt x="2622310" y="2028239"/>
                      <a:pt x="2622536" y="2028691"/>
                      <a:pt x="2622987" y="2029142"/>
                    </a:cubicBezTo>
                    <a:cubicBezTo>
                      <a:pt x="2624341" y="2031850"/>
                      <a:pt x="2625018" y="2033655"/>
                      <a:pt x="2622310" y="2038168"/>
                    </a:cubicBezTo>
                    <a:cubicBezTo>
                      <a:pt x="2621408" y="2039522"/>
                      <a:pt x="2621408" y="2041101"/>
                      <a:pt x="2621182" y="2042455"/>
                    </a:cubicBezTo>
                    <a:cubicBezTo>
                      <a:pt x="2620957" y="2045163"/>
                      <a:pt x="2620505" y="2048548"/>
                      <a:pt x="2615315" y="2050127"/>
                    </a:cubicBezTo>
                    <a:cubicBezTo>
                      <a:pt x="2611028" y="2051481"/>
                      <a:pt x="2608772" y="2050579"/>
                      <a:pt x="2606515" y="2049450"/>
                    </a:cubicBezTo>
                    <a:cubicBezTo>
                      <a:pt x="2604936" y="2048773"/>
                      <a:pt x="2603131" y="2047871"/>
                      <a:pt x="2599971" y="2047871"/>
                    </a:cubicBezTo>
                    <a:cubicBezTo>
                      <a:pt x="2598392" y="2047871"/>
                      <a:pt x="2597038" y="2047871"/>
                      <a:pt x="2595684" y="2047871"/>
                    </a:cubicBezTo>
                    <a:cubicBezTo>
                      <a:pt x="2590269" y="2047871"/>
                      <a:pt x="2587110" y="2048096"/>
                      <a:pt x="2584176" y="2045840"/>
                    </a:cubicBezTo>
                    <a:cubicBezTo>
                      <a:pt x="2580340" y="2043132"/>
                      <a:pt x="2579663" y="2037265"/>
                      <a:pt x="2579663" y="2034106"/>
                    </a:cubicBezTo>
                    <a:cubicBezTo>
                      <a:pt x="2579663" y="2033429"/>
                      <a:pt x="2579663" y="2032527"/>
                      <a:pt x="2579663" y="2032527"/>
                    </a:cubicBezTo>
                    <a:cubicBezTo>
                      <a:pt x="2579663" y="2032527"/>
                      <a:pt x="2579212" y="2032301"/>
                      <a:pt x="2576955" y="2032301"/>
                    </a:cubicBezTo>
                    <a:cubicBezTo>
                      <a:pt x="2574699" y="2032301"/>
                      <a:pt x="2572894" y="2031624"/>
                      <a:pt x="2571540" y="2031173"/>
                    </a:cubicBezTo>
                    <a:cubicBezTo>
                      <a:pt x="2571089" y="2030947"/>
                      <a:pt x="2570637" y="2030722"/>
                      <a:pt x="2570186" y="2030722"/>
                    </a:cubicBezTo>
                    <a:cubicBezTo>
                      <a:pt x="2570186" y="2030722"/>
                      <a:pt x="2570186" y="2030947"/>
                      <a:pt x="2570186" y="2030947"/>
                    </a:cubicBezTo>
                    <a:cubicBezTo>
                      <a:pt x="2569058" y="2033429"/>
                      <a:pt x="2567253" y="2033429"/>
                      <a:pt x="2566350" y="2033204"/>
                    </a:cubicBezTo>
                    <a:cubicBezTo>
                      <a:pt x="2566350" y="2033655"/>
                      <a:pt x="2566125" y="2034106"/>
                      <a:pt x="2566125" y="2035009"/>
                    </a:cubicBezTo>
                    <a:lnTo>
                      <a:pt x="2565899" y="2037040"/>
                    </a:lnTo>
                    <a:cubicBezTo>
                      <a:pt x="2565448" y="2042455"/>
                      <a:pt x="2565448" y="2045163"/>
                      <a:pt x="2561837" y="2049225"/>
                    </a:cubicBezTo>
                    <a:cubicBezTo>
                      <a:pt x="2560483" y="2050804"/>
                      <a:pt x="2559129" y="2051707"/>
                      <a:pt x="2558227" y="2052384"/>
                    </a:cubicBezTo>
                    <a:cubicBezTo>
                      <a:pt x="2556873" y="2053512"/>
                      <a:pt x="2556647" y="2053512"/>
                      <a:pt x="2556647" y="2055317"/>
                    </a:cubicBezTo>
                    <a:cubicBezTo>
                      <a:pt x="2556647" y="2058702"/>
                      <a:pt x="2554842" y="2059604"/>
                      <a:pt x="2553488" y="2060281"/>
                    </a:cubicBezTo>
                    <a:cubicBezTo>
                      <a:pt x="2552360" y="2060733"/>
                      <a:pt x="2551232" y="2061409"/>
                      <a:pt x="2549878" y="2063215"/>
                    </a:cubicBezTo>
                    <a:cubicBezTo>
                      <a:pt x="2548975" y="2064343"/>
                      <a:pt x="2548524" y="2065020"/>
                      <a:pt x="2548073" y="2065697"/>
                    </a:cubicBezTo>
                    <a:cubicBezTo>
                      <a:pt x="2546493" y="2068179"/>
                      <a:pt x="2546042" y="2068404"/>
                      <a:pt x="2541980" y="2070887"/>
                    </a:cubicBezTo>
                    <a:cubicBezTo>
                      <a:pt x="2540852" y="2071564"/>
                      <a:pt x="2539950" y="2072241"/>
                      <a:pt x="2539273" y="2072917"/>
                    </a:cubicBezTo>
                    <a:cubicBezTo>
                      <a:pt x="2536339" y="2075400"/>
                      <a:pt x="2534760" y="2075625"/>
                      <a:pt x="2528667" y="2073143"/>
                    </a:cubicBezTo>
                    <a:cubicBezTo>
                      <a:pt x="2520770" y="2070210"/>
                      <a:pt x="2519867" y="2069984"/>
                      <a:pt x="2518513" y="2069758"/>
                    </a:cubicBezTo>
                    <a:cubicBezTo>
                      <a:pt x="2516482" y="2069533"/>
                      <a:pt x="2513323" y="2066599"/>
                      <a:pt x="2511969" y="2063892"/>
                    </a:cubicBezTo>
                    <a:cubicBezTo>
                      <a:pt x="2510841" y="2061409"/>
                      <a:pt x="2511293" y="2059830"/>
                      <a:pt x="2511969" y="2058702"/>
                    </a:cubicBezTo>
                    <a:cubicBezTo>
                      <a:pt x="2512195" y="2058250"/>
                      <a:pt x="2511518" y="2056897"/>
                      <a:pt x="2511067" y="2055994"/>
                    </a:cubicBezTo>
                    <a:cubicBezTo>
                      <a:pt x="2509713" y="2053512"/>
                      <a:pt x="2507908" y="2049676"/>
                      <a:pt x="2510390" y="2045614"/>
                    </a:cubicBezTo>
                    <a:cubicBezTo>
                      <a:pt x="2513549" y="2040424"/>
                      <a:pt x="2514677" y="2037491"/>
                      <a:pt x="2516257" y="2033655"/>
                    </a:cubicBezTo>
                    <a:lnTo>
                      <a:pt x="2516482" y="2032752"/>
                    </a:lnTo>
                    <a:cubicBezTo>
                      <a:pt x="2517159" y="2031173"/>
                      <a:pt x="2517611" y="2030270"/>
                      <a:pt x="2518062" y="2029368"/>
                    </a:cubicBezTo>
                    <a:cubicBezTo>
                      <a:pt x="2518964" y="2027788"/>
                      <a:pt x="2518964" y="2027788"/>
                      <a:pt x="2518513" y="2026886"/>
                    </a:cubicBezTo>
                    <a:cubicBezTo>
                      <a:pt x="2517836" y="2025757"/>
                      <a:pt x="2516031" y="2024629"/>
                      <a:pt x="2514677" y="2023727"/>
                    </a:cubicBezTo>
                    <a:cubicBezTo>
                      <a:pt x="2513323" y="2022824"/>
                      <a:pt x="2512195" y="2022147"/>
                      <a:pt x="2511518" y="2021244"/>
                    </a:cubicBezTo>
                    <a:cubicBezTo>
                      <a:pt x="2510841" y="2020568"/>
                      <a:pt x="2508134" y="2018762"/>
                      <a:pt x="2506780" y="2018311"/>
                    </a:cubicBezTo>
                    <a:cubicBezTo>
                      <a:pt x="2506780" y="2018537"/>
                      <a:pt x="2507005" y="2018762"/>
                      <a:pt x="2507005" y="2018988"/>
                    </a:cubicBezTo>
                    <a:cubicBezTo>
                      <a:pt x="2507908" y="2021244"/>
                      <a:pt x="2508810" y="2022373"/>
                      <a:pt x="2509939" y="2023727"/>
                    </a:cubicBezTo>
                    <a:cubicBezTo>
                      <a:pt x="2512421" y="2026434"/>
                      <a:pt x="2513775" y="2028691"/>
                      <a:pt x="2511067" y="2034332"/>
                    </a:cubicBezTo>
                    <a:cubicBezTo>
                      <a:pt x="2509036" y="2038394"/>
                      <a:pt x="2505877" y="2040199"/>
                      <a:pt x="2503169" y="2041553"/>
                    </a:cubicBezTo>
                    <a:cubicBezTo>
                      <a:pt x="2500010" y="2043358"/>
                      <a:pt x="2497528" y="2044712"/>
                      <a:pt x="2496400" y="2049225"/>
                    </a:cubicBezTo>
                    <a:cubicBezTo>
                      <a:pt x="2494595" y="2057573"/>
                      <a:pt x="2484441" y="2069533"/>
                      <a:pt x="2476994" y="2078333"/>
                    </a:cubicBezTo>
                    <a:cubicBezTo>
                      <a:pt x="2475415" y="2080364"/>
                      <a:pt x="2473835" y="2082169"/>
                      <a:pt x="2472707" y="2083523"/>
                    </a:cubicBezTo>
                    <a:cubicBezTo>
                      <a:pt x="2471353" y="2085102"/>
                      <a:pt x="2470450" y="2086456"/>
                      <a:pt x="2469774" y="2087584"/>
                    </a:cubicBezTo>
                    <a:cubicBezTo>
                      <a:pt x="2467066" y="2091646"/>
                      <a:pt x="2466163" y="2092323"/>
                      <a:pt x="2457363" y="2095256"/>
                    </a:cubicBezTo>
                    <a:cubicBezTo>
                      <a:pt x="2454881" y="2096159"/>
                      <a:pt x="2453076" y="2096836"/>
                      <a:pt x="2451496" y="2097287"/>
                    </a:cubicBezTo>
                    <a:cubicBezTo>
                      <a:pt x="2445629" y="2099544"/>
                      <a:pt x="2442245" y="2100672"/>
                      <a:pt x="2426675" y="2102477"/>
                    </a:cubicBezTo>
                    <a:cubicBezTo>
                      <a:pt x="2425096" y="2104057"/>
                      <a:pt x="2420357" y="2108344"/>
                      <a:pt x="2412008" y="2111503"/>
                    </a:cubicBezTo>
                    <a:cubicBezTo>
                      <a:pt x="2405916" y="2113985"/>
                      <a:pt x="2401403" y="2113308"/>
                      <a:pt x="2397567" y="2112857"/>
                    </a:cubicBezTo>
                    <a:cubicBezTo>
                      <a:pt x="2395085" y="2112631"/>
                      <a:pt x="2392828" y="2112180"/>
                      <a:pt x="2390346" y="2112857"/>
                    </a:cubicBezTo>
                    <a:cubicBezTo>
                      <a:pt x="2384479" y="2114211"/>
                      <a:pt x="2363043" y="2132488"/>
                      <a:pt x="2353115" y="2149863"/>
                    </a:cubicBezTo>
                    <a:cubicBezTo>
                      <a:pt x="2344314" y="2165432"/>
                      <a:pt x="2349279" y="2172879"/>
                      <a:pt x="2358530" y="2186643"/>
                    </a:cubicBezTo>
                    <a:lnTo>
                      <a:pt x="2359207" y="2187771"/>
                    </a:lnTo>
                    <a:cubicBezTo>
                      <a:pt x="2363494" y="2194089"/>
                      <a:pt x="2366428" y="2197700"/>
                      <a:pt x="2368233" y="2199956"/>
                    </a:cubicBezTo>
                    <a:cubicBezTo>
                      <a:pt x="2370715" y="2202890"/>
                      <a:pt x="2371843" y="2204244"/>
                      <a:pt x="2371843" y="2207177"/>
                    </a:cubicBezTo>
                    <a:cubicBezTo>
                      <a:pt x="2371843" y="2211915"/>
                      <a:pt x="2371166" y="2213044"/>
                      <a:pt x="2366202" y="2215752"/>
                    </a:cubicBezTo>
                    <a:cubicBezTo>
                      <a:pt x="2365525" y="2216203"/>
                      <a:pt x="2364623" y="2216654"/>
                      <a:pt x="2363720" y="2216880"/>
                    </a:cubicBezTo>
                    <a:cubicBezTo>
                      <a:pt x="2364397" y="2216880"/>
                      <a:pt x="2364848" y="2216654"/>
                      <a:pt x="2365299" y="2216654"/>
                    </a:cubicBezTo>
                    <a:cubicBezTo>
                      <a:pt x="2367782" y="2216428"/>
                      <a:pt x="2370264" y="2215977"/>
                      <a:pt x="2372294" y="2218008"/>
                    </a:cubicBezTo>
                    <a:cubicBezTo>
                      <a:pt x="2374551" y="2220264"/>
                      <a:pt x="2378387" y="2224100"/>
                      <a:pt x="2373648" y="2230644"/>
                    </a:cubicBezTo>
                    <a:cubicBezTo>
                      <a:pt x="2371618" y="2233352"/>
                      <a:pt x="2368910" y="2234931"/>
                      <a:pt x="2365976" y="2236962"/>
                    </a:cubicBezTo>
                    <a:cubicBezTo>
                      <a:pt x="2363269" y="2238767"/>
                      <a:pt x="2360110" y="2240798"/>
                      <a:pt x="2356499" y="2243957"/>
                    </a:cubicBezTo>
                    <a:cubicBezTo>
                      <a:pt x="2349504" y="2250727"/>
                      <a:pt x="2346571" y="2253660"/>
                      <a:pt x="2345443" y="2257045"/>
                    </a:cubicBezTo>
                    <a:lnTo>
                      <a:pt x="2345217" y="2257496"/>
                    </a:lnTo>
                    <a:cubicBezTo>
                      <a:pt x="2344089" y="2260881"/>
                      <a:pt x="2343637" y="2262911"/>
                      <a:pt x="2345443" y="2266522"/>
                    </a:cubicBezTo>
                    <a:cubicBezTo>
                      <a:pt x="2347473" y="2270132"/>
                      <a:pt x="2351084" y="2277127"/>
                      <a:pt x="2346120" y="2282091"/>
                    </a:cubicBezTo>
                    <a:cubicBezTo>
                      <a:pt x="2343412" y="2284799"/>
                      <a:pt x="2334837" y="2289989"/>
                      <a:pt x="2327391" y="2294728"/>
                    </a:cubicBezTo>
                    <a:cubicBezTo>
                      <a:pt x="2324006" y="2296758"/>
                      <a:pt x="2321073" y="2298564"/>
                      <a:pt x="2319042" y="2299917"/>
                    </a:cubicBezTo>
                    <a:cubicBezTo>
                      <a:pt x="2314755" y="2302851"/>
                      <a:pt x="2310467" y="2310974"/>
                      <a:pt x="2307534" y="2316390"/>
                    </a:cubicBezTo>
                    <a:cubicBezTo>
                      <a:pt x="2306406" y="2318646"/>
                      <a:pt x="2305278" y="2320451"/>
                      <a:pt x="2304601" y="2321805"/>
                    </a:cubicBezTo>
                    <a:cubicBezTo>
                      <a:pt x="2303924" y="2322708"/>
                      <a:pt x="2303247" y="2323836"/>
                      <a:pt x="2302570" y="2324964"/>
                    </a:cubicBezTo>
                    <a:cubicBezTo>
                      <a:pt x="2299185" y="2330380"/>
                      <a:pt x="2296703" y="2334216"/>
                      <a:pt x="2294221" y="2334893"/>
                    </a:cubicBezTo>
                    <a:cubicBezTo>
                      <a:pt x="2293318" y="2335118"/>
                      <a:pt x="2290385" y="2336472"/>
                      <a:pt x="2285872" y="2338277"/>
                    </a:cubicBezTo>
                    <a:cubicBezTo>
                      <a:pt x="2276395" y="2342113"/>
                      <a:pt x="2260825" y="2348431"/>
                      <a:pt x="2246384" y="2353847"/>
                    </a:cubicBezTo>
                    <a:cubicBezTo>
                      <a:pt x="2238712" y="2356780"/>
                      <a:pt x="2231943" y="2358811"/>
                      <a:pt x="2226076" y="2360391"/>
                    </a:cubicBezTo>
                    <a:cubicBezTo>
                      <a:pt x="2215470" y="2363550"/>
                      <a:pt x="2206896" y="2365806"/>
                      <a:pt x="2198773" y="2372350"/>
                    </a:cubicBezTo>
                    <a:cubicBezTo>
                      <a:pt x="2192906" y="2376863"/>
                      <a:pt x="2183880" y="2380473"/>
                      <a:pt x="2175305" y="2383858"/>
                    </a:cubicBezTo>
                    <a:cubicBezTo>
                      <a:pt x="2164700" y="2388145"/>
                      <a:pt x="2153869" y="2392432"/>
                      <a:pt x="2151387" y="2397848"/>
                    </a:cubicBezTo>
                    <a:cubicBezTo>
                      <a:pt x="2148679" y="2404166"/>
                      <a:pt x="2144618" y="2406648"/>
                      <a:pt x="2140556" y="2408905"/>
                    </a:cubicBezTo>
                    <a:cubicBezTo>
                      <a:pt x="2137397" y="2410710"/>
                      <a:pt x="2134238" y="2412515"/>
                      <a:pt x="2131981" y="2416351"/>
                    </a:cubicBezTo>
                    <a:cubicBezTo>
                      <a:pt x="2127694" y="2423346"/>
                      <a:pt x="2121150" y="2429664"/>
                      <a:pt x="2113930" y="2436208"/>
                    </a:cubicBezTo>
                    <a:cubicBezTo>
                      <a:pt x="2111222" y="2438690"/>
                      <a:pt x="2108514" y="2441398"/>
                      <a:pt x="2105806" y="2443880"/>
                    </a:cubicBezTo>
                    <a:cubicBezTo>
                      <a:pt x="2103099" y="2446587"/>
                      <a:pt x="2101068" y="2448393"/>
                      <a:pt x="2099488" y="2449746"/>
                    </a:cubicBezTo>
                    <a:cubicBezTo>
                      <a:pt x="2095652" y="2453131"/>
                      <a:pt x="2094975" y="2453582"/>
                      <a:pt x="2094750" y="2459675"/>
                    </a:cubicBezTo>
                    <a:cubicBezTo>
                      <a:pt x="2094524" y="2465993"/>
                      <a:pt x="2084596" y="2477275"/>
                      <a:pt x="2073990" y="2489234"/>
                    </a:cubicBezTo>
                    <a:cubicBezTo>
                      <a:pt x="2067672" y="2496230"/>
                      <a:pt x="2061805" y="2502999"/>
                      <a:pt x="2058646" y="2507963"/>
                    </a:cubicBezTo>
                    <a:cubicBezTo>
                      <a:pt x="2055036" y="2513604"/>
                      <a:pt x="2049395" y="2519697"/>
                      <a:pt x="2043302" y="2526015"/>
                    </a:cubicBezTo>
                    <a:cubicBezTo>
                      <a:pt x="2035405" y="2534364"/>
                      <a:pt x="2027056" y="2543164"/>
                      <a:pt x="2023897" y="2551062"/>
                    </a:cubicBezTo>
                    <a:cubicBezTo>
                      <a:pt x="2022543" y="2554446"/>
                      <a:pt x="2021640" y="2557380"/>
                      <a:pt x="2020963" y="2560087"/>
                    </a:cubicBezTo>
                    <a:cubicBezTo>
                      <a:pt x="2018481" y="2568436"/>
                      <a:pt x="2016902" y="2573852"/>
                      <a:pt x="2004040" y="2578365"/>
                    </a:cubicBezTo>
                    <a:cubicBezTo>
                      <a:pt x="1988696" y="2583780"/>
                      <a:pt x="1955977" y="2599575"/>
                      <a:pt x="1944695" y="2611760"/>
                    </a:cubicBezTo>
                    <a:cubicBezTo>
                      <a:pt x="1939956" y="2616725"/>
                      <a:pt x="1935218" y="2620786"/>
                      <a:pt x="1931156" y="2624397"/>
                    </a:cubicBezTo>
                    <a:cubicBezTo>
                      <a:pt x="1925064" y="2629586"/>
                      <a:pt x="1919648" y="2634099"/>
                      <a:pt x="1915812" y="2640643"/>
                    </a:cubicBezTo>
                    <a:cubicBezTo>
                      <a:pt x="1914233" y="2643351"/>
                      <a:pt x="1912879" y="2646059"/>
                      <a:pt x="1911525" y="2648541"/>
                    </a:cubicBezTo>
                    <a:cubicBezTo>
                      <a:pt x="1907463" y="2656438"/>
                      <a:pt x="1903853" y="2663208"/>
                      <a:pt x="1896407" y="2667721"/>
                    </a:cubicBezTo>
                    <a:cubicBezTo>
                      <a:pt x="1894827" y="2668623"/>
                      <a:pt x="1893022" y="2669751"/>
                      <a:pt x="1890766" y="2671105"/>
                    </a:cubicBezTo>
                    <a:cubicBezTo>
                      <a:pt x="1879709" y="2677649"/>
                      <a:pt x="1858949" y="2689608"/>
                      <a:pt x="1853534" y="2696603"/>
                    </a:cubicBezTo>
                    <a:cubicBezTo>
                      <a:pt x="1849247" y="2702244"/>
                      <a:pt x="1839093" y="2706532"/>
                      <a:pt x="1830744" y="2709916"/>
                    </a:cubicBezTo>
                    <a:cubicBezTo>
                      <a:pt x="1826456" y="2711722"/>
                      <a:pt x="1822169" y="2713527"/>
                      <a:pt x="1820815" y="2714655"/>
                    </a:cubicBezTo>
                    <a:cubicBezTo>
                      <a:pt x="1819236" y="2716235"/>
                      <a:pt x="1815400" y="2718491"/>
                      <a:pt x="1809984" y="2721876"/>
                    </a:cubicBezTo>
                    <a:cubicBezTo>
                      <a:pt x="1801184" y="2727291"/>
                      <a:pt x="1789451" y="2734738"/>
                      <a:pt x="1785614" y="2739702"/>
                    </a:cubicBezTo>
                    <a:cubicBezTo>
                      <a:pt x="1779522" y="2748276"/>
                      <a:pt x="1776137" y="2757528"/>
                      <a:pt x="1777040" y="2764297"/>
                    </a:cubicBezTo>
                    <a:cubicBezTo>
                      <a:pt x="1777266" y="2767005"/>
                      <a:pt x="1778619" y="2768810"/>
                      <a:pt x="1779973" y="2769036"/>
                    </a:cubicBezTo>
                    <a:cubicBezTo>
                      <a:pt x="1781327" y="2769261"/>
                      <a:pt x="1783358" y="2767907"/>
                      <a:pt x="1785163" y="2763846"/>
                    </a:cubicBezTo>
                    <a:cubicBezTo>
                      <a:pt x="1785840" y="2762041"/>
                      <a:pt x="1786968" y="2760461"/>
                      <a:pt x="1788548" y="2760235"/>
                    </a:cubicBezTo>
                    <a:cubicBezTo>
                      <a:pt x="1789451" y="2760235"/>
                      <a:pt x="1790353" y="2760687"/>
                      <a:pt x="1790804" y="2761589"/>
                    </a:cubicBezTo>
                    <a:cubicBezTo>
                      <a:pt x="1792835" y="2764748"/>
                      <a:pt x="1791707" y="2777610"/>
                      <a:pt x="1788773" y="2782574"/>
                    </a:cubicBezTo>
                    <a:cubicBezTo>
                      <a:pt x="1784938" y="2789344"/>
                      <a:pt x="1779748" y="2793180"/>
                      <a:pt x="1775009" y="2792503"/>
                    </a:cubicBezTo>
                    <a:cubicBezTo>
                      <a:pt x="1774332" y="2792503"/>
                      <a:pt x="1773655" y="2792277"/>
                      <a:pt x="1772527" y="2792052"/>
                    </a:cubicBezTo>
                    <a:cubicBezTo>
                      <a:pt x="1763952" y="2790246"/>
                      <a:pt x="1763050" y="2791149"/>
                      <a:pt x="1762824" y="2791600"/>
                    </a:cubicBezTo>
                    <a:cubicBezTo>
                      <a:pt x="1762373" y="2793180"/>
                      <a:pt x="1762599" y="2795436"/>
                      <a:pt x="1763727" y="2796565"/>
                    </a:cubicBezTo>
                    <a:cubicBezTo>
                      <a:pt x="1765081" y="2797918"/>
                      <a:pt x="1767337" y="2797693"/>
                      <a:pt x="1768917" y="2797241"/>
                    </a:cubicBezTo>
                    <a:cubicBezTo>
                      <a:pt x="1774332" y="2795888"/>
                      <a:pt x="1776589" y="2794308"/>
                      <a:pt x="1778845" y="2792729"/>
                    </a:cubicBezTo>
                    <a:cubicBezTo>
                      <a:pt x="1779748" y="2792052"/>
                      <a:pt x="1780650" y="2791375"/>
                      <a:pt x="1781553" y="2790923"/>
                    </a:cubicBezTo>
                    <a:cubicBezTo>
                      <a:pt x="1783132" y="2790021"/>
                      <a:pt x="1784035" y="2790698"/>
                      <a:pt x="1784486" y="2791375"/>
                    </a:cubicBezTo>
                    <a:cubicBezTo>
                      <a:pt x="1787194" y="2794985"/>
                      <a:pt x="1770722" y="2813488"/>
                      <a:pt x="1764629" y="2819129"/>
                    </a:cubicBezTo>
                    <a:cubicBezTo>
                      <a:pt x="1758537" y="2824545"/>
                      <a:pt x="1749060" y="2827027"/>
                      <a:pt x="1739808" y="2829283"/>
                    </a:cubicBezTo>
                    <a:cubicBezTo>
                      <a:pt x="1731685" y="2831314"/>
                      <a:pt x="1723787" y="2833345"/>
                      <a:pt x="1719500" y="2837181"/>
                    </a:cubicBezTo>
                    <a:cubicBezTo>
                      <a:pt x="1712054" y="2843724"/>
                      <a:pt x="1697161" y="2843724"/>
                      <a:pt x="1685202" y="2843950"/>
                    </a:cubicBezTo>
                    <a:cubicBezTo>
                      <a:pt x="1679786" y="2843950"/>
                      <a:pt x="1675273" y="2843950"/>
                      <a:pt x="1672340" y="2844627"/>
                    </a:cubicBezTo>
                    <a:cubicBezTo>
                      <a:pt x="1670309" y="2845078"/>
                      <a:pt x="1668278" y="2845304"/>
                      <a:pt x="1666473" y="2845530"/>
                    </a:cubicBezTo>
                    <a:cubicBezTo>
                      <a:pt x="1659253" y="2846432"/>
                      <a:pt x="1653837" y="2847109"/>
                      <a:pt x="1649776" y="2854330"/>
                    </a:cubicBezTo>
                    <a:cubicBezTo>
                      <a:pt x="1647970" y="2857715"/>
                      <a:pt x="1647745" y="2858843"/>
                      <a:pt x="1647745" y="2860197"/>
                    </a:cubicBezTo>
                    <a:cubicBezTo>
                      <a:pt x="1647519" y="2863356"/>
                      <a:pt x="1646616" y="2866064"/>
                      <a:pt x="1636462" y="2877797"/>
                    </a:cubicBezTo>
                    <a:cubicBezTo>
                      <a:pt x="1630596" y="2884567"/>
                      <a:pt x="1626308" y="2888854"/>
                      <a:pt x="1623149" y="2891787"/>
                    </a:cubicBezTo>
                    <a:cubicBezTo>
                      <a:pt x="1617959" y="2896977"/>
                      <a:pt x="1616831" y="2898105"/>
                      <a:pt x="1616831" y="2902844"/>
                    </a:cubicBezTo>
                    <a:cubicBezTo>
                      <a:pt x="1616831" y="2912321"/>
                      <a:pt x="1614575" y="2915931"/>
                      <a:pt x="1609611" y="2922701"/>
                    </a:cubicBezTo>
                    <a:cubicBezTo>
                      <a:pt x="1604421" y="2929921"/>
                      <a:pt x="1590882" y="2926762"/>
                      <a:pt x="1585692" y="2925634"/>
                    </a:cubicBezTo>
                    <a:cubicBezTo>
                      <a:pt x="1585241" y="2925408"/>
                      <a:pt x="1584789" y="2925408"/>
                      <a:pt x="1584564" y="2925408"/>
                    </a:cubicBezTo>
                    <a:cubicBezTo>
                      <a:pt x="1582759" y="2924957"/>
                      <a:pt x="1581856" y="2923378"/>
                      <a:pt x="1580502" y="2921347"/>
                    </a:cubicBezTo>
                    <a:cubicBezTo>
                      <a:pt x="1578471" y="2917737"/>
                      <a:pt x="1575764" y="2912998"/>
                      <a:pt x="1567866" y="2912998"/>
                    </a:cubicBezTo>
                    <a:cubicBezTo>
                      <a:pt x="1555004" y="2912998"/>
                      <a:pt x="1525219" y="2928342"/>
                      <a:pt x="1519352" y="2940075"/>
                    </a:cubicBezTo>
                    <a:cubicBezTo>
                      <a:pt x="1517095" y="2944588"/>
                      <a:pt x="1516644" y="2948199"/>
                      <a:pt x="1516193" y="2952035"/>
                    </a:cubicBezTo>
                    <a:cubicBezTo>
                      <a:pt x="1515516" y="2958353"/>
                      <a:pt x="1514614" y="2964897"/>
                      <a:pt x="1505136" y="2973922"/>
                    </a:cubicBezTo>
                    <a:cubicBezTo>
                      <a:pt x="1500398" y="2978435"/>
                      <a:pt x="1496562" y="2981594"/>
                      <a:pt x="1493628" y="2983851"/>
                    </a:cubicBezTo>
                    <a:cubicBezTo>
                      <a:pt x="1487762" y="2988589"/>
                      <a:pt x="1485731" y="2990169"/>
                      <a:pt x="1485731" y="2995584"/>
                    </a:cubicBezTo>
                    <a:cubicBezTo>
                      <a:pt x="1485731" y="2998067"/>
                      <a:pt x="1485505" y="3001226"/>
                      <a:pt x="1485279" y="3004836"/>
                    </a:cubicBezTo>
                    <a:cubicBezTo>
                      <a:pt x="1484377" y="3015667"/>
                      <a:pt x="1483249" y="3032139"/>
                      <a:pt x="1487085" y="3046580"/>
                    </a:cubicBezTo>
                    <a:cubicBezTo>
                      <a:pt x="1489567" y="3056057"/>
                      <a:pt x="1492726" y="3063730"/>
                      <a:pt x="1495433" y="3070499"/>
                    </a:cubicBezTo>
                    <a:cubicBezTo>
                      <a:pt x="1498367" y="3077720"/>
                      <a:pt x="1501075" y="3084038"/>
                      <a:pt x="1501977" y="3090807"/>
                    </a:cubicBezTo>
                    <a:cubicBezTo>
                      <a:pt x="1502880" y="3096900"/>
                      <a:pt x="1500849" y="3102541"/>
                      <a:pt x="1498592" y="3108633"/>
                    </a:cubicBezTo>
                    <a:cubicBezTo>
                      <a:pt x="1496111" y="3115854"/>
                      <a:pt x="1493403" y="3123300"/>
                      <a:pt x="1494982" y="3132777"/>
                    </a:cubicBezTo>
                    <a:cubicBezTo>
                      <a:pt x="1496336" y="3140224"/>
                      <a:pt x="1496336" y="3146542"/>
                      <a:pt x="1496562" y="3152183"/>
                    </a:cubicBezTo>
                    <a:cubicBezTo>
                      <a:pt x="1496787" y="3160080"/>
                      <a:pt x="1496787" y="3165721"/>
                      <a:pt x="1500172" y="3168880"/>
                    </a:cubicBezTo>
                    <a:cubicBezTo>
                      <a:pt x="1506941" y="3175650"/>
                      <a:pt x="1511454" y="3197312"/>
                      <a:pt x="1510777" y="3207917"/>
                    </a:cubicBezTo>
                    <a:cubicBezTo>
                      <a:pt x="1509649" y="3225969"/>
                      <a:pt x="1511906" y="3240636"/>
                      <a:pt x="1517095" y="3249888"/>
                    </a:cubicBezTo>
                    <a:cubicBezTo>
                      <a:pt x="1524542" y="3263201"/>
                      <a:pt x="1527701" y="3273355"/>
                      <a:pt x="1522962" y="3288924"/>
                    </a:cubicBezTo>
                    <a:cubicBezTo>
                      <a:pt x="1520932" y="3295468"/>
                      <a:pt x="1517773" y="3299530"/>
                      <a:pt x="1514839" y="3303817"/>
                    </a:cubicBezTo>
                    <a:cubicBezTo>
                      <a:pt x="1510777" y="3309458"/>
                      <a:pt x="1507167" y="3314197"/>
                      <a:pt x="1507167" y="3324125"/>
                    </a:cubicBezTo>
                    <a:cubicBezTo>
                      <a:pt x="1507167" y="3330669"/>
                      <a:pt x="1507844" y="3334054"/>
                      <a:pt x="1508295" y="3336536"/>
                    </a:cubicBezTo>
                    <a:cubicBezTo>
                      <a:pt x="1509198" y="3341500"/>
                      <a:pt x="1509424" y="3344208"/>
                      <a:pt x="1505813" y="3355716"/>
                    </a:cubicBezTo>
                    <a:cubicBezTo>
                      <a:pt x="1500172" y="3373993"/>
                      <a:pt x="1498141" y="3378506"/>
                      <a:pt x="1491372" y="3392270"/>
                    </a:cubicBezTo>
                    <a:cubicBezTo>
                      <a:pt x="1485279" y="3404229"/>
                      <a:pt x="1473997" y="3420250"/>
                      <a:pt x="1460910" y="3434692"/>
                    </a:cubicBezTo>
                    <a:cubicBezTo>
                      <a:pt x="1457299" y="3438753"/>
                      <a:pt x="1453463" y="3441461"/>
                      <a:pt x="1450079" y="3443943"/>
                    </a:cubicBezTo>
                    <a:cubicBezTo>
                      <a:pt x="1443309" y="3448682"/>
                      <a:pt x="1439022" y="3451841"/>
                      <a:pt x="1440150" y="3462220"/>
                    </a:cubicBezTo>
                    <a:cubicBezTo>
                      <a:pt x="1441053" y="3469441"/>
                      <a:pt x="1442858" y="3477790"/>
                      <a:pt x="1444663" y="3486139"/>
                    </a:cubicBezTo>
                    <a:cubicBezTo>
                      <a:pt x="1447145" y="3497647"/>
                      <a:pt x="1449402" y="3507350"/>
                      <a:pt x="1448274" y="3511863"/>
                    </a:cubicBezTo>
                    <a:lnTo>
                      <a:pt x="1448048" y="3512314"/>
                    </a:lnTo>
                    <a:cubicBezTo>
                      <a:pt x="1446243" y="3518858"/>
                      <a:pt x="1444663" y="3524499"/>
                      <a:pt x="1448725" y="3531042"/>
                    </a:cubicBezTo>
                    <a:cubicBezTo>
                      <a:pt x="1454140" y="3540294"/>
                      <a:pt x="1457074" y="3558346"/>
                      <a:pt x="1457074" y="3580910"/>
                    </a:cubicBezTo>
                    <a:cubicBezTo>
                      <a:pt x="1457074" y="3592418"/>
                      <a:pt x="1456622" y="3601218"/>
                      <a:pt x="1456171" y="3609116"/>
                    </a:cubicBezTo>
                    <a:cubicBezTo>
                      <a:pt x="1455720" y="3618368"/>
                      <a:pt x="1455268" y="3625814"/>
                      <a:pt x="1455945" y="3633486"/>
                    </a:cubicBezTo>
                    <a:lnTo>
                      <a:pt x="1455945" y="3633937"/>
                    </a:lnTo>
                    <a:cubicBezTo>
                      <a:pt x="1457299" y="3649056"/>
                      <a:pt x="1459104" y="3669815"/>
                      <a:pt x="1456397" y="3678164"/>
                    </a:cubicBezTo>
                    <a:lnTo>
                      <a:pt x="1456171" y="3678615"/>
                    </a:lnTo>
                    <a:cubicBezTo>
                      <a:pt x="1454366" y="3684707"/>
                      <a:pt x="1453012" y="3688544"/>
                      <a:pt x="1450079" y="3690123"/>
                    </a:cubicBezTo>
                    <a:cubicBezTo>
                      <a:pt x="1448725" y="3690800"/>
                      <a:pt x="1446920" y="3690800"/>
                      <a:pt x="1445114" y="3690123"/>
                    </a:cubicBezTo>
                    <a:cubicBezTo>
                      <a:pt x="1443986" y="3689672"/>
                      <a:pt x="1442858" y="3689221"/>
                      <a:pt x="1441730" y="3688544"/>
                    </a:cubicBezTo>
                    <a:cubicBezTo>
                      <a:pt x="1436766" y="3686287"/>
                      <a:pt x="1429996" y="3683128"/>
                      <a:pt x="1418488" y="3683128"/>
                    </a:cubicBezTo>
                    <a:cubicBezTo>
                      <a:pt x="1416006" y="3683128"/>
                      <a:pt x="1413298" y="3683128"/>
                      <a:pt x="1410816" y="3683128"/>
                    </a:cubicBezTo>
                    <a:cubicBezTo>
                      <a:pt x="1399083" y="3682903"/>
                      <a:pt x="1388026" y="3682677"/>
                      <a:pt x="1382610" y="3688318"/>
                    </a:cubicBezTo>
                    <a:cubicBezTo>
                      <a:pt x="1375841" y="3695539"/>
                      <a:pt x="1374939" y="3698021"/>
                      <a:pt x="1372231" y="3709980"/>
                    </a:cubicBezTo>
                    <a:lnTo>
                      <a:pt x="1371779" y="3712236"/>
                    </a:lnTo>
                    <a:cubicBezTo>
                      <a:pt x="1369297" y="3723068"/>
                      <a:pt x="1367267" y="3731868"/>
                      <a:pt x="1357789" y="3741345"/>
                    </a:cubicBezTo>
                    <a:cubicBezTo>
                      <a:pt x="1347861" y="3751273"/>
                      <a:pt x="1331840" y="3776771"/>
                      <a:pt x="1328681" y="3787602"/>
                    </a:cubicBezTo>
                    <a:cubicBezTo>
                      <a:pt x="1325748" y="3797756"/>
                      <a:pt x="1333194" y="3813100"/>
                      <a:pt x="1339286" y="3816936"/>
                    </a:cubicBezTo>
                    <a:cubicBezTo>
                      <a:pt x="1340415" y="3817613"/>
                      <a:pt x="1341317" y="3818290"/>
                      <a:pt x="1342220" y="3818741"/>
                    </a:cubicBezTo>
                    <a:cubicBezTo>
                      <a:pt x="1346281" y="3821449"/>
                      <a:pt x="1347861" y="3822352"/>
                      <a:pt x="1353728" y="3823254"/>
                    </a:cubicBezTo>
                    <a:cubicBezTo>
                      <a:pt x="1356661" y="3823706"/>
                      <a:pt x="1358015" y="3824834"/>
                      <a:pt x="1358241" y="3825962"/>
                    </a:cubicBezTo>
                    <a:cubicBezTo>
                      <a:pt x="1358692" y="3827090"/>
                      <a:pt x="1358466" y="3828444"/>
                      <a:pt x="1357564" y="3829347"/>
                    </a:cubicBezTo>
                    <a:cubicBezTo>
                      <a:pt x="1355307" y="3832280"/>
                      <a:pt x="1348087" y="3834311"/>
                      <a:pt x="1337481" y="3832506"/>
                    </a:cubicBezTo>
                    <a:cubicBezTo>
                      <a:pt x="1334548" y="3832054"/>
                      <a:pt x="1332291" y="3831603"/>
                      <a:pt x="1330035" y="3831152"/>
                    </a:cubicBezTo>
                    <a:cubicBezTo>
                      <a:pt x="1319655" y="3829347"/>
                      <a:pt x="1317173" y="3828895"/>
                      <a:pt x="1311758" y="3831377"/>
                    </a:cubicBezTo>
                    <a:cubicBezTo>
                      <a:pt x="1308824" y="3832732"/>
                      <a:pt x="1305439" y="3833860"/>
                      <a:pt x="1301604" y="3835214"/>
                    </a:cubicBezTo>
                    <a:cubicBezTo>
                      <a:pt x="1295737" y="3837244"/>
                      <a:pt x="1288967" y="3839727"/>
                      <a:pt x="1282649" y="3843111"/>
                    </a:cubicBezTo>
                    <a:cubicBezTo>
                      <a:pt x="1274526" y="3847624"/>
                      <a:pt x="1271141" y="3848075"/>
                      <a:pt x="1265726" y="3848978"/>
                    </a:cubicBezTo>
                    <a:cubicBezTo>
                      <a:pt x="1264146" y="3849204"/>
                      <a:pt x="1262115" y="3849429"/>
                      <a:pt x="1259859" y="3849881"/>
                    </a:cubicBezTo>
                    <a:cubicBezTo>
                      <a:pt x="1246771" y="3852588"/>
                      <a:pt x="1227592" y="3859809"/>
                      <a:pt x="1226012" y="3867706"/>
                    </a:cubicBezTo>
                    <a:cubicBezTo>
                      <a:pt x="1225109" y="3872671"/>
                      <a:pt x="1223079" y="3876732"/>
                      <a:pt x="1221048" y="3880568"/>
                    </a:cubicBezTo>
                    <a:cubicBezTo>
                      <a:pt x="1218791" y="3885081"/>
                      <a:pt x="1216535" y="3889369"/>
                      <a:pt x="1216761" y="3894107"/>
                    </a:cubicBezTo>
                    <a:cubicBezTo>
                      <a:pt x="1216986" y="3898620"/>
                      <a:pt x="1216761" y="3902682"/>
                      <a:pt x="1216309" y="3906743"/>
                    </a:cubicBezTo>
                    <a:cubicBezTo>
                      <a:pt x="1216084" y="3911482"/>
                      <a:pt x="1215632" y="3915995"/>
                      <a:pt x="1216084" y="3920733"/>
                    </a:cubicBezTo>
                    <a:cubicBezTo>
                      <a:pt x="1216986" y="3929985"/>
                      <a:pt x="1214278" y="3935626"/>
                      <a:pt x="1208637" y="3942847"/>
                    </a:cubicBezTo>
                    <a:cubicBezTo>
                      <a:pt x="1202996" y="3950067"/>
                      <a:pt x="1199386" y="3954580"/>
                      <a:pt x="1196001" y="3955709"/>
                    </a:cubicBezTo>
                    <a:cubicBezTo>
                      <a:pt x="1193745" y="3956611"/>
                      <a:pt x="1155836" y="3977822"/>
                      <a:pt x="1149969" y="3982561"/>
                    </a:cubicBezTo>
                    <a:cubicBezTo>
                      <a:pt x="1145456" y="3986396"/>
                      <a:pt x="1142749" y="3990232"/>
                      <a:pt x="1142072" y="3993617"/>
                    </a:cubicBezTo>
                    <a:cubicBezTo>
                      <a:pt x="1142072" y="3994294"/>
                      <a:pt x="1141620" y="3994971"/>
                      <a:pt x="1140943" y="3995422"/>
                    </a:cubicBezTo>
                    <a:cubicBezTo>
                      <a:pt x="1140943" y="3991361"/>
                      <a:pt x="1140041" y="3991586"/>
                      <a:pt x="1138687" y="3991586"/>
                    </a:cubicBezTo>
                    <a:close/>
                    <a:moveTo>
                      <a:pt x="701836" y="3039360"/>
                    </a:moveTo>
                    <a:cubicBezTo>
                      <a:pt x="701836" y="3039360"/>
                      <a:pt x="702062" y="3039585"/>
                      <a:pt x="702062" y="3039585"/>
                    </a:cubicBezTo>
                    <a:cubicBezTo>
                      <a:pt x="702739" y="3040262"/>
                      <a:pt x="703641" y="3040939"/>
                      <a:pt x="704769" y="3041842"/>
                    </a:cubicBezTo>
                    <a:cubicBezTo>
                      <a:pt x="710862" y="3046580"/>
                      <a:pt x="715826" y="3050868"/>
                      <a:pt x="716729" y="3054253"/>
                    </a:cubicBezTo>
                    <a:cubicBezTo>
                      <a:pt x="717180" y="3055832"/>
                      <a:pt x="717406" y="3058088"/>
                      <a:pt x="717857" y="3060345"/>
                    </a:cubicBezTo>
                    <a:cubicBezTo>
                      <a:pt x="718308" y="3063504"/>
                      <a:pt x="718759" y="3067114"/>
                      <a:pt x="719662" y="3069145"/>
                    </a:cubicBezTo>
                    <a:cubicBezTo>
                      <a:pt x="720339" y="3070725"/>
                      <a:pt x="722144" y="3071853"/>
                      <a:pt x="724401" y="3072981"/>
                    </a:cubicBezTo>
                    <a:cubicBezTo>
                      <a:pt x="725980" y="3073884"/>
                      <a:pt x="727560" y="3074561"/>
                      <a:pt x="728914" y="3075914"/>
                    </a:cubicBezTo>
                    <a:cubicBezTo>
                      <a:pt x="732750" y="3079299"/>
                      <a:pt x="734329" y="3084038"/>
                      <a:pt x="733652" y="3086745"/>
                    </a:cubicBezTo>
                    <a:cubicBezTo>
                      <a:pt x="733652" y="3087197"/>
                      <a:pt x="733426" y="3087648"/>
                      <a:pt x="733201" y="3088550"/>
                    </a:cubicBezTo>
                    <a:cubicBezTo>
                      <a:pt x="732298" y="3091258"/>
                      <a:pt x="730493" y="3096223"/>
                      <a:pt x="731847" y="3099382"/>
                    </a:cubicBezTo>
                    <a:cubicBezTo>
                      <a:pt x="733652" y="3104120"/>
                      <a:pt x="735683" y="3110213"/>
                      <a:pt x="735232" y="3115854"/>
                    </a:cubicBezTo>
                    <a:cubicBezTo>
                      <a:pt x="734780" y="3120141"/>
                      <a:pt x="735006" y="3121044"/>
                      <a:pt x="736586" y="3126233"/>
                    </a:cubicBezTo>
                    <a:lnTo>
                      <a:pt x="737037" y="3127813"/>
                    </a:lnTo>
                    <a:cubicBezTo>
                      <a:pt x="738165" y="3131423"/>
                      <a:pt x="739970" y="3135485"/>
                      <a:pt x="741775" y="3139998"/>
                    </a:cubicBezTo>
                    <a:cubicBezTo>
                      <a:pt x="743355" y="3143608"/>
                      <a:pt x="744934" y="3147219"/>
                      <a:pt x="746288" y="3151280"/>
                    </a:cubicBezTo>
                    <a:cubicBezTo>
                      <a:pt x="747868" y="3155342"/>
                      <a:pt x="750124" y="3158726"/>
                      <a:pt x="751929" y="3161660"/>
                    </a:cubicBezTo>
                    <a:cubicBezTo>
                      <a:pt x="754186" y="3165044"/>
                      <a:pt x="756217" y="3168204"/>
                      <a:pt x="756217" y="3171137"/>
                    </a:cubicBezTo>
                    <a:cubicBezTo>
                      <a:pt x="756217" y="3176101"/>
                      <a:pt x="756894" y="3183322"/>
                      <a:pt x="761632" y="3193250"/>
                    </a:cubicBezTo>
                    <a:cubicBezTo>
                      <a:pt x="765468" y="3201374"/>
                      <a:pt x="765694" y="3205435"/>
                      <a:pt x="765694" y="3210625"/>
                    </a:cubicBezTo>
                    <a:cubicBezTo>
                      <a:pt x="765694" y="3212656"/>
                      <a:pt x="765694" y="3214687"/>
                      <a:pt x="765920" y="3217395"/>
                    </a:cubicBezTo>
                    <a:cubicBezTo>
                      <a:pt x="766597" y="3223487"/>
                      <a:pt x="766145" y="3227774"/>
                      <a:pt x="765694" y="3232061"/>
                    </a:cubicBezTo>
                    <a:cubicBezTo>
                      <a:pt x="765468" y="3234995"/>
                      <a:pt x="765017" y="3237928"/>
                      <a:pt x="765017" y="3241538"/>
                    </a:cubicBezTo>
                    <a:cubicBezTo>
                      <a:pt x="765017" y="3245826"/>
                      <a:pt x="766822" y="3252144"/>
                      <a:pt x="768627" y="3258011"/>
                    </a:cubicBezTo>
                    <a:cubicBezTo>
                      <a:pt x="770432" y="3263878"/>
                      <a:pt x="772238" y="3269970"/>
                      <a:pt x="772463" y="3274709"/>
                    </a:cubicBezTo>
                    <a:cubicBezTo>
                      <a:pt x="772689" y="3280801"/>
                      <a:pt x="776525" y="3292535"/>
                      <a:pt x="779910" y="3302914"/>
                    </a:cubicBezTo>
                    <a:cubicBezTo>
                      <a:pt x="781489" y="3307879"/>
                      <a:pt x="783069" y="3312391"/>
                      <a:pt x="784197" y="3316228"/>
                    </a:cubicBezTo>
                    <a:cubicBezTo>
                      <a:pt x="785325" y="3320064"/>
                      <a:pt x="786679" y="3324351"/>
                      <a:pt x="788033" y="3328864"/>
                    </a:cubicBezTo>
                    <a:cubicBezTo>
                      <a:pt x="790966" y="3338341"/>
                      <a:pt x="793900" y="3348043"/>
                      <a:pt x="795479" y="3356393"/>
                    </a:cubicBezTo>
                    <a:cubicBezTo>
                      <a:pt x="796833" y="3363613"/>
                      <a:pt x="801120" y="3370834"/>
                      <a:pt x="805408" y="3378054"/>
                    </a:cubicBezTo>
                    <a:cubicBezTo>
                      <a:pt x="808115" y="3382793"/>
                      <a:pt x="810823" y="3387306"/>
                      <a:pt x="812854" y="3391819"/>
                    </a:cubicBezTo>
                    <a:cubicBezTo>
                      <a:pt x="817367" y="3402876"/>
                      <a:pt x="842188" y="3440107"/>
                      <a:pt x="847829" y="3447779"/>
                    </a:cubicBezTo>
                    <a:cubicBezTo>
                      <a:pt x="853922" y="3456128"/>
                      <a:pt x="862270" y="3466734"/>
                      <a:pt x="865429" y="3470118"/>
                    </a:cubicBezTo>
                    <a:lnTo>
                      <a:pt x="866558" y="3471246"/>
                    </a:lnTo>
                    <a:cubicBezTo>
                      <a:pt x="869717" y="3474405"/>
                      <a:pt x="871973" y="3476436"/>
                      <a:pt x="873327" y="3484108"/>
                    </a:cubicBezTo>
                    <a:cubicBezTo>
                      <a:pt x="874681" y="3491554"/>
                      <a:pt x="880096" y="3501032"/>
                      <a:pt x="884609" y="3503965"/>
                    </a:cubicBezTo>
                    <a:cubicBezTo>
                      <a:pt x="888671" y="3506447"/>
                      <a:pt x="890702" y="3511863"/>
                      <a:pt x="892733" y="3517053"/>
                    </a:cubicBezTo>
                    <a:cubicBezTo>
                      <a:pt x="893635" y="3519309"/>
                      <a:pt x="894538" y="3521565"/>
                      <a:pt x="895440" y="3523371"/>
                    </a:cubicBezTo>
                    <a:cubicBezTo>
                      <a:pt x="898825" y="3529914"/>
                      <a:pt x="906497" y="3548869"/>
                      <a:pt x="911687" y="3568048"/>
                    </a:cubicBezTo>
                    <a:cubicBezTo>
                      <a:pt x="914620" y="3579331"/>
                      <a:pt x="915297" y="3583393"/>
                      <a:pt x="915974" y="3587228"/>
                    </a:cubicBezTo>
                    <a:cubicBezTo>
                      <a:pt x="916426" y="3589936"/>
                      <a:pt x="916877" y="3592870"/>
                      <a:pt x="918231" y="3598511"/>
                    </a:cubicBezTo>
                    <a:cubicBezTo>
                      <a:pt x="921390" y="3611824"/>
                      <a:pt x="923646" y="3617691"/>
                      <a:pt x="937862" y="3650409"/>
                    </a:cubicBezTo>
                    <a:lnTo>
                      <a:pt x="941923" y="3659887"/>
                    </a:lnTo>
                    <a:cubicBezTo>
                      <a:pt x="952980" y="3685159"/>
                      <a:pt x="957042" y="3694636"/>
                      <a:pt x="960426" y="3709529"/>
                    </a:cubicBezTo>
                    <a:cubicBezTo>
                      <a:pt x="962457" y="3718329"/>
                      <a:pt x="962683" y="3728032"/>
                      <a:pt x="963134" y="3738186"/>
                    </a:cubicBezTo>
                    <a:cubicBezTo>
                      <a:pt x="963360" y="3747211"/>
                      <a:pt x="963586" y="3756689"/>
                      <a:pt x="965165" y="3766166"/>
                    </a:cubicBezTo>
                    <a:cubicBezTo>
                      <a:pt x="969227" y="3790536"/>
                      <a:pt x="974191" y="3807233"/>
                      <a:pt x="981412" y="3818516"/>
                    </a:cubicBezTo>
                    <a:cubicBezTo>
                      <a:pt x="987730" y="3828670"/>
                      <a:pt x="992468" y="3843788"/>
                      <a:pt x="995627" y="3853716"/>
                    </a:cubicBezTo>
                    <a:cubicBezTo>
                      <a:pt x="996756" y="3857327"/>
                      <a:pt x="997884" y="3860711"/>
                      <a:pt x="998561" y="3862517"/>
                    </a:cubicBezTo>
                    <a:cubicBezTo>
                      <a:pt x="999915" y="3865676"/>
                      <a:pt x="1002622" y="3868609"/>
                      <a:pt x="1005330" y="3871542"/>
                    </a:cubicBezTo>
                    <a:cubicBezTo>
                      <a:pt x="1008264" y="3874702"/>
                      <a:pt x="1010971" y="3877861"/>
                      <a:pt x="1011874" y="3881020"/>
                    </a:cubicBezTo>
                    <a:cubicBezTo>
                      <a:pt x="1013228" y="3886210"/>
                      <a:pt x="1029700" y="3913964"/>
                      <a:pt x="1043239" y="3925698"/>
                    </a:cubicBezTo>
                    <a:cubicBezTo>
                      <a:pt x="1048654" y="3930436"/>
                      <a:pt x="1051588" y="3933821"/>
                      <a:pt x="1054070" y="3936754"/>
                    </a:cubicBezTo>
                    <a:cubicBezTo>
                      <a:pt x="1057906" y="3941267"/>
                      <a:pt x="1061290" y="3945329"/>
                      <a:pt x="1073250" y="3952775"/>
                    </a:cubicBezTo>
                    <a:cubicBezTo>
                      <a:pt x="1085209" y="3960447"/>
                      <a:pt x="1091527" y="3967216"/>
                      <a:pt x="1096265" y="3971955"/>
                    </a:cubicBezTo>
                    <a:cubicBezTo>
                      <a:pt x="1099199" y="3975114"/>
                      <a:pt x="1101230" y="3977370"/>
                      <a:pt x="1103712" y="3978499"/>
                    </a:cubicBezTo>
                    <a:cubicBezTo>
                      <a:pt x="1105066" y="3979176"/>
                      <a:pt x="1106194" y="3979853"/>
                      <a:pt x="1107096" y="3980304"/>
                    </a:cubicBezTo>
                    <a:cubicBezTo>
                      <a:pt x="1110481" y="3982109"/>
                      <a:pt x="1111158" y="3982335"/>
                      <a:pt x="1116348" y="3983012"/>
                    </a:cubicBezTo>
                    <a:cubicBezTo>
                      <a:pt x="1118830" y="3983237"/>
                      <a:pt x="1122440" y="3984140"/>
                      <a:pt x="1126051" y="3985268"/>
                    </a:cubicBezTo>
                    <a:cubicBezTo>
                      <a:pt x="1130112" y="3986396"/>
                      <a:pt x="1136656" y="3987976"/>
                      <a:pt x="1138687" y="3987750"/>
                    </a:cubicBezTo>
                    <a:cubicBezTo>
                      <a:pt x="1139364" y="3984817"/>
                      <a:pt x="1141395" y="3980304"/>
                      <a:pt x="1147713" y="3974888"/>
                    </a:cubicBezTo>
                    <a:cubicBezTo>
                      <a:pt x="1153580" y="3969924"/>
                      <a:pt x="1191714" y="3948262"/>
                      <a:pt x="1194873" y="3947359"/>
                    </a:cubicBezTo>
                    <a:cubicBezTo>
                      <a:pt x="1197355" y="3946457"/>
                      <a:pt x="1201642" y="3941041"/>
                      <a:pt x="1205704" y="3935852"/>
                    </a:cubicBezTo>
                    <a:cubicBezTo>
                      <a:pt x="1210894" y="3929308"/>
                      <a:pt x="1213150" y="3924569"/>
                      <a:pt x="1212473" y="3916446"/>
                    </a:cubicBezTo>
                    <a:cubicBezTo>
                      <a:pt x="1212022" y="3911482"/>
                      <a:pt x="1212248" y="3906518"/>
                      <a:pt x="1212699" y="3901779"/>
                    </a:cubicBezTo>
                    <a:cubicBezTo>
                      <a:pt x="1212925" y="3897717"/>
                      <a:pt x="1213150" y="3893656"/>
                      <a:pt x="1212925" y="3889594"/>
                    </a:cubicBezTo>
                    <a:cubicBezTo>
                      <a:pt x="1212699" y="3883953"/>
                      <a:pt x="1215181" y="3878989"/>
                      <a:pt x="1217663" y="3874250"/>
                    </a:cubicBezTo>
                    <a:cubicBezTo>
                      <a:pt x="1219694" y="3870640"/>
                      <a:pt x="1221499" y="3866804"/>
                      <a:pt x="1222402" y="3862291"/>
                    </a:cubicBezTo>
                    <a:cubicBezTo>
                      <a:pt x="1224884" y="3848527"/>
                      <a:pt x="1258731" y="3841532"/>
                      <a:pt x="1259182" y="3841532"/>
                    </a:cubicBezTo>
                    <a:cubicBezTo>
                      <a:pt x="1261438" y="3841080"/>
                      <a:pt x="1263469" y="3840855"/>
                      <a:pt x="1265049" y="3840403"/>
                    </a:cubicBezTo>
                    <a:cubicBezTo>
                      <a:pt x="1270013" y="3839727"/>
                      <a:pt x="1273172" y="3839050"/>
                      <a:pt x="1280618" y="3834988"/>
                    </a:cubicBezTo>
                    <a:cubicBezTo>
                      <a:pt x="1287162" y="3831377"/>
                      <a:pt x="1293932" y="3829121"/>
                      <a:pt x="1300024" y="3826865"/>
                    </a:cubicBezTo>
                    <a:cubicBezTo>
                      <a:pt x="1303634" y="3825511"/>
                      <a:pt x="1307245" y="3824382"/>
                      <a:pt x="1309952" y="3823029"/>
                    </a:cubicBezTo>
                    <a:cubicBezTo>
                      <a:pt x="1316270" y="3820095"/>
                      <a:pt x="1319655" y="3820546"/>
                      <a:pt x="1330486" y="3822577"/>
                    </a:cubicBezTo>
                    <a:cubicBezTo>
                      <a:pt x="1332517" y="3823029"/>
                      <a:pt x="1334999" y="3823480"/>
                      <a:pt x="1337933" y="3823931"/>
                    </a:cubicBezTo>
                    <a:cubicBezTo>
                      <a:pt x="1347861" y="3825511"/>
                      <a:pt x="1353051" y="3823480"/>
                      <a:pt x="1354179" y="3822352"/>
                    </a:cubicBezTo>
                    <a:cubicBezTo>
                      <a:pt x="1353953" y="3822352"/>
                      <a:pt x="1353502" y="3822126"/>
                      <a:pt x="1352825" y="3822126"/>
                    </a:cubicBezTo>
                    <a:cubicBezTo>
                      <a:pt x="1346056" y="3821223"/>
                      <a:pt x="1344025" y="3819870"/>
                      <a:pt x="1339738" y="3817162"/>
                    </a:cubicBezTo>
                    <a:cubicBezTo>
                      <a:pt x="1338835" y="3816711"/>
                      <a:pt x="1337933" y="3816034"/>
                      <a:pt x="1337030" y="3815357"/>
                    </a:cubicBezTo>
                    <a:cubicBezTo>
                      <a:pt x="1329809" y="3810618"/>
                      <a:pt x="1321460" y="3793695"/>
                      <a:pt x="1325071" y="3781735"/>
                    </a:cubicBezTo>
                    <a:cubicBezTo>
                      <a:pt x="1328455" y="3770453"/>
                      <a:pt x="1344928" y="3744052"/>
                      <a:pt x="1355082" y="3733898"/>
                    </a:cubicBezTo>
                    <a:cubicBezTo>
                      <a:pt x="1363882" y="3725098"/>
                      <a:pt x="1365687" y="3717201"/>
                      <a:pt x="1368169" y="3706595"/>
                    </a:cubicBezTo>
                    <a:lnTo>
                      <a:pt x="1368620" y="3704339"/>
                    </a:lnTo>
                    <a:cubicBezTo>
                      <a:pt x="1371554" y="3692154"/>
                      <a:pt x="1372456" y="3688995"/>
                      <a:pt x="1379903" y="3680871"/>
                    </a:cubicBezTo>
                    <a:cubicBezTo>
                      <a:pt x="1386446" y="3674102"/>
                      <a:pt x="1398180" y="3674328"/>
                      <a:pt x="1410816" y="3674553"/>
                    </a:cubicBezTo>
                    <a:cubicBezTo>
                      <a:pt x="1413298" y="3674553"/>
                      <a:pt x="1415780" y="3674553"/>
                      <a:pt x="1418263" y="3674553"/>
                    </a:cubicBezTo>
                    <a:cubicBezTo>
                      <a:pt x="1430673" y="3674553"/>
                      <a:pt x="1438119" y="3677938"/>
                      <a:pt x="1443084" y="3680420"/>
                    </a:cubicBezTo>
                    <a:cubicBezTo>
                      <a:pt x="1444212" y="3680871"/>
                      <a:pt x="1445340" y="3681548"/>
                      <a:pt x="1446243" y="3681774"/>
                    </a:cubicBezTo>
                    <a:cubicBezTo>
                      <a:pt x="1447597" y="3682225"/>
                      <a:pt x="1448048" y="3682000"/>
                      <a:pt x="1448274" y="3682000"/>
                    </a:cubicBezTo>
                    <a:cubicBezTo>
                      <a:pt x="1449853" y="3681323"/>
                      <a:pt x="1450981" y="3677261"/>
                      <a:pt x="1452335" y="3672748"/>
                    </a:cubicBezTo>
                    <a:lnTo>
                      <a:pt x="1452561" y="3672297"/>
                    </a:lnTo>
                    <a:cubicBezTo>
                      <a:pt x="1455043" y="3664625"/>
                      <a:pt x="1453012" y="3643414"/>
                      <a:pt x="1451884" y="3629424"/>
                    </a:cubicBezTo>
                    <a:lnTo>
                      <a:pt x="1451884" y="3628973"/>
                    </a:lnTo>
                    <a:cubicBezTo>
                      <a:pt x="1451207" y="3621075"/>
                      <a:pt x="1451658" y="3613629"/>
                      <a:pt x="1452109" y="3604152"/>
                    </a:cubicBezTo>
                    <a:cubicBezTo>
                      <a:pt x="1452561" y="3596480"/>
                      <a:pt x="1453012" y="3587454"/>
                      <a:pt x="1453012" y="3576172"/>
                    </a:cubicBezTo>
                    <a:cubicBezTo>
                      <a:pt x="1453012" y="3554735"/>
                      <a:pt x="1450079" y="3536684"/>
                      <a:pt x="1445114" y="3528335"/>
                    </a:cubicBezTo>
                    <a:cubicBezTo>
                      <a:pt x="1440376" y="3520212"/>
                      <a:pt x="1442407" y="3513442"/>
                      <a:pt x="1444212" y="3506673"/>
                    </a:cubicBezTo>
                    <a:lnTo>
                      <a:pt x="1444438" y="3506222"/>
                    </a:lnTo>
                    <a:cubicBezTo>
                      <a:pt x="1445340" y="3502611"/>
                      <a:pt x="1443084" y="3492457"/>
                      <a:pt x="1440827" y="3482303"/>
                    </a:cubicBezTo>
                    <a:cubicBezTo>
                      <a:pt x="1439022" y="3473954"/>
                      <a:pt x="1436991" y="3465379"/>
                      <a:pt x="1436314" y="3457933"/>
                    </a:cubicBezTo>
                    <a:cubicBezTo>
                      <a:pt x="1434960" y="3445523"/>
                      <a:pt x="1440827" y="3441235"/>
                      <a:pt x="1447822" y="3436271"/>
                    </a:cubicBezTo>
                    <a:cubicBezTo>
                      <a:pt x="1450981" y="3434015"/>
                      <a:pt x="1454592" y="3431307"/>
                      <a:pt x="1457976" y="3427697"/>
                    </a:cubicBezTo>
                    <a:cubicBezTo>
                      <a:pt x="1470838" y="3413481"/>
                      <a:pt x="1481895" y="3397911"/>
                      <a:pt x="1487762" y="3386178"/>
                    </a:cubicBezTo>
                    <a:cubicBezTo>
                      <a:pt x="1494531" y="3372413"/>
                      <a:pt x="1496336" y="3368126"/>
                      <a:pt x="1501977" y="3350075"/>
                    </a:cubicBezTo>
                    <a:cubicBezTo>
                      <a:pt x="1505362" y="3339018"/>
                      <a:pt x="1505136" y="3337213"/>
                      <a:pt x="1504234" y="3332700"/>
                    </a:cubicBezTo>
                    <a:cubicBezTo>
                      <a:pt x="1503782" y="3329992"/>
                      <a:pt x="1503106" y="3326382"/>
                      <a:pt x="1503106" y="3319612"/>
                    </a:cubicBezTo>
                    <a:cubicBezTo>
                      <a:pt x="1503106" y="3308555"/>
                      <a:pt x="1507393" y="3302689"/>
                      <a:pt x="1511680" y="3297048"/>
                    </a:cubicBezTo>
                    <a:cubicBezTo>
                      <a:pt x="1514614" y="3293212"/>
                      <a:pt x="1517547" y="3289150"/>
                      <a:pt x="1519352" y="3283283"/>
                    </a:cubicBezTo>
                    <a:cubicBezTo>
                      <a:pt x="1523865" y="3268842"/>
                      <a:pt x="1521157" y="3259816"/>
                      <a:pt x="1513936" y="3247180"/>
                    </a:cubicBezTo>
                    <a:cubicBezTo>
                      <a:pt x="1506716" y="3234769"/>
                      <a:pt x="1506265" y="3216266"/>
                      <a:pt x="1507167" y="3203179"/>
                    </a:cubicBezTo>
                    <a:cubicBezTo>
                      <a:pt x="1507844" y="3193702"/>
                      <a:pt x="1503557" y="3172942"/>
                      <a:pt x="1497690" y="3167076"/>
                    </a:cubicBezTo>
                    <a:cubicBezTo>
                      <a:pt x="1493403" y="3162788"/>
                      <a:pt x="1493177" y="3156244"/>
                      <a:pt x="1492951" y="3147896"/>
                    </a:cubicBezTo>
                    <a:cubicBezTo>
                      <a:pt x="1492726" y="3142480"/>
                      <a:pt x="1492726" y="3136162"/>
                      <a:pt x="1491372" y="3129167"/>
                    </a:cubicBezTo>
                    <a:cubicBezTo>
                      <a:pt x="1489567" y="3118561"/>
                      <a:pt x="1492500" y="3110438"/>
                      <a:pt x="1495208" y="3102992"/>
                    </a:cubicBezTo>
                    <a:cubicBezTo>
                      <a:pt x="1497239" y="3097125"/>
                      <a:pt x="1499044" y="3092161"/>
                      <a:pt x="1498367" y="3086971"/>
                    </a:cubicBezTo>
                    <a:cubicBezTo>
                      <a:pt x="1497464" y="3080879"/>
                      <a:pt x="1494982" y="3074786"/>
                      <a:pt x="1492049" y="3067566"/>
                    </a:cubicBezTo>
                    <a:cubicBezTo>
                      <a:pt x="1489115" y="3060571"/>
                      <a:pt x="1485956" y="3052898"/>
                      <a:pt x="1483474" y="3043196"/>
                    </a:cubicBezTo>
                    <a:cubicBezTo>
                      <a:pt x="1479638" y="3028303"/>
                      <a:pt x="1480767" y="3011380"/>
                      <a:pt x="1481669" y="3000323"/>
                    </a:cubicBezTo>
                    <a:cubicBezTo>
                      <a:pt x="1481895" y="2996713"/>
                      <a:pt x="1482120" y="2993554"/>
                      <a:pt x="1482120" y="2991297"/>
                    </a:cubicBezTo>
                    <a:cubicBezTo>
                      <a:pt x="1482120" y="2984077"/>
                      <a:pt x="1485279" y="2981594"/>
                      <a:pt x="1491372" y="2976630"/>
                    </a:cubicBezTo>
                    <a:cubicBezTo>
                      <a:pt x="1494305" y="2974148"/>
                      <a:pt x="1497916" y="2971215"/>
                      <a:pt x="1502654" y="2966927"/>
                    </a:cubicBezTo>
                    <a:cubicBezTo>
                      <a:pt x="1511229" y="2958804"/>
                      <a:pt x="1511680" y="2953389"/>
                      <a:pt x="1512583" y="2947296"/>
                    </a:cubicBezTo>
                    <a:cubicBezTo>
                      <a:pt x="1513034" y="2943234"/>
                      <a:pt x="1513485" y="2939173"/>
                      <a:pt x="1516193" y="2934209"/>
                    </a:cubicBezTo>
                    <a:cubicBezTo>
                      <a:pt x="1522737" y="2921347"/>
                      <a:pt x="1553876" y="2904875"/>
                      <a:pt x="1568092" y="2904875"/>
                    </a:cubicBezTo>
                    <a:cubicBezTo>
                      <a:pt x="1578246" y="2904875"/>
                      <a:pt x="1581856" y="2911193"/>
                      <a:pt x="1583887" y="2915254"/>
                    </a:cubicBezTo>
                    <a:cubicBezTo>
                      <a:pt x="1584338" y="2916157"/>
                      <a:pt x="1585015" y="2917285"/>
                      <a:pt x="1585466" y="2917511"/>
                    </a:cubicBezTo>
                    <a:cubicBezTo>
                      <a:pt x="1585692" y="2917511"/>
                      <a:pt x="1586143" y="2917737"/>
                      <a:pt x="1586595" y="2917737"/>
                    </a:cubicBezTo>
                    <a:cubicBezTo>
                      <a:pt x="1590656" y="2918639"/>
                      <a:pt x="1602841" y="2921572"/>
                      <a:pt x="1606677" y="2916383"/>
                    </a:cubicBezTo>
                    <a:cubicBezTo>
                      <a:pt x="1611641" y="2909613"/>
                      <a:pt x="1613221" y="2906905"/>
                      <a:pt x="1613221" y="2898782"/>
                    </a:cubicBezTo>
                    <a:cubicBezTo>
                      <a:pt x="1613221" y="2892464"/>
                      <a:pt x="1615252" y="2890433"/>
                      <a:pt x="1620667" y="2885018"/>
                    </a:cubicBezTo>
                    <a:cubicBezTo>
                      <a:pt x="1623826" y="2882084"/>
                      <a:pt x="1627888" y="2878023"/>
                      <a:pt x="1633755" y="2871253"/>
                    </a:cubicBezTo>
                    <a:cubicBezTo>
                      <a:pt x="1643683" y="2859745"/>
                      <a:pt x="1643909" y="2857715"/>
                      <a:pt x="1644134" y="2855684"/>
                    </a:cubicBezTo>
                    <a:cubicBezTo>
                      <a:pt x="1644360" y="2854104"/>
                      <a:pt x="1644360" y="2852299"/>
                      <a:pt x="1646616" y="2848238"/>
                    </a:cubicBezTo>
                    <a:cubicBezTo>
                      <a:pt x="1651581" y="2839437"/>
                      <a:pt x="1658576" y="2838535"/>
                      <a:pt x="1666022" y="2837406"/>
                    </a:cubicBezTo>
                    <a:cubicBezTo>
                      <a:pt x="1667827" y="2837181"/>
                      <a:pt x="1669632" y="2836955"/>
                      <a:pt x="1671663" y="2836504"/>
                    </a:cubicBezTo>
                    <a:cubicBezTo>
                      <a:pt x="1675048" y="2835827"/>
                      <a:pt x="1679786" y="2835827"/>
                      <a:pt x="1685202" y="2835827"/>
                    </a:cubicBezTo>
                    <a:cubicBezTo>
                      <a:pt x="1696710" y="2835827"/>
                      <a:pt x="1710700" y="2835601"/>
                      <a:pt x="1717244" y="2829960"/>
                    </a:cubicBezTo>
                    <a:cubicBezTo>
                      <a:pt x="1722434" y="2825447"/>
                      <a:pt x="1730557" y="2823416"/>
                      <a:pt x="1739131" y="2821160"/>
                    </a:cubicBezTo>
                    <a:cubicBezTo>
                      <a:pt x="1747706" y="2818903"/>
                      <a:pt x="1756732" y="2816647"/>
                      <a:pt x="1762373" y="2811683"/>
                    </a:cubicBezTo>
                    <a:cubicBezTo>
                      <a:pt x="1768917" y="2806042"/>
                      <a:pt x="1774783" y="2798370"/>
                      <a:pt x="1778394" y="2793180"/>
                    </a:cubicBezTo>
                    <a:cubicBezTo>
                      <a:pt x="1776363" y="2794308"/>
                      <a:pt x="1773881" y="2795436"/>
                      <a:pt x="1770045" y="2796339"/>
                    </a:cubicBezTo>
                    <a:cubicBezTo>
                      <a:pt x="1765306" y="2797467"/>
                      <a:pt x="1762599" y="2796113"/>
                      <a:pt x="1761245" y="2794534"/>
                    </a:cubicBezTo>
                    <a:cubicBezTo>
                      <a:pt x="1758763" y="2792052"/>
                      <a:pt x="1758763" y="2788441"/>
                      <a:pt x="1759440" y="2785959"/>
                    </a:cubicBezTo>
                    <a:cubicBezTo>
                      <a:pt x="1760568" y="2781221"/>
                      <a:pt x="1768240" y="2782574"/>
                      <a:pt x="1773430" y="2783703"/>
                    </a:cubicBezTo>
                    <a:cubicBezTo>
                      <a:pt x="1774332" y="2783928"/>
                      <a:pt x="1775009" y="2783928"/>
                      <a:pt x="1775686" y="2784154"/>
                    </a:cubicBezTo>
                    <a:cubicBezTo>
                      <a:pt x="1778168" y="2784605"/>
                      <a:pt x="1782230" y="2782123"/>
                      <a:pt x="1785614" y="2776256"/>
                    </a:cubicBezTo>
                    <a:cubicBezTo>
                      <a:pt x="1787645" y="2772872"/>
                      <a:pt x="1788322" y="2765877"/>
                      <a:pt x="1788097" y="2761815"/>
                    </a:cubicBezTo>
                    <a:cubicBezTo>
                      <a:pt x="1784712" y="2768359"/>
                      <a:pt x="1780876" y="2768584"/>
                      <a:pt x="1779296" y="2768359"/>
                    </a:cubicBezTo>
                    <a:cubicBezTo>
                      <a:pt x="1776137" y="2767907"/>
                      <a:pt x="1773881" y="2764748"/>
                      <a:pt x="1773204" y="2760461"/>
                    </a:cubicBezTo>
                    <a:cubicBezTo>
                      <a:pt x="1772301" y="2752789"/>
                      <a:pt x="1775686" y="2742635"/>
                      <a:pt x="1782455" y="2733384"/>
                    </a:cubicBezTo>
                    <a:cubicBezTo>
                      <a:pt x="1786517" y="2727742"/>
                      <a:pt x="1798476" y="2720296"/>
                      <a:pt x="1807954" y="2714429"/>
                    </a:cubicBezTo>
                    <a:cubicBezTo>
                      <a:pt x="1812466" y="2711496"/>
                      <a:pt x="1816754" y="2709014"/>
                      <a:pt x="1818108" y="2707660"/>
                    </a:cubicBezTo>
                    <a:cubicBezTo>
                      <a:pt x="1819913" y="2705855"/>
                      <a:pt x="1823749" y="2704275"/>
                      <a:pt x="1829164" y="2702019"/>
                    </a:cubicBezTo>
                    <a:cubicBezTo>
                      <a:pt x="1836836" y="2698860"/>
                      <a:pt x="1846539" y="2694798"/>
                      <a:pt x="1850375" y="2689834"/>
                    </a:cubicBezTo>
                    <a:cubicBezTo>
                      <a:pt x="1856242" y="2682388"/>
                      <a:pt x="1876550" y="2670654"/>
                      <a:pt x="1888509" y="2663433"/>
                    </a:cubicBezTo>
                    <a:cubicBezTo>
                      <a:pt x="1890766" y="2662079"/>
                      <a:pt x="1892571" y="2660951"/>
                      <a:pt x="1894150" y="2660274"/>
                    </a:cubicBezTo>
                    <a:cubicBezTo>
                      <a:pt x="1900694" y="2656213"/>
                      <a:pt x="1903853" y="2650346"/>
                      <a:pt x="1907915" y="2642674"/>
                    </a:cubicBezTo>
                    <a:cubicBezTo>
                      <a:pt x="1909269" y="2640192"/>
                      <a:pt x="1910622" y="2637484"/>
                      <a:pt x="1912202" y="2634776"/>
                    </a:cubicBezTo>
                    <a:cubicBezTo>
                      <a:pt x="1916264" y="2627781"/>
                      <a:pt x="1922130" y="2622817"/>
                      <a:pt x="1928223" y="2617627"/>
                    </a:cubicBezTo>
                    <a:cubicBezTo>
                      <a:pt x="1932510" y="2614017"/>
                      <a:pt x="1937023" y="2610181"/>
                      <a:pt x="1941536" y="2605442"/>
                    </a:cubicBezTo>
                    <a:cubicBezTo>
                      <a:pt x="1953270" y="2592806"/>
                      <a:pt x="1986891" y="2576560"/>
                      <a:pt x="2002460" y="2571144"/>
                    </a:cubicBezTo>
                    <a:cubicBezTo>
                      <a:pt x="2013517" y="2567308"/>
                      <a:pt x="2014645" y="2563246"/>
                      <a:pt x="2017127" y="2555349"/>
                    </a:cubicBezTo>
                    <a:cubicBezTo>
                      <a:pt x="2017804" y="2552641"/>
                      <a:pt x="2018707" y="2549482"/>
                      <a:pt x="2020286" y="2545872"/>
                    </a:cubicBezTo>
                    <a:cubicBezTo>
                      <a:pt x="2023671" y="2537297"/>
                      <a:pt x="2032246" y="2528271"/>
                      <a:pt x="2040369" y="2519697"/>
                    </a:cubicBezTo>
                    <a:cubicBezTo>
                      <a:pt x="2046236" y="2513604"/>
                      <a:pt x="2051651" y="2507737"/>
                      <a:pt x="2055262" y="2502322"/>
                    </a:cubicBezTo>
                    <a:cubicBezTo>
                      <a:pt x="2058646" y="2497132"/>
                      <a:pt x="2064513" y="2490363"/>
                      <a:pt x="2070831" y="2483142"/>
                    </a:cubicBezTo>
                    <a:cubicBezTo>
                      <a:pt x="2080083" y="2472762"/>
                      <a:pt x="2090462" y="2460803"/>
                      <a:pt x="2090688" y="2455839"/>
                    </a:cubicBezTo>
                    <a:cubicBezTo>
                      <a:pt x="2091139" y="2448618"/>
                      <a:pt x="2092268" y="2447039"/>
                      <a:pt x="2096780" y="2443203"/>
                    </a:cubicBezTo>
                    <a:cubicBezTo>
                      <a:pt x="2098360" y="2441849"/>
                      <a:pt x="2100391" y="2440044"/>
                      <a:pt x="2102873" y="2437561"/>
                    </a:cubicBezTo>
                    <a:cubicBezTo>
                      <a:pt x="2105581" y="2434854"/>
                      <a:pt x="2108289" y="2432372"/>
                      <a:pt x="2110996" y="2429664"/>
                    </a:cubicBezTo>
                    <a:cubicBezTo>
                      <a:pt x="2117991" y="2423120"/>
                      <a:pt x="2124535" y="2417028"/>
                      <a:pt x="2128371" y="2410484"/>
                    </a:cubicBezTo>
                    <a:cubicBezTo>
                      <a:pt x="2131304" y="2405745"/>
                      <a:pt x="2134915" y="2403489"/>
                      <a:pt x="2138300" y="2401684"/>
                    </a:cubicBezTo>
                    <a:cubicBezTo>
                      <a:pt x="2142135" y="2399427"/>
                      <a:pt x="2145294" y="2397622"/>
                      <a:pt x="2147551" y="2392432"/>
                    </a:cubicBezTo>
                    <a:cubicBezTo>
                      <a:pt x="2150484" y="2385663"/>
                      <a:pt x="2161767" y="2381150"/>
                      <a:pt x="2173500" y="2376411"/>
                    </a:cubicBezTo>
                    <a:cubicBezTo>
                      <a:pt x="2181849" y="2373027"/>
                      <a:pt x="2190649" y="2369642"/>
                      <a:pt x="2196065" y="2365355"/>
                    </a:cubicBezTo>
                    <a:cubicBezTo>
                      <a:pt x="2204865" y="2358360"/>
                      <a:pt x="2213665" y="2355878"/>
                      <a:pt x="2224722" y="2352719"/>
                    </a:cubicBezTo>
                    <a:cubicBezTo>
                      <a:pt x="2230589" y="2351139"/>
                      <a:pt x="2237132" y="2349108"/>
                      <a:pt x="2244804" y="2346175"/>
                    </a:cubicBezTo>
                    <a:cubicBezTo>
                      <a:pt x="2259246" y="2340759"/>
                      <a:pt x="2274815" y="2334216"/>
                      <a:pt x="2284292" y="2330605"/>
                    </a:cubicBezTo>
                    <a:cubicBezTo>
                      <a:pt x="2288805" y="2328800"/>
                      <a:pt x="2291964" y="2327446"/>
                      <a:pt x="2292867" y="2327221"/>
                    </a:cubicBezTo>
                    <a:cubicBezTo>
                      <a:pt x="2294221" y="2326769"/>
                      <a:pt x="2297606" y="2321579"/>
                      <a:pt x="2299185" y="2318646"/>
                    </a:cubicBezTo>
                    <a:cubicBezTo>
                      <a:pt x="2299862" y="2317518"/>
                      <a:pt x="2300539" y="2316390"/>
                      <a:pt x="2301216" y="2315487"/>
                    </a:cubicBezTo>
                    <a:cubicBezTo>
                      <a:pt x="2301893" y="2314359"/>
                      <a:pt x="2302796" y="2312554"/>
                      <a:pt x="2303924" y="2310523"/>
                    </a:cubicBezTo>
                    <a:cubicBezTo>
                      <a:pt x="2307083" y="2304430"/>
                      <a:pt x="2311596" y="2296081"/>
                      <a:pt x="2316560" y="2292697"/>
                    </a:cubicBezTo>
                    <a:cubicBezTo>
                      <a:pt x="2318591" y="2291343"/>
                      <a:pt x="2321750" y="2289538"/>
                      <a:pt x="2325134" y="2287281"/>
                    </a:cubicBezTo>
                    <a:cubicBezTo>
                      <a:pt x="2332129" y="2282994"/>
                      <a:pt x="2340704" y="2277578"/>
                      <a:pt x="2343186" y="2275322"/>
                    </a:cubicBezTo>
                    <a:cubicBezTo>
                      <a:pt x="2345668" y="2272840"/>
                      <a:pt x="2344540" y="2269230"/>
                      <a:pt x="2341832" y="2264040"/>
                    </a:cubicBezTo>
                    <a:cubicBezTo>
                      <a:pt x="2339124" y="2259076"/>
                      <a:pt x="2340253" y="2255916"/>
                      <a:pt x="2341381" y="2252081"/>
                    </a:cubicBezTo>
                    <a:lnTo>
                      <a:pt x="2341607" y="2251629"/>
                    </a:lnTo>
                    <a:cubicBezTo>
                      <a:pt x="2342961" y="2247342"/>
                      <a:pt x="2346120" y="2244408"/>
                      <a:pt x="2353566" y="2236962"/>
                    </a:cubicBezTo>
                    <a:cubicBezTo>
                      <a:pt x="2357402" y="2233352"/>
                      <a:pt x="2360561" y="2231321"/>
                      <a:pt x="2363494" y="2229290"/>
                    </a:cubicBezTo>
                    <a:cubicBezTo>
                      <a:pt x="2366202" y="2227485"/>
                      <a:pt x="2368458" y="2226131"/>
                      <a:pt x="2370264" y="2223875"/>
                    </a:cubicBezTo>
                    <a:cubicBezTo>
                      <a:pt x="2372971" y="2220264"/>
                      <a:pt x="2371618" y="2218685"/>
                      <a:pt x="2369361" y="2216203"/>
                    </a:cubicBezTo>
                    <a:cubicBezTo>
                      <a:pt x="2368684" y="2215526"/>
                      <a:pt x="2367782" y="2215526"/>
                      <a:pt x="2365525" y="2215977"/>
                    </a:cubicBezTo>
                    <a:cubicBezTo>
                      <a:pt x="2363720" y="2216203"/>
                      <a:pt x="2361464" y="2216428"/>
                      <a:pt x="2358756" y="2216203"/>
                    </a:cubicBezTo>
                    <a:cubicBezTo>
                      <a:pt x="2357402" y="2215977"/>
                      <a:pt x="2355145" y="2215752"/>
                      <a:pt x="2354920" y="2213946"/>
                    </a:cubicBezTo>
                    <a:cubicBezTo>
                      <a:pt x="2354694" y="2212141"/>
                      <a:pt x="2356499" y="2211238"/>
                      <a:pt x="2359433" y="2210110"/>
                    </a:cubicBezTo>
                    <a:cubicBezTo>
                      <a:pt x="2361012" y="2209433"/>
                      <a:pt x="2362592" y="2208756"/>
                      <a:pt x="2363946" y="2208079"/>
                    </a:cubicBezTo>
                    <a:cubicBezTo>
                      <a:pt x="2367782" y="2205823"/>
                      <a:pt x="2367782" y="2205823"/>
                      <a:pt x="2367782" y="2202664"/>
                    </a:cubicBezTo>
                    <a:cubicBezTo>
                      <a:pt x="2367782" y="2201084"/>
                      <a:pt x="2367330" y="2200633"/>
                      <a:pt x="2365074" y="2197925"/>
                    </a:cubicBezTo>
                    <a:cubicBezTo>
                      <a:pt x="2363043" y="2195669"/>
                      <a:pt x="2360110" y="2192059"/>
                      <a:pt x="2355822" y="2185515"/>
                    </a:cubicBezTo>
                    <a:lnTo>
                      <a:pt x="2355145" y="2184387"/>
                    </a:lnTo>
                    <a:cubicBezTo>
                      <a:pt x="2345668" y="2170397"/>
                      <a:pt x="2339576" y="2161145"/>
                      <a:pt x="2349504" y="2143770"/>
                    </a:cubicBezTo>
                    <a:cubicBezTo>
                      <a:pt x="2359433" y="2126396"/>
                      <a:pt x="2381772" y="2106539"/>
                      <a:pt x="2389218" y="2104959"/>
                    </a:cubicBezTo>
                    <a:cubicBezTo>
                      <a:pt x="2392377" y="2104282"/>
                      <a:pt x="2395085" y="2104508"/>
                      <a:pt x="2397793" y="2104959"/>
                    </a:cubicBezTo>
                    <a:cubicBezTo>
                      <a:pt x="2401403" y="2105411"/>
                      <a:pt x="2405013" y="2105862"/>
                      <a:pt x="2410203" y="2103831"/>
                    </a:cubicBezTo>
                    <a:cubicBezTo>
                      <a:pt x="2419229" y="2100221"/>
                      <a:pt x="2423742" y="2095256"/>
                      <a:pt x="2423967" y="2095256"/>
                    </a:cubicBezTo>
                    <a:lnTo>
                      <a:pt x="2424419" y="2094805"/>
                    </a:lnTo>
                    <a:lnTo>
                      <a:pt x="2425096" y="2094805"/>
                    </a:lnTo>
                    <a:cubicBezTo>
                      <a:pt x="2440891" y="2093226"/>
                      <a:pt x="2443824" y="2092097"/>
                      <a:pt x="2449691" y="2089841"/>
                    </a:cubicBezTo>
                    <a:cubicBezTo>
                      <a:pt x="2451271" y="2089164"/>
                      <a:pt x="2453301" y="2088487"/>
                      <a:pt x="2455784" y="2087584"/>
                    </a:cubicBezTo>
                    <a:cubicBezTo>
                      <a:pt x="2463907" y="2084877"/>
                      <a:pt x="2464132" y="2084651"/>
                      <a:pt x="2466163" y="2081492"/>
                    </a:cubicBezTo>
                    <a:cubicBezTo>
                      <a:pt x="2466840" y="2080364"/>
                      <a:pt x="2467743" y="2079010"/>
                      <a:pt x="2469322" y="2077205"/>
                    </a:cubicBezTo>
                    <a:cubicBezTo>
                      <a:pt x="2470450" y="2075851"/>
                      <a:pt x="2472030" y="2074046"/>
                      <a:pt x="2473610" y="2072015"/>
                    </a:cubicBezTo>
                    <a:cubicBezTo>
                      <a:pt x="2480379" y="2063892"/>
                      <a:pt x="2490533" y="2051932"/>
                      <a:pt x="2492113" y="2044486"/>
                    </a:cubicBezTo>
                    <a:cubicBezTo>
                      <a:pt x="2493466" y="2038394"/>
                      <a:pt x="2497302" y="2036137"/>
                      <a:pt x="2500687" y="2034332"/>
                    </a:cubicBezTo>
                    <a:cubicBezTo>
                      <a:pt x="2503395" y="2032978"/>
                      <a:pt x="2505651" y="2031624"/>
                      <a:pt x="2507005" y="2028691"/>
                    </a:cubicBezTo>
                    <a:cubicBezTo>
                      <a:pt x="2508810" y="2024855"/>
                      <a:pt x="2508134" y="2024178"/>
                      <a:pt x="2506554" y="2022147"/>
                    </a:cubicBezTo>
                    <a:cubicBezTo>
                      <a:pt x="2505426" y="2020793"/>
                      <a:pt x="2503846" y="2019214"/>
                      <a:pt x="2502944" y="2016280"/>
                    </a:cubicBezTo>
                    <a:cubicBezTo>
                      <a:pt x="2501815" y="2012895"/>
                      <a:pt x="2502718" y="2011542"/>
                      <a:pt x="2503846" y="2010865"/>
                    </a:cubicBezTo>
                    <a:cubicBezTo>
                      <a:pt x="2507005" y="2009060"/>
                      <a:pt x="2513098" y="2013798"/>
                      <a:pt x="2514000" y="2014926"/>
                    </a:cubicBezTo>
                    <a:cubicBezTo>
                      <a:pt x="2514226" y="2015378"/>
                      <a:pt x="2515354" y="2016055"/>
                      <a:pt x="2516257" y="2016506"/>
                    </a:cubicBezTo>
                    <a:cubicBezTo>
                      <a:pt x="2518062" y="2017634"/>
                      <a:pt x="2520093" y="2018988"/>
                      <a:pt x="2521221" y="2020793"/>
                    </a:cubicBezTo>
                    <a:cubicBezTo>
                      <a:pt x="2523026" y="2023501"/>
                      <a:pt x="2521898" y="2025306"/>
                      <a:pt x="2520995" y="2027111"/>
                    </a:cubicBezTo>
                    <a:cubicBezTo>
                      <a:pt x="2520544" y="2027788"/>
                      <a:pt x="2520093" y="2028691"/>
                      <a:pt x="2519641" y="2030045"/>
                    </a:cubicBezTo>
                    <a:lnTo>
                      <a:pt x="2519416" y="2030947"/>
                    </a:lnTo>
                    <a:cubicBezTo>
                      <a:pt x="2517836" y="2034783"/>
                      <a:pt x="2516708" y="2038168"/>
                      <a:pt x="2513323" y="2043583"/>
                    </a:cubicBezTo>
                    <a:cubicBezTo>
                      <a:pt x="2511969" y="2045840"/>
                      <a:pt x="2512646" y="2047645"/>
                      <a:pt x="2514000" y="2050353"/>
                    </a:cubicBezTo>
                    <a:cubicBezTo>
                      <a:pt x="2515128" y="2052384"/>
                      <a:pt x="2516257" y="2054640"/>
                      <a:pt x="2514903" y="2056897"/>
                    </a:cubicBezTo>
                    <a:cubicBezTo>
                      <a:pt x="2514677" y="2057122"/>
                      <a:pt x="2514677" y="2057573"/>
                      <a:pt x="2514903" y="2058025"/>
                    </a:cubicBezTo>
                    <a:cubicBezTo>
                      <a:pt x="2515580" y="2059830"/>
                      <a:pt x="2518062" y="2061861"/>
                      <a:pt x="2518739" y="2062086"/>
                    </a:cubicBezTo>
                    <a:cubicBezTo>
                      <a:pt x="2520544" y="2062312"/>
                      <a:pt x="2521447" y="2062538"/>
                      <a:pt x="2529570" y="2065697"/>
                    </a:cubicBezTo>
                    <a:cubicBezTo>
                      <a:pt x="2534534" y="2067502"/>
                      <a:pt x="2534760" y="2067276"/>
                      <a:pt x="2536565" y="2065922"/>
                    </a:cubicBezTo>
                    <a:cubicBezTo>
                      <a:pt x="2537242" y="2065245"/>
                      <a:pt x="2538370" y="2064568"/>
                      <a:pt x="2539724" y="2063666"/>
                    </a:cubicBezTo>
                    <a:cubicBezTo>
                      <a:pt x="2543334" y="2061635"/>
                      <a:pt x="2543334" y="2061635"/>
                      <a:pt x="2544688" y="2059604"/>
                    </a:cubicBezTo>
                    <a:cubicBezTo>
                      <a:pt x="2545139" y="2058927"/>
                      <a:pt x="2545591" y="2058250"/>
                      <a:pt x="2546493" y="2057122"/>
                    </a:cubicBezTo>
                    <a:cubicBezTo>
                      <a:pt x="2548298" y="2054640"/>
                      <a:pt x="2550104" y="2053738"/>
                      <a:pt x="2551232" y="2053060"/>
                    </a:cubicBezTo>
                    <a:cubicBezTo>
                      <a:pt x="2552360" y="2052384"/>
                      <a:pt x="2552360" y="2052384"/>
                      <a:pt x="2552360" y="2051481"/>
                    </a:cubicBezTo>
                    <a:cubicBezTo>
                      <a:pt x="2552360" y="2048096"/>
                      <a:pt x="2553940" y="2046968"/>
                      <a:pt x="2555519" y="2045614"/>
                    </a:cubicBezTo>
                    <a:cubicBezTo>
                      <a:pt x="2556422" y="2044937"/>
                      <a:pt x="2557324" y="2044260"/>
                      <a:pt x="2558453" y="2042906"/>
                    </a:cubicBezTo>
                    <a:cubicBezTo>
                      <a:pt x="2561160" y="2039747"/>
                      <a:pt x="2561386" y="2038168"/>
                      <a:pt x="2561612" y="2032978"/>
                    </a:cubicBezTo>
                    <a:lnTo>
                      <a:pt x="2561837" y="2030947"/>
                    </a:lnTo>
                    <a:cubicBezTo>
                      <a:pt x="2562063" y="2028239"/>
                      <a:pt x="2562514" y="2026886"/>
                      <a:pt x="2563417" y="2025983"/>
                    </a:cubicBezTo>
                    <a:cubicBezTo>
                      <a:pt x="2564319" y="2025306"/>
                      <a:pt x="2565448" y="2025306"/>
                      <a:pt x="2566125" y="2025532"/>
                    </a:cubicBezTo>
                    <a:cubicBezTo>
                      <a:pt x="2567930" y="2021921"/>
                      <a:pt x="2570637" y="2023050"/>
                      <a:pt x="2572443" y="2023727"/>
                    </a:cubicBezTo>
                    <a:cubicBezTo>
                      <a:pt x="2573571" y="2024178"/>
                      <a:pt x="2574925" y="2024629"/>
                      <a:pt x="2576504" y="2024629"/>
                    </a:cubicBezTo>
                    <a:cubicBezTo>
                      <a:pt x="2582145" y="2024629"/>
                      <a:pt x="2583048" y="2026209"/>
                      <a:pt x="2583048" y="2030270"/>
                    </a:cubicBezTo>
                    <a:cubicBezTo>
                      <a:pt x="2583048" y="2034557"/>
                      <a:pt x="2584176" y="2037717"/>
                      <a:pt x="2585756" y="2039071"/>
                    </a:cubicBezTo>
                    <a:cubicBezTo>
                      <a:pt x="2587787" y="2040424"/>
                      <a:pt x="2590494" y="2040424"/>
                      <a:pt x="2595233" y="2040424"/>
                    </a:cubicBezTo>
                    <a:cubicBezTo>
                      <a:pt x="2596587" y="2040424"/>
                      <a:pt x="2597941" y="2040424"/>
                      <a:pt x="2599520" y="2040424"/>
                    </a:cubicBezTo>
                    <a:cubicBezTo>
                      <a:pt x="2603356" y="2040424"/>
                      <a:pt x="2605838" y="2041553"/>
                      <a:pt x="2607643" y="2042230"/>
                    </a:cubicBezTo>
                    <a:cubicBezTo>
                      <a:pt x="2609674" y="2043132"/>
                      <a:pt x="2610802" y="2043583"/>
                      <a:pt x="2613736" y="2042681"/>
                    </a:cubicBezTo>
                    <a:cubicBezTo>
                      <a:pt x="2616669" y="2041778"/>
                      <a:pt x="2616895" y="2040650"/>
                      <a:pt x="2617120" y="2038168"/>
                    </a:cubicBezTo>
                    <a:cubicBezTo>
                      <a:pt x="2617346" y="2036588"/>
                      <a:pt x="2617572" y="2034332"/>
                      <a:pt x="2618700" y="2032301"/>
                    </a:cubicBezTo>
                    <a:cubicBezTo>
                      <a:pt x="2620505" y="2029368"/>
                      <a:pt x="2620280" y="2028916"/>
                      <a:pt x="2619151" y="2027111"/>
                    </a:cubicBezTo>
                    <a:cubicBezTo>
                      <a:pt x="2618926" y="2026660"/>
                      <a:pt x="2618474" y="2025983"/>
                      <a:pt x="2618249" y="2025306"/>
                    </a:cubicBezTo>
                    <a:cubicBezTo>
                      <a:pt x="2616895" y="2022373"/>
                      <a:pt x="2617120" y="2019665"/>
                      <a:pt x="2617346" y="2016280"/>
                    </a:cubicBezTo>
                    <a:cubicBezTo>
                      <a:pt x="2617346" y="2014926"/>
                      <a:pt x="2617572" y="2013347"/>
                      <a:pt x="2617572" y="2011542"/>
                    </a:cubicBezTo>
                    <a:cubicBezTo>
                      <a:pt x="2617572" y="2006352"/>
                      <a:pt x="2616895" y="2003418"/>
                      <a:pt x="2609674" y="1999808"/>
                    </a:cubicBezTo>
                    <a:cubicBezTo>
                      <a:pt x="2604259" y="1996875"/>
                      <a:pt x="2604033" y="1994393"/>
                      <a:pt x="2605387" y="1991233"/>
                    </a:cubicBezTo>
                    <a:cubicBezTo>
                      <a:pt x="2605613" y="1990557"/>
                      <a:pt x="2605838" y="1990331"/>
                      <a:pt x="2605613" y="1990105"/>
                    </a:cubicBezTo>
                    <a:cubicBezTo>
                      <a:pt x="2604033" y="1986495"/>
                      <a:pt x="2604033" y="1979951"/>
                      <a:pt x="2604259" y="1973182"/>
                    </a:cubicBezTo>
                    <a:cubicBezTo>
                      <a:pt x="2604259" y="1968218"/>
                      <a:pt x="2604484" y="1963253"/>
                      <a:pt x="2603807" y="1959869"/>
                    </a:cubicBezTo>
                    <a:cubicBezTo>
                      <a:pt x="2602679" y="1953551"/>
                      <a:pt x="2600874" y="1947233"/>
                      <a:pt x="2599069" y="1940689"/>
                    </a:cubicBezTo>
                    <a:cubicBezTo>
                      <a:pt x="2593653" y="1921283"/>
                      <a:pt x="2588238" y="1900975"/>
                      <a:pt x="2595684" y="1881795"/>
                    </a:cubicBezTo>
                    <a:lnTo>
                      <a:pt x="2596136" y="1880893"/>
                    </a:lnTo>
                    <a:cubicBezTo>
                      <a:pt x="2597264" y="1877734"/>
                      <a:pt x="2598617" y="1874574"/>
                      <a:pt x="2597489" y="1872092"/>
                    </a:cubicBezTo>
                    <a:cubicBezTo>
                      <a:pt x="2595910" y="1868708"/>
                      <a:pt x="2592074" y="1868708"/>
                      <a:pt x="2585756" y="1869159"/>
                    </a:cubicBezTo>
                    <a:cubicBezTo>
                      <a:pt x="2580115" y="1869610"/>
                      <a:pt x="2573796" y="1870062"/>
                      <a:pt x="2569961" y="1865549"/>
                    </a:cubicBezTo>
                    <a:cubicBezTo>
                      <a:pt x="2567027" y="1862164"/>
                      <a:pt x="2567027" y="1856748"/>
                      <a:pt x="2569735" y="1850882"/>
                    </a:cubicBezTo>
                    <a:cubicBezTo>
                      <a:pt x="2576279" y="1836666"/>
                      <a:pt x="2568155" y="1831250"/>
                      <a:pt x="2558001" y="1824707"/>
                    </a:cubicBezTo>
                    <a:cubicBezTo>
                      <a:pt x="2547847" y="1818163"/>
                      <a:pt x="2536339" y="1810717"/>
                      <a:pt x="2542657" y="1792439"/>
                    </a:cubicBezTo>
                    <a:cubicBezTo>
                      <a:pt x="2544688" y="1786572"/>
                      <a:pt x="2548975" y="1783188"/>
                      <a:pt x="2553263" y="1779803"/>
                    </a:cubicBezTo>
                    <a:cubicBezTo>
                      <a:pt x="2557099" y="1776644"/>
                      <a:pt x="2561160" y="1773485"/>
                      <a:pt x="2563642" y="1768069"/>
                    </a:cubicBezTo>
                    <a:cubicBezTo>
                      <a:pt x="2564771" y="1765587"/>
                      <a:pt x="2562063" y="1759946"/>
                      <a:pt x="2559581" y="1754756"/>
                    </a:cubicBezTo>
                    <a:cubicBezTo>
                      <a:pt x="2558904" y="1753402"/>
                      <a:pt x="2558227" y="1752049"/>
                      <a:pt x="2557776" y="1750695"/>
                    </a:cubicBezTo>
                    <a:cubicBezTo>
                      <a:pt x="2555068" y="1745054"/>
                      <a:pt x="2555745" y="1738284"/>
                      <a:pt x="2559581" y="1730612"/>
                    </a:cubicBezTo>
                    <a:cubicBezTo>
                      <a:pt x="2560032" y="1729710"/>
                      <a:pt x="2560032" y="1728581"/>
                      <a:pt x="2559355" y="1727228"/>
                    </a:cubicBezTo>
                    <a:cubicBezTo>
                      <a:pt x="2558227" y="1724745"/>
                      <a:pt x="2555519" y="1722263"/>
                      <a:pt x="2553263" y="1721586"/>
                    </a:cubicBezTo>
                    <a:cubicBezTo>
                      <a:pt x="2548073" y="1720007"/>
                      <a:pt x="2538596" y="1718879"/>
                      <a:pt x="2534083" y="1721361"/>
                    </a:cubicBezTo>
                    <a:cubicBezTo>
                      <a:pt x="2527313" y="1725197"/>
                      <a:pt x="2512872" y="1719330"/>
                      <a:pt x="2504974" y="1714140"/>
                    </a:cubicBezTo>
                    <a:lnTo>
                      <a:pt x="2503846" y="1713463"/>
                    </a:lnTo>
                    <a:cubicBezTo>
                      <a:pt x="2496400" y="1708725"/>
                      <a:pt x="2493015" y="1706468"/>
                      <a:pt x="2490533" y="1701278"/>
                    </a:cubicBezTo>
                    <a:cubicBezTo>
                      <a:pt x="2489631" y="1699473"/>
                      <a:pt x="2487600" y="1697442"/>
                      <a:pt x="2485569" y="1695411"/>
                    </a:cubicBezTo>
                    <a:cubicBezTo>
                      <a:pt x="2482410" y="1692252"/>
                      <a:pt x="2479251" y="1689093"/>
                      <a:pt x="2477897" y="1685032"/>
                    </a:cubicBezTo>
                    <a:cubicBezTo>
                      <a:pt x="2477220" y="1682775"/>
                      <a:pt x="2476317" y="1681421"/>
                      <a:pt x="2475189" y="1680067"/>
                    </a:cubicBezTo>
                    <a:cubicBezTo>
                      <a:pt x="2473610" y="1677811"/>
                      <a:pt x="2472030" y="1675329"/>
                      <a:pt x="2473384" y="1671042"/>
                    </a:cubicBezTo>
                    <a:cubicBezTo>
                      <a:pt x="2475415" y="1664949"/>
                      <a:pt x="2476543" y="1663595"/>
                      <a:pt x="2480605" y="1658857"/>
                    </a:cubicBezTo>
                    <a:cubicBezTo>
                      <a:pt x="2481733" y="1657729"/>
                      <a:pt x="2482635" y="1656600"/>
                      <a:pt x="2483538" y="1655698"/>
                    </a:cubicBezTo>
                    <a:cubicBezTo>
                      <a:pt x="2486020" y="1652990"/>
                      <a:pt x="2487148" y="1651862"/>
                      <a:pt x="2487148" y="1649605"/>
                    </a:cubicBezTo>
                    <a:cubicBezTo>
                      <a:pt x="2487148" y="1648928"/>
                      <a:pt x="2487148" y="1648251"/>
                      <a:pt x="2486923" y="1647575"/>
                    </a:cubicBezTo>
                    <a:cubicBezTo>
                      <a:pt x="2486472" y="1643738"/>
                      <a:pt x="2486923" y="1640579"/>
                      <a:pt x="2494595" y="1639226"/>
                    </a:cubicBezTo>
                    <a:cubicBezTo>
                      <a:pt x="2497302" y="1638774"/>
                      <a:pt x="2499108" y="1638774"/>
                      <a:pt x="2500461" y="1639903"/>
                    </a:cubicBezTo>
                    <a:cubicBezTo>
                      <a:pt x="2501815" y="1641031"/>
                      <a:pt x="2502041" y="1642610"/>
                      <a:pt x="2502041" y="1643964"/>
                    </a:cubicBezTo>
                    <a:cubicBezTo>
                      <a:pt x="2502041" y="1645318"/>
                      <a:pt x="2502267" y="1646221"/>
                      <a:pt x="2503169" y="1646897"/>
                    </a:cubicBezTo>
                    <a:cubicBezTo>
                      <a:pt x="2503620" y="1647123"/>
                      <a:pt x="2503846" y="1647349"/>
                      <a:pt x="2503846" y="1647575"/>
                    </a:cubicBezTo>
                    <a:cubicBezTo>
                      <a:pt x="2504072" y="1647123"/>
                      <a:pt x="2504297" y="1646672"/>
                      <a:pt x="2504523" y="1645995"/>
                    </a:cubicBezTo>
                    <a:cubicBezTo>
                      <a:pt x="2505200" y="1644867"/>
                      <a:pt x="2505877" y="1643287"/>
                      <a:pt x="2507005" y="1641256"/>
                    </a:cubicBezTo>
                    <a:cubicBezTo>
                      <a:pt x="2509262" y="1637872"/>
                      <a:pt x="2511518" y="1635615"/>
                      <a:pt x="2513098" y="1634036"/>
                    </a:cubicBezTo>
                    <a:cubicBezTo>
                      <a:pt x="2514000" y="1633133"/>
                      <a:pt x="2514903" y="1632231"/>
                      <a:pt x="2515128" y="1631779"/>
                    </a:cubicBezTo>
                    <a:cubicBezTo>
                      <a:pt x="2515580" y="1630877"/>
                      <a:pt x="2516482" y="1629748"/>
                      <a:pt x="2517385" y="1628620"/>
                    </a:cubicBezTo>
                    <a:cubicBezTo>
                      <a:pt x="2518513" y="1627266"/>
                      <a:pt x="2519867" y="1625461"/>
                      <a:pt x="2520318" y="1624107"/>
                    </a:cubicBezTo>
                    <a:cubicBezTo>
                      <a:pt x="2520770" y="1622979"/>
                      <a:pt x="2520093" y="1620497"/>
                      <a:pt x="2519641" y="1618240"/>
                    </a:cubicBezTo>
                    <a:cubicBezTo>
                      <a:pt x="2519190" y="1616210"/>
                      <a:pt x="2518739" y="1613953"/>
                      <a:pt x="2518739" y="1611922"/>
                    </a:cubicBezTo>
                    <a:cubicBezTo>
                      <a:pt x="2518739" y="1607861"/>
                      <a:pt x="2521672" y="1605604"/>
                      <a:pt x="2523252" y="1604476"/>
                    </a:cubicBezTo>
                    <a:cubicBezTo>
                      <a:pt x="2523477" y="1604250"/>
                      <a:pt x="2523929" y="1604025"/>
                      <a:pt x="2524154" y="1603799"/>
                    </a:cubicBezTo>
                    <a:cubicBezTo>
                      <a:pt x="2525508" y="1602445"/>
                      <a:pt x="2527539" y="1602671"/>
                      <a:pt x="2530698" y="1603122"/>
                    </a:cubicBezTo>
                    <a:cubicBezTo>
                      <a:pt x="2532729" y="1603348"/>
                      <a:pt x="2534985" y="1603573"/>
                      <a:pt x="2537693" y="1603573"/>
                    </a:cubicBezTo>
                    <a:cubicBezTo>
                      <a:pt x="2540852" y="1603348"/>
                      <a:pt x="2541755" y="1602671"/>
                      <a:pt x="2542883" y="1601543"/>
                    </a:cubicBezTo>
                    <a:cubicBezTo>
                      <a:pt x="2543560" y="1600866"/>
                      <a:pt x="2544463" y="1599963"/>
                      <a:pt x="2546042" y="1599512"/>
                    </a:cubicBezTo>
                    <a:cubicBezTo>
                      <a:pt x="2549427" y="1597932"/>
                      <a:pt x="2551006" y="1599061"/>
                      <a:pt x="2553940" y="1601091"/>
                    </a:cubicBezTo>
                    <a:cubicBezTo>
                      <a:pt x="2554842" y="1601543"/>
                      <a:pt x="2555745" y="1602220"/>
                      <a:pt x="2556873" y="1603122"/>
                    </a:cubicBezTo>
                    <a:cubicBezTo>
                      <a:pt x="2559581" y="1604927"/>
                      <a:pt x="2560709" y="1604476"/>
                      <a:pt x="2563417" y="1603348"/>
                    </a:cubicBezTo>
                    <a:cubicBezTo>
                      <a:pt x="2564771" y="1602897"/>
                      <a:pt x="2566576" y="1602220"/>
                      <a:pt x="2568832" y="1601768"/>
                    </a:cubicBezTo>
                    <a:cubicBezTo>
                      <a:pt x="2574248" y="1600866"/>
                      <a:pt x="2577407" y="1600189"/>
                      <a:pt x="2577407" y="1598609"/>
                    </a:cubicBezTo>
                    <a:cubicBezTo>
                      <a:pt x="2577407" y="1596353"/>
                      <a:pt x="2578084" y="1594999"/>
                      <a:pt x="2578986" y="1593871"/>
                    </a:cubicBezTo>
                    <a:cubicBezTo>
                      <a:pt x="2579438" y="1592968"/>
                      <a:pt x="2580115" y="1592066"/>
                      <a:pt x="2580566" y="1590712"/>
                    </a:cubicBezTo>
                    <a:cubicBezTo>
                      <a:pt x="2581017" y="1589584"/>
                      <a:pt x="2582145" y="1586424"/>
                      <a:pt x="2576504" y="1584168"/>
                    </a:cubicBezTo>
                    <a:cubicBezTo>
                      <a:pt x="2571540" y="1582137"/>
                      <a:pt x="2566125" y="1579655"/>
                      <a:pt x="2561837" y="1576045"/>
                    </a:cubicBezTo>
                    <a:cubicBezTo>
                      <a:pt x="2558678" y="1573337"/>
                      <a:pt x="2560032" y="1569952"/>
                      <a:pt x="2560935" y="1567244"/>
                    </a:cubicBezTo>
                    <a:cubicBezTo>
                      <a:pt x="2561837" y="1564762"/>
                      <a:pt x="2562740" y="1562732"/>
                      <a:pt x="2561612" y="1560249"/>
                    </a:cubicBezTo>
                    <a:cubicBezTo>
                      <a:pt x="2560709" y="1558219"/>
                      <a:pt x="2560258" y="1557993"/>
                      <a:pt x="2560258" y="1557993"/>
                    </a:cubicBezTo>
                    <a:cubicBezTo>
                      <a:pt x="2559806" y="1557993"/>
                      <a:pt x="2558904" y="1558670"/>
                      <a:pt x="2558227" y="1559121"/>
                    </a:cubicBezTo>
                    <a:cubicBezTo>
                      <a:pt x="2557099" y="1559798"/>
                      <a:pt x="2555970" y="1560475"/>
                      <a:pt x="2554165" y="1561152"/>
                    </a:cubicBezTo>
                    <a:cubicBezTo>
                      <a:pt x="2550781" y="1562280"/>
                      <a:pt x="2546945" y="1562280"/>
                      <a:pt x="2542657" y="1562280"/>
                    </a:cubicBezTo>
                    <a:cubicBezTo>
                      <a:pt x="2539724" y="1562280"/>
                      <a:pt x="2536790" y="1562280"/>
                      <a:pt x="2534083" y="1562732"/>
                    </a:cubicBezTo>
                    <a:cubicBezTo>
                      <a:pt x="2526862" y="1563634"/>
                      <a:pt x="2522349" y="1562506"/>
                      <a:pt x="2520770" y="1553254"/>
                    </a:cubicBezTo>
                    <a:cubicBezTo>
                      <a:pt x="2520093" y="1549193"/>
                      <a:pt x="2518739" y="1547839"/>
                      <a:pt x="2517836" y="1546936"/>
                    </a:cubicBezTo>
                    <a:cubicBezTo>
                      <a:pt x="2517159" y="1546259"/>
                      <a:pt x="2516031" y="1545131"/>
                      <a:pt x="2516482" y="1543552"/>
                    </a:cubicBezTo>
                    <a:cubicBezTo>
                      <a:pt x="2516482" y="1542649"/>
                      <a:pt x="2514226" y="1537685"/>
                      <a:pt x="2507231" y="1536557"/>
                    </a:cubicBezTo>
                    <a:cubicBezTo>
                      <a:pt x="2500913" y="1535428"/>
                      <a:pt x="2500010" y="1533398"/>
                      <a:pt x="2498882" y="1530013"/>
                    </a:cubicBezTo>
                    <a:cubicBezTo>
                      <a:pt x="2498431" y="1528659"/>
                      <a:pt x="2497979" y="1527079"/>
                      <a:pt x="2496851" y="1525274"/>
                    </a:cubicBezTo>
                    <a:cubicBezTo>
                      <a:pt x="2494369" y="1520987"/>
                      <a:pt x="2494369" y="1520987"/>
                      <a:pt x="2485794" y="1524823"/>
                    </a:cubicBezTo>
                    <a:lnTo>
                      <a:pt x="2482410" y="1526403"/>
                    </a:lnTo>
                    <a:cubicBezTo>
                      <a:pt x="2477897" y="1528433"/>
                      <a:pt x="2475189" y="1528885"/>
                      <a:pt x="2473158" y="1527305"/>
                    </a:cubicBezTo>
                    <a:cubicBezTo>
                      <a:pt x="2470902" y="1525726"/>
                      <a:pt x="2471353" y="1522567"/>
                      <a:pt x="2471579" y="1520084"/>
                    </a:cubicBezTo>
                    <a:cubicBezTo>
                      <a:pt x="2471579" y="1519182"/>
                      <a:pt x="2471804" y="1518054"/>
                      <a:pt x="2471804" y="1517828"/>
                    </a:cubicBezTo>
                    <a:cubicBezTo>
                      <a:pt x="2470450" y="1513992"/>
                      <a:pt x="2472030" y="1506997"/>
                      <a:pt x="2473610" y="1502033"/>
                    </a:cubicBezTo>
                    <a:cubicBezTo>
                      <a:pt x="2474512" y="1499325"/>
                      <a:pt x="2473835" y="1496843"/>
                      <a:pt x="2473158" y="1494361"/>
                    </a:cubicBezTo>
                    <a:cubicBezTo>
                      <a:pt x="2472481" y="1492330"/>
                      <a:pt x="2472030" y="1490525"/>
                      <a:pt x="2472256" y="1488268"/>
                    </a:cubicBezTo>
                    <a:cubicBezTo>
                      <a:pt x="2472481" y="1485335"/>
                      <a:pt x="2475415" y="1482402"/>
                      <a:pt x="2478799" y="1478791"/>
                    </a:cubicBezTo>
                    <a:cubicBezTo>
                      <a:pt x="2481056" y="1476309"/>
                      <a:pt x="2483538" y="1473827"/>
                      <a:pt x="2485118" y="1471345"/>
                    </a:cubicBezTo>
                    <a:cubicBezTo>
                      <a:pt x="2487374" y="1467735"/>
                      <a:pt x="2489631" y="1466606"/>
                      <a:pt x="2491661" y="1465704"/>
                    </a:cubicBezTo>
                    <a:cubicBezTo>
                      <a:pt x="2493466" y="1464801"/>
                      <a:pt x="2494820" y="1464124"/>
                      <a:pt x="2496400" y="1461868"/>
                    </a:cubicBezTo>
                    <a:cubicBezTo>
                      <a:pt x="2498431" y="1458709"/>
                      <a:pt x="2498656" y="1456452"/>
                      <a:pt x="2498656" y="1454421"/>
                    </a:cubicBezTo>
                    <a:cubicBezTo>
                      <a:pt x="2498656" y="1453068"/>
                      <a:pt x="2498882" y="1451488"/>
                      <a:pt x="2499559" y="1449909"/>
                    </a:cubicBezTo>
                    <a:cubicBezTo>
                      <a:pt x="2500913" y="1446749"/>
                      <a:pt x="2505651" y="1446524"/>
                      <a:pt x="2510841" y="1446298"/>
                    </a:cubicBezTo>
                    <a:cubicBezTo>
                      <a:pt x="2512872" y="1446298"/>
                      <a:pt x="2515128" y="1446073"/>
                      <a:pt x="2516257" y="1445847"/>
                    </a:cubicBezTo>
                    <a:cubicBezTo>
                      <a:pt x="2516031" y="1445170"/>
                      <a:pt x="2515128" y="1444042"/>
                      <a:pt x="2514452" y="1443139"/>
                    </a:cubicBezTo>
                    <a:cubicBezTo>
                      <a:pt x="2513323" y="1441560"/>
                      <a:pt x="2512195" y="1439980"/>
                      <a:pt x="2511744" y="1438401"/>
                    </a:cubicBezTo>
                    <a:cubicBezTo>
                      <a:pt x="2511067" y="1436144"/>
                      <a:pt x="2506103" y="1433436"/>
                      <a:pt x="2504974" y="1433211"/>
                    </a:cubicBezTo>
                    <a:cubicBezTo>
                      <a:pt x="2504297" y="1433211"/>
                      <a:pt x="2502492" y="1433211"/>
                      <a:pt x="2499559" y="1426441"/>
                    </a:cubicBezTo>
                    <a:lnTo>
                      <a:pt x="2499108" y="1425539"/>
                    </a:lnTo>
                    <a:lnTo>
                      <a:pt x="2499785" y="1424636"/>
                    </a:lnTo>
                    <a:cubicBezTo>
                      <a:pt x="2500461" y="1423734"/>
                      <a:pt x="2504297" y="1418769"/>
                      <a:pt x="2507908" y="1418769"/>
                    </a:cubicBezTo>
                    <a:cubicBezTo>
                      <a:pt x="2510164" y="1418769"/>
                      <a:pt x="2511744" y="1420123"/>
                      <a:pt x="2513098" y="1421251"/>
                    </a:cubicBezTo>
                    <a:cubicBezTo>
                      <a:pt x="2514000" y="1421928"/>
                      <a:pt x="2514903" y="1422831"/>
                      <a:pt x="2516031" y="1423282"/>
                    </a:cubicBezTo>
                    <a:cubicBezTo>
                      <a:pt x="2518513" y="1424410"/>
                      <a:pt x="2520995" y="1426441"/>
                      <a:pt x="2523703" y="1428698"/>
                    </a:cubicBezTo>
                    <a:cubicBezTo>
                      <a:pt x="2524831" y="1429600"/>
                      <a:pt x="2525960" y="1430503"/>
                      <a:pt x="2527088" y="1431406"/>
                    </a:cubicBezTo>
                    <a:cubicBezTo>
                      <a:pt x="2528893" y="1432759"/>
                      <a:pt x="2530698" y="1433888"/>
                      <a:pt x="2532052" y="1434790"/>
                    </a:cubicBezTo>
                    <a:cubicBezTo>
                      <a:pt x="2534083" y="1435918"/>
                      <a:pt x="2535662" y="1437047"/>
                      <a:pt x="2537016" y="1438626"/>
                    </a:cubicBezTo>
                    <a:cubicBezTo>
                      <a:pt x="2540175" y="1441785"/>
                      <a:pt x="2540401" y="1449909"/>
                      <a:pt x="2538370" y="1455098"/>
                    </a:cubicBezTo>
                    <a:cubicBezTo>
                      <a:pt x="2538144" y="1455775"/>
                      <a:pt x="2538144" y="1456001"/>
                      <a:pt x="2538144" y="1456001"/>
                    </a:cubicBezTo>
                    <a:cubicBezTo>
                      <a:pt x="2538596" y="1456452"/>
                      <a:pt x="2540626" y="1456678"/>
                      <a:pt x="2542206" y="1456227"/>
                    </a:cubicBezTo>
                    <a:lnTo>
                      <a:pt x="2544237" y="1455775"/>
                    </a:lnTo>
                    <a:lnTo>
                      <a:pt x="2544237" y="1457806"/>
                    </a:lnTo>
                    <a:cubicBezTo>
                      <a:pt x="2544463" y="1462093"/>
                      <a:pt x="2545365" y="1466381"/>
                      <a:pt x="2546268" y="1467058"/>
                    </a:cubicBezTo>
                    <a:cubicBezTo>
                      <a:pt x="2546719" y="1467283"/>
                      <a:pt x="2546945" y="1467283"/>
                      <a:pt x="2546945" y="1467283"/>
                    </a:cubicBezTo>
                    <a:cubicBezTo>
                      <a:pt x="2546945" y="1467283"/>
                      <a:pt x="2547170" y="1467058"/>
                      <a:pt x="2547396" y="1467058"/>
                    </a:cubicBezTo>
                    <a:cubicBezTo>
                      <a:pt x="2548073" y="1466832"/>
                      <a:pt x="2548750" y="1466381"/>
                      <a:pt x="2550104" y="1466155"/>
                    </a:cubicBezTo>
                    <a:cubicBezTo>
                      <a:pt x="2550781" y="1466155"/>
                      <a:pt x="2551458" y="1463673"/>
                      <a:pt x="2551909" y="1461868"/>
                    </a:cubicBezTo>
                    <a:cubicBezTo>
                      <a:pt x="2552360" y="1460063"/>
                      <a:pt x="2553037" y="1458257"/>
                      <a:pt x="2553714" y="1456001"/>
                    </a:cubicBezTo>
                    <a:cubicBezTo>
                      <a:pt x="2555293" y="1451939"/>
                      <a:pt x="2558678" y="1449909"/>
                      <a:pt x="2561386" y="1448329"/>
                    </a:cubicBezTo>
                    <a:cubicBezTo>
                      <a:pt x="2562966" y="1447426"/>
                      <a:pt x="2564319" y="1446524"/>
                      <a:pt x="2565222" y="1445621"/>
                    </a:cubicBezTo>
                    <a:cubicBezTo>
                      <a:pt x="2567027" y="1443590"/>
                      <a:pt x="2567253" y="1439529"/>
                      <a:pt x="2567478" y="1435467"/>
                    </a:cubicBezTo>
                    <a:cubicBezTo>
                      <a:pt x="2567478" y="1434113"/>
                      <a:pt x="2567704" y="1432985"/>
                      <a:pt x="2567704" y="1431631"/>
                    </a:cubicBezTo>
                    <a:cubicBezTo>
                      <a:pt x="2567930" y="1429826"/>
                      <a:pt x="2568607" y="1428247"/>
                      <a:pt x="2570186" y="1427344"/>
                    </a:cubicBezTo>
                    <a:cubicBezTo>
                      <a:pt x="2573796" y="1425087"/>
                      <a:pt x="2579889" y="1426667"/>
                      <a:pt x="2583274" y="1427795"/>
                    </a:cubicBezTo>
                    <a:cubicBezTo>
                      <a:pt x="2587787" y="1429375"/>
                      <a:pt x="2588238" y="1434339"/>
                      <a:pt x="2588915" y="1440206"/>
                    </a:cubicBezTo>
                    <a:cubicBezTo>
                      <a:pt x="2589140" y="1441560"/>
                      <a:pt x="2589140" y="1442914"/>
                      <a:pt x="2589366" y="1444493"/>
                    </a:cubicBezTo>
                    <a:cubicBezTo>
                      <a:pt x="2589817" y="1448103"/>
                      <a:pt x="2591397" y="1449909"/>
                      <a:pt x="2592976" y="1451714"/>
                    </a:cubicBezTo>
                    <a:cubicBezTo>
                      <a:pt x="2594330" y="1453068"/>
                      <a:pt x="2595684" y="1454647"/>
                      <a:pt x="2595684" y="1457129"/>
                    </a:cubicBezTo>
                    <a:cubicBezTo>
                      <a:pt x="2595684" y="1458032"/>
                      <a:pt x="2595910" y="1458483"/>
                      <a:pt x="2597715" y="1459611"/>
                    </a:cubicBezTo>
                    <a:cubicBezTo>
                      <a:pt x="2599295" y="1460739"/>
                      <a:pt x="2601100" y="1462093"/>
                      <a:pt x="2603356" y="1464801"/>
                    </a:cubicBezTo>
                    <a:cubicBezTo>
                      <a:pt x="2604936" y="1466832"/>
                      <a:pt x="2606064" y="1468863"/>
                      <a:pt x="2606966" y="1470442"/>
                    </a:cubicBezTo>
                    <a:cubicBezTo>
                      <a:pt x="2608772" y="1473601"/>
                      <a:pt x="2610125" y="1476083"/>
                      <a:pt x="2613736" y="1478340"/>
                    </a:cubicBezTo>
                    <a:cubicBezTo>
                      <a:pt x="2618926" y="1481499"/>
                      <a:pt x="2627500" y="1481499"/>
                      <a:pt x="2632690" y="1481273"/>
                    </a:cubicBezTo>
                    <a:lnTo>
                      <a:pt x="2634270" y="1481273"/>
                    </a:lnTo>
                    <a:cubicBezTo>
                      <a:pt x="2638783" y="1481273"/>
                      <a:pt x="2646455" y="1477889"/>
                      <a:pt x="2650290" y="1473827"/>
                    </a:cubicBezTo>
                    <a:cubicBezTo>
                      <a:pt x="2652096" y="1472022"/>
                      <a:pt x="2651870" y="1469088"/>
                      <a:pt x="2651193" y="1465704"/>
                    </a:cubicBezTo>
                    <a:cubicBezTo>
                      <a:pt x="2650742" y="1463222"/>
                      <a:pt x="2650516" y="1460514"/>
                      <a:pt x="2651193" y="1458032"/>
                    </a:cubicBezTo>
                    <a:cubicBezTo>
                      <a:pt x="2652773" y="1452391"/>
                      <a:pt x="2659542" y="1453744"/>
                      <a:pt x="2663604" y="1454421"/>
                    </a:cubicBezTo>
                    <a:cubicBezTo>
                      <a:pt x="2664732" y="1454647"/>
                      <a:pt x="2665634" y="1454873"/>
                      <a:pt x="2666086" y="1454873"/>
                    </a:cubicBezTo>
                    <a:cubicBezTo>
                      <a:pt x="2669471" y="1454873"/>
                      <a:pt x="2672630" y="1459837"/>
                      <a:pt x="2676691" y="1468186"/>
                    </a:cubicBezTo>
                    <a:cubicBezTo>
                      <a:pt x="2677368" y="1469540"/>
                      <a:pt x="2678722" y="1471571"/>
                      <a:pt x="2680301" y="1473827"/>
                    </a:cubicBezTo>
                    <a:cubicBezTo>
                      <a:pt x="2684137" y="1479243"/>
                      <a:pt x="2686620" y="1483079"/>
                      <a:pt x="2686620" y="1485561"/>
                    </a:cubicBezTo>
                    <a:cubicBezTo>
                      <a:pt x="2686620" y="1487591"/>
                      <a:pt x="2685717" y="1491427"/>
                      <a:pt x="2684137" y="1497068"/>
                    </a:cubicBezTo>
                    <a:cubicBezTo>
                      <a:pt x="2683235" y="1500228"/>
                      <a:pt x="2682558" y="1503612"/>
                      <a:pt x="2682332" y="1504966"/>
                    </a:cubicBezTo>
                    <a:cubicBezTo>
                      <a:pt x="2682107" y="1507448"/>
                      <a:pt x="2680978" y="1514895"/>
                      <a:pt x="2687071" y="1520761"/>
                    </a:cubicBezTo>
                    <a:cubicBezTo>
                      <a:pt x="2691809" y="1525500"/>
                      <a:pt x="2691809" y="1531367"/>
                      <a:pt x="2691809" y="1535203"/>
                    </a:cubicBezTo>
                    <a:cubicBezTo>
                      <a:pt x="2691809" y="1536557"/>
                      <a:pt x="2691809" y="1537911"/>
                      <a:pt x="2692035" y="1538362"/>
                    </a:cubicBezTo>
                    <a:cubicBezTo>
                      <a:pt x="2693615" y="1541972"/>
                      <a:pt x="2692486" y="1550547"/>
                      <a:pt x="2691358" y="1553254"/>
                    </a:cubicBezTo>
                    <a:lnTo>
                      <a:pt x="2690907" y="1554383"/>
                    </a:lnTo>
                    <a:cubicBezTo>
                      <a:pt x="2689779" y="1557316"/>
                      <a:pt x="2687522" y="1562506"/>
                      <a:pt x="2688876" y="1567244"/>
                    </a:cubicBezTo>
                    <a:cubicBezTo>
                      <a:pt x="2690455" y="1573111"/>
                      <a:pt x="2693163" y="1575593"/>
                      <a:pt x="2694292" y="1575593"/>
                    </a:cubicBezTo>
                    <a:cubicBezTo>
                      <a:pt x="2695194" y="1575593"/>
                      <a:pt x="2696548" y="1575819"/>
                      <a:pt x="2698128" y="1576045"/>
                    </a:cubicBezTo>
                    <a:cubicBezTo>
                      <a:pt x="2701963" y="1576722"/>
                      <a:pt x="2707830" y="1577624"/>
                      <a:pt x="2714148" y="1577173"/>
                    </a:cubicBezTo>
                    <a:cubicBezTo>
                      <a:pt x="2719113" y="1576722"/>
                      <a:pt x="2720692" y="1578076"/>
                      <a:pt x="2722046" y="1580106"/>
                    </a:cubicBezTo>
                    <a:cubicBezTo>
                      <a:pt x="2722949" y="1581235"/>
                      <a:pt x="2723851" y="1582363"/>
                      <a:pt x="2728590" y="1582363"/>
                    </a:cubicBezTo>
                    <a:cubicBezTo>
                      <a:pt x="2737390" y="1582363"/>
                      <a:pt x="2740775" y="1583942"/>
                      <a:pt x="2745287" y="1585973"/>
                    </a:cubicBezTo>
                    <a:cubicBezTo>
                      <a:pt x="2746867" y="1586650"/>
                      <a:pt x="2748447" y="1587327"/>
                      <a:pt x="2750477" y="1588230"/>
                    </a:cubicBezTo>
                    <a:cubicBezTo>
                      <a:pt x="2757698" y="1590937"/>
                      <a:pt x="2759503" y="1590486"/>
                      <a:pt x="2771463" y="1586650"/>
                    </a:cubicBezTo>
                    <a:lnTo>
                      <a:pt x="2774622" y="1585522"/>
                    </a:lnTo>
                    <a:cubicBezTo>
                      <a:pt x="2782971" y="1582814"/>
                      <a:pt x="2784099" y="1581911"/>
                      <a:pt x="2785001" y="1581235"/>
                    </a:cubicBezTo>
                    <a:cubicBezTo>
                      <a:pt x="2785904" y="1580558"/>
                      <a:pt x="2786806" y="1579881"/>
                      <a:pt x="2789965" y="1578978"/>
                    </a:cubicBezTo>
                    <a:cubicBezTo>
                      <a:pt x="2797863" y="1576722"/>
                      <a:pt x="2811402" y="1578301"/>
                      <a:pt x="2820653" y="1580783"/>
                    </a:cubicBezTo>
                    <a:cubicBezTo>
                      <a:pt x="2827197" y="1582588"/>
                      <a:pt x="2829679" y="1581460"/>
                      <a:pt x="2833290" y="1579881"/>
                    </a:cubicBezTo>
                    <a:cubicBezTo>
                      <a:pt x="2834418" y="1579429"/>
                      <a:pt x="2835772" y="1578752"/>
                      <a:pt x="2837351" y="1578301"/>
                    </a:cubicBezTo>
                    <a:cubicBezTo>
                      <a:pt x="2840736" y="1577173"/>
                      <a:pt x="2841413" y="1576722"/>
                      <a:pt x="2842315" y="1576045"/>
                    </a:cubicBezTo>
                    <a:cubicBezTo>
                      <a:pt x="2842992" y="1575593"/>
                      <a:pt x="2843895" y="1575142"/>
                      <a:pt x="2845700" y="1574240"/>
                    </a:cubicBezTo>
                    <a:cubicBezTo>
                      <a:pt x="2849310" y="1572660"/>
                      <a:pt x="2855403" y="1573111"/>
                      <a:pt x="2863075" y="1573562"/>
                    </a:cubicBezTo>
                    <a:cubicBezTo>
                      <a:pt x="2864654" y="1573562"/>
                      <a:pt x="2866460" y="1573788"/>
                      <a:pt x="2868265" y="1573788"/>
                    </a:cubicBezTo>
                    <a:cubicBezTo>
                      <a:pt x="2877065" y="1574240"/>
                      <a:pt x="2881127" y="1575819"/>
                      <a:pt x="2886316" y="1578076"/>
                    </a:cubicBezTo>
                    <a:lnTo>
                      <a:pt x="2887896" y="1578752"/>
                    </a:lnTo>
                    <a:cubicBezTo>
                      <a:pt x="2893086" y="1580783"/>
                      <a:pt x="2894214" y="1580783"/>
                      <a:pt x="2901886" y="1579881"/>
                    </a:cubicBezTo>
                    <a:lnTo>
                      <a:pt x="2902789" y="1579881"/>
                    </a:lnTo>
                    <a:cubicBezTo>
                      <a:pt x="2907527" y="1579429"/>
                      <a:pt x="2911137" y="1580106"/>
                      <a:pt x="2914071" y="1580783"/>
                    </a:cubicBezTo>
                    <a:cubicBezTo>
                      <a:pt x="2916327" y="1581235"/>
                      <a:pt x="2918132" y="1581686"/>
                      <a:pt x="2919035" y="1581009"/>
                    </a:cubicBezTo>
                    <a:cubicBezTo>
                      <a:pt x="2922871" y="1578752"/>
                      <a:pt x="2926256" y="1578301"/>
                      <a:pt x="2930317" y="1579429"/>
                    </a:cubicBezTo>
                    <a:cubicBezTo>
                      <a:pt x="2932800" y="1580106"/>
                      <a:pt x="2940246" y="1576947"/>
                      <a:pt x="2947918" y="1570855"/>
                    </a:cubicBezTo>
                    <a:cubicBezTo>
                      <a:pt x="2953333" y="1566568"/>
                      <a:pt x="2957169" y="1568373"/>
                      <a:pt x="2960554" y="1569727"/>
                    </a:cubicBezTo>
                    <a:cubicBezTo>
                      <a:pt x="2962359" y="1570629"/>
                      <a:pt x="2964164" y="1571306"/>
                      <a:pt x="2966421" y="1571306"/>
                    </a:cubicBezTo>
                    <a:cubicBezTo>
                      <a:pt x="2972288" y="1571306"/>
                      <a:pt x="2976124" y="1574465"/>
                      <a:pt x="2978831" y="1576722"/>
                    </a:cubicBezTo>
                    <a:cubicBezTo>
                      <a:pt x="2979734" y="1577624"/>
                      <a:pt x="2980636" y="1578301"/>
                      <a:pt x="2981313" y="1578527"/>
                    </a:cubicBezTo>
                    <a:cubicBezTo>
                      <a:pt x="2984472" y="1580332"/>
                      <a:pt x="2991693" y="1582814"/>
                      <a:pt x="2995981" y="1582814"/>
                    </a:cubicBezTo>
                    <a:cubicBezTo>
                      <a:pt x="2997108" y="1582814"/>
                      <a:pt x="2998237" y="1582814"/>
                      <a:pt x="2999365" y="1582588"/>
                    </a:cubicBezTo>
                    <a:cubicBezTo>
                      <a:pt x="3004329" y="1582363"/>
                      <a:pt x="3009519" y="1582137"/>
                      <a:pt x="3009970" y="1585973"/>
                    </a:cubicBezTo>
                    <a:cubicBezTo>
                      <a:pt x="3010196" y="1587553"/>
                      <a:pt x="3010647" y="1588681"/>
                      <a:pt x="3011099" y="1589809"/>
                    </a:cubicBezTo>
                    <a:cubicBezTo>
                      <a:pt x="3011550" y="1590712"/>
                      <a:pt x="3011776" y="1591389"/>
                      <a:pt x="3011776" y="1592066"/>
                    </a:cubicBezTo>
                    <a:cubicBezTo>
                      <a:pt x="3012001" y="1592291"/>
                      <a:pt x="3012904" y="1593871"/>
                      <a:pt x="3013806" y="1595225"/>
                    </a:cubicBezTo>
                    <a:cubicBezTo>
                      <a:pt x="3016965" y="1599512"/>
                      <a:pt x="3019222" y="1603122"/>
                      <a:pt x="3019222" y="1605604"/>
                    </a:cubicBezTo>
                    <a:cubicBezTo>
                      <a:pt x="3019222" y="1608989"/>
                      <a:pt x="3015160" y="1610794"/>
                      <a:pt x="3011550" y="1612599"/>
                    </a:cubicBezTo>
                    <a:cubicBezTo>
                      <a:pt x="3009970" y="1613276"/>
                      <a:pt x="3008617" y="1613953"/>
                      <a:pt x="3007940" y="1614630"/>
                    </a:cubicBezTo>
                    <a:cubicBezTo>
                      <a:pt x="3006811" y="1615533"/>
                      <a:pt x="3005909" y="1615758"/>
                      <a:pt x="3005006" y="1615533"/>
                    </a:cubicBezTo>
                    <a:cubicBezTo>
                      <a:pt x="3002750" y="1615307"/>
                      <a:pt x="3001170" y="1612825"/>
                      <a:pt x="2999591" y="1610569"/>
                    </a:cubicBezTo>
                    <a:cubicBezTo>
                      <a:pt x="2999140" y="1609666"/>
                      <a:pt x="2998463" y="1608989"/>
                      <a:pt x="2998011" y="1608312"/>
                    </a:cubicBezTo>
                    <a:cubicBezTo>
                      <a:pt x="2997786" y="1607861"/>
                      <a:pt x="2997108" y="1608086"/>
                      <a:pt x="2996657" y="1608086"/>
                    </a:cubicBezTo>
                    <a:cubicBezTo>
                      <a:pt x="2995078" y="1608538"/>
                      <a:pt x="2993047" y="1610794"/>
                      <a:pt x="2992370" y="1614405"/>
                    </a:cubicBezTo>
                    <a:cubicBezTo>
                      <a:pt x="2991693" y="1619143"/>
                      <a:pt x="2992145" y="1620948"/>
                      <a:pt x="2992596" y="1622979"/>
                    </a:cubicBezTo>
                    <a:cubicBezTo>
                      <a:pt x="2992821" y="1623656"/>
                      <a:pt x="2992821" y="1624559"/>
                      <a:pt x="2993047" y="1625235"/>
                    </a:cubicBezTo>
                    <a:cubicBezTo>
                      <a:pt x="2993047" y="1625687"/>
                      <a:pt x="2993273" y="1626138"/>
                      <a:pt x="2993273" y="1626589"/>
                    </a:cubicBezTo>
                    <a:cubicBezTo>
                      <a:pt x="2993724" y="1629523"/>
                      <a:pt x="2994627" y="1634261"/>
                      <a:pt x="2991242" y="1638774"/>
                    </a:cubicBezTo>
                    <a:cubicBezTo>
                      <a:pt x="2989211" y="1641708"/>
                      <a:pt x="2991693" y="1647575"/>
                      <a:pt x="2993047" y="1650508"/>
                    </a:cubicBezTo>
                    <a:cubicBezTo>
                      <a:pt x="2993498" y="1651636"/>
                      <a:pt x="2993724" y="1652087"/>
                      <a:pt x="2993949" y="1652764"/>
                    </a:cubicBezTo>
                    <a:cubicBezTo>
                      <a:pt x="2994401" y="1654570"/>
                      <a:pt x="2992596" y="1662467"/>
                      <a:pt x="2990565" y="1663821"/>
                    </a:cubicBezTo>
                    <a:cubicBezTo>
                      <a:pt x="2990114" y="1664272"/>
                      <a:pt x="2986729" y="1667657"/>
                      <a:pt x="2985375" y="1671719"/>
                    </a:cubicBezTo>
                    <a:cubicBezTo>
                      <a:pt x="2983795" y="1676232"/>
                      <a:pt x="2983344" y="1677134"/>
                      <a:pt x="2980636" y="1680519"/>
                    </a:cubicBezTo>
                    <a:cubicBezTo>
                      <a:pt x="2978154" y="1683452"/>
                      <a:pt x="2975221" y="1683452"/>
                      <a:pt x="2971836" y="1683452"/>
                    </a:cubicBezTo>
                    <a:cubicBezTo>
                      <a:pt x="2970708" y="1683452"/>
                      <a:pt x="2969354" y="1683452"/>
                      <a:pt x="2967775" y="1683452"/>
                    </a:cubicBezTo>
                    <a:cubicBezTo>
                      <a:pt x="2962359" y="1683678"/>
                      <a:pt x="2958298" y="1687514"/>
                      <a:pt x="2956492" y="1690673"/>
                    </a:cubicBezTo>
                    <a:cubicBezTo>
                      <a:pt x="2955590" y="1692252"/>
                      <a:pt x="2956041" y="1694735"/>
                      <a:pt x="2956492" y="1697217"/>
                    </a:cubicBezTo>
                    <a:cubicBezTo>
                      <a:pt x="2956943" y="1699248"/>
                      <a:pt x="2957395" y="1701053"/>
                      <a:pt x="2956943" y="1702632"/>
                    </a:cubicBezTo>
                    <a:cubicBezTo>
                      <a:pt x="2956492" y="1705340"/>
                      <a:pt x="2953784" y="1707145"/>
                      <a:pt x="2951077" y="1708725"/>
                    </a:cubicBezTo>
                    <a:cubicBezTo>
                      <a:pt x="2949723" y="1709402"/>
                      <a:pt x="2948595" y="1710304"/>
                      <a:pt x="2947466" y="1711207"/>
                    </a:cubicBezTo>
                    <a:cubicBezTo>
                      <a:pt x="2944984" y="1713463"/>
                      <a:pt x="2942277" y="1712335"/>
                      <a:pt x="2939795" y="1711432"/>
                    </a:cubicBezTo>
                    <a:cubicBezTo>
                      <a:pt x="2937989" y="1710755"/>
                      <a:pt x="2935959" y="1709853"/>
                      <a:pt x="2933702" y="1710304"/>
                    </a:cubicBezTo>
                    <a:cubicBezTo>
                      <a:pt x="2930994" y="1710755"/>
                      <a:pt x="2930317" y="1712786"/>
                      <a:pt x="2928964" y="1716397"/>
                    </a:cubicBezTo>
                    <a:cubicBezTo>
                      <a:pt x="2928287" y="1718427"/>
                      <a:pt x="2927610" y="1720458"/>
                      <a:pt x="2926481" y="1722263"/>
                    </a:cubicBezTo>
                    <a:cubicBezTo>
                      <a:pt x="2922871" y="1727679"/>
                      <a:pt x="2915876" y="1729033"/>
                      <a:pt x="2910686" y="1728807"/>
                    </a:cubicBezTo>
                    <a:cubicBezTo>
                      <a:pt x="2907076" y="1728581"/>
                      <a:pt x="2903240" y="1729484"/>
                      <a:pt x="2900758" y="1730387"/>
                    </a:cubicBezTo>
                    <a:lnTo>
                      <a:pt x="2899404" y="1730838"/>
                    </a:lnTo>
                    <a:cubicBezTo>
                      <a:pt x="2899178" y="1730838"/>
                      <a:pt x="2898953" y="1731289"/>
                      <a:pt x="2898501" y="1732417"/>
                    </a:cubicBezTo>
                    <a:cubicBezTo>
                      <a:pt x="2897824" y="1733997"/>
                      <a:pt x="2896922" y="1736253"/>
                      <a:pt x="2894440" y="1738059"/>
                    </a:cubicBezTo>
                    <a:cubicBezTo>
                      <a:pt x="2892183" y="1739864"/>
                      <a:pt x="2891506" y="1740766"/>
                      <a:pt x="2890378" y="1741669"/>
                    </a:cubicBezTo>
                    <a:cubicBezTo>
                      <a:pt x="2889701" y="1742572"/>
                      <a:pt x="2888799" y="1743474"/>
                      <a:pt x="2887219" y="1744828"/>
                    </a:cubicBezTo>
                    <a:cubicBezTo>
                      <a:pt x="2885414" y="1746633"/>
                      <a:pt x="2885188" y="1748664"/>
                      <a:pt x="2884962" y="1751372"/>
                    </a:cubicBezTo>
                    <a:cubicBezTo>
                      <a:pt x="2884737" y="1752726"/>
                      <a:pt x="2884737" y="1754079"/>
                      <a:pt x="2884511" y="1755433"/>
                    </a:cubicBezTo>
                    <a:cubicBezTo>
                      <a:pt x="2883609" y="1759495"/>
                      <a:pt x="2881127" y="1759946"/>
                      <a:pt x="2879321" y="1760398"/>
                    </a:cubicBezTo>
                    <a:cubicBezTo>
                      <a:pt x="2878419" y="1760623"/>
                      <a:pt x="2877516" y="1760849"/>
                      <a:pt x="2876839" y="1761300"/>
                    </a:cubicBezTo>
                    <a:cubicBezTo>
                      <a:pt x="2875937" y="1761977"/>
                      <a:pt x="2875485" y="1763331"/>
                      <a:pt x="2875260" y="1765587"/>
                    </a:cubicBezTo>
                    <a:cubicBezTo>
                      <a:pt x="2875034" y="1767393"/>
                      <a:pt x="2874583" y="1769423"/>
                      <a:pt x="2873454" y="1771229"/>
                    </a:cubicBezTo>
                    <a:cubicBezTo>
                      <a:pt x="2872778" y="1772131"/>
                      <a:pt x="2873003" y="1776193"/>
                      <a:pt x="2873229" y="1778901"/>
                    </a:cubicBezTo>
                    <a:cubicBezTo>
                      <a:pt x="2873454" y="1783413"/>
                      <a:pt x="2873906" y="1787926"/>
                      <a:pt x="2872326" y="1790860"/>
                    </a:cubicBezTo>
                    <a:cubicBezTo>
                      <a:pt x="2870972" y="1793116"/>
                      <a:pt x="2871875" y="1796275"/>
                      <a:pt x="2872552" y="1798983"/>
                    </a:cubicBezTo>
                    <a:cubicBezTo>
                      <a:pt x="2873003" y="1800337"/>
                      <a:pt x="2873229" y="1801691"/>
                      <a:pt x="2873229" y="1802819"/>
                    </a:cubicBezTo>
                    <a:cubicBezTo>
                      <a:pt x="2873229" y="1803947"/>
                      <a:pt x="2874808" y="1806204"/>
                      <a:pt x="2875937" y="1807783"/>
                    </a:cubicBezTo>
                    <a:cubicBezTo>
                      <a:pt x="2877065" y="1809588"/>
                      <a:pt x="2878193" y="1811168"/>
                      <a:pt x="2878644" y="1812522"/>
                    </a:cubicBezTo>
                    <a:cubicBezTo>
                      <a:pt x="2878870" y="1813199"/>
                      <a:pt x="2879773" y="1814101"/>
                      <a:pt x="2880675" y="1815004"/>
                    </a:cubicBezTo>
                    <a:cubicBezTo>
                      <a:pt x="2882706" y="1817035"/>
                      <a:pt x="2885414" y="1819968"/>
                      <a:pt x="2884511" y="1823804"/>
                    </a:cubicBezTo>
                    <a:cubicBezTo>
                      <a:pt x="2883834" y="1826512"/>
                      <a:pt x="2884286" y="1827189"/>
                      <a:pt x="2885414" y="1829671"/>
                    </a:cubicBezTo>
                    <a:cubicBezTo>
                      <a:pt x="2885865" y="1830574"/>
                      <a:pt x="2886316" y="1831476"/>
                      <a:pt x="2886768" y="1832830"/>
                    </a:cubicBezTo>
                    <a:cubicBezTo>
                      <a:pt x="2887670" y="1835312"/>
                      <a:pt x="2890152" y="1837569"/>
                      <a:pt x="2891958" y="1839148"/>
                    </a:cubicBezTo>
                    <a:cubicBezTo>
                      <a:pt x="2893763" y="1840728"/>
                      <a:pt x="2894891" y="1841856"/>
                      <a:pt x="2894891" y="1843210"/>
                    </a:cubicBezTo>
                    <a:cubicBezTo>
                      <a:pt x="2894891" y="1849302"/>
                      <a:pt x="2894891" y="1854041"/>
                      <a:pt x="2895117" y="1856974"/>
                    </a:cubicBezTo>
                    <a:cubicBezTo>
                      <a:pt x="2895342" y="1859456"/>
                      <a:pt x="2896922" y="1863292"/>
                      <a:pt x="2898050" y="1865097"/>
                    </a:cubicBezTo>
                    <a:cubicBezTo>
                      <a:pt x="2898953" y="1863292"/>
                      <a:pt x="2899855" y="1860359"/>
                      <a:pt x="2899630" y="1857877"/>
                    </a:cubicBezTo>
                    <a:cubicBezTo>
                      <a:pt x="2899630" y="1856523"/>
                      <a:pt x="2899404" y="1855620"/>
                      <a:pt x="2899178" y="1854718"/>
                    </a:cubicBezTo>
                    <a:cubicBezTo>
                      <a:pt x="2898727" y="1852912"/>
                      <a:pt x="2898501" y="1851333"/>
                      <a:pt x="2899855" y="1848851"/>
                    </a:cubicBezTo>
                    <a:cubicBezTo>
                      <a:pt x="2900532" y="1847497"/>
                      <a:pt x="2901660" y="1846594"/>
                      <a:pt x="2902789" y="1846143"/>
                    </a:cubicBezTo>
                    <a:cubicBezTo>
                      <a:pt x="2904819" y="1845466"/>
                      <a:pt x="2907527" y="1846143"/>
                      <a:pt x="2910686" y="1847948"/>
                    </a:cubicBezTo>
                    <a:cubicBezTo>
                      <a:pt x="2913394" y="1849528"/>
                      <a:pt x="2916102" y="1850882"/>
                      <a:pt x="2916102" y="1855169"/>
                    </a:cubicBezTo>
                    <a:cubicBezTo>
                      <a:pt x="2916102" y="1855620"/>
                      <a:pt x="2917681" y="1856748"/>
                      <a:pt x="2918584" y="1857425"/>
                    </a:cubicBezTo>
                    <a:cubicBezTo>
                      <a:pt x="2920614" y="1858779"/>
                      <a:pt x="2922871" y="1860359"/>
                      <a:pt x="2922871" y="1863066"/>
                    </a:cubicBezTo>
                    <a:cubicBezTo>
                      <a:pt x="2922871" y="1864195"/>
                      <a:pt x="2922646" y="1865323"/>
                      <a:pt x="2922420" y="1866677"/>
                    </a:cubicBezTo>
                    <a:cubicBezTo>
                      <a:pt x="2921743" y="1869836"/>
                      <a:pt x="2920840" y="1873446"/>
                      <a:pt x="2923548" y="1876380"/>
                    </a:cubicBezTo>
                    <a:cubicBezTo>
                      <a:pt x="2926933" y="1880667"/>
                      <a:pt x="2928738" y="1880893"/>
                      <a:pt x="2933251" y="1881569"/>
                    </a:cubicBezTo>
                    <a:lnTo>
                      <a:pt x="2934605" y="1881795"/>
                    </a:lnTo>
                    <a:cubicBezTo>
                      <a:pt x="2937989" y="1882246"/>
                      <a:pt x="2937989" y="1882246"/>
                      <a:pt x="2939569" y="1880216"/>
                    </a:cubicBezTo>
                    <a:cubicBezTo>
                      <a:pt x="2940246" y="1879313"/>
                      <a:pt x="2941148" y="1878410"/>
                      <a:pt x="2942277" y="1877057"/>
                    </a:cubicBezTo>
                    <a:cubicBezTo>
                      <a:pt x="2947241" y="1871641"/>
                      <a:pt x="2948143" y="1870287"/>
                      <a:pt x="2949949" y="1866677"/>
                    </a:cubicBezTo>
                    <a:cubicBezTo>
                      <a:pt x="2951528" y="1863292"/>
                      <a:pt x="2954913" y="1852687"/>
                      <a:pt x="2955816" y="1845692"/>
                    </a:cubicBezTo>
                    <a:cubicBezTo>
                      <a:pt x="2956267" y="1842307"/>
                      <a:pt x="2955139" y="1839148"/>
                      <a:pt x="2954010" y="1835763"/>
                    </a:cubicBezTo>
                    <a:cubicBezTo>
                      <a:pt x="2953108" y="1832830"/>
                      <a:pt x="2951979" y="1829896"/>
                      <a:pt x="2951979" y="1826512"/>
                    </a:cubicBezTo>
                    <a:cubicBezTo>
                      <a:pt x="2951979" y="1820419"/>
                      <a:pt x="2954913" y="1817712"/>
                      <a:pt x="2959426" y="1813650"/>
                    </a:cubicBezTo>
                    <a:cubicBezTo>
                      <a:pt x="2960554" y="1812747"/>
                      <a:pt x="2961682" y="1811619"/>
                      <a:pt x="2963036" y="1810265"/>
                    </a:cubicBezTo>
                    <a:cubicBezTo>
                      <a:pt x="2968000" y="1805301"/>
                      <a:pt x="2967549" y="1802819"/>
                      <a:pt x="2966421" y="1797629"/>
                    </a:cubicBezTo>
                    <a:cubicBezTo>
                      <a:pt x="2966195" y="1796952"/>
                      <a:pt x="2965970" y="1796050"/>
                      <a:pt x="2965970" y="1795147"/>
                    </a:cubicBezTo>
                    <a:cubicBezTo>
                      <a:pt x="2965744" y="1794245"/>
                      <a:pt x="2965518" y="1793342"/>
                      <a:pt x="2965518" y="1792439"/>
                    </a:cubicBezTo>
                    <a:cubicBezTo>
                      <a:pt x="2964390" y="1787249"/>
                      <a:pt x="2964164" y="1785670"/>
                      <a:pt x="2967775" y="1780480"/>
                    </a:cubicBezTo>
                    <a:cubicBezTo>
                      <a:pt x="2971385" y="1775064"/>
                      <a:pt x="2975447" y="1776644"/>
                      <a:pt x="2977703" y="1777772"/>
                    </a:cubicBezTo>
                    <a:cubicBezTo>
                      <a:pt x="2978380" y="1777998"/>
                      <a:pt x="2979057" y="1778449"/>
                      <a:pt x="2979508" y="1778449"/>
                    </a:cubicBezTo>
                    <a:cubicBezTo>
                      <a:pt x="2982216" y="1778449"/>
                      <a:pt x="2985149" y="1777998"/>
                      <a:pt x="2988308" y="1773936"/>
                    </a:cubicBezTo>
                    <a:cubicBezTo>
                      <a:pt x="2989888" y="1771905"/>
                      <a:pt x="2991467" y="1770777"/>
                      <a:pt x="2992821" y="1770777"/>
                    </a:cubicBezTo>
                    <a:cubicBezTo>
                      <a:pt x="2994401" y="1770777"/>
                      <a:pt x="2995304" y="1771905"/>
                      <a:pt x="2995981" y="1773034"/>
                    </a:cubicBezTo>
                    <a:cubicBezTo>
                      <a:pt x="2996206" y="1773485"/>
                      <a:pt x="2996657" y="1773936"/>
                      <a:pt x="2997108" y="1774388"/>
                    </a:cubicBezTo>
                    <a:cubicBezTo>
                      <a:pt x="2997786" y="1775064"/>
                      <a:pt x="2998463" y="1775064"/>
                      <a:pt x="3001396" y="1774162"/>
                    </a:cubicBezTo>
                    <a:cubicBezTo>
                      <a:pt x="3002976" y="1773711"/>
                      <a:pt x="3004781" y="1773259"/>
                      <a:pt x="3007263" y="1772808"/>
                    </a:cubicBezTo>
                    <a:cubicBezTo>
                      <a:pt x="3009068" y="1772583"/>
                      <a:pt x="3011324" y="1772357"/>
                      <a:pt x="3012678" y="1773936"/>
                    </a:cubicBezTo>
                    <a:cubicBezTo>
                      <a:pt x="3014258" y="1775742"/>
                      <a:pt x="3013581" y="1778224"/>
                      <a:pt x="3012678" y="1781608"/>
                    </a:cubicBezTo>
                    <a:cubicBezTo>
                      <a:pt x="3012453" y="1782962"/>
                      <a:pt x="3012001" y="1784316"/>
                      <a:pt x="3011776" y="1785896"/>
                    </a:cubicBezTo>
                    <a:cubicBezTo>
                      <a:pt x="3010196" y="1794019"/>
                      <a:pt x="3022381" y="1823353"/>
                      <a:pt x="3028474" y="1826286"/>
                    </a:cubicBezTo>
                    <a:cubicBezTo>
                      <a:pt x="3028474" y="1826286"/>
                      <a:pt x="3028474" y="1826286"/>
                      <a:pt x="3028474" y="1826286"/>
                    </a:cubicBezTo>
                    <a:lnTo>
                      <a:pt x="3026894" y="1829671"/>
                    </a:lnTo>
                    <a:cubicBezTo>
                      <a:pt x="3026217" y="1829445"/>
                      <a:pt x="3025540" y="1829445"/>
                      <a:pt x="3025089" y="1829671"/>
                    </a:cubicBezTo>
                    <a:cubicBezTo>
                      <a:pt x="3024186" y="1830122"/>
                      <a:pt x="3023284" y="1831025"/>
                      <a:pt x="3022832" y="1831927"/>
                    </a:cubicBezTo>
                    <a:cubicBezTo>
                      <a:pt x="3021930" y="1833958"/>
                      <a:pt x="3022381" y="1836440"/>
                      <a:pt x="3022832" y="1838922"/>
                    </a:cubicBezTo>
                    <a:cubicBezTo>
                      <a:pt x="3026217" y="1857877"/>
                      <a:pt x="3032761" y="1876831"/>
                      <a:pt x="3042915" y="1898267"/>
                    </a:cubicBezTo>
                    <a:cubicBezTo>
                      <a:pt x="3044269" y="1901201"/>
                      <a:pt x="3046074" y="1904360"/>
                      <a:pt x="3047879" y="1907519"/>
                    </a:cubicBezTo>
                    <a:cubicBezTo>
                      <a:pt x="3052618" y="1915642"/>
                      <a:pt x="3057582" y="1924217"/>
                      <a:pt x="3057582" y="1933242"/>
                    </a:cubicBezTo>
                    <a:cubicBezTo>
                      <a:pt x="3057582" y="1939560"/>
                      <a:pt x="3058259" y="1942720"/>
                      <a:pt x="3059161" y="1945879"/>
                    </a:cubicBezTo>
                    <a:cubicBezTo>
                      <a:pt x="3060064" y="1949263"/>
                      <a:pt x="3060966" y="1952648"/>
                      <a:pt x="3060966" y="1959417"/>
                    </a:cubicBezTo>
                    <a:cubicBezTo>
                      <a:pt x="3060966" y="1965961"/>
                      <a:pt x="3062546" y="1968895"/>
                      <a:pt x="3064125" y="1971377"/>
                    </a:cubicBezTo>
                    <a:cubicBezTo>
                      <a:pt x="3065480" y="1973633"/>
                      <a:pt x="3066833" y="1976115"/>
                      <a:pt x="3066608" y="1980628"/>
                    </a:cubicBezTo>
                    <a:cubicBezTo>
                      <a:pt x="3066382" y="1986495"/>
                      <a:pt x="3067962" y="1992136"/>
                      <a:pt x="3070218" y="1993716"/>
                    </a:cubicBezTo>
                    <a:cubicBezTo>
                      <a:pt x="3070895" y="1994167"/>
                      <a:pt x="3071798" y="1994393"/>
                      <a:pt x="3073603" y="1993490"/>
                    </a:cubicBezTo>
                    <a:cubicBezTo>
                      <a:pt x="3077213" y="1991459"/>
                      <a:pt x="3078116" y="1989428"/>
                      <a:pt x="3079244" y="1987398"/>
                    </a:cubicBezTo>
                    <a:cubicBezTo>
                      <a:pt x="3079921" y="1985818"/>
                      <a:pt x="3080823" y="1984239"/>
                      <a:pt x="3082629" y="1983110"/>
                    </a:cubicBezTo>
                    <a:cubicBezTo>
                      <a:pt x="3085336" y="1981531"/>
                      <a:pt x="3086690" y="1982208"/>
                      <a:pt x="3088495" y="1983110"/>
                    </a:cubicBezTo>
                    <a:cubicBezTo>
                      <a:pt x="3089398" y="1983562"/>
                      <a:pt x="3090300" y="1984239"/>
                      <a:pt x="3092106" y="1984690"/>
                    </a:cubicBezTo>
                    <a:cubicBezTo>
                      <a:pt x="3095716" y="1985592"/>
                      <a:pt x="3096619" y="1987398"/>
                      <a:pt x="3096844" y="1988977"/>
                    </a:cubicBezTo>
                    <a:cubicBezTo>
                      <a:pt x="3099101" y="1989654"/>
                      <a:pt x="3103613" y="1991685"/>
                      <a:pt x="3110609" y="1995069"/>
                    </a:cubicBezTo>
                    <a:cubicBezTo>
                      <a:pt x="3112188" y="1995747"/>
                      <a:pt x="3113316" y="1995972"/>
                      <a:pt x="3114219" y="1995747"/>
                    </a:cubicBezTo>
                    <a:cubicBezTo>
                      <a:pt x="3115573" y="1995295"/>
                      <a:pt x="3116475" y="1992813"/>
                      <a:pt x="3117152" y="1990557"/>
                    </a:cubicBezTo>
                    <a:cubicBezTo>
                      <a:pt x="3117378" y="1989880"/>
                      <a:pt x="3117604" y="1989203"/>
                      <a:pt x="3117829" y="1988526"/>
                    </a:cubicBezTo>
                    <a:lnTo>
                      <a:pt x="3118958" y="1985818"/>
                    </a:lnTo>
                    <a:cubicBezTo>
                      <a:pt x="3120537" y="1981982"/>
                      <a:pt x="3122117" y="1977920"/>
                      <a:pt x="3123019" y="1974310"/>
                    </a:cubicBezTo>
                    <a:cubicBezTo>
                      <a:pt x="3123922" y="1969571"/>
                      <a:pt x="3127081" y="1967992"/>
                      <a:pt x="3130465" y="1965961"/>
                    </a:cubicBezTo>
                    <a:cubicBezTo>
                      <a:pt x="3131142" y="1965510"/>
                      <a:pt x="3132045" y="1965059"/>
                      <a:pt x="3132722" y="1964607"/>
                    </a:cubicBezTo>
                    <a:cubicBezTo>
                      <a:pt x="3133399" y="1964156"/>
                      <a:pt x="3133173" y="1963479"/>
                      <a:pt x="3131594" y="1960320"/>
                    </a:cubicBezTo>
                    <a:cubicBezTo>
                      <a:pt x="3130014" y="1957387"/>
                      <a:pt x="3127983" y="1953776"/>
                      <a:pt x="3130240" y="1950392"/>
                    </a:cubicBezTo>
                    <a:cubicBezTo>
                      <a:pt x="3132722" y="1946781"/>
                      <a:pt x="3132045" y="1944074"/>
                      <a:pt x="3131142" y="1940689"/>
                    </a:cubicBezTo>
                    <a:lnTo>
                      <a:pt x="3130917" y="1939786"/>
                    </a:lnTo>
                    <a:cubicBezTo>
                      <a:pt x="3130240" y="1936853"/>
                      <a:pt x="3127306" y="1931437"/>
                      <a:pt x="3122117" y="1926022"/>
                    </a:cubicBezTo>
                    <a:cubicBezTo>
                      <a:pt x="3116024" y="1919929"/>
                      <a:pt x="3117378" y="1913837"/>
                      <a:pt x="3118732" y="1907744"/>
                    </a:cubicBezTo>
                    <a:cubicBezTo>
                      <a:pt x="3119409" y="1905037"/>
                      <a:pt x="3119860" y="1902103"/>
                      <a:pt x="3119860" y="1899170"/>
                    </a:cubicBezTo>
                    <a:cubicBezTo>
                      <a:pt x="3119635" y="1895108"/>
                      <a:pt x="3118506" y="1891724"/>
                      <a:pt x="3117604" y="1888565"/>
                    </a:cubicBezTo>
                    <a:cubicBezTo>
                      <a:pt x="3115799" y="1882472"/>
                      <a:pt x="3113993" y="1876380"/>
                      <a:pt x="3117378" y="1867128"/>
                    </a:cubicBezTo>
                    <a:cubicBezTo>
                      <a:pt x="3119860" y="1860359"/>
                      <a:pt x="3123696" y="1854266"/>
                      <a:pt x="3127532" y="1848399"/>
                    </a:cubicBezTo>
                    <a:cubicBezTo>
                      <a:pt x="3130014" y="1844564"/>
                      <a:pt x="3132271" y="1840728"/>
                      <a:pt x="3134527" y="1836666"/>
                    </a:cubicBezTo>
                    <a:cubicBezTo>
                      <a:pt x="3149194" y="1808009"/>
                      <a:pt x="3149194" y="1755433"/>
                      <a:pt x="3134301" y="1726551"/>
                    </a:cubicBezTo>
                    <a:cubicBezTo>
                      <a:pt x="3129337" y="1717073"/>
                      <a:pt x="3129789" y="1710078"/>
                      <a:pt x="3134978" y="1707145"/>
                    </a:cubicBezTo>
                    <a:cubicBezTo>
                      <a:pt x="3139717" y="1704663"/>
                      <a:pt x="3145133" y="1707822"/>
                      <a:pt x="3148517" y="1711432"/>
                    </a:cubicBezTo>
                    <a:cubicBezTo>
                      <a:pt x="3148969" y="1711884"/>
                      <a:pt x="3149420" y="1712335"/>
                      <a:pt x="3149871" y="1713012"/>
                    </a:cubicBezTo>
                    <a:cubicBezTo>
                      <a:pt x="3152353" y="1715720"/>
                      <a:pt x="3154610" y="1718202"/>
                      <a:pt x="3157543" y="1718653"/>
                    </a:cubicBezTo>
                    <a:cubicBezTo>
                      <a:pt x="3160251" y="1719104"/>
                      <a:pt x="3162733" y="1717751"/>
                      <a:pt x="3165441" y="1716397"/>
                    </a:cubicBezTo>
                    <a:cubicBezTo>
                      <a:pt x="3167246" y="1715494"/>
                      <a:pt x="3169051" y="1714591"/>
                      <a:pt x="3171082" y="1714140"/>
                    </a:cubicBezTo>
                    <a:cubicBezTo>
                      <a:pt x="3176497" y="1712786"/>
                      <a:pt x="3181913" y="1714366"/>
                      <a:pt x="3186426" y="1715720"/>
                    </a:cubicBezTo>
                    <a:cubicBezTo>
                      <a:pt x="3188682" y="1716397"/>
                      <a:pt x="3190713" y="1717073"/>
                      <a:pt x="3192970" y="1717976"/>
                    </a:cubicBezTo>
                    <a:cubicBezTo>
                      <a:pt x="3201544" y="1720910"/>
                      <a:pt x="3210344" y="1724069"/>
                      <a:pt x="3219370" y="1724069"/>
                    </a:cubicBezTo>
                    <a:cubicBezTo>
                      <a:pt x="3219370" y="1724069"/>
                      <a:pt x="3219596" y="1724069"/>
                      <a:pt x="3219596" y="1724069"/>
                    </a:cubicBezTo>
                    <a:cubicBezTo>
                      <a:pt x="3229750" y="1724069"/>
                      <a:pt x="3241935" y="1718427"/>
                      <a:pt x="3244642" y="1708048"/>
                    </a:cubicBezTo>
                    <a:cubicBezTo>
                      <a:pt x="3245771" y="1703535"/>
                      <a:pt x="3245094" y="1699022"/>
                      <a:pt x="3244417" y="1694283"/>
                    </a:cubicBezTo>
                    <a:cubicBezTo>
                      <a:pt x="3244191" y="1692252"/>
                      <a:pt x="3243740" y="1690222"/>
                      <a:pt x="3243740" y="1688191"/>
                    </a:cubicBezTo>
                    <a:cubicBezTo>
                      <a:pt x="3243063" y="1679165"/>
                      <a:pt x="3248930" y="1667206"/>
                      <a:pt x="3253894" y="1656375"/>
                    </a:cubicBezTo>
                    <a:cubicBezTo>
                      <a:pt x="3256150" y="1651411"/>
                      <a:pt x="3258407" y="1646897"/>
                      <a:pt x="3259761" y="1643062"/>
                    </a:cubicBezTo>
                    <a:cubicBezTo>
                      <a:pt x="3260889" y="1639903"/>
                      <a:pt x="3261792" y="1637195"/>
                      <a:pt x="3262694" y="1634713"/>
                    </a:cubicBezTo>
                    <a:cubicBezTo>
                      <a:pt x="3265628" y="1626364"/>
                      <a:pt x="3266981" y="1622753"/>
                      <a:pt x="3270140" y="1615984"/>
                    </a:cubicBezTo>
                    <a:cubicBezTo>
                      <a:pt x="3271043" y="1614179"/>
                      <a:pt x="3272171" y="1612374"/>
                      <a:pt x="3273074" y="1610569"/>
                    </a:cubicBezTo>
                    <a:cubicBezTo>
                      <a:pt x="3277361" y="1603122"/>
                      <a:pt x="3282100" y="1594773"/>
                      <a:pt x="3282100" y="1582588"/>
                    </a:cubicBezTo>
                    <a:cubicBezTo>
                      <a:pt x="3282100" y="1574465"/>
                      <a:pt x="3284807" y="1566793"/>
                      <a:pt x="3287064" y="1560475"/>
                    </a:cubicBezTo>
                    <a:cubicBezTo>
                      <a:pt x="3288644" y="1556188"/>
                      <a:pt x="3290448" y="1551224"/>
                      <a:pt x="3289095" y="1550547"/>
                    </a:cubicBezTo>
                    <a:lnTo>
                      <a:pt x="3287741" y="1549870"/>
                    </a:lnTo>
                    <a:cubicBezTo>
                      <a:pt x="3282551" y="1546711"/>
                      <a:pt x="3276233" y="1542875"/>
                      <a:pt x="3272848" y="1535428"/>
                    </a:cubicBezTo>
                    <a:cubicBezTo>
                      <a:pt x="3269689" y="1528659"/>
                      <a:pt x="3270592" y="1526177"/>
                      <a:pt x="3272397" y="1521213"/>
                    </a:cubicBezTo>
                    <a:cubicBezTo>
                      <a:pt x="3272848" y="1520084"/>
                      <a:pt x="3273299" y="1518956"/>
                      <a:pt x="3273751" y="1517377"/>
                    </a:cubicBezTo>
                    <a:cubicBezTo>
                      <a:pt x="3274879" y="1513992"/>
                      <a:pt x="3274653" y="1511736"/>
                      <a:pt x="3274653" y="1509930"/>
                    </a:cubicBezTo>
                    <a:cubicBezTo>
                      <a:pt x="3274653" y="1507674"/>
                      <a:pt x="3274428" y="1505192"/>
                      <a:pt x="3277812" y="1504064"/>
                    </a:cubicBezTo>
                    <a:cubicBezTo>
                      <a:pt x="3281423" y="1502935"/>
                      <a:pt x="3290900" y="1497971"/>
                      <a:pt x="3294510" y="1495038"/>
                    </a:cubicBezTo>
                    <a:cubicBezTo>
                      <a:pt x="3299023" y="1491427"/>
                      <a:pt x="3303310" y="1487140"/>
                      <a:pt x="3308049" y="1481725"/>
                    </a:cubicBezTo>
                    <a:cubicBezTo>
                      <a:pt x="3310982" y="1478566"/>
                      <a:pt x="3311885" y="1476309"/>
                      <a:pt x="3313013" y="1474053"/>
                    </a:cubicBezTo>
                    <a:cubicBezTo>
                      <a:pt x="3314141" y="1472022"/>
                      <a:pt x="3315270" y="1469765"/>
                      <a:pt x="3317526" y="1466606"/>
                    </a:cubicBezTo>
                    <a:cubicBezTo>
                      <a:pt x="3320234" y="1463222"/>
                      <a:pt x="3319783" y="1461191"/>
                      <a:pt x="3319106" y="1456227"/>
                    </a:cubicBezTo>
                    <a:cubicBezTo>
                      <a:pt x="3318654" y="1453293"/>
                      <a:pt x="3317977" y="1449683"/>
                      <a:pt x="3317977" y="1444944"/>
                    </a:cubicBezTo>
                    <a:cubicBezTo>
                      <a:pt x="3317977" y="1435016"/>
                      <a:pt x="3320911" y="1431180"/>
                      <a:pt x="3324070" y="1427344"/>
                    </a:cubicBezTo>
                    <a:cubicBezTo>
                      <a:pt x="3325198" y="1425990"/>
                      <a:pt x="3326326" y="1424410"/>
                      <a:pt x="3327455" y="1422380"/>
                    </a:cubicBezTo>
                    <a:cubicBezTo>
                      <a:pt x="3331291" y="1415610"/>
                      <a:pt x="3331291" y="1414256"/>
                      <a:pt x="3330162" y="1409969"/>
                    </a:cubicBezTo>
                    <a:cubicBezTo>
                      <a:pt x="3329711" y="1408164"/>
                      <a:pt x="3328357" y="1406584"/>
                      <a:pt x="3327003" y="1404779"/>
                    </a:cubicBezTo>
                    <a:cubicBezTo>
                      <a:pt x="3324973" y="1402297"/>
                      <a:pt x="3322942" y="1399589"/>
                      <a:pt x="3323167" y="1396430"/>
                    </a:cubicBezTo>
                    <a:cubicBezTo>
                      <a:pt x="3323167" y="1395302"/>
                      <a:pt x="3323393" y="1394174"/>
                      <a:pt x="3323618" y="1392594"/>
                    </a:cubicBezTo>
                    <a:cubicBezTo>
                      <a:pt x="3324070" y="1388533"/>
                      <a:pt x="3324521" y="1383117"/>
                      <a:pt x="3323844" y="1380184"/>
                    </a:cubicBezTo>
                    <a:cubicBezTo>
                      <a:pt x="3323618" y="1379056"/>
                      <a:pt x="3322716" y="1377927"/>
                      <a:pt x="3321362" y="1376348"/>
                    </a:cubicBezTo>
                    <a:cubicBezTo>
                      <a:pt x="3319331" y="1373640"/>
                      <a:pt x="3316398" y="1370255"/>
                      <a:pt x="3315270" y="1364163"/>
                    </a:cubicBezTo>
                    <a:cubicBezTo>
                      <a:pt x="3313464" y="1354009"/>
                      <a:pt x="3320459" y="1337988"/>
                      <a:pt x="3323618" y="1333024"/>
                    </a:cubicBezTo>
                    <a:cubicBezTo>
                      <a:pt x="3326778" y="1328060"/>
                      <a:pt x="3330614" y="1328737"/>
                      <a:pt x="3333773" y="1329414"/>
                    </a:cubicBezTo>
                    <a:cubicBezTo>
                      <a:pt x="3335804" y="1329865"/>
                      <a:pt x="3337609" y="1330090"/>
                      <a:pt x="3339414" y="1329188"/>
                    </a:cubicBezTo>
                    <a:cubicBezTo>
                      <a:pt x="3346409" y="1325577"/>
                      <a:pt x="3352727" y="1318583"/>
                      <a:pt x="3358820" y="1311813"/>
                    </a:cubicBezTo>
                    <a:cubicBezTo>
                      <a:pt x="3361302" y="1309105"/>
                      <a:pt x="3363783" y="1306398"/>
                      <a:pt x="3366040" y="1303915"/>
                    </a:cubicBezTo>
                    <a:lnTo>
                      <a:pt x="3377774" y="1292408"/>
                    </a:lnTo>
                    <a:cubicBezTo>
                      <a:pt x="3393343" y="1277064"/>
                      <a:pt x="3409364" y="1261268"/>
                      <a:pt x="3425159" y="1245473"/>
                    </a:cubicBezTo>
                    <a:cubicBezTo>
                      <a:pt x="3433508" y="1237124"/>
                      <a:pt x="3442534" y="1229452"/>
                      <a:pt x="3452463" y="1229452"/>
                    </a:cubicBezTo>
                    <a:cubicBezTo>
                      <a:pt x="3461263" y="1229452"/>
                      <a:pt x="3466227" y="1228775"/>
                      <a:pt x="3472545" y="1224262"/>
                    </a:cubicBezTo>
                    <a:cubicBezTo>
                      <a:pt x="3479766" y="1219073"/>
                      <a:pt x="3491499" y="1216365"/>
                      <a:pt x="3499848" y="1217719"/>
                    </a:cubicBezTo>
                    <a:cubicBezTo>
                      <a:pt x="3507972" y="1219073"/>
                      <a:pt x="3512485" y="1223586"/>
                      <a:pt x="3518126" y="1229227"/>
                    </a:cubicBezTo>
                    <a:lnTo>
                      <a:pt x="3519254" y="1230355"/>
                    </a:lnTo>
                    <a:cubicBezTo>
                      <a:pt x="3520833" y="1231934"/>
                      <a:pt x="3522187" y="1233514"/>
                      <a:pt x="3523090" y="1234868"/>
                    </a:cubicBezTo>
                    <a:cubicBezTo>
                      <a:pt x="3526023" y="1238478"/>
                      <a:pt x="3527603" y="1240509"/>
                      <a:pt x="3535500" y="1241186"/>
                    </a:cubicBezTo>
                    <a:cubicBezTo>
                      <a:pt x="3539111" y="1241411"/>
                      <a:pt x="3541593" y="1240735"/>
                      <a:pt x="3542721" y="1239155"/>
                    </a:cubicBezTo>
                    <a:cubicBezTo>
                      <a:pt x="3544300" y="1236899"/>
                      <a:pt x="3543398" y="1232611"/>
                      <a:pt x="3542044" y="1229678"/>
                    </a:cubicBezTo>
                    <a:lnTo>
                      <a:pt x="3541367" y="1228098"/>
                    </a:lnTo>
                    <a:cubicBezTo>
                      <a:pt x="3539111" y="1222909"/>
                      <a:pt x="3537080" y="1218621"/>
                      <a:pt x="3527603" y="1214334"/>
                    </a:cubicBezTo>
                    <a:cubicBezTo>
                      <a:pt x="3517674" y="1209821"/>
                      <a:pt x="3518126" y="1202600"/>
                      <a:pt x="3518351" y="1196959"/>
                    </a:cubicBezTo>
                    <a:cubicBezTo>
                      <a:pt x="3518351" y="1195380"/>
                      <a:pt x="3518577" y="1193800"/>
                      <a:pt x="3518351" y="1192446"/>
                    </a:cubicBezTo>
                    <a:lnTo>
                      <a:pt x="3518126" y="1190416"/>
                    </a:lnTo>
                    <a:cubicBezTo>
                      <a:pt x="3517674" y="1185000"/>
                      <a:pt x="3517449" y="1182518"/>
                      <a:pt x="3519931" y="1178005"/>
                    </a:cubicBezTo>
                    <a:cubicBezTo>
                      <a:pt x="3520608" y="1176877"/>
                      <a:pt x="3520833" y="1175748"/>
                      <a:pt x="3521285" y="1174620"/>
                    </a:cubicBezTo>
                    <a:cubicBezTo>
                      <a:pt x="3522187" y="1171461"/>
                      <a:pt x="3523315" y="1168302"/>
                      <a:pt x="3529408" y="1163564"/>
                    </a:cubicBezTo>
                    <a:cubicBezTo>
                      <a:pt x="3533921" y="1160179"/>
                      <a:pt x="3535049" y="1158148"/>
                      <a:pt x="3536854" y="1154763"/>
                    </a:cubicBezTo>
                    <a:cubicBezTo>
                      <a:pt x="3538208" y="1152507"/>
                      <a:pt x="3539562" y="1149574"/>
                      <a:pt x="3542721" y="1145512"/>
                    </a:cubicBezTo>
                    <a:cubicBezTo>
                      <a:pt x="3545655" y="1141676"/>
                      <a:pt x="3547460" y="1139645"/>
                      <a:pt x="3548814" y="1138291"/>
                    </a:cubicBezTo>
                    <a:cubicBezTo>
                      <a:pt x="3550844" y="1136260"/>
                      <a:pt x="3551521" y="1135358"/>
                      <a:pt x="3553778" y="1130394"/>
                    </a:cubicBezTo>
                    <a:cubicBezTo>
                      <a:pt x="3555132" y="1127235"/>
                      <a:pt x="3557162" y="1124978"/>
                      <a:pt x="3558968" y="1122947"/>
                    </a:cubicBezTo>
                    <a:cubicBezTo>
                      <a:pt x="3562352" y="1119111"/>
                      <a:pt x="3564383" y="1116855"/>
                      <a:pt x="3561675" y="1111439"/>
                    </a:cubicBezTo>
                    <a:cubicBezTo>
                      <a:pt x="3560998" y="1110085"/>
                      <a:pt x="3560547" y="1109183"/>
                      <a:pt x="3560096" y="1108280"/>
                    </a:cubicBezTo>
                    <a:cubicBezTo>
                      <a:pt x="3557839" y="1103993"/>
                      <a:pt x="3557839" y="1103316"/>
                      <a:pt x="3559644" y="1099706"/>
                    </a:cubicBezTo>
                    <a:cubicBezTo>
                      <a:pt x="3560321" y="1098578"/>
                      <a:pt x="3560998" y="1096998"/>
                      <a:pt x="3562127" y="1094290"/>
                    </a:cubicBezTo>
                    <a:cubicBezTo>
                      <a:pt x="3563255" y="1091357"/>
                      <a:pt x="3563480" y="1089326"/>
                      <a:pt x="3562578" y="1087747"/>
                    </a:cubicBezTo>
                    <a:cubicBezTo>
                      <a:pt x="3560998" y="1084813"/>
                      <a:pt x="3555809" y="1083685"/>
                      <a:pt x="3550393" y="1082782"/>
                    </a:cubicBezTo>
                    <a:cubicBezTo>
                      <a:pt x="3541367" y="1081428"/>
                      <a:pt x="3541367" y="1081428"/>
                      <a:pt x="3534823" y="1079849"/>
                    </a:cubicBezTo>
                    <a:cubicBezTo>
                      <a:pt x="3532567" y="1079398"/>
                      <a:pt x="3530987" y="1078495"/>
                      <a:pt x="3529408" y="1077592"/>
                    </a:cubicBezTo>
                    <a:cubicBezTo>
                      <a:pt x="3526249" y="1076013"/>
                      <a:pt x="3523992" y="1074659"/>
                      <a:pt x="3517223" y="1078269"/>
                    </a:cubicBezTo>
                    <a:cubicBezTo>
                      <a:pt x="3509325" y="1082331"/>
                      <a:pt x="3505264" y="1082105"/>
                      <a:pt x="3501879" y="1081654"/>
                    </a:cubicBezTo>
                    <a:cubicBezTo>
                      <a:pt x="3500299" y="1081428"/>
                      <a:pt x="3498946" y="1081428"/>
                      <a:pt x="3497592" y="1081654"/>
                    </a:cubicBezTo>
                    <a:cubicBezTo>
                      <a:pt x="3493756" y="1082331"/>
                      <a:pt x="3488566" y="1079398"/>
                      <a:pt x="3482248" y="1075787"/>
                    </a:cubicBezTo>
                    <a:cubicBezTo>
                      <a:pt x="3477735" y="1073305"/>
                      <a:pt x="3473222" y="1070823"/>
                      <a:pt x="3469386" y="1069695"/>
                    </a:cubicBezTo>
                    <a:cubicBezTo>
                      <a:pt x="3464647" y="1068341"/>
                      <a:pt x="3463293" y="1069920"/>
                      <a:pt x="3460811" y="1072854"/>
                    </a:cubicBezTo>
                    <a:cubicBezTo>
                      <a:pt x="3459458" y="1074433"/>
                      <a:pt x="3457878" y="1076239"/>
                      <a:pt x="3455396" y="1077818"/>
                    </a:cubicBezTo>
                    <a:cubicBezTo>
                      <a:pt x="3449078" y="1081880"/>
                      <a:pt x="3446145" y="1083685"/>
                      <a:pt x="3440729" y="1083685"/>
                    </a:cubicBezTo>
                    <a:cubicBezTo>
                      <a:pt x="3438247" y="1083685"/>
                      <a:pt x="3436216" y="1083008"/>
                      <a:pt x="3434862" y="1081428"/>
                    </a:cubicBezTo>
                    <a:cubicBezTo>
                      <a:pt x="3433283" y="1079623"/>
                      <a:pt x="3432606" y="1076690"/>
                      <a:pt x="3432831" y="1072628"/>
                    </a:cubicBezTo>
                    <a:cubicBezTo>
                      <a:pt x="3432831" y="1071274"/>
                      <a:pt x="3432831" y="1070146"/>
                      <a:pt x="3432831" y="1069018"/>
                    </a:cubicBezTo>
                    <a:cubicBezTo>
                      <a:pt x="3432831" y="1064505"/>
                      <a:pt x="3432831" y="1059992"/>
                      <a:pt x="3438473" y="1055028"/>
                    </a:cubicBezTo>
                    <a:cubicBezTo>
                      <a:pt x="3442083" y="1051869"/>
                      <a:pt x="3443662" y="1049387"/>
                      <a:pt x="3445468" y="1046453"/>
                    </a:cubicBezTo>
                    <a:cubicBezTo>
                      <a:pt x="3446821" y="1044197"/>
                      <a:pt x="3448175" y="1042166"/>
                      <a:pt x="3450432" y="1039684"/>
                    </a:cubicBezTo>
                    <a:cubicBezTo>
                      <a:pt x="3455396" y="1034268"/>
                      <a:pt x="3456524" y="1032012"/>
                      <a:pt x="3456073" y="1025017"/>
                    </a:cubicBezTo>
                    <a:cubicBezTo>
                      <a:pt x="3455622" y="1018924"/>
                      <a:pt x="3451334" y="1012155"/>
                      <a:pt x="3444114" y="1007191"/>
                    </a:cubicBezTo>
                    <a:cubicBezTo>
                      <a:pt x="3440729" y="1004709"/>
                      <a:pt x="3439375" y="1001098"/>
                      <a:pt x="3438021" y="997714"/>
                    </a:cubicBezTo>
                    <a:cubicBezTo>
                      <a:pt x="3436442" y="993652"/>
                      <a:pt x="3435314" y="991170"/>
                      <a:pt x="3432155" y="990493"/>
                    </a:cubicBezTo>
                    <a:cubicBezTo>
                      <a:pt x="3427867" y="989816"/>
                      <a:pt x="3427416" y="990493"/>
                      <a:pt x="3425836" y="992975"/>
                    </a:cubicBezTo>
                    <a:cubicBezTo>
                      <a:pt x="3425159" y="994103"/>
                      <a:pt x="3424257" y="995683"/>
                      <a:pt x="3422677" y="997262"/>
                    </a:cubicBezTo>
                    <a:lnTo>
                      <a:pt x="3421098" y="999068"/>
                    </a:lnTo>
                    <a:cubicBezTo>
                      <a:pt x="3417036" y="1003581"/>
                      <a:pt x="3412974" y="1008319"/>
                      <a:pt x="3409139" y="1007868"/>
                    </a:cubicBezTo>
                    <a:cubicBezTo>
                      <a:pt x="3408010" y="1007642"/>
                      <a:pt x="3406656" y="1007191"/>
                      <a:pt x="3405528" y="1004934"/>
                    </a:cubicBezTo>
                    <a:cubicBezTo>
                      <a:pt x="3403723" y="1001324"/>
                      <a:pt x="3403497" y="999519"/>
                      <a:pt x="3403272" y="997262"/>
                    </a:cubicBezTo>
                    <a:cubicBezTo>
                      <a:pt x="3403046" y="995683"/>
                      <a:pt x="3402820" y="993878"/>
                      <a:pt x="3402144" y="990944"/>
                    </a:cubicBezTo>
                    <a:cubicBezTo>
                      <a:pt x="3400564" y="985077"/>
                      <a:pt x="3402369" y="983498"/>
                      <a:pt x="3405303" y="981467"/>
                    </a:cubicBezTo>
                    <a:cubicBezTo>
                      <a:pt x="3406656" y="980565"/>
                      <a:pt x="3408010" y="979436"/>
                      <a:pt x="3409590" y="977631"/>
                    </a:cubicBezTo>
                    <a:cubicBezTo>
                      <a:pt x="3417036" y="969057"/>
                      <a:pt x="3416810" y="965898"/>
                      <a:pt x="3416359" y="964995"/>
                    </a:cubicBezTo>
                    <a:cubicBezTo>
                      <a:pt x="3415908" y="963641"/>
                      <a:pt x="3413426" y="963415"/>
                      <a:pt x="3411846" y="963415"/>
                    </a:cubicBezTo>
                    <a:cubicBezTo>
                      <a:pt x="3407333" y="963190"/>
                      <a:pt x="3405303" y="962739"/>
                      <a:pt x="3404174" y="961385"/>
                    </a:cubicBezTo>
                    <a:cubicBezTo>
                      <a:pt x="3403046" y="960031"/>
                      <a:pt x="3403272" y="958451"/>
                      <a:pt x="3403497" y="957097"/>
                    </a:cubicBezTo>
                    <a:cubicBezTo>
                      <a:pt x="3403723" y="955292"/>
                      <a:pt x="3404174" y="953261"/>
                      <a:pt x="3402369" y="950328"/>
                    </a:cubicBezTo>
                    <a:cubicBezTo>
                      <a:pt x="3398082" y="943107"/>
                      <a:pt x="3398082" y="943107"/>
                      <a:pt x="3391989" y="943333"/>
                    </a:cubicBezTo>
                    <a:lnTo>
                      <a:pt x="3390861" y="943333"/>
                    </a:lnTo>
                    <a:cubicBezTo>
                      <a:pt x="3387025" y="943333"/>
                      <a:pt x="3378902" y="949651"/>
                      <a:pt x="3372810" y="954164"/>
                    </a:cubicBezTo>
                    <a:cubicBezTo>
                      <a:pt x="3367394" y="958226"/>
                      <a:pt x="3364009" y="960933"/>
                      <a:pt x="3361753" y="961610"/>
                    </a:cubicBezTo>
                    <a:cubicBezTo>
                      <a:pt x="3356563" y="962964"/>
                      <a:pt x="3335578" y="975149"/>
                      <a:pt x="3331291" y="980790"/>
                    </a:cubicBezTo>
                    <a:cubicBezTo>
                      <a:pt x="3329711" y="982821"/>
                      <a:pt x="3329034" y="984852"/>
                      <a:pt x="3328357" y="987108"/>
                    </a:cubicBezTo>
                    <a:cubicBezTo>
                      <a:pt x="3327003" y="991170"/>
                      <a:pt x="3325650" y="995232"/>
                      <a:pt x="3318880" y="997037"/>
                    </a:cubicBezTo>
                    <a:cubicBezTo>
                      <a:pt x="3315495" y="997939"/>
                      <a:pt x="3315270" y="1000196"/>
                      <a:pt x="3315270" y="1003581"/>
                    </a:cubicBezTo>
                    <a:cubicBezTo>
                      <a:pt x="3315270" y="1006288"/>
                      <a:pt x="3315044" y="1010350"/>
                      <a:pt x="3310531" y="1010576"/>
                    </a:cubicBezTo>
                    <a:cubicBezTo>
                      <a:pt x="3306244" y="1010801"/>
                      <a:pt x="3304664" y="1010124"/>
                      <a:pt x="3302408" y="1008770"/>
                    </a:cubicBezTo>
                    <a:cubicBezTo>
                      <a:pt x="3301505" y="1008319"/>
                      <a:pt x="3300603" y="1007642"/>
                      <a:pt x="3299249" y="1007191"/>
                    </a:cubicBezTo>
                    <a:cubicBezTo>
                      <a:pt x="3296090" y="1005837"/>
                      <a:pt x="3295187" y="1005386"/>
                      <a:pt x="3293382" y="1004257"/>
                    </a:cubicBezTo>
                    <a:cubicBezTo>
                      <a:pt x="3292254" y="1003581"/>
                      <a:pt x="3290674" y="1002678"/>
                      <a:pt x="3287741" y="1001098"/>
                    </a:cubicBezTo>
                    <a:cubicBezTo>
                      <a:pt x="3280520" y="997037"/>
                      <a:pt x="3274428" y="995683"/>
                      <a:pt x="3267207" y="996585"/>
                    </a:cubicBezTo>
                    <a:cubicBezTo>
                      <a:pt x="3256827" y="997939"/>
                      <a:pt x="3248027" y="994329"/>
                      <a:pt x="3239453" y="991170"/>
                    </a:cubicBezTo>
                    <a:cubicBezTo>
                      <a:pt x="3230201" y="987560"/>
                      <a:pt x="3221627" y="984175"/>
                      <a:pt x="3212150" y="987108"/>
                    </a:cubicBezTo>
                    <a:cubicBezTo>
                      <a:pt x="3203800" y="989590"/>
                      <a:pt x="3195903" y="995683"/>
                      <a:pt x="3187780" y="1005386"/>
                    </a:cubicBezTo>
                    <a:cubicBezTo>
                      <a:pt x="3181913" y="1012606"/>
                      <a:pt x="3176272" y="1020955"/>
                      <a:pt x="3171082" y="1029078"/>
                    </a:cubicBezTo>
                    <a:cubicBezTo>
                      <a:pt x="3157543" y="1049838"/>
                      <a:pt x="3143553" y="1071049"/>
                      <a:pt x="3119860" y="1077141"/>
                    </a:cubicBezTo>
                    <a:cubicBezTo>
                      <a:pt x="3115122" y="1078269"/>
                      <a:pt x="3110383" y="1078946"/>
                      <a:pt x="3105645" y="1079398"/>
                    </a:cubicBezTo>
                    <a:cubicBezTo>
                      <a:pt x="3097521" y="1080300"/>
                      <a:pt x="3089849" y="1080977"/>
                      <a:pt x="3083305" y="1085039"/>
                    </a:cubicBezTo>
                    <a:cubicBezTo>
                      <a:pt x="3069541" y="1093388"/>
                      <a:pt x="3066608" y="1112116"/>
                      <a:pt x="3065705" y="1130845"/>
                    </a:cubicBezTo>
                    <a:lnTo>
                      <a:pt x="3065705" y="1132650"/>
                    </a:lnTo>
                    <a:lnTo>
                      <a:pt x="3063900" y="1132650"/>
                    </a:lnTo>
                    <a:cubicBezTo>
                      <a:pt x="3034340" y="1132199"/>
                      <a:pt x="3006360" y="1158599"/>
                      <a:pt x="3005683" y="1188385"/>
                    </a:cubicBezTo>
                    <a:lnTo>
                      <a:pt x="3005683" y="1189964"/>
                    </a:lnTo>
                    <a:lnTo>
                      <a:pt x="3004104" y="1190190"/>
                    </a:lnTo>
                    <a:cubicBezTo>
                      <a:pt x="2998688" y="1190867"/>
                      <a:pt x="2994175" y="1195605"/>
                      <a:pt x="2993724" y="1201021"/>
                    </a:cubicBezTo>
                    <a:lnTo>
                      <a:pt x="2993498" y="1202375"/>
                    </a:lnTo>
                    <a:lnTo>
                      <a:pt x="2992145" y="1202600"/>
                    </a:lnTo>
                    <a:cubicBezTo>
                      <a:pt x="2990114" y="1203052"/>
                      <a:pt x="2986052" y="1204406"/>
                      <a:pt x="2981990" y="1205985"/>
                    </a:cubicBezTo>
                    <a:cubicBezTo>
                      <a:pt x="2971836" y="1209821"/>
                      <a:pt x="2964390" y="1212529"/>
                      <a:pt x="2960780" y="1211626"/>
                    </a:cubicBezTo>
                    <a:cubicBezTo>
                      <a:pt x="2958523" y="1211175"/>
                      <a:pt x="2956943" y="1209144"/>
                      <a:pt x="2955590" y="1207339"/>
                    </a:cubicBezTo>
                    <a:cubicBezTo>
                      <a:pt x="2953559" y="1204857"/>
                      <a:pt x="2952431" y="1203503"/>
                      <a:pt x="2949723" y="1203954"/>
                    </a:cubicBezTo>
                    <a:cubicBezTo>
                      <a:pt x="2948595" y="1204180"/>
                      <a:pt x="2947918" y="1204406"/>
                      <a:pt x="2947466" y="1204406"/>
                    </a:cubicBezTo>
                    <a:cubicBezTo>
                      <a:pt x="2947015" y="1205308"/>
                      <a:pt x="2945887" y="1206211"/>
                      <a:pt x="2943179" y="1207565"/>
                    </a:cubicBezTo>
                    <a:cubicBezTo>
                      <a:pt x="2940246" y="1209144"/>
                      <a:pt x="2938666" y="1211626"/>
                      <a:pt x="2937312" y="1213883"/>
                    </a:cubicBezTo>
                    <a:cubicBezTo>
                      <a:pt x="2935733" y="1216365"/>
                      <a:pt x="2934153" y="1219073"/>
                      <a:pt x="2930543" y="1219073"/>
                    </a:cubicBezTo>
                    <a:cubicBezTo>
                      <a:pt x="2928964" y="1219073"/>
                      <a:pt x="2926707" y="1220878"/>
                      <a:pt x="2924451" y="1222909"/>
                    </a:cubicBezTo>
                    <a:cubicBezTo>
                      <a:pt x="2921066" y="1225842"/>
                      <a:pt x="2916779" y="1229452"/>
                      <a:pt x="2911137" y="1229452"/>
                    </a:cubicBezTo>
                    <a:cubicBezTo>
                      <a:pt x="2905722" y="1229452"/>
                      <a:pt x="2904594" y="1228550"/>
                      <a:pt x="2903014" y="1225842"/>
                    </a:cubicBezTo>
                    <a:cubicBezTo>
                      <a:pt x="2902337" y="1224714"/>
                      <a:pt x="2901660" y="1222909"/>
                      <a:pt x="2898953" y="1220652"/>
                    </a:cubicBezTo>
                    <a:cubicBezTo>
                      <a:pt x="2892409" y="1214560"/>
                      <a:pt x="2887219" y="1212303"/>
                      <a:pt x="2881803" y="1213657"/>
                    </a:cubicBezTo>
                    <a:cubicBezTo>
                      <a:pt x="2881127" y="1213883"/>
                      <a:pt x="2880901" y="1213883"/>
                      <a:pt x="2880901" y="1213883"/>
                    </a:cubicBezTo>
                    <a:cubicBezTo>
                      <a:pt x="2880675" y="1214334"/>
                      <a:pt x="2881578" y="1216139"/>
                      <a:pt x="2882029" y="1217042"/>
                    </a:cubicBezTo>
                    <a:cubicBezTo>
                      <a:pt x="2883157" y="1219298"/>
                      <a:pt x="2884511" y="1222006"/>
                      <a:pt x="2882706" y="1224262"/>
                    </a:cubicBezTo>
                    <a:cubicBezTo>
                      <a:pt x="2882029" y="1224939"/>
                      <a:pt x="2881803" y="1226068"/>
                      <a:pt x="2881578" y="1227421"/>
                    </a:cubicBezTo>
                    <a:cubicBezTo>
                      <a:pt x="2881127" y="1229678"/>
                      <a:pt x="2880675" y="1232386"/>
                      <a:pt x="2877516" y="1234417"/>
                    </a:cubicBezTo>
                    <a:cubicBezTo>
                      <a:pt x="2875260" y="1235770"/>
                      <a:pt x="2875485" y="1237124"/>
                      <a:pt x="2875937" y="1240735"/>
                    </a:cubicBezTo>
                    <a:cubicBezTo>
                      <a:pt x="2876162" y="1241863"/>
                      <a:pt x="2876388" y="1242991"/>
                      <a:pt x="2876388" y="1244345"/>
                    </a:cubicBezTo>
                    <a:cubicBezTo>
                      <a:pt x="2876839" y="1248858"/>
                      <a:pt x="2882480" y="1253822"/>
                      <a:pt x="2883834" y="1253822"/>
                    </a:cubicBezTo>
                    <a:cubicBezTo>
                      <a:pt x="2886768" y="1253822"/>
                      <a:pt x="2891958" y="1255853"/>
                      <a:pt x="2895117" y="1258561"/>
                    </a:cubicBezTo>
                    <a:cubicBezTo>
                      <a:pt x="2896019" y="1257432"/>
                      <a:pt x="2897373" y="1256079"/>
                      <a:pt x="2900306" y="1256530"/>
                    </a:cubicBezTo>
                    <a:cubicBezTo>
                      <a:pt x="2904142" y="1257207"/>
                      <a:pt x="2914748" y="1254950"/>
                      <a:pt x="2919035" y="1254048"/>
                    </a:cubicBezTo>
                    <a:lnTo>
                      <a:pt x="2920163" y="1253822"/>
                    </a:lnTo>
                    <a:cubicBezTo>
                      <a:pt x="2925579" y="1252694"/>
                      <a:pt x="2932800" y="1260140"/>
                      <a:pt x="2933928" y="1262397"/>
                    </a:cubicBezTo>
                    <a:cubicBezTo>
                      <a:pt x="2934153" y="1262848"/>
                      <a:pt x="2934605" y="1263525"/>
                      <a:pt x="2935282" y="1264653"/>
                    </a:cubicBezTo>
                    <a:cubicBezTo>
                      <a:pt x="2939118" y="1270971"/>
                      <a:pt x="2943179" y="1277966"/>
                      <a:pt x="2943179" y="1281577"/>
                    </a:cubicBezTo>
                    <a:cubicBezTo>
                      <a:pt x="2943179" y="1285412"/>
                      <a:pt x="2942502" y="1291505"/>
                      <a:pt x="2938666" y="1298500"/>
                    </a:cubicBezTo>
                    <a:cubicBezTo>
                      <a:pt x="2935733" y="1303915"/>
                      <a:pt x="2939118" y="1308428"/>
                      <a:pt x="2942051" y="1310008"/>
                    </a:cubicBezTo>
                    <a:cubicBezTo>
                      <a:pt x="2946564" y="1312490"/>
                      <a:pt x="2949046" y="1318131"/>
                      <a:pt x="2949497" y="1327157"/>
                    </a:cubicBezTo>
                    <a:cubicBezTo>
                      <a:pt x="2949949" y="1334829"/>
                      <a:pt x="2947692" y="1342275"/>
                      <a:pt x="2947692" y="1342727"/>
                    </a:cubicBezTo>
                    <a:lnTo>
                      <a:pt x="2947466" y="1343629"/>
                    </a:lnTo>
                    <a:lnTo>
                      <a:pt x="2946564" y="1343855"/>
                    </a:lnTo>
                    <a:cubicBezTo>
                      <a:pt x="2937764" y="1346337"/>
                      <a:pt x="2936410" y="1345886"/>
                      <a:pt x="2931671" y="1342501"/>
                    </a:cubicBezTo>
                    <a:cubicBezTo>
                      <a:pt x="2929641" y="1341147"/>
                      <a:pt x="2927158" y="1339116"/>
                      <a:pt x="2922194" y="1336634"/>
                    </a:cubicBezTo>
                    <a:cubicBezTo>
                      <a:pt x="2915199" y="1333024"/>
                      <a:pt x="2912943" y="1336409"/>
                      <a:pt x="2909332" y="1342952"/>
                    </a:cubicBezTo>
                    <a:cubicBezTo>
                      <a:pt x="2906850" y="1347465"/>
                      <a:pt x="2903917" y="1352655"/>
                      <a:pt x="2898050" y="1352655"/>
                    </a:cubicBezTo>
                    <a:cubicBezTo>
                      <a:pt x="2893537" y="1352655"/>
                      <a:pt x="2889927" y="1353332"/>
                      <a:pt x="2886768" y="1353783"/>
                    </a:cubicBezTo>
                    <a:cubicBezTo>
                      <a:pt x="2882255" y="1354686"/>
                      <a:pt x="2878419" y="1355363"/>
                      <a:pt x="2873680" y="1353783"/>
                    </a:cubicBezTo>
                    <a:cubicBezTo>
                      <a:pt x="2867813" y="1351752"/>
                      <a:pt x="2864880" y="1354009"/>
                      <a:pt x="2860818" y="1359424"/>
                    </a:cubicBezTo>
                    <a:cubicBezTo>
                      <a:pt x="2857434" y="1363937"/>
                      <a:pt x="2853823" y="1361681"/>
                      <a:pt x="2849310" y="1358973"/>
                    </a:cubicBezTo>
                    <a:cubicBezTo>
                      <a:pt x="2846603" y="1357394"/>
                      <a:pt x="2843218" y="1355137"/>
                      <a:pt x="2838479" y="1353106"/>
                    </a:cubicBezTo>
                    <a:cubicBezTo>
                      <a:pt x="2832838" y="1350624"/>
                      <a:pt x="2830582" y="1352655"/>
                      <a:pt x="2827197" y="1356040"/>
                    </a:cubicBezTo>
                    <a:cubicBezTo>
                      <a:pt x="2823812" y="1359199"/>
                      <a:pt x="2819300" y="1363260"/>
                      <a:pt x="2810499" y="1363260"/>
                    </a:cubicBezTo>
                    <a:cubicBezTo>
                      <a:pt x="2799894" y="1363260"/>
                      <a:pt x="2799217" y="1363486"/>
                      <a:pt x="2796058" y="1364614"/>
                    </a:cubicBezTo>
                    <a:cubicBezTo>
                      <a:pt x="2794253" y="1365291"/>
                      <a:pt x="2791545" y="1366194"/>
                      <a:pt x="2785904" y="1367548"/>
                    </a:cubicBezTo>
                    <a:cubicBezTo>
                      <a:pt x="2768980" y="1371609"/>
                      <a:pt x="2757021" y="1366871"/>
                      <a:pt x="2753185" y="1365291"/>
                    </a:cubicBezTo>
                    <a:cubicBezTo>
                      <a:pt x="2750929" y="1364389"/>
                      <a:pt x="2749124" y="1362132"/>
                      <a:pt x="2747544" y="1360101"/>
                    </a:cubicBezTo>
                    <a:cubicBezTo>
                      <a:pt x="2745513" y="1357394"/>
                      <a:pt x="2743482" y="1354912"/>
                      <a:pt x="2740323" y="1354912"/>
                    </a:cubicBezTo>
                    <a:cubicBezTo>
                      <a:pt x="2735133" y="1354912"/>
                      <a:pt x="2733780" y="1355588"/>
                      <a:pt x="2730395" y="1357394"/>
                    </a:cubicBezTo>
                    <a:cubicBezTo>
                      <a:pt x="2729492" y="1357845"/>
                      <a:pt x="2728590" y="1358296"/>
                      <a:pt x="2727462" y="1358973"/>
                    </a:cubicBezTo>
                    <a:cubicBezTo>
                      <a:pt x="2724754" y="1360327"/>
                      <a:pt x="2723851" y="1361907"/>
                      <a:pt x="2722497" y="1364840"/>
                    </a:cubicBezTo>
                    <a:cubicBezTo>
                      <a:pt x="2721369" y="1366871"/>
                      <a:pt x="2720241" y="1369578"/>
                      <a:pt x="2717759" y="1372512"/>
                    </a:cubicBezTo>
                    <a:cubicBezTo>
                      <a:pt x="2711441" y="1380184"/>
                      <a:pt x="2709410" y="1380184"/>
                      <a:pt x="2698804" y="1380184"/>
                    </a:cubicBezTo>
                    <a:cubicBezTo>
                      <a:pt x="2693840" y="1380184"/>
                      <a:pt x="2688650" y="1381312"/>
                      <a:pt x="2683912" y="1382215"/>
                    </a:cubicBezTo>
                    <a:cubicBezTo>
                      <a:pt x="2678722" y="1383343"/>
                      <a:pt x="2675112" y="1384246"/>
                      <a:pt x="2672630" y="1383343"/>
                    </a:cubicBezTo>
                    <a:cubicBezTo>
                      <a:pt x="2671276" y="1382892"/>
                      <a:pt x="2669471" y="1382666"/>
                      <a:pt x="2667665" y="1382666"/>
                    </a:cubicBezTo>
                    <a:cubicBezTo>
                      <a:pt x="2664958" y="1382440"/>
                      <a:pt x="2662024" y="1382440"/>
                      <a:pt x="2659091" y="1380861"/>
                    </a:cubicBezTo>
                    <a:cubicBezTo>
                      <a:pt x="2656834" y="1379507"/>
                      <a:pt x="2655706" y="1379733"/>
                      <a:pt x="2652773" y="1379958"/>
                    </a:cubicBezTo>
                    <a:cubicBezTo>
                      <a:pt x="2651193" y="1380184"/>
                      <a:pt x="2649388" y="1380184"/>
                      <a:pt x="2646906" y="1380184"/>
                    </a:cubicBezTo>
                    <a:cubicBezTo>
                      <a:pt x="2640813" y="1380184"/>
                      <a:pt x="2638331" y="1377927"/>
                      <a:pt x="2634947" y="1374543"/>
                    </a:cubicBezTo>
                    <a:cubicBezTo>
                      <a:pt x="2633593" y="1373415"/>
                      <a:pt x="2632239" y="1371835"/>
                      <a:pt x="2630208" y="1370255"/>
                    </a:cubicBezTo>
                    <a:cubicBezTo>
                      <a:pt x="2624567" y="1365743"/>
                      <a:pt x="2621859" y="1365743"/>
                      <a:pt x="2617120" y="1365968"/>
                    </a:cubicBezTo>
                    <a:cubicBezTo>
                      <a:pt x="2616444" y="1365968"/>
                      <a:pt x="2615541" y="1365968"/>
                      <a:pt x="2614864" y="1365968"/>
                    </a:cubicBezTo>
                    <a:cubicBezTo>
                      <a:pt x="2611931" y="1365968"/>
                      <a:pt x="2610125" y="1367548"/>
                      <a:pt x="2607869" y="1370030"/>
                    </a:cubicBezTo>
                    <a:cubicBezTo>
                      <a:pt x="2606064" y="1371609"/>
                      <a:pt x="2604033" y="1373640"/>
                      <a:pt x="2601325" y="1375220"/>
                    </a:cubicBezTo>
                    <a:cubicBezTo>
                      <a:pt x="2597489" y="1377250"/>
                      <a:pt x="2595007" y="1378153"/>
                      <a:pt x="2593202" y="1375445"/>
                    </a:cubicBezTo>
                    <a:cubicBezTo>
                      <a:pt x="2591623" y="1375220"/>
                      <a:pt x="2589140" y="1373415"/>
                      <a:pt x="2583274" y="1369353"/>
                    </a:cubicBezTo>
                    <a:cubicBezTo>
                      <a:pt x="2580792" y="1367548"/>
                      <a:pt x="2578309" y="1365743"/>
                      <a:pt x="2575602" y="1363937"/>
                    </a:cubicBezTo>
                    <a:cubicBezTo>
                      <a:pt x="2574473" y="1363260"/>
                      <a:pt x="2573571" y="1362584"/>
                      <a:pt x="2572894" y="1362132"/>
                    </a:cubicBezTo>
                    <a:cubicBezTo>
                      <a:pt x="2568607" y="1359199"/>
                      <a:pt x="2567930" y="1358747"/>
                      <a:pt x="2559806" y="1358747"/>
                    </a:cubicBezTo>
                    <a:cubicBezTo>
                      <a:pt x="2556196" y="1358747"/>
                      <a:pt x="2553940" y="1358071"/>
                      <a:pt x="2552811" y="1356491"/>
                    </a:cubicBezTo>
                    <a:cubicBezTo>
                      <a:pt x="2551458" y="1354460"/>
                      <a:pt x="2552586" y="1351978"/>
                      <a:pt x="2553488" y="1349947"/>
                    </a:cubicBezTo>
                    <a:cubicBezTo>
                      <a:pt x="2553940" y="1348819"/>
                      <a:pt x="2554617" y="1347465"/>
                      <a:pt x="2554617" y="1346563"/>
                    </a:cubicBezTo>
                    <a:cubicBezTo>
                      <a:pt x="2554617" y="1342952"/>
                      <a:pt x="2548073" y="1335055"/>
                      <a:pt x="2545139" y="1334378"/>
                    </a:cubicBezTo>
                    <a:lnTo>
                      <a:pt x="2544011" y="1334152"/>
                    </a:lnTo>
                    <a:cubicBezTo>
                      <a:pt x="2540626" y="1333249"/>
                      <a:pt x="2537242" y="1332573"/>
                      <a:pt x="2535888" y="1330316"/>
                    </a:cubicBezTo>
                    <a:cubicBezTo>
                      <a:pt x="2535437" y="1329414"/>
                      <a:pt x="2535211" y="1328285"/>
                      <a:pt x="2535662" y="1327383"/>
                    </a:cubicBezTo>
                    <a:cubicBezTo>
                      <a:pt x="2536339" y="1325352"/>
                      <a:pt x="2539724" y="1321290"/>
                      <a:pt x="2544237" y="1315649"/>
                    </a:cubicBezTo>
                    <a:cubicBezTo>
                      <a:pt x="2545816" y="1313844"/>
                      <a:pt x="2547170" y="1312039"/>
                      <a:pt x="2548073" y="1310911"/>
                    </a:cubicBezTo>
                    <a:cubicBezTo>
                      <a:pt x="2549652" y="1308880"/>
                      <a:pt x="2551006" y="1306849"/>
                      <a:pt x="2550781" y="1305495"/>
                    </a:cubicBezTo>
                    <a:cubicBezTo>
                      <a:pt x="2550555" y="1304367"/>
                      <a:pt x="2548975" y="1303464"/>
                      <a:pt x="2547847" y="1302787"/>
                    </a:cubicBezTo>
                    <a:cubicBezTo>
                      <a:pt x="2543109" y="1300531"/>
                      <a:pt x="2542206" y="1298726"/>
                      <a:pt x="2541078" y="1296469"/>
                    </a:cubicBezTo>
                    <a:cubicBezTo>
                      <a:pt x="2540626" y="1295567"/>
                      <a:pt x="2540401" y="1294890"/>
                      <a:pt x="2539498" y="1293761"/>
                    </a:cubicBezTo>
                    <a:cubicBezTo>
                      <a:pt x="2536565" y="1289700"/>
                      <a:pt x="2536114" y="1284059"/>
                      <a:pt x="2538370" y="1277515"/>
                    </a:cubicBezTo>
                    <a:cubicBezTo>
                      <a:pt x="2539273" y="1274581"/>
                      <a:pt x="2540852" y="1273002"/>
                      <a:pt x="2542206" y="1271422"/>
                    </a:cubicBezTo>
                    <a:cubicBezTo>
                      <a:pt x="2543785" y="1269617"/>
                      <a:pt x="2545139" y="1268263"/>
                      <a:pt x="2545365" y="1265330"/>
                    </a:cubicBezTo>
                    <a:lnTo>
                      <a:pt x="2545591" y="1263074"/>
                    </a:lnTo>
                    <a:cubicBezTo>
                      <a:pt x="2546042" y="1257207"/>
                      <a:pt x="2546268" y="1250663"/>
                      <a:pt x="2549878" y="1240960"/>
                    </a:cubicBezTo>
                    <a:cubicBezTo>
                      <a:pt x="2553263" y="1231483"/>
                      <a:pt x="2549427" y="1226970"/>
                      <a:pt x="2545365" y="1222232"/>
                    </a:cubicBezTo>
                    <a:lnTo>
                      <a:pt x="2544914" y="1221780"/>
                    </a:lnTo>
                    <a:cubicBezTo>
                      <a:pt x="2541078" y="1217042"/>
                      <a:pt x="2536790" y="1213883"/>
                      <a:pt x="2522575" y="1208693"/>
                    </a:cubicBezTo>
                    <a:cubicBezTo>
                      <a:pt x="2516934" y="1206662"/>
                      <a:pt x="2515128" y="1206211"/>
                      <a:pt x="2514677" y="1206436"/>
                    </a:cubicBezTo>
                    <a:cubicBezTo>
                      <a:pt x="2513775" y="1207565"/>
                      <a:pt x="2512646" y="1208918"/>
                      <a:pt x="2509262" y="1209370"/>
                    </a:cubicBezTo>
                    <a:cubicBezTo>
                      <a:pt x="2504974" y="1209821"/>
                      <a:pt x="2504297" y="1211175"/>
                      <a:pt x="2502718" y="1213883"/>
                    </a:cubicBezTo>
                    <a:cubicBezTo>
                      <a:pt x="2502041" y="1215237"/>
                      <a:pt x="2501138" y="1216590"/>
                      <a:pt x="2499559" y="1218170"/>
                    </a:cubicBezTo>
                    <a:cubicBezTo>
                      <a:pt x="2495272" y="1222909"/>
                      <a:pt x="2492790" y="1224939"/>
                      <a:pt x="2487148" y="1229227"/>
                    </a:cubicBezTo>
                    <a:cubicBezTo>
                      <a:pt x="2482861" y="1232386"/>
                      <a:pt x="2479476" y="1231483"/>
                      <a:pt x="2476092" y="1230580"/>
                    </a:cubicBezTo>
                    <a:cubicBezTo>
                      <a:pt x="2474287" y="1230129"/>
                      <a:pt x="2472481" y="1229678"/>
                      <a:pt x="2469999" y="1229678"/>
                    </a:cubicBezTo>
                    <a:cubicBezTo>
                      <a:pt x="2466389" y="1229678"/>
                      <a:pt x="2458717" y="1229678"/>
                      <a:pt x="2457589" y="1232386"/>
                    </a:cubicBezTo>
                    <a:cubicBezTo>
                      <a:pt x="2457137" y="1233288"/>
                      <a:pt x="2458040" y="1234868"/>
                      <a:pt x="2459845" y="1237124"/>
                    </a:cubicBezTo>
                    <a:cubicBezTo>
                      <a:pt x="2460973" y="1238704"/>
                      <a:pt x="2462327" y="1240509"/>
                      <a:pt x="2463230" y="1242540"/>
                    </a:cubicBezTo>
                    <a:cubicBezTo>
                      <a:pt x="2463907" y="1244119"/>
                      <a:pt x="2465035" y="1245473"/>
                      <a:pt x="2465938" y="1246601"/>
                    </a:cubicBezTo>
                    <a:cubicBezTo>
                      <a:pt x="2467969" y="1249309"/>
                      <a:pt x="2470676" y="1252694"/>
                      <a:pt x="2467743" y="1256981"/>
                    </a:cubicBezTo>
                    <a:cubicBezTo>
                      <a:pt x="2466615" y="1258561"/>
                      <a:pt x="2466163" y="1259914"/>
                      <a:pt x="2465486" y="1261494"/>
                    </a:cubicBezTo>
                    <a:cubicBezTo>
                      <a:pt x="2464584" y="1263750"/>
                      <a:pt x="2463681" y="1266007"/>
                      <a:pt x="2460296" y="1269166"/>
                    </a:cubicBezTo>
                    <a:cubicBezTo>
                      <a:pt x="2458266" y="1270971"/>
                      <a:pt x="2458266" y="1273228"/>
                      <a:pt x="2458717" y="1276612"/>
                    </a:cubicBezTo>
                    <a:cubicBezTo>
                      <a:pt x="2458943" y="1279546"/>
                      <a:pt x="2459168" y="1282930"/>
                      <a:pt x="2457589" y="1286315"/>
                    </a:cubicBezTo>
                    <a:cubicBezTo>
                      <a:pt x="2457137" y="1287443"/>
                      <a:pt x="2456461" y="1288346"/>
                      <a:pt x="2456009" y="1289023"/>
                    </a:cubicBezTo>
                    <a:cubicBezTo>
                      <a:pt x="2453753" y="1293310"/>
                      <a:pt x="2452399" y="1295792"/>
                      <a:pt x="2451947" y="1307526"/>
                    </a:cubicBezTo>
                    <a:cubicBezTo>
                      <a:pt x="2451722" y="1316552"/>
                      <a:pt x="2453301" y="1321290"/>
                      <a:pt x="2454430" y="1323998"/>
                    </a:cubicBezTo>
                    <a:cubicBezTo>
                      <a:pt x="2455107" y="1325803"/>
                      <a:pt x="2455784" y="1327383"/>
                      <a:pt x="2455107" y="1328737"/>
                    </a:cubicBezTo>
                    <a:cubicBezTo>
                      <a:pt x="2454655" y="1329865"/>
                      <a:pt x="2453527" y="1331219"/>
                      <a:pt x="2451947" y="1332798"/>
                    </a:cubicBezTo>
                    <a:cubicBezTo>
                      <a:pt x="2450142" y="1335055"/>
                      <a:pt x="2447209" y="1338214"/>
                      <a:pt x="2447209" y="1340245"/>
                    </a:cubicBezTo>
                    <a:cubicBezTo>
                      <a:pt x="2447209" y="1343855"/>
                      <a:pt x="2450819" y="1352204"/>
                      <a:pt x="2460522" y="1358973"/>
                    </a:cubicBezTo>
                    <a:cubicBezTo>
                      <a:pt x="2470676" y="1365743"/>
                      <a:pt x="2472707" y="1372963"/>
                      <a:pt x="2474738" y="1379733"/>
                    </a:cubicBezTo>
                    <a:lnTo>
                      <a:pt x="2475189" y="1381538"/>
                    </a:lnTo>
                    <a:cubicBezTo>
                      <a:pt x="2477446" y="1388758"/>
                      <a:pt x="2476994" y="1402974"/>
                      <a:pt x="2472481" y="1405908"/>
                    </a:cubicBezTo>
                    <a:cubicBezTo>
                      <a:pt x="2471579" y="1406359"/>
                      <a:pt x="2470450" y="1410195"/>
                      <a:pt x="2469774" y="1412451"/>
                    </a:cubicBezTo>
                    <a:cubicBezTo>
                      <a:pt x="2468645" y="1416287"/>
                      <a:pt x="2467743" y="1419898"/>
                      <a:pt x="2465712" y="1421703"/>
                    </a:cubicBezTo>
                    <a:cubicBezTo>
                      <a:pt x="2464358" y="1422831"/>
                      <a:pt x="2462102" y="1430277"/>
                      <a:pt x="2460973" y="1434565"/>
                    </a:cubicBezTo>
                    <a:cubicBezTo>
                      <a:pt x="2458717" y="1442462"/>
                      <a:pt x="2457814" y="1444719"/>
                      <a:pt x="2456009" y="1445170"/>
                    </a:cubicBezTo>
                    <a:cubicBezTo>
                      <a:pt x="2453753" y="1445621"/>
                      <a:pt x="2452173" y="1444719"/>
                      <a:pt x="2450142" y="1443365"/>
                    </a:cubicBezTo>
                    <a:cubicBezTo>
                      <a:pt x="2449466" y="1442914"/>
                      <a:pt x="2448788" y="1442462"/>
                      <a:pt x="2448112" y="1442236"/>
                    </a:cubicBezTo>
                    <a:cubicBezTo>
                      <a:pt x="2444501" y="1440206"/>
                      <a:pt x="2442922" y="1439078"/>
                      <a:pt x="2439988" y="1433436"/>
                    </a:cubicBezTo>
                    <a:cubicBezTo>
                      <a:pt x="2438409" y="1430503"/>
                      <a:pt x="2437055" y="1430503"/>
                      <a:pt x="2431188" y="1431406"/>
                    </a:cubicBezTo>
                    <a:cubicBezTo>
                      <a:pt x="2429834" y="1431631"/>
                      <a:pt x="2428480" y="1431857"/>
                      <a:pt x="2426675" y="1432082"/>
                    </a:cubicBezTo>
                    <a:cubicBezTo>
                      <a:pt x="2424644" y="1432308"/>
                      <a:pt x="2423742" y="1432534"/>
                      <a:pt x="2423516" y="1432759"/>
                    </a:cubicBezTo>
                    <a:cubicBezTo>
                      <a:pt x="2423516" y="1432759"/>
                      <a:pt x="2423516" y="1432985"/>
                      <a:pt x="2423516" y="1432985"/>
                    </a:cubicBezTo>
                    <a:cubicBezTo>
                      <a:pt x="2423742" y="1434113"/>
                      <a:pt x="2424193" y="1435467"/>
                      <a:pt x="2423516" y="1437498"/>
                    </a:cubicBezTo>
                    <a:cubicBezTo>
                      <a:pt x="2421711" y="1442236"/>
                      <a:pt x="2417875" y="1443816"/>
                      <a:pt x="2414265" y="1444719"/>
                    </a:cubicBezTo>
                    <a:cubicBezTo>
                      <a:pt x="2413137" y="1444944"/>
                      <a:pt x="2412459" y="1445396"/>
                      <a:pt x="2411783" y="1445621"/>
                    </a:cubicBezTo>
                    <a:cubicBezTo>
                      <a:pt x="2410203" y="1446524"/>
                      <a:pt x="2408398" y="1447426"/>
                      <a:pt x="2403885" y="1446975"/>
                    </a:cubicBezTo>
                    <a:cubicBezTo>
                      <a:pt x="2400275" y="1446749"/>
                      <a:pt x="2398469" y="1444719"/>
                      <a:pt x="2397341" y="1443365"/>
                    </a:cubicBezTo>
                    <a:cubicBezTo>
                      <a:pt x="2395987" y="1441785"/>
                      <a:pt x="2394859" y="1440657"/>
                      <a:pt x="2391700" y="1440431"/>
                    </a:cubicBezTo>
                    <a:cubicBezTo>
                      <a:pt x="2383126" y="1439980"/>
                      <a:pt x="2379741" y="1442914"/>
                      <a:pt x="2376356" y="1445621"/>
                    </a:cubicBezTo>
                    <a:cubicBezTo>
                      <a:pt x="2370715" y="1450360"/>
                      <a:pt x="2366428" y="1452616"/>
                      <a:pt x="2352889" y="1443590"/>
                    </a:cubicBezTo>
                    <a:cubicBezTo>
                      <a:pt x="2351309" y="1442462"/>
                      <a:pt x="2349730" y="1441560"/>
                      <a:pt x="2348602" y="1440657"/>
                    </a:cubicBezTo>
                    <a:cubicBezTo>
                      <a:pt x="2336417" y="1432308"/>
                      <a:pt x="2335063" y="1431180"/>
                      <a:pt x="2318139" y="1439303"/>
                    </a:cubicBezTo>
                    <a:cubicBezTo>
                      <a:pt x="2301442" y="1447201"/>
                      <a:pt x="2282036" y="1441108"/>
                      <a:pt x="2266918" y="1434790"/>
                    </a:cubicBezTo>
                    <a:lnTo>
                      <a:pt x="2263082" y="1433211"/>
                    </a:lnTo>
                    <a:cubicBezTo>
                      <a:pt x="2248415" y="1427118"/>
                      <a:pt x="2233522" y="1421026"/>
                      <a:pt x="2218404" y="1423508"/>
                    </a:cubicBezTo>
                    <a:cubicBezTo>
                      <a:pt x="2214794" y="1424185"/>
                      <a:pt x="2211183" y="1425313"/>
                      <a:pt x="2207798" y="1426441"/>
                    </a:cubicBezTo>
                    <a:cubicBezTo>
                      <a:pt x="2203962" y="1427795"/>
                      <a:pt x="2199675" y="1428923"/>
                      <a:pt x="2195614" y="1429600"/>
                    </a:cubicBezTo>
                    <a:cubicBezTo>
                      <a:pt x="2187265" y="1430729"/>
                      <a:pt x="2177110" y="1428472"/>
                      <a:pt x="2173049" y="1420575"/>
                    </a:cubicBezTo>
                    <a:cubicBezTo>
                      <a:pt x="2171018" y="1416739"/>
                      <a:pt x="2170792" y="1412451"/>
                      <a:pt x="2170567" y="1408164"/>
                    </a:cubicBezTo>
                    <a:cubicBezTo>
                      <a:pt x="2170341" y="1402974"/>
                      <a:pt x="2170116" y="1398236"/>
                      <a:pt x="2166731" y="1395528"/>
                    </a:cubicBezTo>
                    <a:cubicBezTo>
                      <a:pt x="2161315" y="1391015"/>
                      <a:pt x="2153643" y="1395979"/>
                      <a:pt x="2146423" y="1400718"/>
                    </a:cubicBezTo>
                    <a:cubicBezTo>
                      <a:pt x="2144843" y="1401846"/>
                      <a:pt x="2143264" y="1402748"/>
                      <a:pt x="2141684" y="1403651"/>
                    </a:cubicBezTo>
                    <a:cubicBezTo>
                      <a:pt x="2122279" y="1415159"/>
                      <a:pt x="2108514" y="1404328"/>
                      <a:pt x="2095201" y="1394174"/>
                    </a:cubicBezTo>
                    <a:cubicBezTo>
                      <a:pt x="2093170" y="1392594"/>
                      <a:pt x="2091139" y="1391015"/>
                      <a:pt x="2088883" y="1389435"/>
                    </a:cubicBezTo>
                    <a:cubicBezTo>
                      <a:pt x="2073990" y="1378604"/>
                      <a:pt x="2061580" y="1377025"/>
                      <a:pt x="2043077" y="1375671"/>
                    </a:cubicBezTo>
                    <a:cubicBezTo>
                      <a:pt x="2040820" y="1375445"/>
                      <a:pt x="2039692" y="1374543"/>
                      <a:pt x="2039241" y="1373640"/>
                    </a:cubicBezTo>
                    <a:cubicBezTo>
                      <a:pt x="2037210" y="1370481"/>
                      <a:pt x="2039241" y="1365066"/>
                      <a:pt x="2041046" y="1360327"/>
                    </a:cubicBezTo>
                    <a:cubicBezTo>
                      <a:pt x="2041497" y="1358747"/>
                      <a:pt x="2042174" y="1357394"/>
                      <a:pt x="2042400" y="1356491"/>
                    </a:cubicBezTo>
                    <a:cubicBezTo>
                      <a:pt x="2043528" y="1351978"/>
                      <a:pt x="2040595" y="1342727"/>
                      <a:pt x="2037887" y="1338214"/>
                    </a:cubicBezTo>
                    <a:cubicBezTo>
                      <a:pt x="2035856" y="1334603"/>
                      <a:pt x="2030892" y="1328737"/>
                      <a:pt x="2021189" y="1328737"/>
                    </a:cubicBezTo>
                    <a:cubicBezTo>
                      <a:pt x="2016225" y="1328737"/>
                      <a:pt x="2013743" y="1329639"/>
                      <a:pt x="2011261" y="1330542"/>
                    </a:cubicBezTo>
                    <a:cubicBezTo>
                      <a:pt x="2009004" y="1331219"/>
                      <a:pt x="2006748" y="1332121"/>
                      <a:pt x="2002912" y="1332121"/>
                    </a:cubicBezTo>
                    <a:cubicBezTo>
                      <a:pt x="1997271" y="1332121"/>
                      <a:pt x="1995691" y="1327383"/>
                      <a:pt x="1994337" y="1323321"/>
                    </a:cubicBezTo>
                    <a:cubicBezTo>
                      <a:pt x="1993434" y="1320613"/>
                      <a:pt x="1992532" y="1317906"/>
                      <a:pt x="1990501" y="1316100"/>
                    </a:cubicBezTo>
                    <a:cubicBezTo>
                      <a:pt x="1985311" y="1311813"/>
                      <a:pt x="1978993" y="1312264"/>
                      <a:pt x="1974255" y="1317454"/>
                    </a:cubicBezTo>
                    <a:lnTo>
                      <a:pt x="1973578" y="1318131"/>
                    </a:lnTo>
                    <a:cubicBezTo>
                      <a:pt x="1968388" y="1323772"/>
                      <a:pt x="1967711" y="1323772"/>
                      <a:pt x="1959362" y="1322193"/>
                    </a:cubicBezTo>
                    <a:lnTo>
                      <a:pt x="1956880" y="1321742"/>
                    </a:lnTo>
                    <a:cubicBezTo>
                      <a:pt x="1951916" y="1320839"/>
                      <a:pt x="1949208" y="1327157"/>
                      <a:pt x="1946951" y="1333249"/>
                    </a:cubicBezTo>
                    <a:cubicBezTo>
                      <a:pt x="1945823" y="1336409"/>
                      <a:pt x="1945146" y="1338214"/>
                      <a:pt x="1943341" y="1338214"/>
                    </a:cubicBezTo>
                    <a:cubicBezTo>
                      <a:pt x="1943341" y="1338214"/>
                      <a:pt x="1943341" y="1338214"/>
                      <a:pt x="1943341" y="1338214"/>
                    </a:cubicBezTo>
                    <a:cubicBezTo>
                      <a:pt x="1942213" y="1338214"/>
                      <a:pt x="1941536" y="1337537"/>
                      <a:pt x="1940859" y="1335957"/>
                    </a:cubicBezTo>
                    <a:cubicBezTo>
                      <a:pt x="1939956" y="1333024"/>
                      <a:pt x="1935669" y="1330316"/>
                      <a:pt x="1931382" y="1327383"/>
                    </a:cubicBezTo>
                    <a:cubicBezTo>
                      <a:pt x="1928674" y="1325577"/>
                      <a:pt x="1925966" y="1323772"/>
                      <a:pt x="1923710" y="1321742"/>
                    </a:cubicBezTo>
                    <a:cubicBezTo>
                      <a:pt x="1918069" y="1317003"/>
                      <a:pt x="1900920" y="1318808"/>
                      <a:pt x="1891443" y="1319711"/>
                    </a:cubicBezTo>
                    <a:lnTo>
                      <a:pt x="1889863" y="1319936"/>
                    </a:lnTo>
                    <a:cubicBezTo>
                      <a:pt x="1888509" y="1320162"/>
                      <a:pt x="1887832" y="1320613"/>
                      <a:pt x="1887607" y="1321065"/>
                    </a:cubicBezTo>
                    <a:cubicBezTo>
                      <a:pt x="1886027" y="1323095"/>
                      <a:pt x="1886930" y="1328060"/>
                      <a:pt x="1887381" y="1331670"/>
                    </a:cubicBezTo>
                    <a:cubicBezTo>
                      <a:pt x="1888058" y="1335280"/>
                      <a:pt x="1888509" y="1337762"/>
                      <a:pt x="1887381" y="1339342"/>
                    </a:cubicBezTo>
                    <a:cubicBezTo>
                      <a:pt x="1886704" y="1340245"/>
                      <a:pt x="1885801" y="1340696"/>
                      <a:pt x="1884673" y="1340696"/>
                    </a:cubicBezTo>
                    <a:cubicBezTo>
                      <a:pt x="1884673" y="1340696"/>
                      <a:pt x="1884673" y="1340696"/>
                      <a:pt x="1884673" y="1340696"/>
                    </a:cubicBezTo>
                    <a:cubicBezTo>
                      <a:pt x="1880160" y="1340696"/>
                      <a:pt x="1872714" y="1332121"/>
                      <a:pt x="1868652" y="1326029"/>
                    </a:cubicBezTo>
                    <a:cubicBezTo>
                      <a:pt x="1864365" y="1319485"/>
                      <a:pt x="1862560" y="1320162"/>
                      <a:pt x="1854437" y="1322644"/>
                    </a:cubicBezTo>
                    <a:lnTo>
                      <a:pt x="1853534" y="1322870"/>
                    </a:lnTo>
                    <a:cubicBezTo>
                      <a:pt x="1845411" y="1325577"/>
                      <a:pt x="1837062" y="1325352"/>
                      <a:pt x="1830969" y="1322193"/>
                    </a:cubicBezTo>
                    <a:cubicBezTo>
                      <a:pt x="1802989" y="1308654"/>
                      <a:pt x="1787645" y="1301208"/>
                      <a:pt x="1780425" y="1298274"/>
                    </a:cubicBezTo>
                    <a:cubicBezTo>
                      <a:pt x="1775686" y="1296469"/>
                      <a:pt x="1767337" y="1292182"/>
                      <a:pt x="1758537" y="1287443"/>
                    </a:cubicBezTo>
                    <a:cubicBezTo>
                      <a:pt x="1754024" y="1285187"/>
                      <a:pt x="1749511" y="1282705"/>
                      <a:pt x="1745449" y="1280674"/>
                    </a:cubicBezTo>
                    <a:lnTo>
                      <a:pt x="1744096" y="1279997"/>
                    </a:lnTo>
                    <a:cubicBezTo>
                      <a:pt x="1732588" y="1274356"/>
                      <a:pt x="1726946" y="1271422"/>
                      <a:pt x="1714310" y="1270520"/>
                    </a:cubicBezTo>
                    <a:cubicBezTo>
                      <a:pt x="1700997" y="1269617"/>
                      <a:pt x="1682720" y="1263074"/>
                      <a:pt x="1674822" y="1253822"/>
                    </a:cubicBezTo>
                    <a:cubicBezTo>
                      <a:pt x="1672114" y="1250663"/>
                      <a:pt x="1667602" y="1247730"/>
                      <a:pt x="1662863" y="1244796"/>
                    </a:cubicBezTo>
                    <a:cubicBezTo>
                      <a:pt x="1654965" y="1239832"/>
                      <a:pt x="1646165" y="1234191"/>
                      <a:pt x="1641201" y="1225391"/>
                    </a:cubicBezTo>
                    <a:cubicBezTo>
                      <a:pt x="1636237" y="1216365"/>
                      <a:pt x="1623826" y="1209370"/>
                      <a:pt x="1610513" y="1201923"/>
                    </a:cubicBezTo>
                    <a:cubicBezTo>
                      <a:pt x="1603969" y="1198313"/>
                      <a:pt x="1597426" y="1194703"/>
                      <a:pt x="1591108" y="1190416"/>
                    </a:cubicBezTo>
                    <a:cubicBezTo>
                      <a:pt x="1577569" y="1181390"/>
                      <a:pt x="1561097" y="1175974"/>
                      <a:pt x="1545301" y="1170559"/>
                    </a:cubicBezTo>
                    <a:cubicBezTo>
                      <a:pt x="1538532" y="1168302"/>
                      <a:pt x="1531311" y="1165820"/>
                      <a:pt x="1524768" y="1163338"/>
                    </a:cubicBezTo>
                    <a:cubicBezTo>
                      <a:pt x="1503557" y="1154989"/>
                      <a:pt x="1483926" y="1136937"/>
                      <a:pt x="1485054" y="1126558"/>
                    </a:cubicBezTo>
                    <a:cubicBezTo>
                      <a:pt x="1485505" y="1123173"/>
                      <a:pt x="1487762" y="1117983"/>
                      <a:pt x="1490921" y="1111439"/>
                    </a:cubicBezTo>
                    <a:cubicBezTo>
                      <a:pt x="1495885" y="1100383"/>
                      <a:pt x="1502203" y="1086844"/>
                      <a:pt x="1501075" y="1077141"/>
                    </a:cubicBezTo>
                    <a:cubicBezTo>
                      <a:pt x="1499044" y="1060218"/>
                      <a:pt x="1504459" y="1053900"/>
                      <a:pt x="1516644" y="1041715"/>
                    </a:cubicBezTo>
                    <a:cubicBezTo>
                      <a:pt x="1524091" y="1034268"/>
                      <a:pt x="1525219" y="1027499"/>
                      <a:pt x="1526573" y="1019376"/>
                    </a:cubicBezTo>
                    <a:cubicBezTo>
                      <a:pt x="1527475" y="1014637"/>
                      <a:pt x="1528152" y="1009899"/>
                      <a:pt x="1530409" y="1004709"/>
                    </a:cubicBezTo>
                    <a:cubicBezTo>
                      <a:pt x="1533793" y="995909"/>
                      <a:pt x="1539435" y="992524"/>
                      <a:pt x="1544850" y="989365"/>
                    </a:cubicBezTo>
                    <a:cubicBezTo>
                      <a:pt x="1548686" y="987108"/>
                      <a:pt x="1552296" y="984852"/>
                      <a:pt x="1555230" y="980790"/>
                    </a:cubicBezTo>
                    <a:cubicBezTo>
                      <a:pt x="1556584" y="978759"/>
                      <a:pt x="1558389" y="976503"/>
                      <a:pt x="1560420" y="974021"/>
                    </a:cubicBezTo>
                    <a:cubicBezTo>
                      <a:pt x="1568317" y="964092"/>
                      <a:pt x="1580502" y="949200"/>
                      <a:pt x="1575764" y="940400"/>
                    </a:cubicBezTo>
                    <a:cubicBezTo>
                      <a:pt x="1575087" y="939046"/>
                      <a:pt x="1574184" y="937692"/>
                      <a:pt x="1573507" y="936338"/>
                    </a:cubicBezTo>
                    <a:cubicBezTo>
                      <a:pt x="1568317" y="926410"/>
                      <a:pt x="1564481" y="919189"/>
                      <a:pt x="1555681" y="916481"/>
                    </a:cubicBezTo>
                    <a:cubicBezTo>
                      <a:pt x="1545076" y="913322"/>
                      <a:pt x="1539209" y="911291"/>
                      <a:pt x="1527927" y="904973"/>
                    </a:cubicBezTo>
                    <a:cubicBezTo>
                      <a:pt x="1520029" y="900460"/>
                      <a:pt x="1515967" y="896399"/>
                      <a:pt x="1511454" y="891434"/>
                    </a:cubicBezTo>
                    <a:cubicBezTo>
                      <a:pt x="1509649" y="889629"/>
                      <a:pt x="1507844" y="887598"/>
                      <a:pt x="1505362" y="885342"/>
                    </a:cubicBezTo>
                    <a:cubicBezTo>
                      <a:pt x="1502203" y="882183"/>
                      <a:pt x="1499946" y="879701"/>
                      <a:pt x="1498141" y="877219"/>
                    </a:cubicBezTo>
                    <a:cubicBezTo>
                      <a:pt x="1495208" y="873608"/>
                      <a:pt x="1492726" y="870675"/>
                      <a:pt x="1487310" y="867065"/>
                    </a:cubicBezTo>
                    <a:cubicBezTo>
                      <a:pt x="1484603" y="865259"/>
                      <a:pt x="1481669" y="863229"/>
                      <a:pt x="1478284" y="861198"/>
                    </a:cubicBezTo>
                    <a:cubicBezTo>
                      <a:pt x="1470387" y="856008"/>
                      <a:pt x="1461587" y="849916"/>
                      <a:pt x="1455945" y="846982"/>
                    </a:cubicBezTo>
                    <a:cubicBezTo>
                      <a:pt x="1451658" y="844726"/>
                      <a:pt x="1448725" y="844726"/>
                      <a:pt x="1443760" y="844951"/>
                    </a:cubicBezTo>
                    <a:cubicBezTo>
                      <a:pt x="1440150" y="844951"/>
                      <a:pt x="1435637" y="845177"/>
                      <a:pt x="1429319" y="844274"/>
                    </a:cubicBezTo>
                    <a:cubicBezTo>
                      <a:pt x="1413073" y="842244"/>
                      <a:pt x="1395698" y="820130"/>
                      <a:pt x="1393216" y="815617"/>
                    </a:cubicBezTo>
                    <a:lnTo>
                      <a:pt x="1392313" y="814038"/>
                    </a:lnTo>
                    <a:cubicBezTo>
                      <a:pt x="1389154" y="808397"/>
                      <a:pt x="1382159" y="794858"/>
                      <a:pt x="1376292" y="792601"/>
                    </a:cubicBezTo>
                    <a:cubicBezTo>
                      <a:pt x="1371554" y="790796"/>
                      <a:pt x="1364559" y="794858"/>
                      <a:pt x="1360271" y="797340"/>
                    </a:cubicBezTo>
                    <a:cubicBezTo>
                      <a:pt x="1358918" y="798243"/>
                      <a:pt x="1357789" y="798694"/>
                      <a:pt x="1357112" y="799145"/>
                    </a:cubicBezTo>
                    <a:cubicBezTo>
                      <a:pt x="1353277" y="800725"/>
                      <a:pt x="1343799" y="801627"/>
                      <a:pt x="1338384" y="794181"/>
                    </a:cubicBezTo>
                    <a:cubicBezTo>
                      <a:pt x="1333645" y="787412"/>
                      <a:pt x="1328455" y="778386"/>
                      <a:pt x="1331614" y="766652"/>
                    </a:cubicBezTo>
                    <a:cubicBezTo>
                      <a:pt x="1334322" y="756272"/>
                      <a:pt x="1332968" y="752888"/>
                      <a:pt x="1326425" y="746344"/>
                    </a:cubicBezTo>
                    <a:cubicBezTo>
                      <a:pt x="1321235" y="741154"/>
                      <a:pt x="1322589" y="736416"/>
                      <a:pt x="1324168" y="731677"/>
                    </a:cubicBezTo>
                    <a:cubicBezTo>
                      <a:pt x="1325071" y="728969"/>
                      <a:pt x="1325973" y="726036"/>
                      <a:pt x="1325973" y="722425"/>
                    </a:cubicBezTo>
                    <a:cubicBezTo>
                      <a:pt x="1325973" y="712497"/>
                      <a:pt x="1322363" y="697379"/>
                      <a:pt x="1316045" y="689255"/>
                    </a:cubicBezTo>
                    <a:lnTo>
                      <a:pt x="1313563" y="686096"/>
                    </a:lnTo>
                    <a:cubicBezTo>
                      <a:pt x="1307245" y="678199"/>
                      <a:pt x="1299573" y="668270"/>
                      <a:pt x="1296639" y="660147"/>
                    </a:cubicBezTo>
                    <a:cubicBezTo>
                      <a:pt x="1295060" y="655860"/>
                      <a:pt x="1295060" y="652024"/>
                      <a:pt x="1295060" y="648414"/>
                    </a:cubicBezTo>
                    <a:cubicBezTo>
                      <a:pt x="1295060" y="644352"/>
                      <a:pt x="1295060" y="640742"/>
                      <a:pt x="1292578" y="636454"/>
                    </a:cubicBezTo>
                    <a:cubicBezTo>
                      <a:pt x="1290321" y="632393"/>
                      <a:pt x="1290321" y="627880"/>
                      <a:pt x="1292578" y="624269"/>
                    </a:cubicBezTo>
                    <a:cubicBezTo>
                      <a:pt x="1294383" y="621110"/>
                      <a:pt x="1297767" y="618628"/>
                      <a:pt x="1300475" y="618628"/>
                    </a:cubicBezTo>
                    <a:cubicBezTo>
                      <a:pt x="1301152" y="618628"/>
                      <a:pt x="1303860" y="617726"/>
                      <a:pt x="1306116" y="616823"/>
                    </a:cubicBezTo>
                    <a:cubicBezTo>
                      <a:pt x="1312435" y="614567"/>
                      <a:pt x="1321235" y="611408"/>
                      <a:pt x="1326425" y="613438"/>
                    </a:cubicBezTo>
                    <a:cubicBezTo>
                      <a:pt x="1331389" y="615244"/>
                      <a:pt x="1335225" y="622464"/>
                      <a:pt x="1338384" y="628105"/>
                    </a:cubicBezTo>
                    <a:cubicBezTo>
                      <a:pt x="1339738" y="630587"/>
                      <a:pt x="1341543" y="633747"/>
                      <a:pt x="1342220" y="634198"/>
                    </a:cubicBezTo>
                    <a:cubicBezTo>
                      <a:pt x="1343122" y="634649"/>
                      <a:pt x="1344251" y="635777"/>
                      <a:pt x="1345830" y="637131"/>
                    </a:cubicBezTo>
                    <a:cubicBezTo>
                      <a:pt x="1349666" y="640516"/>
                      <a:pt x="1355533" y="645480"/>
                      <a:pt x="1361400" y="645931"/>
                    </a:cubicBezTo>
                    <a:cubicBezTo>
                      <a:pt x="1368395" y="646383"/>
                      <a:pt x="1372908" y="641193"/>
                      <a:pt x="1381257" y="631941"/>
                    </a:cubicBezTo>
                    <a:lnTo>
                      <a:pt x="1384416" y="628331"/>
                    </a:lnTo>
                    <a:cubicBezTo>
                      <a:pt x="1393893" y="617726"/>
                      <a:pt x="1399760" y="618628"/>
                      <a:pt x="1405175" y="619756"/>
                    </a:cubicBezTo>
                    <a:cubicBezTo>
                      <a:pt x="1406303" y="619982"/>
                      <a:pt x="1407432" y="620208"/>
                      <a:pt x="1408560" y="620208"/>
                    </a:cubicBezTo>
                    <a:cubicBezTo>
                      <a:pt x="1413524" y="620659"/>
                      <a:pt x="1417134" y="619756"/>
                      <a:pt x="1421647" y="603510"/>
                    </a:cubicBezTo>
                    <a:cubicBezTo>
                      <a:pt x="1425258" y="590422"/>
                      <a:pt x="1419165" y="584104"/>
                      <a:pt x="1410591" y="575079"/>
                    </a:cubicBezTo>
                    <a:cubicBezTo>
                      <a:pt x="1409688" y="574176"/>
                      <a:pt x="1408560" y="573048"/>
                      <a:pt x="1407657" y="571920"/>
                    </a:cubicBezTo>
                    <a:cubicBezTo>
                      <a:pt x="1400888" y="564924"/>
                      <a:pt x="1402919" y="554319"/>
                      <a:pt x="1404272" y="545970"/>
                    </a:cubicBezTo>
                    <a:cubicBezTo>
                      <a:pt x="1405175" y="540780"/>
                      <a:pt x="1406078" y="536042"/>
                      <a:pt x="1404724" y="533334"/>
                    </a:cubicBezTo>
                    <a:cubicBezTo>
                      <a:pt x="1401790" y="526790"/>
                      <a:pt x="1380805" y="522954"/>
                      <a:pt x="1368395" y="520698"/>
                    </a:cubicBezTo>
                    <a:lnTo>
                      <a:pt x="1364108" y="519795"/>
                    </a:lnTo>
                    <a:cubicBezTo>
                      <a:pt x="1351471" y="520021"/>
                      <a:pt x="1351471" y="514831"/>
                      <a:pt x="1351471" y="500841"/>
                    </a:cubicBezTo>
                    <a:lnTo>
                      <a:pt x="1351471" y="498810"/>
                    </a:lnTo>
                    <a:cubicBezTo>
                      <a:pt x="1351471" y="487979"/>
                      <a:pt x="1356661" y="484369"/>
                      <a:pt x="1360723" y="481435"/>
                    </a:cubicBezTo>
                    <a:cubicBezTo>
                      <a:pt x="1362979" y="479856"/>
                      <a:pt x="1364559" y="478728"/>
                      <a:pt x="1365236" y="476922"/>
                    </a:cubicBezTo>
                    <a:cubicBezTo>
                      <a:pt x="1366364" y="473763"/>
                      <a:pt x="1361851" y="464738"/>
                      <a:pt x="1358241" y="457291"/>
                    </a:cubicBezTo>
                    <a:cubicBezTo>
                      <a:pt x="1354856" y="450296"/>
                      <a:pt x="1351697" y="443753"/>
                      <a:pt x="1351246" y="439465"/>
                    </a:cubicBezTo>
                    <a:cubicBezTo>
                      <a:pt x="1350569" y="429086"/>
                      <a:pt x="1360723" y="425701"/>
                      <a:pt x="1375164" y="420737"/>
                    </a:cubicBezTo>
                    <a:cubicBezTo>
                      <a:pt x="1382159" y="418254"/>
                      <a:pt x="1389605" y="418029"/>
                      <a:pt x="1396149" y="417803"/>
                    </a:cubicBezTo>
                    <a:cubicBezTo>
                      <a:pt x="1402919" y="417578"/>
                      <a:pt x="1409237" y="417126"/>
                      <a:pt x="1411042" y="414644"/>
                    </a:cubicBezTo>
                    <a:cubicBezTo>
                      <a:pt x="1415329" y="408552"/>
                      <a:pt x="1419391" y="401105"/>
                      <a:pt x="1417586" y="390951"/>
                    </a:cubicBezTo>
                    <a:cubicBezTo>
                      <a:pt x="1415555" y="379443"/>
                      <a:pt x="1419165" y="370643"/>
                      <a:pt x="1427965" y="365228"/>
                    </a:cubicBezTo>
                    <a:cubicBezTo>
                      <a:pt x="1430899" y="363422"/>
                      <a:pt x="1433832" y="362520"/>
                      <a:pt x="1436540" y="361617"/>
                    </a:cubicBezTo>
                    <a:cubicBezTo>
                      <a:pt x="1441278" y="360263"/>
                      <a:pt x="1444889" y="359135"/>
                      <a:pt x="1446694" y="353043"/>
                    </a:cubicBezTo>
                    <a:cubicBezTo>
                      <a:pt x="1449402" y="344017"/>
                      <a:pt x="1453238" y="342212"/>
                      <a:pt x="1458653" y="339504"/>
                    </a:cubicBezTo>
                    <a:cubicBezTo>
                      <a:pt x="1460233" y="338827"/>
                      <a:pt x="1462038" y="337924"/>
                      <a:pt x="1463843" y="336796"/>
                    </a:cubicBezTo>
                    <a:cubicBezTo>
                      <a:pt x="1472418" y="331832"/>
                      <a:pt x="1477607" y="324611"/>
                      <a:pt x="1481895" y="311524"/>
                    </a:cubicBezTo>
                    <a:lnTo>
                      <a:pt x="1482346" y="309944"/>
                    </a:lnTo>
                    <a:cubicBezTo>
                      <a:pt x="1486408" y="297083"/>
                      <a:pt x="1488664" y="290088"/>
                      <a:pt x="1501300" y="258271"/>
                    </a:cubicBezTo>
                    <a:cubicBezTo>
                      <a:pt x="1514388" y="224876"/>
                      <a:pt x="1514614" y="223748"/>
                      <a:pt x="1504234" y="214722"/>
                    </a:cubicBezTo>
                    <a:cubicBezTo>
                      <a:pt x="1502654" y="213368"/>
                      <a:pt x="1501300" y="212014"/>
                      <a:pt x="1499946" y="210886"/>
                    </a:cubicBezTo>
                    <a:cubicBezTo>
                      <a:pt x="1492049" y="203439"/>
                      <a:pt x="1487310" y="199152"/>
                      <a:pt x="1465423" y="193285"/>
                    </a:cubicBezTo>
                    <a:cubicBezTo>
                      <a:pt x="1452561" y="189901"/>
                      <a:pt x="1442181" y="183357"/>
                      <a:pt x="1432704" y="177490"/>
                    </a:cubicBezTo>
                    <a:cubicBezTo>
                      <a:pt x="1423001" y="171623"/>
                      <a:pt x="1414878" y="166433"/>
                      <a:pt x="1406980" y="166433"/>
                    </a:cubicBezTo>
                    <a:cubicBezTo>
                      <a:pt x="1397503" y="166433"/>
                      <a:pt x="1395472" y="168464"/>
                      <a:pt x="1393216" y="170495"/>
                    </a:cubicBezTo>
                    <a:cubicBezTo>
                      <a:pt x="1391636" y="172075"/>
                      <a:pt x="1389831" y="173654"/>
                      <a:pt x="1386221" y="175008"/>
                    </a:cubicBezTo>
                    <a:cubicBezTo>
                      <a:pt x="1381933" y="176588"/>
                      <a:pt x="1371328" y="176362"/>
                      <a:pt x="1358918" y="176136"/>
                    </a:cubicBezTo>
                    <a:cubicBezTo>
                      <a:pt x="1343799" y="175911"/>
                      <a:pt x="1326650" y="175459"/>
                      <a:pt x="1318527" y="178167"/>
                    </a:cubicBezTo>
                    <a:cubicBezTo>
                      <a:pt x="1307470" y="181777"/>
                      <a:pt x="1288742" y="196219"/>
                      <a:pt x="1274977" y="206598"/>
                    </a:cubicBezTo>
                    <a:cubicBezTo>
                      <a:pt x="1270464" y="209983"/>
                      <a:pt x="1266403" y="213142"/>
                      <a:pt x="1263244" y="215399"/>
                    </a:cubicBezTo>
                    <a:cubicBezTo>
                      <a:pt x="1249705" y="225101"/>
                      <a:pt x="1239551" y="225778"/>
                      <a:pt x="1219468" y="225101"/>
                    </a:cubicBezTo>
                    <a:cubicBezTo>
                      <a:pt x="1206381" y="224650"/>
                      <a:pt x="1202094" y="220363"/>
                      <a:pt x="1195324" y="214045"/>
                    </a:cubicBezTo>
                    <a:cubicBezTo>
                      <a:pt x="1191714" y="210434"/>
                      <a:pt x="1186975" y="205921"/>
                      <a:pt x="1179529" y="200957"/>
                    </a:cubicBezTo>
                    <a:cubicBezTo>
                      <a:pt x="1158995" y="187193"/>
                      <a:pt x="1133046" y="181777"/>
                      <a:pt x="1130112" y="181100"/>
                    </a:cubicBezTo>
                    <a:cubicBezTo>
                      <a:pt x="1126953" y="180423"/>
                      <a:pt x="1124923" y="173880"/>
                      <a:pt x="1120861" y="158085"/>
                    </a:cubicBezTo>
                    <a:cubicBezTo>
                      <a:pt x="1120184" y="155151"/>
                      <a:pt x="1119281" y="152218"/>
                      <a:pt x="1118604" y="149736"/>
                    </a:cubicBezTo>
                    <a:cubicBezTo>
                      <a:pt x="1116122" y="140484"/>
                      <a:pt x="1107096" y="133940"/>
                      <a:pt x="1095814" y="125817"/>
                    </a:cubicBezTo>
                    <a:cubicBezTo>
                      <a:pt x="1094235" y="124689"/>
                      <a:pt x="1092655" y="123561"/>
                      <a:pt x="1091076" y="122432"/>
                    </a:cubicBezTo>
                    <a:cubicBezTo>
                      <a:pt x="1084983" y="118145"/>
                      <a:pt x="1081373" y="113858"/>
                      <a:pt x="1077537" y="109345"/>
                    </a:cubicBezTo>
                    <a:cubicBezTo>
                      <a:pt x="1072347" y="103478"/>
                      <a:pt x="1067157" y="97386"/>
                      <a:pt x="1055424" y="89939"/>
                    </a:cubicBezTo>
                    <a:cubicBezTo>
                      <a:pt x="1045269" y="83396"/>
                      <a:pt x="1038500" y="80011"/>
                      <a:pt x="1031956" y="76626"/>
                    </a:cubicBezTo>
                    <a:cubicBezTo>
                      <a:pt x="1025187" y="73242"/>
                      <a:pt x="1018869" y="69857"/>
                      <a:pt x="1008940" y="63539"/>
                    </a:cubicBezTo>
                    <a:cubicBezTo>
                      <a:pt x="995853" y="54964"/>
                      <a:pt x="982991" y="39169"/>
                      <a:pt x="972611" y="26307"/>
                    </a:cubicBezTo>
                    <a:cubicBezTo>
                      <a:pt x="968324" y="20215"/>
                      <a:pt x="964037" y="14799"/>
                      <a:pt x="961103" y="12091"/>
                    </a:cubicBezTo>
                    <a:cubicBezTo>
                      <a:pt x="956591" y="7804"/>
                      <a:pt x="950949" y="9158"/>
                      <a:pt x="943052" y="10963"/>
                    </a:cubicBezTo>
                    <a:cubicBezTo>
                      <a:pt x="936734" y="12317"/>
                      <a:pt x="929739" y="14122"/>
                      <a:pt x="921390" y="13220"/>
                    </a:cubicBezTo>
                    <a:cubicBezTo>
                      <a:pt x="911913" y="12317"/>
                      <a:pt x="906948" y="9609"/>
                      <a:pt x="903112" y="7579"/>
                    </a:cubicBezTo>
                    <a:cubicBezTo>
                      <a:pt x="899276" y="5548"/>
                      <a:pt x="896117" y="3743"/>
                      <a:pt x="889122" y="4420"/>
                    </a:cubicBezTo>
                    <a:cubicBezTo>
                      <a:pt x="883256" y="4871"/>
                      <a:pt x="878968" y="5773"/>
                      <a:pt x="874907" y="6450"/>
                    </a:cubicBezTo>
                    <a:cubicBezTo>
                      <a:pt x="869265" y="7353"/>
                      <a:pt x="864527" y="8256"/>
                      <a:pt x="856178" y="8256"/>
                    </a:cubicBezTo>
                    <a:cubicBezTo>
                      <a:pt x="843316" y="8256"/>
                      <a:pt x="830454" y="15025"/>
                      <a:pt x="817818" y="21569"/>
                    </a:cubicBezTo>
                    <a:lnTo>
                      <a:pt x="816239" y="22246"/>
                    </a:lnTo>
                    <a:cubicBezTo>
                      <a:pt x="813080" y="24051"/>
                      <a:pt x="810146" y="25630"/>
                      <a:pt x="807664" y="26984"/>
                    </a:cubicBezTo>
                    <a:cubicBezTo>
                      <a:pt x="799766" y="31497"/>
                      <a:pt x="793674" y="34882"/>
                      <a:pt x="783971" y="36913"/>
                    </a:cubicBezTo>
                    <a:cubicBezTo>
                      <a:pt x="776299" y="38492"/>
                      <a:pt x="764340" y="37364"/>
                      <a:pt x="751704" y="36010"/>
                    </a:cubicBezTo>
                    <a:cubicBezTo>
                      <a:pt x="742904" y="35107"/>
                      <a:pt x="733878" y="34430"/>
                      <a:pt x="725980" y="34430"/>
                    </a:cubicBezTo>
                    <a:cubicBezTo>
                      <a:pt x="707477" y="34430"/>
                      <a:pt x="704769" y="38266"/>
                      <a:pt x="700031" y="44810"/>
                    </a:cubicBezTo>
                    <a:cubicBezTo>
                      <a:pt x="698226" y="47292"/>
                      <a:pt x="696195" y="52031"/>
                      <a:pt x="693938" y="56769"/>
                    </a:cubicBezTo>
                    <a:cubicBezTo>
                      <a:pt x="690328" y="65118"/>
                      <a:pt x="686492" y="73693"/>
                      <a:pt x="681754" y="76626"/>
                    </a:cubicBezTo>
                    <a:cubicBezTo>
                      <a:pt x="677918" y="79108"/>
                      <a:pt x="670471" y="83170"/>
                      <a:pt x="662122" y="88134"/>
                    </a:cubicBezTo>
                    <a:cubicBezTo>
                      <a:pt x="655804" y="91745"/>
                      <a:pt x="648809" y="95806"/>
                      <a:pt x="642717" y="99191"/>
                    </a:cubicBezTo>
                    <a:cubicBezTo>
                      <a:pt x="638204" y="101899"/>
                      <a:pt x="636850" y="107991"/>
                      <a:pt x="636624" y="112730"/>
                    </a:cubicBezTo>
                    <a:cubicBezTo>
                      <a:pt x="635947" y="125817"/>
                      <a:pt x="641814" y="141838"/>
                      <a:pt x="646101" y="144997"/>
                    </a:cubicBezTo>
                    <a:cubicBezTo>
                      <a:pt x="651968" y="149284"/>
                      <a:pt x="663927" y="149736"/>
                      <a:pt x="675435" y="149961"/>
                    </a:cubicBezTo>
                    <a:cubicBezTo>
                      <a:pt x="677918" y="149961"/>
                      <a:pt x="680174" y="150187"/>
                      <a:pt x="682656" y="150187"/>
                    </a:cubicBezTo>
                    <a:cubicBezTo>
                      <a:pt x="692133" y="150638"/>
                      <a:pt x="703190" y="165756"/>
                      <a:pt x="713118" y="179070"/>
                    </a:cubicBezTo>
                    <a:cubicBezTo>
                      <a:pt x="718759" y="186742"/>
                      <a:pt x="723949" y="193737"/>
                      <a:pt x="727560" y="196219"/>
                    </a:cubicBezTo>
                    <a:cubicBezTo>
                      <a:pt x="732073" y="199378"/>
                      <a:pt x="737939" y="201409"/>
                      <a:pt x="743581" y="203439"/>
                    </a:cubicBezTo>
                    <a:cubicBezTo>
                      <a:pt x="750350" y="205921"/>
                      <a:pt x="757345" y="208404"/>
                      <a:pt x="762309" y="212691"/>
                    </a:cubicBezTo>
                    <a:cubicBezTo>
                      <a:pt x="766597" y="216301"/>
                      <a:pt x="769304" y="221040"/>
                      <a:pt x="772238" y="226004"/>
                    </a:cubicBezTo>
                    <a:cubicBezTo>
                      <a:pt x="775622" y="231871"/>
                      <a:pt x="779007" y="237738"/>
                      <a:pt x="784874" y="242025"/>
                    </a:cubicBezTo>
                    <a:cubicBezTo>
                      <a:pt x="793674" y="248343"/>
                      <a:pt x="802249" y="265041"/>
                      <a:pt x="802474" y="276323"/>
                    </a:cubicBezTo>
                    <a:cubicBezTo>
                      <a:pt x="802474" y="280836"/>
                      <a:pt x="801346" y="284446"/>
                      <a:pt x="798638" y="286477"/>
                    </a:cubicBezTo>
                    <a:cubicBezTo>
                      <a:pt x="795930" y="288508"/>
                      <a:pt x="793674" y="291667"/>
                      <a:pt x="791192" y="295052"/>
                    </a:cubicBezTo>
                    <a:cubicBezTo>
                      <a:pt x="785551" y="302724"/>
                      <a:pt x="779007" y="311298"/>
                      <a:pt x="766371" y="312652"/>
                    </a:cubicBezTo>
                    <a:cubicBezTo>
                      <a:pt x="763437" y="312878"/>
                      <a:pt x="761407" y="313780"/>
                      <a:pt x="760504" y="315134"/>
                    </a:cubicBezTo>
                    <a:cubicBezTo>
                      <a:pt x="758925" y="317391"/>
                      <a:pt x="760278" y="321452"/>
                      <a:pt x="761181" y="324837"/>
                    </a:cubicBezTo>
                    <a:cubicBezTo>
                      <a:pt x="762535" y="329350"/>
                      <a:pt x="763889" y="333863"/>
                      <a:pt x="760278" y="336119"/>
                    </a:cubicBezTo>
                    <a:cubicBezTo>
                      <a:pt x="758925" y="337022"/>
                      <a:pt x="757345" y="337699"/>
                      <a:pt x="755540" y="338601"/>
                    </a:cubicBezTo>
                    <a:cubicBezTo>
                      <a:pt x="749673" y="341760"/>
                      <a:pt x="742227" y="345596"/>
                      <a:pt x="737037" y="353043"/>
                    </a:cubicBezTo>
                    <a:cubicBezTo>
                      <a:pt x="732750" y="359361"/>
                      <a:pt x="735909" y="367710"/>
                      <a:pt x="739068" y="375833"/>
                    </a:cubicBezTo>
                    <a:cubicBezTo>
                      <a:pt x="740421" y="379443"/>
                      <a:pt x="741775" y="382828"/>
                      <a:pt x="742452" y="385987"/>
                    </a:cubicBezTo>
                    <a:cubicBezTo>
                      <a:pt x="744032" y="394110"/>
                      <a:pt x="744709" y="401557"/>
                      <a:pt x="745611" y="410808"/>
                    </a:cubicBezTo>
                    <a:lnTo>
                      <a:pt x="746288" y="417578"/>
                    </a:lnTo>
                    <a:cubicBezTo>
                      <a:pt x="747191" y="427506"/>
                      <a:pt x="748996" y="445783"/>
                      <a:pt x="744483" y="472635"/>
                    </a:cubicBezTo>
                    <a:cubicBezTo>
                      <a:pt x="741098" y="492492"/>
                      <a:pt x="744032" y="504226"/>
                      <a:pt x="746514" y="514605"/>
                    </a:cubicBezTo>
                    <a:cubicBezTo>
                      <a:pt x="747191" y="517087"/>
                      <a:pt x="747642" y="519570"/>
                      <a:pt x="748319" y="522052"/>
                    </a:cubicBezTo>
                    <a:cubicBezTo>
                      <a:pt x="750801" y="534462"/>
                      <a:pt x="756217" y="543714"/>
                      <a:pt x="762986" y="547098"/>
                    </a:cubicBezTo>
                    <a:cubicBezTo>
                      <a:pt x="770432" y="550709"/>
                      <a:pt x="781715" y="554996"/>
                      <a:pt x="781940" y="554996"/>
                    </a:cubicBezTo>
                    <a:cubicBezTo>
                      <a:pt x="790289" y="558155"/>
                      <a:pt x="795930" y="561991"/>
                      <a:pt x="801346" y="565827"/>
                    </a:cubicBezTo>
                    <a:lnTo>
                      <a:pt x="802925" y="566955"/>
                    </a:lnTo>
                    <a:cubicBezTo>
                      <a:pt x="804279" y="567858"/>
                      <a:pt x="805408" y="568986"/>
                      <a:pt x="806761" y="570114"/>
                    </a:cubicBezTo>
                    <a:cubicBezTo>
                      <a:pt x="811951" y="574402"/>
                      <a:pt x="818946" y="580043"/>
                      <a:pt x="834516" y="583653"/>
                    </a:cubicBezTo>
                    <a:cubicBezTo>
                      <a:pt x="844444" y="585910"/>
                      <a:pt x="851891" y="586587"/>
                      <a:pt x="856855" y="587038"/>
                    </a:cubicBezTo>
                    <a:cubicBezTo>
                      <a:pt x="862045" y="587489"/>
                      <a:pt x="864301" y="587715"/>
                      <a:pt x="865204" y="589294"/>
                    </a:cubicBezTo>
                    <a:cubicBezTo>
                      <a:pt x="865655" y="589971"/>
                      <a:pt x="865655" y="590874"/>
                      <a:pt x="865429" y="591551"/>
                    </a:cubicBezTo>
                    <a:cubicBezTo>
                      <a:pt x="864753" y="593807"/>
                      <a:pt x="864527" y="602607"/>
                      <a:pt x="864978" y="612084"/>
                    </a:cubicBezTo>
                    <a:cubicBezTo>
                      <a:pt x="865429" y="618403"/>
                      <a:pt x="865881" y="619305"/>
                      <a:pt x="867235" y="621110"/>
                    </a:cubicBezTo>
                    <a:cubicBezTo>
                      <a:pt x="867686" y="621562"/>
                      <a:pt x="867912" y="622239"/>
                      <a:pt x="868588" y="622915"/>
                    </a:cubicBezTo>
                    <a:cubicBezTo>
                      <a:pt x="869942" y="625172"/>
                      <a:pt x="871973" y="625623"/>
                      <a:pt x="875132" y="626526"/>
                    </a:cubicBezTo>
                    <a:cubicBezTo>
                      <a:pt x="876260" y="626977"/>
                      <a:pt x="877614" y="627203"/>
                      <a:pt x="878968" y="627654"/>
                    </a:cubicBezTo>
                    <a:cubicBezTo>
                      <a:pt x="881902" y="628782"/>
                      <a:pt x="891830" y="628557"/>
                      <a:pt x="899051" y="628557"/>
                    </a:cubicBezTo>
                    <a:cubicBezTo>
                      <a:pt x="903338" y="628557"/>
                      <a:pt x="906948" y="628331"/>
                      <a:pt x="909205" y="628557"/>
                    </a:cubicBezTo>
                    <a:cubicBezTo>
                      <a:pt x="913266" y="629008"/>
                      <a:pt x="919810" y="633747"/>
                      <a:pt x="927933" y="640290"/>
                    </a:cubicBezTo>
                    <a:cubicBezTo>
                      <a:pt x="930641" y="642547"/>
                      <a:pt x="933123" y="644352"/>
                      <a:pt x="934703" y="645254"/>
                    </a:cubicBezTo>
                    <a:cubicBezTo>
                      <a:pt x="940570" y="649090"/>
                      <a:pt x="943277" y="663081"/>
                      <a:pt x="941923" y="666240"/>
                    </a:cubicBezTo>
                    <a:cubicBezTo>
                      <a:pt x="941472" y="667142"/>
                      <a:pt x="940795" y="668722"/>
                      <a:pt x="939667" y="670527"/>
                    </a:cubicBezTo>
                    <a:cubicBezTo>
                      <a:pt x="938539" y="672558"/>
                      <a:pt x="936508" y="676394"/>
                      <a:pt x="936282" y="677296"/>
                    </a:cubicBezTo>
                    <a:cubicBezTo>
                      <a:pt x="936282" y="680907"/>
                      <a:pt x="923195" y="688804"/>
                      <a:pt x="918908" y="689932"/>
                    </a:cubicBezTo>
                    <a:cubicBezTo>
                      <a:pt x="915523" y="690835"/>
                      <a:pt x="913492" y="690835"/>
                      <a:pt x="908754" y="690835"/>
                    </a:cubicBezTo>
                    <a:cubicBezTo>
                      <a:pt x="905820" y="690835"/>
                      <a:pt x="901533" y="690835"/>
                      <a:pt x="894989" y="691061"/>
                    </a:cubicBezTo>
                    <a:cubicBezTo>
                      <a:pt x="883932" y="691286"/>
                      <a:pt x="881676" y="693543"/>
                      <a:pt x="879871" y="695348"/>
                    </a:cubicBezTo>
                    <a:cubicBezTo>
                      <a:pt x="878968" y="696250"/>
                      <a:pt x="877840" y="697153"/>
                      <a:pt x="876035" y="697604"/>
                    </a:cubicBezTo>
                    <a:cubicBezTo>
                      <a:pt x="872425" y="698507"/>
                      <a:pt x="857757" y="707307"/>
                      <a:pt x="853019" y="712497"/>
                    </a:cubicBezTo>
                    <a:cubicBezTo>
                      <a:pt x="850086" y="715656"/>
                      <a:pt x="848280" y="718815"/>
                      <a:pt x="845573" y="723328"/>
                    </a:cubicBezTo>
                    <a:cubicBezTo>
                      <a:pt x="843993" y="725810"/>
                      <a:pt x="842414" y="728744"/>
                      <a:pt x="839932" y="732354"/>
                    </a:cubicBezTo>
                    <a:cubicBezTo>
                      <a:pt x="836095" y="738446"/>
                      <a:pt x="840608" y="743185"/>
                      <a:pt x="845798" y="747923"/>
                    </a:cubicBezTo>
                    <a:cubicBezTo>
                      <a:pt x="847378" y="749277"/>
                      <a:pt x="848506" y="750180"/>
                      <a:pt x="848957" y="751308"/>
                    </a:cubicBezTo>
                    <a:cubicBezTo>
                      <a:pt x="850537" y="754467"/>
                      <a:pt x="854373" y="770714"/>
                      <a:pt x="854373" y="773196"/>
                    </a:cubicBezTo>
                    <a:cubicBezTo>
                      <a:pt x="854373" y="776806"/>
                      <a:pt x="849183" y="780191"/>
                      <a:pt x="845798" y="780642"/>
                    </a:cubicBezTo>
                    <a:cubicBezTo>
                      <a:pt x="844670" y="780868"/>
                      <a:pt x="843091" y="784252"/>
                      <a:pt x="841962" y="787186"/>
                    </a:cubicBezTo>
                    <a:cubicBezTo>
                      <a:pt x="841511" y="788540"/>
                      <a:pt x="840834" y="789894"/>
                      <a:pt x="840157" y="791247"/>
                    </a:cubicBezTo>
                    <a:cubicBezTo>
                      <a:pt x="837901" y="796437"/>
                      <a:pt x="839255" y="800273"/>
                      <a:pt x="840834" y="805238"/>
                    </a:cubicBezTo>
                    <a:lnTo>
                      <a:pt x="841060" y="806140"/>
                    </a:lnTo>
                    <a:cubicBezTo>
                      <a:pt x="842414" y="810202"/>
                      <a:pt x="843993" y="813361"/>
                      <a:pt x="845798" y="816520"/>
                    </a:cubicBezTo>
                    <a:cubicBezTo>
                      <a:pt x="846475" y="817648"/>
                      <a:pt x="846926" y="818776"/>
                      <a:pt x="847603" y="819905"/>
                    </a:cubicBezTo>
                    <a:cubicBezTo>
                      <a:pt x="848280" y="821484"/>
                      <a:pt x="848957" y="823064"/>
                      <a:pt x="848280" y="824643"/>
                    </a:cubicBezTo>
                    <a:cubicBezTo>
                      <a:pt x="847603" y="826223"/>
                      <a:pt x="846024" y="826674"/>
                      <a:pt x="844444" y="827125"/>
                    </a:cubicBezTo>
                    <a:cubicBezTo>
                      <a:pt x="843767" y="827351"/>
                      <a:pt x="842865" y="827577"/>
                      <a:pt x="841737" y="828028"/>
                    </a:cubicBezTo>
                    <a:cubicBezTo>
                      <a:pt x="840383" y="828705"/>
                      <a:pt x="839029" y="829382"/>
                      <a:pt x="837675" y="830510"/>
                    </a:cubicBezTo>
                    <a:cubicBezTo>
                      <a:pt x="834967" y="832315"/>
                      <a:pt x="832034" y="834120"/>
                      <a:pt x="827070" y="835700"/>
                    </a:cubicBezTo>
                    <a:cubicBezTo>
                      <a:pt x="821428" y="837505"/>
                      <a:pt x="820526" y="838408"/>
                      <a:pt x="818495" y="840664"/>
                    </a:cubicBezTo>
                    <a:cubicBezTo>
                      <a:pt x="818044" y="841341"/>
                      <a:pt x="817367" y="842018"/>
                      <a:pt x="816690" y="842695"/>
                    </a:cubicBezTo>
                    <a:cubicBezTo>
                      <a:pt x="815336" y="844049"/>
                      <a:pt x="814885" y="845403"/>
                      <a:pt x="814433" y="847208"/>
                    </a:cubicBezTo>
                    <a:cubicBezTo>
                      <a:pt x="813531" y="849916"/>
                      <a:pt x="812628" y="853075"/>
                      <a:pt x="808341" y="855557"/>
                    </a:cubicBezTo>
                    <a:cubicBezTo>
                      <a:pt x="805408" y="857362"/>
                      <a:pt x="804505" y="860070"/>
                      <a:pt x="803602" y="863003"/>
                    </a:cubicBezTo>
                    <a:cubicBezTo>
                      <a:pt x="802925" y="865485"/>
                      <a:pt x="802023" y="867967"/>
                      <a:pt x="800218" y="869772"/>
                    </a:cubicBezTo>
                    <a:cubicBezTo>
                      <a:pt x="798864" y="871126"/>
                      <a:pt x="797736" y="872029"/>
                      <a:pt x="796833" y="872706"/>
                    </a:cubicBezTo>
                    <a:cubicBezTo>
                      <a:pt x="795479" y="873834"/>
                      <a:pt x="794125" y="874737"/>
                      <a:pt x="791418" y="878573"/>
                    </a:cubicBezTo>
                    <a:cubicBezTo>
                      <a:pt x="789838" y="880603"/>
                      <a:pt x="789161" y="882183"/>
                      <a:pt x="788710" y="883762"/>
                    </a:cubicBezTo>
                    <a:cubicBezTo>
                      <a:pt x="787582" y="886696"/>
                      <a:pt x="786453" y="888501"/>
                      <a:pt x="781715" y="890080"/>
                    </a:cubicBezTo>
                    <a:cubicBezTo>
                      <a:pt x="778556" y="891209"/>
                      <a:pt x="776751" y="892788"/>
                      <a:pt x="774720" y="894593"/>
                    </a:cubicBezTo>
                    <a:cubicBezTo>
                      <a:pt x="772689" y="896399"/>
                      <a:pt x="770658" y="898429"/>
                      <a:pt x="766822" y="900009"/>
                    </a:cubicBezTo>
                    <a:cubicBezTo>
                      <a:pt x="764791" y="900686"/>
                      <a:pt x="764791" y="901363"/>
                      <a:pt x="765468" y="904522"/>
                    </a:cubicBezTo>
                    <a:cubicBezTo>
                      <a:pt x="766145" y="907455"/>
                      <a:pt x="767048" y="911517"/>
                      <a:pt x="763212" y="915579"/>
                    </a:cubicBezTo>
                    <a:cubicBezTo>
                      <a:pt x="759827" y="919414"/>
                      <a:pt x="762986" y="923476"/>
                      <a:pt x="767273" y="927989"/>
                    </a:cubicBezTo>
                    <a:cubicBezTo>
                      <a:pt x="768176" y="928892"/>
                      <a:pt x="768853" y="929794"/>
                      <a:pt x="769530" y="930471"/>
                    </a:cubicBezTo>
                    <a:cubicBezTo>
                      <a:pt x="770884" y="932276"/>
                      <a:pt x="771335" y="934984"/>
                      <a:pt x="770432" y="937466"/>
                    </a:cubicBezTo>
                    <a:cubicBezTo>
                      <a:pt x="769530" y="940400"/>
                      <a:pt x="767048" y="942882"/>
                      <a:pt x="764340" y="943784"/>
                    </a:cubicBezTo>
                    <a:cubicBezTo>
                      <a:pt x="762084" y="944461"/>
                      <a:pt x="761632" y="945138"/>
                      <a:pt x="760955" y="945589"/>
                    </a:cubicBezTo>
                    <a:cubicBezTo>
                      <a:pt x="760504" y="946041"/>
                      <a:pt x="760053" y="946492"/>
                      <a:pt x="759376" y="947169"/>
                    </a:cubicBezTo>
                    <a:cubicBezTo>
                      <a:pt x="755991" y="949877"/>
                      <a:pt x="750801" y="953938"/>
                      <a:pt x="744483" y="959805"/>
                    </a:cubicBezTo>
                    <a:cubicBezTo>
                      <a:pt x="737714" y="965898"/>
                      <a:pt x="734103" y="964995"/>
                      <a:pt x="729816" y="964092"/>
                    </a:cubicBezTo>
                    <a:cubicBezTo>
                      <a:pt x="728011" y="963641"/>
                      <a:pt x="725980" y="963190"/>
                      <a:pt x="723498" y="963190"/>
                    </a:cubicBezTo>
                    <a:cubicBezTo>
                      <a:pt x="714698" y="963190"/>
                      <a:pt x="702287" y="967928"/>
                      <a:pt x="698451" y="971539"/>
                    </a:cubicBezTo>
                    <a:cubicBezTo>
                      <a:pt x="696195" y="973795"/>
                      <a:pt x="695969" y="976277"/>
                      <a:pt x="695969" y="979662"/>
                    </a:cubicBezTo>
                    <a:cubicBezTo>
                      <a:pt x="695969" y="981693"/>
                      <a:pt x="695744" y="983498"/>
                      <a:pt x="695292" y="985754"/>
                    </a:cubicBezTo>
                    <a:cubicBezTo>
                      <a:pt x="694615" y="988011"/>
                      <a:pt x="694390" y="990944"/>
                      <a:pt x="693938" y="993878"/>
                    </a:cubicBezTo>
                    <a:cubicBezTo>
                      <a:pt x="693487" y="998165"/>
                      <a:pt x="692810" y="1002904"/>
                      <a:pt x="691456" y="1007868"/>
                    </a:cubicBezTo>
                    <a:cubicBezTo>
                      <a:pt x="689200" y="1016442"/>
                      <a:pt x="681077" y="1029981"/>
                      <a:pt x="677015" y="1034494"/>
                    </a:cubicBezTo>
                    <a:cubicBezTo>
                      <a:pt x="675887" y="1035848"/>
                      <a:pt x="674758" y="1038330"/>
                      <a:pt x="673405" y="1041263"/>
                    </a:cubicBezTo>
                    <a:cubicBezTo>
                      <a:pt x="670697" y="1046905"/>
                      <a:pt x="667087" y="1054802"/>
                      <a:pt x="660317" y="1060218"/>
                    </a:cubicBezTo>
                    <a:cubicBezTo>
                      <a:pt x="654225" y="1065182"/>
                      <a:pt x="651066" y="1069920"/>
                      <a:pt x="648584" y="1073756"/>
                    </a:cubicBezTo>
                    <a:cubicBezTo>
                      <a:pt x="647004" y="1076013"/>
                      <a:pt x="645650" y="1078044"/>
                      <a:pt x="644071" y="1079849"/>
                    </a:cubicBezTo>
                    <a:cubicBezTo>
                      <a:pt x="642717" y="1081203"/>
                      <a:pt x="641814" y="1084813"/>
                      <a:pt x="641137" y="1088198"/>
                    </a:cubicBezTo>
                    <a:cubicBezTo>
                      <a:pt x="639783" y="1093839"/>
                      <a:pt x="638429" y="1100383"/>
                      <a:pt x="633240" y="1101060"/>
                    </a:cubicBezTo>
                    <a:cubicBezTo>
                      <a:pt x="630081" y="1101511"/>
                      <a:pt x="628727" y="1101285"/>
                      <a:pt x="627598" y="1101285"/>
                    </a:cubicBezTo>
                    <a:cubicBezTo>
                      <a:pt x="626470" y="1101060"/>
                      <a:pt x="625342" y="1101060"/>
                      <a:pt x="621055" y="1101962"/>
                    </a:cubicBezTo>
                    <a:cubicBezTo>
                      <a:pt x="617670" y="1102865"/>
                      <a:pt x="614511" y="1104670"/>
                      <a:pt x="611352" y="1106926"/>
                    </a:cubicBezTo>
                    <a:cubicBezTo>
                      <a:pt x="607742" y="1109409"/>
                      <a:pt x="603454" y="1112116"/>
                      <a:pt x="598039" y="1113244"/>
                    </a:cubicBezTo>
                    <a:cubicBezTo>
                      <a:pt x="588336" y="1115501"/>
                      <a:pt x="577054" y="1123850"/>
                      <a:pt x="569156" y="1130168"/>
                    </a:cubicBezTo>
                    <a:cubicBezTo>
                      <a:pt x="564418" y="1134004"/>
                      <a:pt x="563515" y="1138517"/>
                      <a:pt x="562838" y="1142804"/>
                    </a:cubicBezTo>
                    <a:cubicBezTo>
                      <a:pt x="562387" y="1145512"/>
                      <a:pt x="561710" y="1148445"/>
                      <a:pt x="560130" y="1150927"/>
                    </a:cubicBezTo>
                    <a:cubicBezTo>
                      <a:pt x="558551" y="1153410"/>
                      <a:pt x="557197" y="1157471"/>
                      <a:pt x="555843" y="1161307"/>
                    </a:cubicBezTo>
                    <a:cubicBezTo>
                      <a:pt x="554263" y="1166046"/>
                      <a:pt x="552684" y="1170784"/>
                      <a:pt x="550202" y="1174169"/>
                    </a:cubicBezTo>
                    <a:lnTo>
                      <a:pt x="548622" y="1176425"/>
                    </a:lnTo>
                    <a:cubicBezTo>
                      <a:pt x="544786" y="1181615"/>
                      <a:pt x="540725" y="1187256"/>
                      <a:pt x="535535" y="1188610"/>
                    </a:cubicBezTo>
                    <a:cubicBezTo>
                      <a:pt x="531699" y="1189739"/>
                      <a:pt x="526058" y="1194703"/>
                      <a:pt x="521996" y="1198539"/>
                    </a:cubicBezTo>
                    <a:cubicBezTo>
                      <a:pt x="521319" y="1199216"/>
                      <a:pt x="520417" y="1199893"/>
                      <a:pt x="519740" y="1200570"/>
                    </a:cubicBezTo>
                    <a:cubicBezTo>
                      <a:pt x="515452" y="1204406"/>
                      <a:pt x="512745" y="1206888"/>
                      <a:pt x="511391" y="1212303"/>
                    </a:cubicBezTo>
                    <a:cubicBezTo>
                      <a:pt x="510037" y="1217719"/>
                      <a:pt x="507555" y="1223811"/>
                      <a:pt x="505750" y="1227647"/>
                    </a:cubicBezTo>
                    <a:lnTo>
                      <a:pt x="505073" y="1229227"/>
                    </a:lnTo>
                    <a:cubicBezTo>
                      <a:pt x="503493" y="1232837"/>
                      <a:pt x="499657" y="1235545"/>
                      <a:pt x="493113" y="1237801"/>
                    </a:cubicBezTo>
                    <a:cubicBezTo>
                      <a:pt x="491308" y="1238478"/>
                      <a:pt x="489503" y="1239381"/>
                      <a:pt x="487247" y="1240509"/>
                    </a:cubicBezTo>
                    <a:cubicBezTo>
                      <a:pt x="482734" y="1242765"/>
                      <a:pt x="477318" y="1245699"/>
                      <a:pt x="469646" y="1246827"/>
                    </a:cubicBezTo>
                    <a:cubicBezTo>
                      <a:pt x="462651" y="1247730"/>
                      <a:pt x="459492" y="1247053"/>
                      <a:pt x="456333" y="1246601"/>
                    </a:cubicBezTo>
                    <a:cubicBezTo>
                      <a:pt x="454302" y="1246150"/>
                      <a:pt x="452497" y="1245924"/>
                      <a:pt x="449789" y="1245924"/>
                    </a:cubicBezTo>
                    <a:cubicBezTo>
                      <a:pt x="447758" y="1245924"/>
                      <a:pt x="445502" y="1245924"/>
                      <a:pt x="443246" y="1245699"/>
                    </a:cubicBezTo>
                    <a:cubicBezTo>
                      <a:pt x="436927" y="1245473"/>
                      <a:pt x="428804" y="1245022"/>
                      <a:pt x="424743" y="1246601"/>
                    </a:cubicBezTo>
                    <a:cubicBezTo>
                      <a:pt x="422486" y="1247504"/>
                      <a:pt x="419101" y="1248632"/>
                      <a:pt x="415040" y="1250212"/>
                    </a:cubicBezTo>
                    <a:cubicBezTo>
                      <a:pt x="408045" y="1252694"/>
                      <a:pt x="399470" y="1255853"/>
                      <a:pt x="392926" y="1258335"/>
                    </a:cubicBezTo>
                    <a:cubicBezTo>
                      <a:pt x="383901" y="1261945"/>
                      <a:pt x="371490" y="1264879"/>
                      <a:pt x="366526" y="1260366"/>
                    </a:cubicBezTo>
                    <a:cubicBezTo>
                      <a:pt x="364495" y="1258561"/>
                      <a:pt x="363367" y="1256079"/>
                      <a:pt x="362690" y="1254048"/>
                    </a:cubicBezTo>
                    <a:cubicBezTo>
                      <a:pt x="361787" y="1252017"/>
                      <a:pt x="361336" y="1250437"/>
                      <a:pt x="359756" y="1249760"/>
                    </a:cubicBezTo>
                    <a:cubicBezTo>
                      <a:pt x="355469" y="1247053"/>
                      <a:pt x="354567" y="1238929"/>
                      <a:pt x="354567" y="1232611"/>
                    </a:cubicBezTo>
                    <a:cubicBezTo>
                      <a:pt x="354567" y="1228098"/>
                      <a:pt x="352084" y="1218396"/>
                      <a:pt x="349602" y="1216816"/>
                    </a:cubicBezTo>
                    <a:cubicBezTo>
                      <a:pt x="346669" y="1214785"/>
                      <a:pt x="334484" y="1212078"/>
                      <a:pt x="330197" y="1212529"/>
                    </a:cubicBezTo>
                    <a:cubicBezTo>
                      <a:pt x="327715" y="1212754"/>
                      <a:pt x="324781" y="1215011"/>
                      <a:pt x="321171" y="1217719"/>
                    </a:cubicBezTo>
                    <a:cubicBezTo>
                      <a:pt x="318689" y="1219524"/>
                      <a:pt x="315981" y="1221555"/>
                      <a:pt x="312822" y="1223586"/>
                    </a:cubicBezTo>
                    <a:cubicBezTo>
                      <a:pt x="309663" y="1225616"/>
                      <a:pt x="307181" y="1226970"/>
                      <a:pt x="305376" y="1228324"/>
                    </a:cubicBezTo>
                    <a:cubicBezTo>
                      <a:pt x="302217" y="1230355"/>
                      <a:pt x="299735" y="1231934"/>
                      <a:pt x="295899" y="1233965"/>
                    </a:cubicBezTo>
                    <a:cubicBezTo>
                      <a:pt x="290483" y="1236899"/>
                      <a:pt x="288227" y="1248181"/>
                      <a:pt x="287550" y="1252017"/>
                    </a:cubicBezTo>
                    <a:lnTo>
                      <a:pt x="287324" y="1252694"/>
                    </a:lnTo>
                    <a:cubicBezTo>
                      <a:pt x="285519" y="1261945"/>
                      <a:pt x="283262" y="1270745"/>
                      <a:pt x="278750" y="1272776"/>
                    </a:cubicBezTo>
                    <a:cubicBezTo>
                      <a:pt x="276944" y="1273453"/>
                      <a:pt x="275365" y="1275258"/>
                      <a:pt x="273560" y="1277064"/>
                    </a:cubicBezTo>
                    <a:cubicBezTo>
                      <a:pt x="271529" y="1279094"/>
                      <a:pt x="269724" y="1281351"/>
                      <a:pt x="267016" y="1282479"/>
                    </a:cubicBezTo>
                    <a:cubicBezTo>
                      <a:pt x="265211" y="1283382"/>
                      <a:pt x="263406" y="1284961"/>
                      <a:pt x="261149" y="1286992"/>
                    </a:cubicBezTo>
                    <a:cubicBezTo>
                      <a:pt x="258216" y="1289474"/>
                      <a:pt x="254605" y="1292859"/>
                      <a:pt x="249415" y="1296018"/>
                    </a:cubicBezTo>
                    <a:cubicBezTo>
                      <a:pt x="245354" y="1298500"/>
                      <a:pt x="242195" y="1301208"/>
                      <a:pt x="239261" y="1303915"/>
                    </a:cubicBezTo>
                    <a:cubicBezTo>
                      <a:pt x="235651" y="1307075"/>
                      <a:pt x="232492" y="1310008"/>
                      <a:pt x="228205" y="1311362"/>
                    </a:cubicBezTo>
                    <a:cubicBezTo>
                      <a:pt x="225497" y="1312264"/>
                      <a:pt x="224369" y="1315875"/>
                      <a:pt x="223015" y="1319936"/>
                    </a:cubicBezTo>
                    <a:cubicBezTo>
                      <a:pt x="221661" y="1323998"/>
                      <a:pt x="220081" y="1328737"/>
                      <a:pt x="216020" y="1331444"/>
                    </a:cubicBezTo>
                    <a:cubicBezTo>
                      <a:pt x="209702" y="1335506"/>
                      <a:pt x="207445" y="1342275"/>
                      <a:pt x="207445" y="1355814"/>
                    </a:cubicBezTo>
                    <a:cubicBezTo>
                      <a:pt x="207445" y="1369127"/>
                      <a:pt x="207445" y="1373640"/>
                      <a:pt x="210153" y="1379507"/>
                    </a:cubicBezTo>
                    <a:cubicBezTo>
                      <a:pt x="211507" y="1382440"/>
                      <a:pt x="213312" y="1382892"/>
                      <a:pt x="216471" y="1384020"/>
                    </a:cubicBezTo>
                    <a:cubicBezTo>
                      <a:pt x="218728" y="1384922"/>
                      <a:pt x="221661" y="1385825"/>
                      <a:pt x="225046" y="1388081"/>
                    </a:cubicBezTo>
                    <a:cubicBezTo>
                      <a:pt x="227979" y="1390112"/>
                      <a:pt x="230010" y="1392143"/>
                      <a:pt x="232041" y="1393948"/>
                    </a:cubicBezTo>
                    <a:cubicBezTo>
                      <a:pt x="235425" y="1397107"/>
                      <a:pt x="238133" y="1399589"/>
                      <a:pt x="242646" y="1400492"/>
                    </a:cubicBezTo>
                    <a:cubicBezTo>
                      <a:pt x="249641" y="1401846"/>
                      <a:pt x="254831" y="1401169"/>
                      <a:pt x="261375" y="1400266"/>
                    </a:cubicBezTo>
                    <a:lnTo>
                      <a:pt x="263180" y="1400041"/>
                    </a:lnTo>
                    <a:cubicBezTo>
                      <a:pt x="270175" y="1399138"/>
                      <a:pt x="275365" y="1402748"/>
                      <a:pt x="278298" y="1404554"/>
                    </a:cubicBezTo>
                    <a:cubicBezTo>
                      <a:pt x="278750" y="1404779"/>
                      <a:pt x="279201" y="1405231"/>
                      <a:pt x="279426" y="1405456"/>
                    </a:cubicBezTo>
                    <a:lnTo>
                      <a:pt x="279878" y="1405682"/>
                    </a:lnTo>
                    <a:cubicBezTo>
                      <a:pt x="282360" y="1407036"/>
                      <a:pt x="287775" y="1410420"/>
                      <a:pt x="284391" y="1417415"/>
                    </a:cubicBezTo>
                    <a:cubicBezTo>
                      <a:pt x="283262" y="1419446"/>
                      <a:pt x="283939" y="1421703"/>
                      <a:pt x="284391" y="1424862"/>
                    </a:cubicBezTo>
                    <a:cubicBezTo>
                      <a:pt x="285293" y="1428698"/>
                      <a:pt x="286196" y="1433662"/>
                      <a:pt x="284842" y="1440431"/>
                    </a:cubicBezTo>
                    <a:lnTo>
                      <a:pt x="284391" y="1442914"/>
                    </a:lnTo>
                    <a:cubicBezTo>
                      <a:pt x="282360" y="1453744"/>
                      <a:pt x="280780" y="1462319"/>
                      <a:pt x="270852" y="1468863"/>
                    </a:cubicBezTo>
                    <a:cubicBezTo>
                      <a:pt x="268144" y="1470668"/>
                      <a:pt x="267693" y="1471796"/>
                      <a:pt x="267693" y="1472247"/>
                    </a:cubicBezTo>
                    <a:cubicBezTo>
                      <a:pt x="267693" y="1473376"/>
                      <a:pt x="268821" y="1474504"/>
                      <a:pt x="269949" y="1475632"/>
                    </a:cubicBezTo>
                    <a:cubicBezTo>
                      <a:pt x="271529" y="1476986"/>
                      <a:pt x="273108" y="1478566"/>
                      <a:pt x="272431" y="1480596"/>
                    </a:cubicBezTo>
                    <a:cubicBezTo>
                      <a:pt x="271529" y="1483079"/>
                      <a:pt x="270852" y="1493909"/>
                      <a:pt x="274237" y="1499325"/>
                    </a:cubicBezTo>
                    <a:cubicBezTo>
                      <a:pt x="276042" y="1502258"/>
                      <a:pt x="278073" y="1504289"/>
                      <a:pt x="280329" y="1506546"/>
                    </a:cubicBezTo>
                    <a:cubicBezTo>
                      <a:pt x="282360" y="1508576"/>
                      <a:pt x="284391" y="1510607"/>
                      <a:pt x="286421" y="1513315"/>
                    </a:cubicBezTo>
                    <a:cubicBezTo>
                      <a:pt x="287098" y="1514443"/>
                      <a:pt x="287775" y="1515346"/>
                      <a:pt x="288452" y="1516474"/>
                    </a:cubicBezTo>
                    <a:cubicBezTo>
                      <a:pt x="291386" y="1520987"/>
                      <a:pt x="294319" y="1525726"/>
                      <a:pt x="298832" y="1528208"/>
                    </a:cubicBezTo>
                    <a:cubicBezTo>
                      <a:pt x="302442" y="1530238"/>
                      <a:pt x="306955" y="1529110"/>
                      <a:pt x="313499" y="1527305"/>
                    </a:cubicBezTo>
                    <a:cubicBezTo>
                      <a:pt x="316207" y="1526628"/>
                      <a:pt x="319366" y="1525726"/>
                      <a:pt x="322976" y="1525049"/>
                    </a:cubicBezTo>
                    <a:cubicBezTo>
                      <a:pt x="330874" y="1523469"/>
                      <a:pt x="335387" y="1523920"/>
                      <a:pt x="337192" y="1526628"/>
                    </a:cubicBezTo>
                    <a:cubicBezTo>
                      <a:pt x="339223" y="1529562"/>
                      <a:pt x="336966" y="1533623"/>
                      <a:pt x="336289" y="1534752"/>
                    </a:cubicBezTo>
                    <a:cubicBezTo>
                      <a:pt x="334033" y="1538813"/>
                      <a:pt x="334935" y="1543326"/>
                      <a:pt x="335838" y="1546711"/>
                    </a:cubicBezTo>
                    <a:cubicBezTo>
                      <a:pt x="336289" y="1548290"/>
                      <a:pt x="336515" y="1549870"/>
                      <a:pt x="336515" y="1551224"/>
                    </a:cubicBezTo>
                    <a:cubicBezTo>
                      <a:pt x="336515" y="1555737"/>
                      <a:pt x="338997" y="1581911"/>
                      <a:pt x="342833" y="1587778"/>
                    </a:cubicBezTo>
                    <a:cubicBezTo>
                      <a:pt x="344638" y="1590712"/>
                      <a:pt x="348700" y="1593419"/>
                      <a:pt x="352761" y="1595902"/>
                    </a:cubicBezTo>
                    <a:cubicBezTo>
                      <a:pt x="357274" y="1598835"/>
                      <a:pt x="361110" y="1601317"/>
                      <a:pt x="362464" y="1604702"/>
                    </a:cubicBezTo>
                    <a:cubicBezTo>
                      <a:pt x="363367" y="1606958"/>
                      <a:pt x="362916" y="1610117"/>
                      <a:pt x="362690" y="1613728"/>
                    </a:cubicBezTo>
                    <a:cubicBezTo>
                      <a:pt x="362013" y="1619369"/>
                      <a:pt x="361336" y="1626364"/>
                      <a:pt x="365172" y="1631554"/>
                    </a:cubicBezTo>
                    <a:cubicBezTo>
                      <a:pt x="369008" y="1636743"/>
                      <a:pt x="370362" y="1642159"/>
                      <a:pt x="371716" y="1646897"/>
                    </a:cubicBezTo>
                    <a:cubicBezTo>
                      <a:pt x="372844" y="1650734"/>
                      <a:pt x="373747" y="1654118"/>
                      <a:pt x="375552" y="1656826"/>
                    </a:cubicBezTo>
                    <a:cubicBezTo>
                      <a:pt x="376680" y="1658180"/>
                      <a:pt x="377808" y="1659759"/>
                      <a:pt x="379162" y="1661339"/>
                    </a:cubicBezTo>
                    <a:cubicBezTo>
                      <a:pt x="383224" y="1666078"/>
                      <a:pt x="386834" y="1670816"/>
                      <a:pt x="385931" y="1674426"/>
                    </a:cubicBezTo>
                    <a:cubicBezTo>
                      <a:pt x="385706" y="1675555"/>
                      <a:pt x="384803" y="1676908"/>
                      <a:pt x="382772" y="1677811"/>
                    </a:cubicBezTo>
                    <a:cubicBezTo>
                      <a:pt x="380742" y="1678714"/>
                      <a:pt x="379613" y="1678939"/>
                      <a:pt x="378936" y="1679165"/>
                    </a:cubicBezTo>
                    <a:cubicBezTo>
                      <a:pt x="378259" y="1679391"/>
                      <a:pt x="378259" y="1679391"/>
                      <a:pt x="376906" y="1680744"/>
                    </a:cubicBezTo>
                    <a:cubicBezTo>
                      <a:pt x="376454" y="1681421"/>
                      <a:pt x="375777" y="1682098"/>
                      <a:pt x="375100" y="1683001"/>
                    </a:cubicBezTo>
                    <a:cubicBezTo>
                      <a:pt x="370813" y="1688191"/>
                      <a:pt x="370813" y="1690222"/>
                      <a:pt x="370813" y="1692929"/>
                    </a:cubicBezTo>
                    <a:lnTo>
                      <a:pt x="370813" y="1693381"/>
                    </a:lnTo>
                    <a:cubicBezTo>
                      <a:pt x="370813" y="1695411"/>
                      <a:pt x="373295" y="1697894"/>
                      <a:pt x="378259" y="1700601"/>
                    </a:cubicBezTo>
                    <a:cubicBezTo>
                      <a:pt x="381644" y="1702407"/>
                      <a:pt x="383675" y="1704889"/>
                      <a:pt x="383901" y="1707596"/>
                    </a:cubicBezTo>
                    <a:cubicBezTo>
                      <a:pt x="384126" y="1709853"/>
                      <a:pt x="383224" y="1712109"/>
                      <a:pt x="381418" y="1713689"/>
                    </a:cubicBezTo>
                    <a:cubicBezTo>
                      <a:pt x="380742" y="1714366"/>
                      <a:pt x="380290" y="1715043"/>
                      <a:pt x="379839" y="1715720"/>
                    </a:cubicBezTo>
                    <a:cubicBezTo>
                      <a:pt x="378259" y="1718202"/>
                      <a:pt x="376906" y="1720007"/>
                      <a:pt x="370813" y="1720007"/>
                    </a:cubicBezTo>
                    <a:cubicBezTo>
                      <a:pt x="365398" y="1720007"/>
                      <a:pt x="365398" y="1720007"/>
                      <a:pt x="364269" y="1720458"/>
                    </a:cubicBezTo>
                    <a:cubicBezTo>
                      <a:pt x="363592" y="1720684"/>
                      <a:pt x="362690" y="1720910"/>
                      <a:pt x="361110" y="1721361"/>
                    </a:cubicBezTo>
                    <a:cubicBezTo>
                      <a:pt x="359080" y="1721812"/>
                      <a:pt x="357951" y="1723392"/>
                      <a:pt x="356597" y="1725874"/>
                    </a:cubicBezTo>
                    <a:cubicBezTo>
                      <a:pt x="355469" y="1727905"/>
                      <a:pt x="354341" y="1729935"/>
                      <a:pt x="352084" y="1731515"/>
                    </a:cubicBezTo>
                    <a:cubicBezTo>
                      <a:pt x="347120" y="1734899"/>
                      <a:pt x="337418" y="1736253"/>
                      <a:pt x="331776" y="1736253"/>
                    </a:cubicBezTo>
                    <a:cubicBezTo>
                      <a:pt x="325684" y="1736253"/>
                      <a:pt x="313048" y="1730838"/>
                      <a:pt x="308084" y="1723617"/>
                    </a:cubicBezTo>
                    <a:cubicBezTo>
                      <a:pt x="304924" y="1719104"/>
                      <a:pt x="308084" y="1714591"/>
                      <a:pt x="310114" y="1711207"/>
                    </a:cubicBezTo>
                    <a:cubicBezTo>
                      <a:pt x="311017" y="1709853"/>
                      <a:pt x="312371" y="1708048"/>
                      <a:pt x="312145" y="1707145"/>
                    </a:cubicBezTo>
                    <a:cubicBezTo>
                      <a:pt x="312145" y="1706919"/>
                      <a:pt x="311919" y="1706694"/>
                      <a:pt x="311694" y="1706468"/>
                    </a:cubicBezTo>
                    <a:cubicBezTo>
                      <a:pt x="308986" y="1704663"/>
                      <a:pt x="307407" y="1705340"/>
                      <a:pt x="303571" y="1707822"/>
                    </a:cubicBezTo>
                    <a:cubicBezTo>
                      <a:pt x="301765" y="1708950"/>
                      <a:pt x="299735" y="1710078"/>
                      <a:pt x="297252" y="1711207"/>
                    </a:cubicBezTo>
                    <a:cubicBezTo>
                      <a:pt x="294770" y="1712335"/>
                      <a:pt x="293416" y="1713237"/>
                      <a:pt x="292063" y="1714140"/>
                    </a:cubicBezTo>
                    <a:cubicBezTo>
                      <a:pt x="289355" y="1716171"/>
                      <a:pt x="287324" y="1717299"/>
                      <a:pt x="280329" y="1716848"/>
                    </a:cubicBezTo>
                    <a:cubicBezTo>
                      <a:pt x="270175" y="1716171"/>
                      <a:pt x="266339" y="1717976"/>
                      <a:pt x="260021" y="1721361"/>
                    </a:cubicBezTo>
                    <a:cubicBezTo>
                      <a:pt x="257087" y="1722940"/>
                      <a:pt x="255057" y="1725197"/>
                      <a:pt x="253026" y="1727453"/>
                    </a:cubicBezTo>
                    <a:cubicBezTo>
                      <a:pt x="250544" y="1730161"/>
                      <a:pt x="248287" y="1732643"/>
                      <a:pt x="244903" y="1733546"/>
                    </a:cubicBezTo>
                    <a:cubicBezTo>
                      <a:pt x="240841" y="1734448"/>
                      <a:pt x="235425" y="1734674"/>
                      <a:pt x="228656" y="1734674"/>
                    </a:cubicBezTo>
                    <a:cubicBezTo>
                      <a:pt x="226174" y="1734674"/>
                      <a:pt x="223466" y="1734674"/>
                      <a:pt x="220758" y="1734899"/>
                    </a:cubicBezTo>
                    <a:cubicBezTo>
                      <a:pt x="209702" y="1735125"/>
                      <a:pt x="202030" y="1731966"/>
                      <a:pt x="196614" y="1724520"/>
                    </a:cubicBezTo>
                    <a:cubicBezTo>
                      <a:pt x="192553" y="1719104"/>
                      <a:pt x="191650" y="1718879"/>
                      <a:pt x="189168" y="1718427"/>
                    </a:cubicBezTo>
                    <a:cubicBezTo>
                      <a:pt x="188717" y="1718427"/>
                      <a:pt x="188265" y="1718202"/>
                      <a:pt x="187814" y="1718202"/>
                    </a:cubicBezTo>
                    <a:cubicBezTo>
                      <a:pt x="184429" y="1717525"/>
                      <a:pt x="175629" y="1715494"/>
                      <a:pt x="164121" y="1717073"/>
                    </a:cubicBezTo>
                    <a:cubicBezTo>
                      <a:pt x="159608" y="1717751"/>
                      <a:pt x="157352" y="1718427"/>
                      <a:pt x="155547" y="1719104"/>
                    </a:cubicBezTo>
                    <a:cubicBezTo>
                      <a:pt x="152613" y="1720007"/>
                      <a:pt x="150808" y="1720458"/>
                      <a:pt x="144264" y="1720007"/>
                    </a:cubicBezTo>
                    <a:cubicBezTo>
                      <a:pt x="141331" y="1719781"/>
                      <a:pt x="138849" y="1719330"/>
                      <a:pt x="136818" y="1719104"/>
                    </a:cubicBezTo>
                    <a:cubicBezTo>
                      <a:pt x="131628" y="1718427"/>
                      <a:pt x="129372" y="1718202"/>
                      <a:pt x="125761" y="1719781"/>
                    </a:cubicBezTo>
                    <a:cubicBezTo>
                      <a:pt x="119669" y="1722489"/>
                      <a:pt x="113802" y="1724069"/>
                      <a:pt x="109289" y="1713463"/>
                    </a:cubicBezTo>
                    <a:cubicBezTo>
                      <a:pt x="107935" y="1713012"/>
                      <a:pt x="107484" y="1712561"/>
                      <a:pt x="107258" y="1712109"/>
                    </a:cubicBezTo>
                    <a:cubicBezTo>
                      <a:pt x="107258" y="1712109"/>
                      <a:pt x="107258" y="1712109"/>
                      <a:pt x="107033" y="1712335"/>
                    </a:cubicBezTo>
                    <a:cubicBezTo>
                      <a:pt x="105905" y="1713914"/>
                      <a:pt x="103197" y="1717525"/>
                      <a:pt x="98233" y="1713914"/>
                    </a:cubicBezTo>
                    <a:cubicBezTo>
                      <a:pt x="95299" y="1711658"/>
                      <a:pt x="93945" y="1709402"/>
                      <a:pt x="93268" y="1708048"/>
                    </a:cubicBezTo>
                    <a:cubicBezTo>
                      <a:pt x="92140" y="1706243"/>
                      <a:pt x="92140" y="1706017"/>
                      <a:pt x="88304" y="1707596"/>
                    </a:cubicBezTo>
                    <a:cubicBezTo>
                      <a:pt x="83114" y="1709853"/>
                      <a:pt x="83566" y="1713914"/>
                      <a:pt x="85145" y="1720458"/>
                    </a:cubicBezTo>
                    <a:cubicBezTo>
                      <a:pt x="85371" y="1721812"/>
                      <a:pt x="85822" y="1723166"/>
                      <a:pt x="86048" y="1724520"/>
                    </a:cubicBezTo>
                    <a:cubicBezTo>
                      <a:pt x="86725" y="1728807"/>
                      <a:pt x="85596" y="1730387"/>
                      <a:pt x="84243" y="1731966"/>
                    </a:cubicBezTo>
                    <a:cubicBezTo>
                      <a:pt x="83566" y="1732643"/>
                      <a:pt x="83114" y="1733320"/>
                      <a:pt x="82889" y="1734448"/>
                    </a:cubicBezTo>
                    <a:cubicBezTo>
                      <a:pt x="82663" y="1735351"/>
                      <a:pt x="82663" y="1736705"/>
                      <a:pt x="82663" y="1737833"/>
                    </a:cubicBezTo>
                    <a:cubicBezTo>
                      <a:pt x="82437" y="1741895"/>
                      <a:pt x="82212" y="1747084"/>
                      <a:pt x="78150" y="1749115"/>
                    </a:cubicBezTo>
                    <a:cubicBezTo>
                      <a:pt x="73863" y="1751146"/>
                      <a:pt x="68447" y="1752951"/>
                      <a:pt x="55811" y="1752951"/>
                    </a:cubicBezTo>
                    <a:cubicBezTo>
                      <a:pt x="46108" y="1752951"/>
                      <a:pt x="44529" y="1752274"/>
                      <a:pt x="40467" y="1750695"/>
                    </a:cubicBezTo>
                    <a:cubicBezTo>
                      <a:pt x="39113" y="1750243"/>
                      <a:pt x="37308" y="1749567"/>
                      <a:pt x="34600" y="1748664"/>
                    </a:cubicBezTo>
                    <a:cubicBezTo>
                      <a:pt x="28734" y="1746859"/>
                      <a:pt x="21062" y="1749115"/>
                      <a:pt x="16549" y="1752500"/>
                    </a:cubicBezTo>
                    <a:cubicBezTo>
                      <a:pt x="14292" y="1754305"/>
                      <a:pt x="12713" y="1756110"/>
                      <a:pt x="12713" y="1757690"/>
                    </a:cubicBezTo>
                    <a:cubicBezTo>
                      <a:pt x="12713" y="1761977"/>
                      <a:pt x="13841" y="1766264"/>
                      <a:pt x="14518" y="1769875"/>
                    </a:cubicBezTo>
                    <a:cubicBezTo>
                      <a:pt x="14969" y="1771454"/>
                      <a:pt x="15195" y="1772808"/>
                      <a:pt x="15420" y="1773936"/>
                    </a:cubicBezTo>
                    <a:cubicBezTo>
                      <a:pt x="15646" y="1775290"/>
                      <a:pt x="16097" y="1775516"/>
                      <a:pt x="16774" y="1776193"/>
                    </a:cubicBezTo>
                    <a:cubicBezTo>
                      <a:pt x="17677" y="1776870"/>
                      <a:pt x="18805" y="1777772"/>
                      <a:pt x="18805" y="1779803"/>
                    </a:cubicBezTo>
                    <a:cubicBezTo>
                      <a:pt x="18805" y="1784090"/>
                      <a:pt x="7974" y="1790634"/>
                      <a:pt x="5266" y="1791537"/>
                    </a:cubicBezTo>
                    <a:cubicBezTo>
                      <a:pt x="4364" y="1791988"/>
                      <a:pt x="3687" y="1793116"/>
                      <a:pt x="3912" y="1794019"/>
                    </a:cubicBezTo>
                    <a:cubicBezTo>
                      <a:pt x="4138" y="1795147"/>
                      <a:pt x="5492" y="1795373"/>
                      <a:pt x="6395" y="1795373"/>
                    </a:cubicBezTo>
                    <a:lnTo>
                      <a:pt x="8425" y="1795373"/>
                    </a:lnTo>
                    <a:cubicBezTo>
                      <a:pt x="12713" y="1795373"/>
                      <a:pt x="19031" y="1795373"/>
                      <a:pt x="20385" y="1794019"/>
                    </a:cubicBezTo>
                    <a:cubicBezTo>
                      <a:pt x="22415" y="1791988"/>
                      <a:pt x="28508" y="1784993"/>
                      <a:pt x="30313" y="1781157"/>
                    </a:cubicBezTo>
                    <a:cubicBezTo>
                      <a:pt x="32570" y="1776193"/>
                      <a:pt x="39565" y="1775742"/>
                      <a:pt x="44303" y="1775516"/>
                    </a:cubicBezTo>
                    <a:lnTo>
                      <a:pt x="44754" y="1775516"/>
                    </a:lnTo>
                    <a:cubicBezTo>
                      <a:pt x="46785" y="1775290"/>
                      <a:pt x="48365" y="1773034"/>
                      <a:pt x="50170" y="1770100"/>
                    </a:cubicBezTo>
                    <a:cubicBezTo>
                      <a:pt x="51073" y="1768746"/>
                      <a:pt x="51975" y="1767167"/>
                      <a:pt x="53103" y="1765813"/>
                    </a:cubicBezTo>
                    <a:cubicBezTo>
                      <a:pt x="55585" y="1762880"/>
                      <a:pt x="60775" y="1762203"/>
                      <a:pt x="65740" y="1761526"/>
                    </a:cubicBezTo>
                    <a:cubicBezTo>
                      <a:pt x="68673" y="1761075"/>
                      <a:pt x="71832" y="1760623"/>
                      <a:pt x="73863" y="1759721"/>
                    </a:cubicBezTo>
                    <a:cubicBezTo>
                      <a:pt x="78827" y="1757464"/>
                      <a:pt x="86048" y="1758141"/>
                      <a:pt x="87853" y="1760849"/>
                    </a:cubicBezTo>
                    <a:cubicBezTo>
                      <a:pt x="88530" y="1761751"/>
                      <a:pt x="88530" y="1763331"/>
                      <a:pt x="87176" y="1764459"/>
                    </a:cubicBezTo>
                    <a:cubicBezTo>
                      <a:pt x="86725" y="1764685"/>
                      <a:pt x="86499" y="1765136"/>
                      <a:pt x="85822" y="1765587"/>
                    </a:cubicBezTo>
                    <a:cubicBezTo>
                      <a:pt x="82663" y="1768521"/>
                      <a:pt x="77022" y="1773936"/>
                      <a:pt x="69801" y="1774613"/>
                    </a:cubicBezTo>
                    <a:cubicBezTo>
                      <a:pt x="65965" y="1774839"/>
                      <a:pt x="65514" y="1775742"/>
                      <a:pt x="64386" y="1777998"/>
                    </a:cubicBezTo>
                    <a:cubicBezTo>
                      <a:pt x="63709" y="1779577"/>
                      <a:pt x="62806" y="1781383"/>
                      <a:pt x="60550" y="1783413"/>
                    </a:cubicBezTo>
                    <a:cubicBezTo>
                      <a:pt x="56488" y="1787249"/>
                      <a:pt x="51298" y="1788378"/>
                      <a:pt x="47011" y="1789280"/>
                    </a:cubicBezTo>
                    <a:cubicBezTo>
                      <a:pt x="45883" y="1789506"/>
                      <a:pt x="44754" y="1789731"/>
                      <a:pt x="43852" y="1789957"/>
                    </a:cubicBezTo>
                    <a:cubicBezTo>
                      <a:pt x="40918" y="1790860"/>
                      <a:pt x="40918" y="1790860"/>
                      <a:pt x="39339" y="1792891"/>
                    </a:cubicBezTo>
                    <a:lnTo>
                      <a:pt x="38211" y="1794245"/>
                    </a:lnTo>
                    <a:cubicBezTo>
                      <a:pt x="36180" y="1796727"/>
                      <a:pt x="35954" y="1800111"/>
                      <a:pt x="37985" y="1806204"/>
                    </a:cubicBezTo>
                    <a:cubicBezTo>
                      <a:pt x="39113" y="1809588"/>
                      <a:pt x="38211" y="1811845"/>
                      <a:pt x="37534" y="1813424"/>
                    </a:cubicBezTo>
                    <a:cubicBezTo>
                      <a:pt x="36857" y="1815230"/>
                      <a:pt x="36631" y="1815907"/>
                      <a:pt x="38211" y="1817937"/>
                    </a:cubicBezTo>
                    <a:cubicBezTo>
                      <a:pt x="40693" y="1820419"/>
                      <a:pt x="43626" y="1823127"/>
                      <a:pt x="45883" y="1825384"/>
                    </a:cubicBezTo>
                    <a:cubicBezTo>
                      <a:pt x="49493" y="1828768"/>
                      <a:pt x="50621" y="1829896"/>
                      <a:pt x="50621" y="1831025"/>
                    </a:cubicBezTo>
                    <a:cubicBezTo>
                      <a:pt x="50621" y="1831702"/>
                      <a:pt x="50396" y="1833056"/>
                      <a:pt x="50396" y="1834410"/>
                    </a:cubicBezTo>
                    <a:cubicBezTo>
                      <a:pt x="50170" y="1835763"/>
                      <a:pt x="50170" y="1837117"/>
                      <a:pt x="50170" y="1837569"/>
                    </a:cubicBezTo>
                    <a:cubicBezTo>
                      <a:pt x="50170" y="1838020"/>
                      <a:pt x="51073" y="1839599"/>
                      <a:pt x="51524" y="1841179"/>
                    </a:cubicBezTo>
                    <a:cubicBezTo>
                      <a:pt x="52426" y="1843661"/>
                      <a:pt x="53780" y="1846594"/>
                      <a:pt x="54457" y="1849302"/>
                    </a:cubicBezTo>
                    <a:cubicBezTo>
                      <a:pt x="55585" y="1853589"/>
                      <a:pt x="60550" y="1860584"/>
                      <a:pt x="64837" y="1863292"/>
                    </a:cubicBezTo>
                    <a:cubicBezTo>
                      <a:pt x="66868" y="1864646"/>
                      <a:pt x="69124" y="1866451"/>
                      <a:pt x="71832" y="1868708"/>
                    </a:cubicBezTo>
                    <a:cubicBezTo>
                      <a:pt x="75442" y="1871641"/>
                      <a:pt x="79730" y="1875251"/>
                      <a:pt x="85822" y="1879313"/>
                    </a:cubicBezTo>
                    <a:cubicBezTo>
                      <a:pt x="88079" y="1880667"/>
                      <a:pt x="90335" y="1882246"/>
                      <a:pt x="92817" y="1883826"/>
                    </a:cubicBezTo>
                    <a:cubicBezTo>
                      <a:pt x="102971" y="1890370"/>
                      <a:pt x="114479" y="1897816"/>
                      <a:pt x="121925" y="1903909"/>
                    </a:cubicBezTo>
                    <a:cubicBezTo>
                      <a:pt x="130500" y="1910904"/>
                      <a:pt x="130726" y="1910904"/>
                      <a:pt x="138172" y="1909324"/>
                    </a:cubicBezTo>
                    <a:cubicBezTo>
                      <a:pt x="143362" y="1908196"/>
                      <a:pt x="150582" y="1909324"/>
                      <a:pt x="157803" y="1910227"/>
                    </a:cubicBezTo>
                    <a:cubicBezTo>
                      <a:pt x="162542" y="1910904"/>
                      <a:pt x="166829" y="1911580"/>
                      <a:pt x="170439" y="1911580"/>
                    </a:cubicBezTo>
                    <a:cubicBezTo>
                      <a:pt x="174275" y="1911580"/>
                      <a:pt x="177434" y="1912257"/>
                      <a:pt x="179916" y="1912934"/>
                    </a:cubicBezTo>
                    <a:cubicBezTo>
                      <a:pt x="183752" y="1913837"/>
                      <a:pt x="184881" y="1914063"/>
                      <a:pt x="186009" y="1912709"/>
                    </a:cubicBezTo>
                    <a:cubicBezTo>
                      <a:pt x="188491" y="1909775"/>
                      <a:pt x="191199" y="1909550"/>
                      <a:pt x="193907" y="1909098"/>
                    </a:cubicBezTo>
                    <a:cubicBezTo>
                      <a:pt x="195712" y="1908873"/>
                      <a:pt x="197743" y="1908647"/>
                      <a:pt x="199999" y="1907744"/>
                    </a:cubicBezTo>
                    <a:cubicBezTo>
                      <a:pt x="206091" y="1905037"/>
                      <a:pt x="211733" y="1903231"/>
                      <a:pt x="222564" y="1903231"/>
                    </a:cubicBezTo>
                    <a:cubicBezTo>
                      <a:pt x="229784" y="1903231"/>
                      <a:pt x="230687" y="1901426"/>
                      <a:pt x="232041" y="1898719"/>
                    </a:cubicBezTo>
                    <a:cubicBezTo>
                      <a:pt x="232492" y="1898042"/>
                      <a:pt x="232718" y="1897365"/>
                      <a:pt x="233169" y="1896462"/>
                    </a:cubicBezTo>
                    <a:cubicBezTo>
                      <a:pt x="235200" y="1893077"/>
                      <a:pt x="238584" y="1893303"/>
                      <a:pt x="241744" y="1893303"/>
                    </a:cubicBezTo>
                    <a:cubicBezTo>
                      <a:pt x="243323" y="1893303"/>
                      <a:pt x="245128" y="1893529"/>
                      <a:pt x="247159" y="1893077"/>
                    </a:cubicBezTo>
                    <a:cubicBezTo>
                      <a:pt x="247836" y="1893303"/>
                      <a:pt x="248062" y="1893077"/>
                      <a:pt x="248062" y="1893077"/>
                    </a:cubicBezTo>
                    <a:cubicBezTo>
                      <a:pt x="248739" y="1892175"/>
                      <a:pt x="248062" y="1889467"/>
                      <a:pt x="247610" y="1887211"/>
                    </a:cubicBezTo>
                    <a:cubicBezTo>
                      <a:pt x="247159" y="1884954"/>
                      <a:pt x="246482" y="1882698"/>
                      <a:pt x="246708" y="1880667"/>
                    </a:cubicBezTo>
                    <a:cubicBezTo>
                      <a:pt x="247159" y="1875251"/>
                      <a:pt x="252123" y="1870287"/>
                      <a:pt x="263180" y="1864195"/>
                    </a:cubicBezTo>
                    <a:cubicBezTo>
                      <a:pt x="271078" y="1859907"/>
                      <a:pt x="274462" y="1862390"/>
                      <a:pt x="277621" y="1864646"/>
                    </a:cubicBezTo>
                    <a:cubicBezTo>
                      <a:pt x="278750" y="1865549"/>
                      <a:pt x="279878" y="1866226"/>
                      <a:pt x="281232" y="1866902"/>
                    </a:cubicBezTo>
                    <a:cubicBezTo>
                      <a:pt x="286873" y="1869159"/>
                      <a:pt x="292288" y="1870964"/>
                      <a:pt x="296350" y="1871867"/>
                    </a:cubicBezTo>
                    <a:cubicBezTo>
                      <a:pt x="299735" y="1872544"/>
                      <a:pt x="302217" y="1871641"/>
                      <a:pt x="309437" y="1866902"/>
                    </a:cubicBezTo>
                    <a:cubicBezTo>
                      <a:pt x="313273" y="1864420"/>
                      <a:pt x="315755" y="1865097"/>
                      <a:pt x="317335" y="1866226"/>
                    </a:cubicBezTo>
                    <a:cubicBezTo>
                      <a:pt x="320720" y="1868482"/>
                      <a:pt x="321171" y="1873898"/>
                      <a:pt x="320720" y="1876380"/>
                    </a:cubicBezTo>
                    <a:cubicBezTo>
                      <a:pt x="320268" y="1879539"/>
                      <a:pt x="315079" y="1883826"/>
                      <a:pt x="304699" y="1891047"/>
                    </a:cubicBezTo>
                    <a:lnTo>
                      <a:pt x="302442" y="1892626"/>
                    </a:lnTo>
                    <a:cubicBezTo>
                      <a:pt x="299735" y="1894657"/>
                      <a:pt x="297704" y="1895108"/>
                      <a:pt x="296124" y="1895560"/>
                    </a:cubicBezTo>
                    <a:cubicBezTo>
                      <a:pt x="294770" y="1896011"/>
                      <a:pt x="294093" y="1896011"/>
                      <a:pt x="293642" y="1897139"/>
                    </a:cubicBezTo>
                    <a:cubicBezTo>
                      <a:pt x="293191" y="1897816"/>
                      <a:pt x="292965" y="1899396"/>
                      <a:pt x="292514" y="1900975"/>
                    </a:cubicBezTo>
                    <a:cubicBezTo>
                      <a:pt x="291837" y="1904811"/>
                      <a:pt x="290709" y="1910227"/>
                      <a:pt x="285519" y="1912032"/>
                    </a:cubicBezTo>
                    <a:cubicBezTo>
                      <a:pt x="283262" y="1912934"/>
                      <a:pt x="281232" y="1915191"/>
                      <a:pt x="279426" y="1917222"/>
                    </a:cubicBezTo>
                    <a:cubicBezTo>
                      <a:pt x="276944" y="1920155"/>
                      <a:pt x="274011" y="1923314"/>
                      <a:pt x="270175" y="1921283"/>
                    </a:cubicBezTo>
                    <a:cubicBezTo>
                      <a:pt x="268144" y="1920155"/>
                      <a:pt x="267467" y="1918124"/>
                      <a:pt x="267242" y="1916093"/>
                    </a:cubicBezTo>
                    <a:cubicBezTo>
                      <a:pt x="265436" y="1919478"/>
                      <a:pt x="262954" y="1924217"/>
                      <a:pt x="260247" y="1929181"/>
                    </a:cubicBezTo>
                    <a:cubicBezTo>
                      <a:pt x="255959" y="1937304"/>
                      <a:pt x="251221" y="1946330"/>
                      <a:pt x="247159" y="1953099"/>
                    </a:cubicBezTo>
                    <a:cubicBezTo>
                      <a:pt x="243549" y="1959192"/>
                      <a:pt x="239938" y="1962351"/>
                      <a:pt x="236102" y="1962576"/>
                    </a:cubicBezTo>
                    <a:cubicBezTo>
                      <a:pt x="231364" y="1962802"/>
                      <a:pt x="227302" y="1958741"/>
                      <a:pt x="224820" y="1955581"/>
                    </a:cubicBezTo>
                    <a:cubicBezTo>
                      <a:pt x="222112" y="1952197"/>
                      <a:pt x="220984" y="1951745"/>
                      <a:pt x="220758" y="1951520"/>
                    </a:cubicBezTo>
                    <a:cubicBezTo>
                      <a:pt x="220758" y="1951520"/>
                      <a:pt x="220307" y="1951971"/>
                      <a:pt x="219856" y="1952197"/>
                    </a:cubicBezTo>
                    <a:cubicBezTo>
                      <a:pt x="219179" y="1952874"/>
                      <a:pt x="218051" y="1953776"/>
                      <a:pt x="216697" y="1954453"/>
                    </a:cubicBezTo>
                    <a:cubicBezTo>
                      <a:pt x="215569" y="1955130"/>
                      <a:pt x="214666" y="1956935"/>
                      <a:pt x="213989" y="1958966"/>
                    </a:cubicBezTo>
                    <a:cubicBezTo>
                      <a:pt x="212635" y="1962576"/>
                      <a:pt x="210604" y="1967766"/>
                      <a:pt x="204061" y="1967315"/>
                    </a:cubicBezTo>
                    <a:cubicBezTo>
                      <a:pt x="201127" y="1967541"/>
                      <a:pt x="200676" y="1968443"/>
                      <a:pt x="200225" y="1969571"/>
                    </a:cubicBezTo>
                    <a:cubicBezTo>
                      <a:pt x="199548" y="1970700"/>
                      <a:pt x="198645" y="1972505"/>
                      <a:pt x="195486" y="1972956"/>
                    </a:cubicBezTo>
                    <a:cubicBezTo>
                      <a:pt x="192327" y="1973633"/>
                      <a:pt x="190296" y="1971828"/>
                      <a:pt x="188491" y="1970248"/>
                    </a:cubicBezTo>
                    <a:cubicBezTo>
                      <a:pt x="186460" y="1968669"/>
                      <a:pt x="184655" y="1967089"/>
                      <a:pt x="180819" y="1967315"/>
                    </a:cubicBezTo>
                    <a:cubicBezTo>
                      <a:pt x="179691" y="1967315"/>
                      <a:pt x="179240" y="1967766"/>
                      <a:pt x="179014" y="1967766"/>
                    </a:cubicBezTo>
                    <a:cubicBezTo>
                      <a:pt x="178788" y="1968218"/>
                      <a:pt x="179465" y="1970248"/>
                      <a:pt x="179916" y="1971151"/>
                    </a:cubicBezTo>
                    <a:cubicBezTo>
                      <a:pt x="180593" y="1973182"/>
                      <a:pt x="181270" y="1974987"/>
                      <a:pt x="180593" y="1976566"/>
                    </a:cubicBezTo>
                    <a:cubicBezTo>
                      <a:pt x="180368" y="1977244"/>
                      <a:pt x="179691" y="1977920"/>
                      <a:pt x="178337" y="1978146"/>
                    </a:cubicBezTo>
                    <a:cubicBezTo>
                      <a:pt x="176080" y="1978597"/>
                      <a:pt x="174275" y="1978372"/>
                      <a:pt x="172245" y="1977920"/>
                    </a:cubicBezTo>
                    <a:cubicBezTo>
                      <a:pt x="169988" y="1977469"/>
                      <a:pt x="166829" y="1977018"/>
                      <a:pt x="161188" y="1977244"/>
                    </a:cubicBezTo>
                    <a:cubicBezTo>
                      <a:pt x="157803" y="1977469"/>
                      <a:pt x="156901" y="1977920"/>
                      <a:pt x="156675" y="1977920"/>
                    </a:cubicBezTo>
                    <a:cubicBezTo>
                      <a:pt x="156675" y="1977695"/>
                      <a:pt x="156675" y="1978146"/>
                      <a:pt x="156675" y="1978372"/>
                    </a:cubicBezTo>
                    <a:cubicBezTo>
                      <a:pt x="156675" y="1979725"/>
                      <a:pt x="156901" y="1981982"/>
                      <a:pt x="153290" y="1983787"/>
                    </a:cubicBezTo>
                    <a:cubicBezTo>
                      <a:pt x="150582" y="1985141"/>
                      <a:pt x="148326" y="1985367"/>
                      <a:pt x="146747" y="1984464"/>
                    </a:cubicBezTo>
                    <a:cubicBezTo>
                      <a:pt x="146070" y="1984013"/>
                      <a:pt x="145618" y="1983562"/>
                      <a:pt x="145393" y="1983110"/>
                    </a:cubicBezTo>
                    <a:cubicBezTo>
                      <a:pt x="142459" y="1983336"/>
                      <a:pt x="136141" y="1984239"/>
                      <a:pt x="132080" y="1984239"/>
                    </a:cubicBezTo>
                    <a:cubicBezTo>
                      <a:pt x="128695" y="1984239"/>
                      <a:pt x="125761" y="1986044"/>
                      <a:pt x="122828" y="1987849"/>
                    </a:cubicBezTo>
                    <a:cubicBezTo>
                      <a:pt x="121925" y="1988526"/>
                      <a:pt x="120797" y="1988977"/>
                      <a:pt x="119895" y="1989654"/>
                    </a:cubicBezTo>
                    <a:cubicBezTo>
                      <a:pt x="116961" y="1991233"/>
                      <a:pt x="113802" y="1991233"/>
                      <a:pt x="111546" y="1989880"/>
                    </a:cubicBezTo>
                    <a:cubicBezTo>
                      <a:pt x="109515" y="1988751"/>
                      <a:pt x="108161" y="1986495"/>
                      <a:pt x="108161" y="1983787"/>
                    </a:cubicBezTo>
                    <a:cubicBezTo>
                      <a:pt x="108161" y="1981305"/>
                      <a:pt x="109289" y="1978597"/>
                      <a:pt x="110643" y="1975664"/>
                    </a:cubicBezTo>
                    <a:cubicBezTo>
                      <a:pt x="111997" y="1972731"/>
                      <a:pt x="113577" y="1969346"/>
                      <a:pt x="112900" y="1967315"/>
                    </a:cubicBezTo>
                    <a:cubicBezTo>
                      <a:pt x="112674" y="1966638"/>
                      <a:pt x="112448" y="1966412"/>
                      <a:pt x="112448" y="1966412"/>
                    </a:cubicBezTo>
                    <a:cubicBezTo>
                      <a:pt x="112448" y="1966412"/>
                      <a:pt x="111546" y="1966864"/>
                      <a:pt x="111094" y="1967089"/>
                    </a:cubicBezTo>
                    <a:cubicBezTo>
                      <a:pt x="109966" y="1967541"/>
                      <a:pt x="108387" y="1968218"/>
                      <a:pt x="106581" y="1968218"/>
                    </a:cubicBezTo>
                    <a:cubicBezTo>
                      <a:pt x="105679" y="1968218"/>
                      <a:pt x="105002" y="1967992"/>
                      <a:pt x="104551" y="1967315"/>
                    </a:cubicBezTo>
                    <a:cubicBezTo>
                      <a:pt x="102971" y="1965736"/>
                      <a:pt x="102971" y="1962802"/>
                      <a:pt x="102971" y="1959192"/>
                    </a:cubicBezTo>
                    <a:cubicBezTo>
                      <a:pt x="102971" y="1958063"/>
                      <a:pt x="102971" y="1956258"/>
                      <a:pt x="102745" y="1955130"/>
                    </a:cubicBezTo>
                    <a:cubicBezTo>
                      <a:pt x="97556" y="1958966"/>
                      <a:pt x="90786" y="1966638"/>
                      <a:pt x="90109" y="1972279"/>
                    </a:cubicBezTo>
                    <a:cubicBezTo>
                      <a:pt x="89207" y="1979049"/>
                      <a:pt x="89658" y="1983562"/>
                      <a:pt x="94171" y="1992362"/>
                    </a:cubicBezTo>
                    <a:cubicBezTo>
                      <a:pt x="98910" y="2001388"/>
                      <a:pt x="119669" y="2028239"/>
                      <a:pt x="146521" y="2054866"/>
                    </a:cubicBezTo>
                    <a:cubicBezTo>
                      <a:pt x="165926" y="2074271"/>
                      <a:pt x="174050" y="2085328"/>
                      <a:pt x="181947" y="2095933"/>
                    </a:cubicBezTo>
                    <a:cubicBezTo>
                      <a:pt x="185106" y="2100221"/>
                      <a:pt x="188040" y="2104282"/>
                      <a:pt x="191650" y="2108795"/>
                    </a:cubicBezTo>
                    <a:cubicBezTo>
                      <a:pt x="197291" y="2115790"/>
                      <a:pt x="201353" y="2121431"/>
                      <a:pt x="205189" y="2126621"/>
                    </a:cubicBezTo>
                    <a:cubicBezTo>
                      <a:pt x="209927" y="2132939"/>
                      <a:pt x="214215" y="2139032"/>
                      <a:pt x="220758" y="2146252"/>
                    </a:cubicBezTo>
                    <a:cubicBezTo>
                      <a:pt x="232041" y="2158889"/>
                      <a:pt x="248964" y="2176940"/>
                      <a:pt x="264534" y="2185741"/>
                    </a:cubicBezTo>
                    <a:cubicBezTo>
                      <a:pt x="270626" y="2189125"/>
                      <a:pt x="273334" y="2191833"/>
                      <a:pt x="275590" y="2193864"/>
                    </a:cubicBezTo>
                    <a:cubicBezTo>
                      <a:pt x="279201" y="2197023"/>
                      <a:pt x="281457" y="2199054"/>
                      <a:pt x="294545" y="2202664"/>
                    </a:cubicBezTo>
                    <a:cubicBezTo>
                      <a:pt x="298155" y="2203567"/>
                      <a:pt x="301088" y="2204469"/>
                      <a:pt x="303571" y="2205146"/>
                    </a:cubicBezTo>
                    <a:cubicBezTo>
                      <a:pt x="308760" y="2206500"/>
                      <a:pt x="313048" y="2207628"/>
                      <a:pt x="314402" y="2207628"/>
                    </a:cubicBezTo>
                    <a:cubicBezTo>
                      <a:pt x="314402" y="2207177"/>
                      <a:pt x="314402" y="2206049"/>
                      <a:pt x="314402" y="2205597"/>
                    </a:cubicBezTo>
                    <a:cubicBezTo>
                      <a:pt x="314176" y="2204018"/>
                      <a:pt x="314853" y="2202890"/>
                      <a:pt x="315530" y="2202438"/>
                    </a:cubicBezTo>
                    <a:cubicBezTo>
                      <a:pt x="317335" y="2200408"/>
                      <a:pt x="320945" y="2200633"/>
                      <a:pt x="325910" y="2201084"/>
                    </a:cubicBezTo>
                    <a:cubicBezTo>
                      <a:pt x="330648" y="2201310"/>
                      <a:pt x="336741" y="2201761"/>
                      <a:pt x="341028" y="2199730"/>
                    </a:cubicBezTo>
                    <a:cubicBezTo>
                      <a:pt x="346218" y="2197249"/>
                      <a:pt x="350731" y="2196571"/>
                      <a:pt x="354341" y="2196120"/>
                    </a:cubicBezTo>
                    <a:cubicBezTo>
                      <a:pt x="357951" y="2195669"/>
                      <a:pt x="361110" y="2195218"/>
                      <a:pt x="364721" y="2193187"/>
                    </a:cubicBezTo>
                    <a:cubicBezTo>
                      <a:pt x="367654" y="2191607"/>
                      <a:pt x="371716" y="2190253"/>
                      <a:pt x="376003" y="2188674"/>
                    </a:cubicBezTo>
                    <a:cubicBezTo>
                      <a:pt x="383224" y="2186192"/>
                      <a:pt x="391573" y="2183258"/>
                      <a:pt x="397891" y="2178294"/>
                    </a:cubicBezTo>
                    <a:cubicBezTo>
                      <a:pt x="404209" y="2173330"/>
                      <a:pt x="407368" y="2173781"/>
                      <a:pt x="410978" y="2174909"/>
                    </a:cubicBezTo>
                    <a:cubicBezTo>
                      <a:pt x="412783" y="2175361"/>
                      <a:pt x="414363" y="2175812"/>
                      <a:pt x="417071" y="2174684"/>
                    </a:cubicBezTo>
                    <a:cubicBezTo>
                      <a:pt x="419778" y="2173556"/>
                      <a:pt x="425194" y="2171074"/>
                      <a:pt x="431512" y="2168140"/>
                    </a:cubicBezTo>
                    <a:cubicBezTo>
                      <a:pt x="443471" y="2162725"/>
                      <a:pt x="458364" y="2155730"/>
                      <a:pt x="464908" y="2153699"/>
                    </a:cubicBezTo>
                    <a:cubicBezTo>
                      <a:pt x="469420" y="2152345"/>
                      <a:pt x="471903" y="2150765"/>
                      <a:pt x="472580" y="2149186"/>
                    </a:cubicBezTo>
                    <a:cubicBezTo>
                      <a:pt x="472805" y="2148509"/>
                      <a:pt x="473031" y="2147381"/>
                      <a:pt x="471677" y="2144447"/>
                    </a:cubicBezTo>
                    <a:cubicBezTo>
                      <a:pt x="468744" y="2139032"/>
                      <a:pt x="473031" y="2135647"/>
                      <a:pt x="476867" y="2132714"/>
                    </a:cubicBezTo>
                    <a:cubicBezTo>
                      <a:pt x="477995" y="2131811"/>
                      <a:pt x="479349" y="2130909"/>
                      <a:pt x="480477" y="2129780"/>
                    </a:cubicBezTo>
                    <a:cubicBezTo>
                      <a:pt x="481380" y="2129103"/>
                      <a:pt x="482282" y="2128201"/>
                      <a:pt x="483185" y="2127298"/>
                    </a:cubicBezTo>
                    <a:cubicBezTo>
                      <a:pt x="487923" y="2123236"/>
                      <a:pt x="493565" y="2118047"/>
                      <a:pt x="497852" y="2107667"/>
                    </a:cubicBezTo>
                    <a:cubicBezTo>
                      <a:pt x="503042" y="2095031"/>
                      <a:pt x="500108" y="2092549"/>
                      <a:pt x="494693" y="2090067"/>
                    </a:cubicBezTo>
                    <a:cubicBezTo>
                      <a:pt x="489954" y="2087810"/>
                      <a:pt x="489277" y="2085779"/>
                      <a:pt x="489052" y="2082620"/>
                    </a:cubicBezTo>
                    <a:cubicBezTo>
                      <a:pt x="488826" y="2081041"/>
                      <a:pt x="488826" y="2079461"/>
                      <a:pt x="487472" y="2076979"/>
                    </a:cubicBezTo>
                    <a:cubicBezTo>
                      <a:pt x="485667" y="2073369"/>
                      <a:pt x="484539" y="2073820"/>
                      <a:pt x="481154" y="2074271"/>
                    </a:cubicBezTo>
                    <a:cubicBezTo>
                      <a:pt x="479575" y="2074497"/>
                      <a:pt x="477769" y="2074948"/>
                      <a:pt x="475739" y="2074723"/>
                    </a:cubicBezTo>
                    <a:cubicBezTo>
                      <a:pt x="471903" y="2074497"/>
                      <a:pt x="468518" y="2071112"/>
                      <a:pt x="466938" y="2067953"/>
                    </a:cubicBezTo>
                    <a:cubicBezTo>
                      <a:pt x="466261" y="2066599"/>
                      <a:pt x="465133" y="2063666"/>
                      <a:pt x="466487" y="2061861"/>
                    </a:cubicBezTo>
                    <a:cubicBezTo>
                      <a:pt x="466938" y="2061184"/>
                      <a:pt x="467841" y="2060281"/>
                      <a:pt x="469646" y="2060507"/>
                    </a:cubicBezTo>
                    <a:cubicBezTo>
                      <a:pt x="475287" y="2060958"/>
                      <a:pt x="481831" y="2059830"/>
                      <a:pt x="483185" y="2058250"/>
                    </a:cubicBezTo>
                    <a:cubicBezTo>
                      <a:pt x="483185" y="2057799"/>
                      <a:pt x="482508" y="2056671"/>
                      <a:pt x="482057" y="2055994"/>
                    </a:cubicBezTo>
                    <a:cubicBezTo>
                      <a:pt x="480928" y="2053963"/>
                      <a:pt x="479123" y="2051255"/>
                      <a:pt x="479123" y="2047645"/>
                    </a:cubicBezTo>
                    <a:cubicBezTo>
                      <a:pt x="479123" y="2042455"/>
                      <a:pt x="482734" y="2041553"/>
                      <a:pt x="484990" y="2041101"/>
                    </a:cubicBezTo>
                    <a:cubicBezTo>
                      <a:pt x="486570" y="2040650"/>
                      <a:pt x="487698" y="2040424"/>
                      <a:pt x="488149" y="2039522"/>
                    </a:cubicBezTo>
                    <a:cubicBezTo>
                      <a:pt x="491083" y="2035009"/>
                      <a:pt x="493565" y="2032076"/>
                      <a:pt x="496498" y="2030045"/>
                    </a:cubicBezTo>
                    <a:cubicBezTo>
                      <a:pt x="498754" y="2028239"/>
                      <a:pt x="501688" y="2025983"/>
                      <a:pt x="501688" y="2017409"/>
                    </a:cubicBezTo>
                    <a:cubicBezTo>
                      <a:pt x="501688" y="2007029"/>
                      <a:pt x="511616" y="1999131"/>
                      <a:pt x="516806" y="1999131"/>
                    </a:cubicBezTo>
                    <a:cubicBezTo>
                      <a:pt x="519288" y="1999131"/>
                      <a:pt x="521319" y="2000259"/>
                      <a:pt x="522447" y="2002516"/>
                    </a:cubicBezTo>
                    <a:cubicBezTo>
                      <a:pt x="523350" y="2004547"/>
                      <a:pt x="523350" y="2006803"/>
                      <a:pt x="522222" y="2008157"/>
                    </a:cubicBezTo>
                    <a:cubicBezTo>
                      <a:pt x="521996" y="2008608"/>
                      <a:pt x="521319" y="2010639"/>
                      <a:pt x="521770" y="2012219"/>
                    </a:cubicBezTo>
                    <a:cubicBezTo>
                      <a:pt x="522222" y="2013347"/>
                      <a:pt x="522899" y="2013798"/>
                      <a:pt x="524027" y="2014249"/>
                    </a:cubicBezTo>
                    <a:cubicBezTo>
                      <a:pt x="525155" y="2014475"/>
                      <a:pt x="525832" y="2014701"/>
                      <a:pt x="526509" y="2014926"/>
                    </a:cubicBezTo>
                    <a:cubicBezTo>
                      <a:pt x="526735" y="2014701"/>
                      <a:pt x="526735" y="2014475"/>
                      <a:pt x="526960" y="2014024"/>
                    </a:cubicBezTo>
                    <a:lnTo>
                      <a:pt x="527186" y="2013572"/>
                    </a:lnTo>
                    <a:cubicBezTo>
                      <a:pt x="529217" y="2009962"/>
                      <a:pt x="530119" y="2009060"/>
                      <a:pt x="536663" y="2008608"/>
                    </a:cubicBezTo>
                    <a:cubicBezTo>
                      <a:pt x="540048" y="2008383"/>
                      <a:pt x="544786" y="2008608"/>
                      <a:pt x="550202" y="2008834"/>
                    </a:cubicBezTo>
                    <a:cubicBezTo>
                      <a:pt x="554715" y="2009060"/>
                      <a:pt x="559679" y="2009285"/>
                      <a:pt x="564418" y="2009285"/>
                    </a:cubicBezTo>
                    <a:cubicBezTo>
                      <a:pt x="583146" y="2009285"/>
                      <a:pt x="584049" y="2011542"/>
                      <a:pt x="584274" y="2012670"/>
                    </a:cubicBezTo>
                    <a:cubicBezTo>
                      <a:pt x="584500" y="2013121"/>
                      <a:pt x="584726" y="2014249"/>
                      <a:pt x="583372" y="2015378"/>
                    </a:cubicBezTo>
                    <a:cubicBezTo>
                      <a:pt x="582921" y="2015829"/>
                      <a:pt x="582018" y="2017634"/>
                      <a:pt x="581115" y="2018988"/>
                    </a:cubicBezTo>
                    <a:cubicBezTo>
                      <a:pt x="579310" y="2023275"/>
                      <a:pt x="576602" y="2028465"/>
                      <a:pt x="572089" y="2028465"/>
                    </a:cubicBezTo>
                    <a:cubicBezTo>
                      <a:pt x="569156" y="2028465"/>
                      <a:pt x="564643" y="2026886"/>
                      <a:pt x="560130" y="2025306"/>
                    </a:cubicBezTo>
                    <a:cubicBezTo>
                      <a:pt x="556294" y="2023952"/>
                      <a:pt x="552458" y="2022598"/>
                      <a:pt x="549976" y="2022373"/>
                    </a:cubicBezTo>
                    <a:cubicBezTo>
                      <a:pt x="549074" y="2022373"/>
                      <a:pt x="548397" y="2022598"/>
                      <a:pt x="547494" y="2023501"/>
                    </a:cubicBezTo>
                    <a:cubicBezTo>
                      <a:pt x="544786" y="2025983"/>
                      <a:pt x="542530" y="2032527"/>
                      <a:pt x="542530" y="2038394"/>
                    </a:cubicBezTo>
                    <a:cubicBezTo>
                      <a:pt x="542530" y="2043358"/>
                      <a:pt x="543432" y="2047419"/>
                      <a:pt x="544335" y="2048999"/>
                    </a:cubicBezTo>
                    <a:cubicBezTo>
                      <a:pt x="547494" y="2046517"/>
                      <a:pt x="554489" y="2045389"/>
                      <a:pt x="562161" y="2046291"/>
                    </a:cubicBezTo>
                    <a:cubicBezTo>
                      <a:pt x="565771" y="2046742"/>
                      <a:pt x="567802" y="2047871"/>
                      <a:pt x="568479" y="2050127"/>
                    </a:cubicBezTo>
                    <a:cubicBezTo>
                      <a:pt x="569156" y="2052609"/>
                      <a:pt x="567351" y="2055768"/>
                      <a:pt x="563064" y="2059153"/>
                    </a:cubicBezTo>
                    <a:cubicBezTo>
                      <a:pt x="558551" y="2062763"/>
                      <a:pt x="556069" y="2062538"/>
                      <a:pt x="553135" y="2062538"/>
                    </a:cubicBezTo>
                    <a:cubicBezTo>
                      <a:pt x="552458" y="2062538"/>
                      <a:pt x="551781" y="2062538"/>
                      <a:pt x="551104" y="2062538"/>
                    </a:cubicBezTo>
                    <a:cubicBezTo>
                      <a:pt x="549525" y="2063215"/>
                      <a:pt x="547268" y="2071338"/>
                      <a:pt x="545915" y="2075851"/>
                    </a:cubicBezTo>
                    <a:cubicBezTo>
                      <a:pt x="544786" y="2079461"/>
                      <a:pt x="543884" y="2082846"/>
                      <a:pt x="542981" y="2085102"/>
                    </a:cubicBezTo>
                    <a:cubicBezTo>
                      <a:pt x="542079" y="2087133"/>
                      <a:pt x="542304" y="2087810"/>
                      <a:pt x="542304" y="2088036"/>
                    </a:cubicBezTo>
                    <a:cubicBezTo>
                      <a:pt x="543207" y="2089615"/>
                      <a:pt x="552007" y="2089841"/>
                      <a:pt x="556746" y="2090067"/>
                    </a:cubicBezTo>
                    <a:cubicBezTo>
                      <a:pt x="564418" y="2090292"/>
                      <a:pt x="567802" y="2091195"/>
                      <a:pt x="569156" y="2093451"/>
                    </a:cubicBezTo>
                    <a:cubicBezTo>
                      <a:pt x="570510" y="2095256"/>
                      <a:pt x="569607" y="2097513"/>
                      <a:pt x="568930" y="2099318"/>
                    </a:cubicBezTo>
                    <a:cubicBezTo>
                      <a:pt x="568705" y="2099769"/>
                      <a:pt x="568479" y="2100446"/>
                      <a:pt x="568254" y="2101123"/>
                    </a:cubicBezTo>
                    <a:cubicBezTo>
                      <a:pt x="566900" y="2105862"/>
                      <a:pt x="560807" y="2109247"/>
                      <a:pt x="555843" y="2111954"/>
                    </a:cubicBezTo>
                    <a:cubicBezTo>
                      <a:pt x="554940" y="2112406"/>
                      <a:pt x="554038" y="2112857"/>
                      <a:pt x="553361" y="2113308"/>
                    </a:cubicBezTo>
                    <a:cubicBezTo>
                      <a:pt x="552684" y="2113759"/>
                      <a:pt x="553586" y="2115339"/>
                      <a:pt x="554489" y="2117595"/>
                    </a:cubicBezTo>
                    <a:cubicBezTo>
                      <a:pt x="555617" y="2120077"/>
                      <a:pt x="556971" y="2123011"/>
                      <a:pt x="556069" y="2125719"/>
                    </a:cubicBezTo>
                    <a:cubicBezTo>
                      <a:pt x="555617" y="2127073"/>
                      <a:pt x="554489" y="2128201"/>
                      <a:pt x="552684" y="2128878"/>
                    </a:cubicBezTo>
                    <a:cubicBezTo>
                      <a:pt x="549074" y="2130457"/>
                      <a:pt x="548171" y="2133842"/>
                      <a:pt x="546817" y="2139709"/>
                    </a:cubicBezTo>
                    <a:cubicBezTo>
                      <a:pt x="546140" y="2143093"/>
                      <a:pt x="545238" y="2146929"/>
                      <a:pt x="543432" y="2150991"/>
                    </a:cubicBezTo>
                    <a:cubicBezTo>
                      <a:pt x="542530" y="2153022"/>
                      <a:pt x="542304" y="2154376"/>
                      <a:pt x="542755" y="2155504"/>
                    </a:cubicBezTo>
                    <a:cubicBezTo>
                      <a:pt x="543658" y="2157535"/>
                      <a:pt x="547494" y="2158889"/>
                      <a:pt x="551781" y="2160468"/>
                    </a:cubicBezTo>
                    <a:cubicBezTo>
                      <a:pt x="554715" y="2161371"/>
                      <a:pt x="558099" y="2162499"/>
                      <a:pt x="561258" y="2164304"/>
                    </a:cubicBezTo>
                    <a:cubicBezTo>
                      <a:pt x="573669" y="2170397"/>
                      <a:pt x="570059" y="2182130"/>
                      <a:pt x="568479" y="2187094"/>
                    </a:cubicBezTo>
                    <a:lnTo>
                      <a:pt x="568254" y="2187546"/>
                    </a:lnTo>
                    <a:cubicBezTo>
                      <a:pt x="567125" y="2191382"/>
                      <a:pt x="568028" y="2192961"/>
                      <a:pt x="574120" y="2201987"/>
                    </a:cubicBezTo>
                    <a:cubicBezTo>
                      <a:pt x="580890" y="2211915"/>
                      <a:pt x="577054" y="2218008"/>
                      <a:pt x="572992" y="2222972"/>
                    </a:cubicBezTo>
                    <a:cubicBezTo>
                      <a:pt x="570736" y="2225680"/>
                      <a:pt x="571413" y="2231547"/>
                      <a:pt x="571864" y="2236962"/>
                    </a:cubicBezTo>
                    <a:cubicBezTo>
                      <a:pt x="572089" y="2239670"/>
                      <a:pt x="572315" y="2242378"/>
                      <a:pt x="572315" y="2244860"/>
                    </a:cubicBezTo>
                    <a:cubicBezTo>
                      <a:pt x="572315" y="2250727"/>
                      <a:pt x="568254" y="2257270"/>
                      <a:pt x="564643" y="2263137"/>
                    </a:cubicBezTo>
                    <a:cubicBezTo>
                      <a:pt x="562838" y="2265845"/>
                      <a:pt x="561258" y="2268553"/>
                      <a:pt x="560356" y="2270584"/>
                    </a:cubicBezTo>
                    <a:cubicBezTo>
                      <a:pt x="559228" y="2273291"/>
                      <a:pt x="559453" y="2279384"/>
                      <a:pt x="559679" y="2285025"/>
                    </a:cubicBezTo>
                    <a:cubicBezTo>
                      <a:pt x="560130" y="2293825"/>
                      <a:pt x="560130" y="2299015"/>
                      <a:pt x="557422" y="2300820"/>
                    </a:cubicBezTo>
                    <a:cubicBezTo>
                      <a:pt x="556520" y="2301271"/>
                      <a:pt x="556520" y="2303753"/>
                      <a:pt x="556294" y="2306010"/>
                    </a:cubicBezTo>
                    <a:cubicBezTo>
                      <a:pt x="556069" y="2310297"/>
                      <a:pt x="555843" y="2315938"/>
                      <a:pt x="551330" y="2320000"/>
                    </a:cubicBezTo>
                    <a:cubicBezTo>
                      <a:pt x="545012" y="2325867"/>
                      <a:pt x="541853" y="2338277"/>
                      <a:pt x="541853" y="2344821"/>
                    </a:cubicBezTo>
                    <a:cubicBezTo>
                      <a:pt x="541853" y="2348883"/>
                      <a:pt x="544335" y="2355201"/>
                      <a:pt x="546817" y="2361970"/>
                    </a:cubicBezTo>
                    <a:cubicBezTo>
                      <a:pt x="548397" y="2366032"/>
                      <a:pt x="549976" y="2370319"/>
                      <a:pt x="551104" y="2374381"/>
                    </a:cubicBezTo>
                    <a:cubicBezTo>
                      <a:pt x="553812" y="2383407"/>
                      <a:pt x="556069" y="2399202"/>
                      <a:pt x="552684" y="2404166"/>
                    </a:cubicBezTo>
                    <a:cubicBezTo>
                      <a:pt x="551104" y="2406648"/>
                      <a:pt x="551556" y="2416576"/>
                      <a:pt x="554263" y="2434177"/>
                    </a:cubicBezTo>
                    <a:cubicBezTo>
                      <a:pt x="556069" y="2446587"/>
                      <a:pt x="556746" y="2450423"/>
                      <a:pt x="558099" y="2457870"/>
                    </a:cubicBezTo>
                    <a:cubicBezTo>
                      <a:pt x="559453" y="2465767"/>
                      <a:pt x="559453" y="2474342"/>
                      <a:pt x="559453" y="2474567"/>
                    </a:cubicBezTo>
                    <a:lnTo>
                      <a:pt x="559228" y="2475470"/>
                    </a:lnTo>
                    <a:cubicBezTo>
                      <a:pt x="558099" y="2477727"/>
                      <a:pt x="555843" y="2484722"/>
                      <a:pt x="558551" y="2488783"/>
                    </a:cubicBezTo>
                    <a:cubicBezTo>
                      <a:pt x="562612" y="2494876"/>
                      <a:pt x="562612" y="2506384"/>
                      <a:pt x="561935" y="2514958"/>
                    </a:cubicBezTo>
                    <a:cubicBezTo>
                      <a:pt x="561710" y="2518343"/>
                      <a:pt x="562387" y="2521953"/>
                      <a:pt x="563289" y="2525789"/>
                    </a:cubicBezTo>
                    <a:cubicBezTo>
                      <a:pt x="564418" y="2530979"/>
                      <a:pt x="565320" y="2535943"/>
                      <a:pt x="563741" y="2540005"/>
                    </a:cubicBezTo>
                    <a:cubicBezTo>
                      <a:pt x="562612" y="2542938"/>
                      <a:pt x="564192" y="2548128"/>
                      <a:pt x="565771" y="2552641"/>
                    </a:cubicBezTo>
                    <a:cubicBezTo>
                      <a:pt x="567125" y="2556928"/>
                      <a:pt x="568254" y="2560764"/>
                      <a:pt x="567577" y="2563472"/>
                    </a:cubicBezTo>
                    <a:cubicBezTo>
                      <a:pt x="566448" y="2567534"/>
                      <a:pt x="568705" y="2580621"/>
                      <a:pt x="572541" y="2589196"/>
                    </a:cubicBezTo>
                    <a:cubicBezTo>
                      <a:pt x="573669" y="2591678"/>
                      <a:pt x="575023" y="2594160"/>
                      <a:pt x="576377" y="2596416"/>
                    </a:cubicBezTo>
                    <a:cubicBezTo>
                      <a:pt x="579536" y="2601832"/>
                      <a:pt x="582921" y="2607699"/>
                      <a:pt x="582921" y="2615371"/>
                    </a:cubicBezTo>
                    <a:cubicBezTo>
                      <a:pt x="582921" y="2621012"/>
                      <a:pt x="585628" y="2626879"/>
                      <a:pt x="587885" y="2632069"/>
                    </a:cubicBezTo>
                    <a:cubicBezTo>
                      <a:pt x="589690" y="2636130"/>
                      <a:pt x="591269" y="2639740"/>
                      <a:pt x="591269" y="2642674"/>
                    </a:cubicBezTo>
                    <a:cubicBezTo>
                      <a:pt x="591269" y="2644705"/>
                      <a:pt x="591946" y="2649669"/>
                      <a:pt x="592849" y="2654633"/>
                    </a:cubicBezTo>
                    <a:cubicBezTo>
                      <a:pt x="594203" y="2662531"/>
                      <a:pt x="595557" y="2671557"/>
                      <a:pt x="595105" y="2675844"/>
                    </a:cubicBezTo>
                    <a:cubicBezTo>
                      <a:pt x="594654" y="2678777"/>
                      <a:pt x="596911" y="2685321"/>
                      <a:pt x="598716" y="2691188"/>
                    </a:cubicBezTo>
                    <a:cubicBezTo>
                      <a:pt x="600747" y="2697055"/>
                      <a:pt x="602552" y="2702696"/>
                      <a:pt x="602552" y="2706757"/>
                    </a:cubicBezTo>
                    <a:cubicBezTo>
                      <a:pt x="602552" y="2710368"/>
                      <a:pt x="601875" y="2711947"/>
                      <a:pt x="600747" y="2713301"/>
                    </a:cubicBezTo>
                    <a:cubicBezTo>
                      <a:pt x="600070" y="2714429"/>
                      <a:pt x="599167" y="2715557"/>
                      <a:pt x="599167" y="2720747"/>
                    </a:cubicBezTo>
                    <a:cubicBezTo>
                      <a:pt x="599167" y="2726840"/>
                      <a:pt x="600295" y="2735189"/>
                      <a:pt x="601649" y="2743989"/>
                    </a:cubicBezTo>
                    <a:cubicBezTo>
                      <a:pt x="602552" y="2750758"/>
                      <a:pt x="603680" y="2757528"/>
                      <a:pt x="604357" y="2764297"/>
                    </a:cubicBezTo>
                    <a:cubicBezTo>
                      <a:pt x="604583" y="2767682"/>
                      <a:pt x="605034" y="2771067"/>
                      <a:pt x="605485" y="2774451"/>
                    </a:cubicBezTo>
                    <a:cubicBezTo>
                      <a:pt x="606613" y="2785733"/>
                      <a:pt x="607967" y="2797693"/>
                      <a:pt x="607290" y="2814842"/>
                    </a:cubicBezTo>
                    <a:cubicBezTo>
                      <a:pt x="606613" y="2829058"/>
                      <a:pt x="608644" y="2831991"/>
                      <a:pt x="610675" y="2835376"/>
                    </a:cubicBezTo>
                    <a:cubicBezTo>
                      <a:pt x="611803" y="2837181"/>
                      <a:pt x="613157" y="2839212"/>
                      <a:pt x="614285" y="2843048"/>
                    </a:cubicBezTo>
                    <a:cubicBezTo>
                      <a:pt x="614962" y="2845304"/>
                      <a:pt x="615414" y="2847561"/>
                      <a:pt x="616090" y="2850043"/>
                    </a:cubicBezTo>
                    <a:cubicBezTo>
                      <a:pt x="618347" y="2858843"/>
                      <a:pt x="621055" y="2868771"/>
                      <a:pt x="623537" y="2874864"/>
                    </a:cubicBezTo>
                    <a:cubicBezTo>
                      <a:pt x="626019" y="2880956"/>
                      <a:pt x="629404" y="2884115"/>
                      <a:pt x="633691" y="2888177"/>
                    </a:cubicBezTo>
                    <a:cubicBezTo>
                      <a:pt x="634819" y="2889305"/>
                      <a:pt x="635947" y="2890433"/>
                      <a:pt x="637076" y="2891562"/>
                    </a:cubicBezTo>
                    <a:cubicBezTo>
                      <a:pt x="642265" y="2896751"/>
                      <a:pt x="643845" y="2901039"/>
                      <a:pt x="644973" y="2903746"/>
                    </a:cubicBezTo>
                    <a:cubicBezTo>
                      <a:pt x="645199" y="2904424"/>
                      <a:pt x="645424" y="2905100"/>
                      <a:pt x="645876" y="2905551"/>
                    </a:cubicBezTo>
                    <a:cubicBezTo>
                      <a:pt x="647004" y="2908034"/>
                      <a:pt x="647004" y="2911418"/>
                      <a:pt x="646778" y="2915254"/>
                    </a:cubicBezTo>
                    <a:cubicBezTo>
                      <a:pt x="646778" y="2916834"/>
                      <a:pt x="646553" y="2918413"/>
                      <a:pt x="646553" y="2919993"/>
                    </a:cubicBezTo>
                    <a:cubicBezTo>
                      <a:pt x="646553" y="2924957"/>
                      <a:pt x="651968" y="2936916"/>
                      <a:pt x="656030" y="2942332"/>
                    </a:cubicBezTo>
                    <a:cubicBezTo>
                      <a:pt x="659415" y="2946845"/>
                      <a:pt x="660994" y="2951132"/>
                      <a:pt x="663251" y="2956999"/>
                    </a:cubicBezTo>
                    <a:cubicBezTo>
                      <a:pt x="663927" y="2959030"/>
                      <a:pt x="664830" y="2961061"/>
                      <a:pt x="665733" y="2963317"/>
                    </a:cubicBezTo>
                    <a:cubicBezTo>
                      <a:pt x="669343" y="2972343"/>
                      <a:pt x="669117" y="2988815"/>
                      <a:pt x="669117" y="2995133"/>
                    </a:cubicBezTo>
                    <a:lnTo>
                      <a:pt x="669117" y="2996487"/>
                    </a:lnTo>
                    <a:cubicBezTo>
                      <a:pt x="669117" y="2998067"/>
                      <a:pt x="671825" y="3000549"/>
                      <a:pt x="674082" y="3002805"/>
                    </a:cubicBezTo>
                    <a:cubicBezTo>
                      <a:pt x="676338" y="3005061"/>
                      <a:pt x="678820" y="3007318"/>
                      <a:pt x="680174" y="3009800"/>
                    </a:cubicBezTo>
                    <a:cubicBezTo>
                      <a:pt x="681979" y="3012959"/>
                      <a:pt x="689651" y="3016795"/>
                      <a:pt x="693713" y="3019051"/>
                    </a:cubicBezTo>
                    <a:cubicBezTo>
                      <a:pt x="696421" y="3020406"/>
                      <a:pt x="697549" y="3021083"/>
                      <a:pt x="698226" y="3021759"/>
                    </a:cubicBezTo>
                    <a:cubicBezTo>
                      <a:pt x="698226" y="3021759"/>
                      <a:pt x="707477" y="3031462"/>
                      <a:pt x="705221" y="3036201"/>
                    </a:cubicBezTo>
                    <a:cubicBezTo>
                      <a:pt x="704544" y="3037555"/>
                      <a:pt x="703190" y="3038683"/>
                      <a:pt x="702287" y="3039360"/>
                    </a:cubicBezTo>
                    <a:cubicBezTo>
                      <a:pt x="702513" y="3038683"/>
                      <a:pt x="702062" y="3039134"/>
                      <a:pt x="701836" y="3039360"/>
                    </a:cubicBezTo>
                    <a:close/>
                  </a:path>
                </a:pathLst>
              </a:custGeom>
              <a:solidFill>
                <a:srgbClr val="D1D3D4"/>
              </a:solidFill>
              <a:ln w="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xmlns="" id="{2E32B0E0-D1C9-4CBD-A951-F6F8ED24FB2D}"/>
                </a:ext>
              </a:extLst>
            </p:cNvPr>
            <p:cNvGrpSpPr/>
            <p:nvPr/>
          </p:nvGrpSpPr>
          <p:grpSpPr>
            <a:xfrm>
              <a:off x="8211609" y="1531770"/>
              <a:ext cx="2399249" cy="2988393"/>
              <a:chOff x="8211609" y="1531770"/>
              <a:chExt cx="2399249" cy="2988393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xmlns="" id="{8A6A1062-DA91-41BB-9359-2FE043A57B53}"/>
                  </a:ext>
                </a:extLst>
              </p:cNvPr>
              <p:cNvSpPr/>
              <p:nvPr/>
            </p:nvSpPr>
            <p:spPr>
              <a:xfrm>
                <a:off x="9019580" y="1952038"/>
                <a:ext cx="88516" cy="8851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xmlns="" id="{6F803B3B-257F-4BEA-A7F0-92108B3C8790}"/>
                  </a:ext>
                </a:extLst>
              </p:cNvPr>
              <p:cNvSpPr/>
              <p:nvPr/>
            </p:nvSpPr>
            <p:spPr>
              <a:xfrm>
                <a:off x="9166648" y="2246612"/>
                <a:ext cx="88516" cy="8851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xmlns="" id="{BEABC288-4CC0-4B7E-AF25-34D6E850EFA0}"/>
                  </a:ext>
                </a:extLst>
              </p:cNvPr>
              <p:cNvSpPr/>
              <p:nvPr/>
            </p:nvSpPr>
            <p:spPr>
              <a:xfrm>
                <a:off x="8851267" y="2590298"/>
                <a:ext cx="88516" cy="8851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xmlns="" id="{BA997602-3445-43AA-A5C9-DC0D3FAF3045}"/>
                  </a:ext>
                </a:extLst>
              </p:cNvPr>
              <p:cNvSpPr/>
              <p:nvPr/>
            </p:nvSpPr>
            <p:spPr>
              <a:xfrm>
                <a:off x="8211609" y="2966508"/>
                <a:ext cx="88516" cy="88516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xmlns="" id="{4D33B2D4-35E4-4BB4-B80A-5B52C0311859}"/>
                  </a:ext>
                </a:extLst>
              </p:cNvPr>
              <p:cNvSpPr/>
              <p:nvPr/>
            </p:nvSpPr>
            <p:spPr>
              <a:xfrm>
                <a:off x="8610759" y="3202892"/>
                <a:ext cx="88516" cy="88516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xmlns="" id="{6366D891-F540-417E-B860-D765B4E7786D}"/>
                  </a:ext>
                </a:extLst>
              </p:cNvPr>
              <p:cNvSpPr/>
              <p:nvPr/>
            </p:nvSpPr>
            <p:spPr>
              <a:xfrm>
                <a:off x="9084150" y="2234936"/>
                <a:ext cx="88516" cy="88516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xmlns="" id="{50CBD024-8942-4A1C-B100-9CFFD6140C06}"/>
                  </a:ext>
                </a:extLst>
              </p:cNvPr>
              <p:cNvSpPr/>
              <p:nvPr/>
            </p:nvSpPr>
            <p:spPr>
              <a:xfrm>
                <a:off x="9129303" y="2150064"/>
                <a:ext cx="88516" cy="88516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xmlns="" id="{F115AE70-4BC5-4F64-B809-11919C1CBEF1}"/>
                  </a:ext>
                </a:extLst>
              </p:cNvPr>
              <p:cNvSpPr/>
              <p:nvPr/>
            </p:nvSpPr>
            <p:spPr>
              <a:xfrm>
                <a:off x="9348825" y="3383788"/>
                <a:ext cx="88516" cy="88516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xmlns="" id="{01C7D5CC-02C3-4F1C-9E8A-010B66DB4A7C}"/>
                  </a:ext>
                </a:extLst>
              </p:cNvPr>
              <p:cNvSpPr/>
              <p:nvPr/>
            </p:nvSpPr>
            <p:spPr>
              <a:xfrm>
                <a:off x="9493485" y="2514060"/>
                <a:ext cx="88516" cy="88516"/>
              </a:xfrm>
              <a:prstGeom prst="ellipse">
                <a:avLst/>
              </a:prstGeom>
              <a:solidFill>
                <a:schemeClr val="accent4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xmlns="" id="{CE671CA5-CB17-462B-95AD-CDFF25EC1BEE}"/>
                  </a:ext>
                </a:extLst>
              </p:cNvPr>
              <p:cNvSpPr/>
              <p:nvPr/>
            </p:nvSpPr>
            <p:spPr>
              <a:xfrm>
                <a:off x="8354497" y="3262833"/>
                <a:ext cx="88516" cy="88516"/>
              </a:xfrm>
              <a:prstGeom prst="ellipse">
                <a:avLst/>
              </a:prstGeom>
              <a:solidFill>
                <a:schemeClr val="accent4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xmlns="" id="{CE0AA252-535F-42FE-BAFA-9B9493B827E4}"/>
                  </a:ext>
                </a:extLst>
              </p:cNvPr>
              <p:cNvSpPr/>
              <p:nvPr/>
            </p:nvSpPr>
            <p:spPr>
              <a:xfrm>
                <a:off x="8636295" y="3710358"/>
                <a:ext cx="88516" cy="88516"/>
              </a:xfrm>
              <a:prstGeom prst="ellipse">
                <a:avLst/>
              </a:prstGeom>
              <a:solidFill>
                <a:schemeClr val="accent4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xmlns="" id="{B143FB95-1E38-4058-9822-04EEA712BEA9}"/>
                  </a:ext>
                </a:extLst>
              </p:cNvPr>
              <p:cNvSpPr/>
              <p:nvPr/>
            </p:nvSpPr>
            <p:spPr>
              <a:xfrm>
                <a:off x="9370362" y="1531770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xmlns="" id="{0C04892F-6C55-4B3F-9F17-0A0BA60E69E3}"/>
                  </a:ext>
                </a:extLst>
              </p:cNvPr>
              <p:cNvSpPr/>
              <p:nvPr/>
            </p:nvSpPr>
            <p:spPr>
              <a:xfrm>
                <a:off x="9061454" y="1902628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xmlns="" id="{07B6439C-EC9B-45C0-86D2-7F807A16BD44}"/>
                  </a:ext>
                </a:extLst>
              </p:cNvPr>
              <p:cNvSpPr/>
              <p:nvPr/>
            </p:nvSpPr>
            <p:spPr>
              <a:xfrm>
                <a:off x="8982274" y="1874269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xmlns="" id="{2E7EB748-4725-4D13-9750-67CBC26AD841}"/>
                  </a:ext>
                </a:extLst>
              </p:cNvPr>
              <p:cNvSpPr/>
              <p:nvPr/>
            </p:nvSpPr>
            <p:spPr>
              <a:xfrm>
                <a:off x="8921110" y="1991402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xmlns="" id="{920922D1-628F-41C0-A064-FA523BFBA780}"/>
                  </a:ext>
                </a:extLst>
              </p:cNvPr>
              <p:cNvSpPr/>
              <p:nvPr/>
            </p:nvSpPr>
            <p:spPr>
              <a:xfrm>
                <a:off x="9050782" y="2113100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xmlns="" id="{0055B453-9373-4AE6-BB09-6E90C9B4092D}"/>
                  </a:ext>
                </a:extLst>
              </p:cNvPr>
              <p:cNvSpPr/>
              <p:nvPr/>
            </p:nvSpPr>
            <p:spPr>
              <a:xfrm>
                <a:off x="9031521" y="2178911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xmlns="" id="{F68553CA-0F8D-4BCB-B12F-BDE430EA476A}"/>
                  </a:ext>
                </a:extLst>
              </p:cNvPr>
              <p:cNvSpPr/>
              <p:nvPr/>
            </p:nvSpPr>
            <p:spPr>
              <a:xfrm>
                <a:off x="9468874" y="2383692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xmlns="" id="{9AC3EC7F-816B-4707-84C3-1834713A14F3}"/>
                  </a:ext>
                </a:extLst>
              </p:cNvPr>
              <p:cNvSpPr/>
              <p:nvPr/>
            </p:nvSpPr>
            <p:spPr>
              <a:xfrm>
                <a:off x="9315955" y="2320245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xmlns="" id="{C0D5563B-FA7F-446E-AAD6-148EEE94DC50}"/>
                  </a:ext>
                </a:extLst>
              </p:cNvPr>
              <p:cNvSpPr/>
              <p:nvPr/>
            </p:nvSpPr>
            <p:spPr>
              <a:xfrm>
                <a:off x="10154220" y="2652935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xmlns="" id="{5E52DBA3-D780-4961-AFB8-0C3B7BDFD9B2}"/>
                  </a:ext>
                </a:extLst>
              </p:cNvPr>
              <p:cNvSpPr/>
              <p:nvPr/>
            </p:nvSpPr>
            <p:spPr>
              <a:xfrm>
                <a:off x="10266965" y="2690263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xmlns="" id="{BDD4610B-8945-409F-AD43-1B6BBF53E5D5}"/>
                  </a:ext>
                </a:extLst>
              </p:cNvPr>
              <p:cNvSpPr/>
              <p:nvPr/>
            </p:nvSpPr>
            <p:spPr>
              <a:xfrm>
                <a:off x="10522342" y="3041454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xmlns="" id="{D39A3AA9-C61E-40E2-A4EB-15A3B1F22A6F}"/>
                  </a:ext>
                </a:extLst>
              </p:cNvPr>
              <p:cNvSpPr/>
              <p:nvPr/>
            </p:nvSpPr>
            <p:spPr>
              <a:xfrm>
                <a:off x="9280327" y="3046831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xmlns="" id="{DCDEAD57-22F7-47A2-B366-5A2DE3E3AC41}"/>
                  </a:ext>
                </a:extLst>
              </p:cNvPr>
              <p:cNvSpPr/>
              <p:nvPr/>
            </p:nvSpPr>
            <p:spPr>
              <a:xfrm>
                <a:off x="8618536" y="3631717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xmlns="" id="{630ACF82-9CA4-4009-BEC2-FF5041B5D0DE}"/>
                  </a:ext>
                </a:extLst>
              </p:cNvPr>
              <p:cNvSpPr/>
              <p:nvPr/>
            </p:nvSpPr>
            <p:spPr>
              <a:xfrm>
                <a:off x="8661212" y="3785412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xmlns="" id="{04C94877-B4CE-4D8A-A255-9263A6CE25D2}"/>
                  </a:ext>
                </a:extLst>
              </p:cNvPr>
              <p:cNvSpPr/>
              <p:nvPr/>
            </p:nvSpPr>
            <p:spPr>
              <a:xfrm>
                <a:off x="9184169" y="4431647"/>
                <a:ext cx="88516" cy="8851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dirty="0">
                    <a:solidFill>
                      <a:prstClr val="white"/>
                    </a:solidFill>
                  </a:rPr>
                  <a:t> </a:t>
                </a:r>
              </a:p>
            </p:txBody>
          </p:sp>
        </p:grpSp>
      </p:grpSp>
      <p:sp>
        <p:nvSpPr>
          <p:cNvPr id="184" name="Flowchart: Merge 183">
            <a:extLst>
              <a:ext uri="{FF2B5EF4-FFF2-40B4-BE49-F238E27FC236}">
                <a16:creationId xmlns:a16="http://schemas.microsoft.com/office/drawing/2014/main" xmlns="" id="{2D37428F-A5D3-4BD2-8C4D-143359145ECD}"/>
              </a:ext>
            </a:extLst>
          </p:cNvPr>
          <p:cNvSpPr/>
          <p:nvPr/>
        </p:nvSpPr>
        <p:spPr>
          <a:xfrm rot="16200000">
            <a:off x="5956948" y="2321537"/>
            <a:ext cx="2908138" cy="178508"/>
          </a:xfrm>
          <a:prstGeom prst="flowChartMerg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85" name="Freeform: Shape 184">
            <a:extLst>
              <a:ext uri="{FF2B5EF4-FFF2-40B4-BE49-F238E27FC236}">
                <a16:creationId xmlns:a16="http://schemas.microsoft.com/office/drawing/2014/main" xmlns="" id="{6C1EB13E-1544-41F9-B80A-BE001DD5FD14}"/>
              </a:ext>
            </a:extLst>
          </p:cNvPr>
          <p:cNvSpPr/>
          <p:nvPr/>
        </p:nvSpPr>
        <p:spPr>
          <a:xfrm>
            <a:off x="449283" y="4012911"/>
            <a:ext cx="7898189" cy="270442"/>
          </a:xfrm>
          <a:custGeom>
            <a:avLst/>
            <a:gdLst>
              <a:gd name="connsiteX0" fmla="*/ 7736491 w 7772400"/>
              <a:gd name="connsiteY0" fmla="*/ 221837 h 219075"/>
              <a:gd name="connsiteX1" fmla="*/ 42577 w 7772400"/>
              <a:gd name="connsiteY1" fmla="*/ 221837 h 219075"/>
              <a:gd name="connsiteX2" fmla="*/ 0 w 7772400"/>
              <a:gd name="connsiteY2" fmla="*/ 179261 h 219075"/>
              <a:gd name="connsiteX3" fmla="*/ 0 w 7772400"/>
              <a:gd name="connsiteY3" fmla="*/ 42577 h 219075"/>
              <a:gd name="connsiteX4" fmla="*/ 42577 w 7772400"/>
              <a:gd name="connsiteY4" fmla="*/ 0 h 219075"/>
              <a:gd name="connsiteX5" fmla="*/ 7736491 w 7772400"/>
              <a:gd name="connsiteY5" fmla="*/ 0 h 219075"/>
              <a:gd name="connsiteX6" fmla="*/ 7779068 w 7772400"/>
              <a:gd name="connsiteY6" fmla="*/ 42577 h 219075"/>
              <a:gd name="connsiteX7" fmla="*/ 7779068 w 7772400"/>
              <a:gd name="connsiteY7" fmla="*/ 179261 h 219075"/>
              <a:gd name="connsiteX8" fmla="*/ 7736491 w 7772400"/>
              <a:gd name="connsiteY8" fmla="*/ 221837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772400" h="219075">
                <a:moveTo>
                  <a:pt x="7736491" y="221837"/>
                </a:moveTo>
                <a:lnTo>
                  <a:pt x="42577" y="221837"/>
                </a:lnTo>
                <a:cubicBezTo>
                  <a:pt x="19050" y="221837"/>
                  <a:pt x="0" y="202787"/>
                  <a:pt x="0" y="179261"/>
                </a:cubicBezTo>
                <a:lnTo>
                  <a:pt x="0" y="42577"/>
                </a:lnTo>
                <a:cubicBezTo>
                  <a:pt x="0" y="19050"/>
                  <a:pt x="19050" y="0"/>
                  <a:pt x="42577" y="0"/>
                </a:cubicBezTo>
                <a:lnTo>
                  <a:pt x="7736491" y="0"/>
                </a:lnTo>
                <a:cubicBezTo>
                  <a:pt x="7760018" y="0"/>
                  <a:pt x="7779068" y="19050"/>
                  <a:pt x="7779068" y="42577"/>
                </a:cubicBezTo>
                <a:lnTo>
                  <a:pt x="7779068" y="179261"/>
                </a:lnTo>
                <a:cubicBezTo>
                  <a:pt x="7779068" y="202787"/>
                  <a:pt x="7760018" y="221837"/>
                  <a:pt x="7736491" y="221837"/>
                </a:cubicBezTo>
                <a:close/>
              </a:path>
            </a:pathLst>
          </a:custGeom>
          <a:solidFill>
            <a:srgbClr val="57499E"/>
          </a:solidFill>
          <a:ln w="9525" cap="flat">
            <a:noFill/>
            <a:prstDash val="solid"/>
            <a:miter/>
          </a:ln>
        </p:spPr>
        <p:txBody>
          <a:bodyPr bIns="72000" rtlCol="0" anchor="ctr"/>
          <a:lstStyle/>
          <a:p>
            <a:pPr algn="ctr"/>
            <a:r>
              <a:rPr lang="en-US" sz="1000" b="1" dirty="0">
                <a:solidFill>
                  <a:prstClr val="white"/>
                </a:solidFill>
              </a:rPr>
              <a:t>Example of Customer Centric End to End Logistics Offerings Ensuring Maximum Synergies</a:t>
            </a:r>
            <a:endParaRPr lang="en-IN" sz="1200" dirty="0">
              <a:solidFill>
                <a:prstClr val="black"/>
              </a:solidFill>
            </a:endParaRPr>
          </a:p>
        </p:txBody>
      </p:sp>
      <p:pic>
        <p:nvPicPr>
          <p:cNvPr id="186" name="Graphic 185">
            <a:extLst>
              <a:ext uri="{FF2B5EF4-FFF2-40B4-BE49-F238E27FC236}">
                <a16:creationId xmlns:a16="http://schemas.microsoft.com/office/drawing/2014/main" xmlns="" id="{852D36DF-D5C9-44D0-A071-CC0826F207C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105812" y="4397571"/>
            <a:ext cx="1211307" cy="583495"/>
          </a:xfrm>
          <a:prstGeom prst="rect">
            <a:avLst/>
          </a:prstGeom>
        </p:spPr>
      </p:pic>
      <p:sp>
        <p:nvSpPr>
          <p:cNvPr id="187" name="TextBox 186">
            <a:extLst>
              <a:ext uri="{FF2B5EF4-FFF2-40B4-BE49-F238E27FC236}">
                <a16:creationId xmlns:a16="http://schemas.microsoft.com/office/drawing/2014/main" xmlns="" id="{2DC1AC50-72F2-4C9B-AB50-EE3CC8F56A5E}"/>
              </a:ext>
            </a:extLst>
          </p:cNvPr>
          <p:cNvSpPr txBox="1"/>
          <p:nvPr/>
        </p:nvSpPr>
        <p:spPr>
          <a:xfrm>
            <a:off x="591460" y="4710533"/>
            <a:ext cx="94074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dirty="0">
                <a:solidFill>
                  <a:prstClr val="black">
                    <a:lumMod val="50000"/>
                    <a:lumOff val="50000"/>
                  </a:prstClr>
                </a:solidFill>
                <a:latin typeface="Adani Bold"/>
              </a:rPr>
              <a:t>Manesar Plant</a:t>
            </a:r>
            <a:endParaRPr lang="en-IN" sz="900" dirty="0">
              <a:solidFill>
                <a:prstClr val="black">
                  <a:lumMod val="50000"/>
                  <a:lumOff val="50000"/>
                </a:prstClr>
              </a:solidFill>
              <a:latin typeface="Adani Bold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xmlns="" id="{431F3813-965C-41C9-BF12-829459475EE5}"/>
              </a:ext>
            </a:extLst>
          </p:cNvPr>
          <p:cNvSpPr txBox="1"/>
          <p:nvPr/>
        </p:nvSpPr>
        <p:spPr>
          <a:xfrm>
            <a:off x="1741899" y="4348073"/>
            <a:ext cx="49675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>
                <a:solidFill>
                  <a:prstClr val="black">
                    <a:lumMod val="50000"/>
                    <a:lumOff val="50000"/>
                  </a:prstClr>
                </a:solidFill>
                <a:latin typeface="Adani Bold"/>
              </a:rPr>
              <a:t>22KM</a:t>
            </a:r>
            <a:endParaRPr lang="en-IN" sz="900" dirty="0">
              <a:solidFill>
                <a:prstClr val="black">
                  <a:lumMod val="50000"/>
                  <a:lumOff val="50000"/>
                </a:prstClr>
              </a:solidFill>
              <a:latin typeface="Adani Bold"/>
            </a:endParaRPr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xmlns="" id="{945A9F58-31DB-43B0-B796-183571FB2BE5}"/>
              </a:ext>
            </a:extLst>
          </p:cNvPr>
          <p:cNvGrpSpPr/>
          <p:nvPr/>
        </p:nvGrpSpPr>
        <p:grpSpPr>
          <a:xfrm>
            <a:off x="2932181" y="4390034"/>
            <a:ext cx="880807" cy="536137"/>
            <a:chOff x="4073613" y="4782603"/>
            <a:chExt cx="938360" cy="571169"/>
          </a:xfrm>
        </p:grpSpPr>
        <p:pic>
          <p:nvPicPr>
            <p:cNvPr id="190" name="Graphic 189">
              <a:extLst>
                <a:ext uri="{FF2B5EF4-FFF2-40B4-BE49-F238E27FC236}">
                  <a16:creationId xmlns:a16="http://schemas.microsoft.com/office/drawing/2014/main" xmlns="" id="{6107EFB6-9A74-4C61-9CCC-81B6AFAC1D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xmlns="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4073613" y="4782603"/>
              <a:ext cx="938360" cy="456010"/>
            </a:xfrm>
            <a:prstGeom prst="rect">
              <a:avLst/>
            </a:prstGeom>
          </p:spPr>
        </p:pic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xmlns="" id="{A981C865-9A54-469E-A4E3-C8A1D18583B5}"/>
                </a:ext>
              </a:extLst>
            </p:cNvPr>
            <p:cNvSpPr txBox="1"/>
            <p:nvPr/>
          </p:nvSpPr>
          <p:spPr>
            <a:xfrm>
              <a:off x="4189643" y="5206223"/>
              <a:ext cx="706303" cy="1475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Adani Bold"/>
                </a:rPr>
                <a:t>Patli, ICD</a:t>
              </a:r>
              <a:endParaRPr lang="en-IN" sz="900" dirty="0">
                <a:solidFill>
                  <a:prstClr val="black">
                    <a:lumMod val="50000"/>
                    <a:lumOff val="50000"/>
                  </a:prstClr>
                </a:solidFill>
                <a:latin typeface="Adani Bold"/>
              </a:endParaRPr>
            </a:p>
          </p:txBody>
        </p: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xmlns="" id="{DF88F0D0-6BBA-463A-91C9-7C7CB262AA5F}"/>
              </a:ext>
            </a:extLst>
          </p:cNvPr>
          <p:cNvGrpSpPr/>
          <p:nvPr/>
        </p:nvGrpSpPr>
        <p:grpSpPr>
          <a:xfrm>
            <a:off x="5957706" y="4396382"/>
            <a:ext cx="938360" cy="562119"/>
            <a:chOff x="6118313" y="4782603"/>
            <a:chExt cx="938360" cy="562119"/>
          </a:xfrm>
        </p:grpSpPr>
        <p:pic>
          <p:nvPicPr>
            <p:cNvPr id="193" name="Graphic 192">
              <a:extLst>
                <a:ext uri="{FF2B5EF4-FFF2-40B4-BE49-F238E27FC236}">
                  <a16:creationId xmlns:a16="http://schemas.microsoft.com/office/drawing/2014/main" xmlns="" id="{BA8A2B3D-9EE7-46F4-9F58-4F1D267B53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xmlns="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6118313" y="4782603"/>
              <a:ext cx="938360" cy="456010"/>
            </a:xfrm>
            <a:prstGeom prst="rect">
              <a:avLst/>
            </a:prstGeom>
          </p:spPr>
        </p:pic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xmlns="" id="{E05EB7F5-B482-4C22-BB97-22E539809716}"/>
                </a:ext>
              </a:extLst>
            </p:cNvPr>
            <p:cNvSpPr txBox="1"/>
            <p:nvPr/>
          </p:nvSpPr>
          <p:spPr>
            <a:xfrm>
              <a:off x="6203271" y="5206223"/>
              <a:ext cx="76844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Adani Bold"/>
                </a:rPr>
                <a:t>Mundra Port</a:t>
              </a:r>
              <a:endParaRPr lang="en-IN" sz="900" dirty="0">
                <a:solidFill>
                  <a:prstClr val="black">
                    <a:lumMod val="50000"/>
                    <a:lumOff val="50000"/>
                  </a:prstClr>
                </a:solidFill>
                <a:latin typeface="Adani Bold"/>
              </a:endParaRPr>
            </a:p>
          </p:txBody>
        </p:sp>
      </p:grpSp>
      <p:pic>
        <p:nvPicPr>
          <p:cNvPr id="195" name="Graphic 194">
            <a:extLst>
              <a:ext uri="{FF2B5EF4-FFF2-40B4-BE49-F238E27FC236}">
                <a16:creationId xmlns:a16="http://schemas.microsoft.com/office/drawing/2014/main" xmlns="" id="{98428FA0-525C-461B-A911-695024ECBED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603592" y="4542055"/>
            <a:ext cx="895223" cy="116933"/>
          </a:xfrm>
          <a:prstGeom prst="rect">
            <a:avLst/>
          </a:prstGeom>
        </p:spPr>
      </p:pic>
      <p:sp>
        <p:nvSpPr>
          <p:cNvPr id="196" name="Flowchart: Merge 195">
            <a:extLst>
              <a:ext uri="{FF2B5EF4-FFF2-40B4-BE49-F238E27FC236}">
                <a16:creationId xmlns:a16="http://schemas.microsoft.com/office/drawing/2014/main" xmlns="" id="{ABBC683A-A3C2-4E78-AD5A-F7CF42C62766}"/>
              </a:ext>
            </a:extLst>
          </p:cNvPr>
          <p:cNvSpPr/>
          <p:nvPr/>
        </p:nvSpPr>
        <p:spPr>
          <a:xfrm rot="16200000">
            <a:off x="6730310" y="4634605"/>
            <a:ext cx="582607" cy="63357"/>
          </a:xfrm>
          <a:prstGeom prst="flowChartMerg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97" name="Flowchart: Merge 196">
            <a:extLst>
              <a:ext uri="{FF2B5EF4-FFF2-40B4-BE49-F238E27FC236}">
                <a16:creationId xmlns:a16="http://schemas.microsoft.com/office/drawing/2014/main" xmlns="" id="{2F870EE4-84F7-4D70-834F-5CA0E9A1FA13}"/>
              </a:ext>
            </a:extLst>
          </p:cNvPr>
          <p:cNvSpPr/>
          <p:nvPr/>
        </p:nvSpPr>
        <p:spPr>
          <a:xfrm rot="16200000">
            <a:off x="5545935" y="4634605"/>
            <a:ext cx="582607" cy="63357"/>
          </a:xfrm>
          <a:prstGeom prst="flowChartMerg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98" name="Flowchart: Merge 197">
            <a:extLst>
              <a:ext uri="{FF2B5EF4-FFF2-40B4-BE49-F238E27FC236}">
                <a16:creationId xmlns:a16="http://schemas.microsoft.com/office/drawing/2014/main" xmlns="" id="{F5E18BC4-0361-483C-BDFA-C8D64F249C6F}"/>
              </a:ext>
            </a:extLst>
          </p:cNvPr>
          <p:cNvSpPr/>
          <p:nvPr/>
        </p:nvSpPr>
        <p:spPr>
          <a:xfrm rot="16200000">
            <a:off x="3671463" y="4634605"/>
            <a:ext cx="582607" cy="63357"/>
          </a:xfrm>
          <a:prstGeom prst="flowChartMerg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99" name="Flowchart: Merge 198">
            <a:extLst>
              <a:ext uri="{FF2B5EF4-FFF2-40B4-BE49-F238E27FC236}">
                <a16:creationId xmlns:a16="http://schemas.microsoft.com/office/drawing/2014/main" xmlns="" id="{A14C1B2E-D927-408B-9396-21627B02E051}"/>
              </a:ext>
            </a:extLst>
          </p:cNvPr>
          <p:cNvSpPr/>
          <p:nvPr/>
        </p:nvSpPr>
        <p:spPr>
          <a:xfrm rot="16200000">
            <a:off x="2424950" y="4634605"/>
            <a:ext cx="582607" cy="63357"/>
          </a:xfrm>
          <a:prstGeom prst="flowChartMerg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200" name="Flowchart: Merge 199">
            <a:extLst>
              <a:ext uri="{FF2B5EF4-FFF2-40B4-BE49-F238E27FC236}">
                <a16:creationId xmlns:a16="http://schemas.microsoft.com/office/drawing/2014/main" xmlns="" id="{36701829-B791-48C6-9B85-1284718ECDF5}"/>
              </a:ext>
            </a:extLst>
          </p:cNvPr>
          <p:cNvSpPr/>
          <p:nvPr/>
        </p:nvSpPr>
        <p:spPr>
          <a:xfrm rot="16200000">
            <a:off x="1319410" y="4634605"/>
            <a:ext cx="582607" cy="63357"/>
          </a:xfrm>
          <a:prstGeom prst="flowChartMerg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201" name="Graphic 200">
            <a:extLst>
              <a:ext uri="{FF2B5EF4-FFF2-40B4-BE49-F238E27FC236}">
                <a16:creationId xmlns:a16="http://schemas.microsoft.com/office/drawing/2014/main" xmlns="" id="{25115A8E-B354-4D70-85C4-21DCB811A30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735087" y="4501961"/>
            <a:ext cx="819150" cy="409575"/>
          </a:xfrm>
          <a:prstGeom prst="rect">
            <a:avLst/>
          </a:prstGeom>
        </p:spPr>
      </p:pic>
      <p:sp>
        <p:nvSpPr>
          <p:cNvPr id="202" name="TextBox 201">
            <a:extLst>
              <a:ext uri="{FF2B5EF4-FFF2-40B4-BE49-F238E27FC236}">
                <a16:creationId xmlns:a16="http://schemas.microsoft.com/office/drawing/2014/main" xmlns="" id="{D76EA5B6-4CBB-4748-9CFC-023A4FA52741}"/>
              </a:ext>
            </a:extLst>
          </p:cNvPr>
          <p:cNvSpPr txBox="1"/>
          <p:nvPr/>
        </p:nvSpPr>
        <p:spPr>
          <a:xfrm>
            <a:off x="823432" y="1261785"/>
            <a:ext cx="1600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>
                <a:solidFill>
                  <a:srgbClr val="0093D0"/>
                </a:solidFill>
              </a:rPr>
              <a:t>Transportation</a:t>
            </a:r>
            <a:endParaRPr lang="en-IN" sz="1400" dirty="0">
              <a:solidFill>
                <a:srgbClr val="0093D0"/>
              </a:solidFill>
            </a:endParaRPr>
          </a:p>
        </p:txBody>
      </p:sp>
      <p:sp>
        <p:nvSpPr>
          <p:cNvPr id="203" name="Rectangle: Rounded Corners 202">
            <a:extLst>
              <a:ext uri="{FF2B5EF4-FFF2-40B4-BE49-F238E27FC236}">
                <a16:creationId xmlns:a16="http://schemas.microsoft.com/office/drawing/2014/main" xmlns="" id="{5B85323F-FE89-41AB-859D-775AAA1DD0A2}"/>
              </a:ext>
            </a:extLst>
          </p:cNvPr>
          <p:cNvSpPr/>
          <p:nvPr/>
        </p:nvSpPr>
        <p:spPr>
          <a:xfrm>
            <a:off x="823431" y="1585334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93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04" name="Rectangle: Rounded Corners 203">
            <a:extLst>
              <a:ext uri="{FF2B5EF4-FFF2-40B4-BE49-F238E27FC236}">
                <a16:creationId xmlns:a16="http://schemas.microsoft.com/office/drawing/2014/main" xmlns="" id="{2F226BD9-61E4-4D15-B82D-5A5F0339B9B5}"/>
              </a:ext>
            </a:extLst>
          </p:cNvPr>
          <p:cNvSpPr/>
          <p:nvPr/>
        </p:nvSpPr>
        <p:spPr>
          <a:xfrm>
            <a:off x="823431" y="1981992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93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05" name="Rectangle: Rounded Corners 204">
            <a:extLst>
              <a:ext uri="{FF2B5EF4-FFF2-40B4-BE49-F238E27FC236}">
                <a16:creationId xmlns:a16="http://schemas.microsoft.com/office/drawing/2014/main" xmlns="" id="{E78C5C47-4A84-4AC7-B44A-404B4EB11B15}"/>
              </a:ext>
            </a:extLst>
          </p:cNvPr>
          <p:cNvSpPr/>
          <p:nvPr/>
        </p:nvSpPr>
        <p:spPr>
          <a:xfrm>
            <a:off x="823431" y="2381728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93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xmlns="" id="{C8F928FF-6F82-4CAD-A47F-8D258DF2BA4A}"/>
              </a:ext>
            </a:extLst>
          </p:cNvPr>
          <p:cNvSpPr/>
          <p:nvPr/>
        </p:nvSpPr>
        <p:spPr>
          <a:xfrm>
            <a:off x="823431" y="2786005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93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07" name="Rectangle: Rounded Corners 206">
            <a:extLst>
              <a:ext uri="{FF2B5EF4-FFF2-40B4-BE49-F238E27FC236}">
                <a16:creationId xmlns:a16="http://schemas.microsoft.com/office/drawing/2014/main" xmlns="" id="{B80F3F8F-8601-4A00-BE73-92D51758D276}"/>
              </a:ext>
            </a:extLst>
          </p:cNvPr>
          <p:cNvSpPr/>
          <p:nvPr/>
        </p:nvSpPr>
        <p:spPr>
          <a:xfrm>
            <a:off x="823431" y="3185740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0093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xmlns="" id="{A21B3ECB-19C8-40FE-8404-E95514BB5B50}"/>
              </a:ext>
            </a:extLst>
          </p:cNvPr>
          <p:cNvSpPr txBox="1"/>
          <p:nvPr/>
        </p:nvSpPr>
        <p:spPr>
          <a:xfrm>
            <a:off x="928677" y="1685118"/>
            <a:ext cx="13541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Rail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xmlns="" id="{DFACF6F6-25F8-4054-B918-18D9BDFFF6EA}"/>
              </a:ext>
            </a:extLst>
          </p:cNvPr>
          <p:cNvSpPr txBox="1"/>
          <p:nvPr/>
        </p:nvSpPr>
        <p:spPr>
          <a:xfrm>
            <a:off x="928677" y="2097553"/>
            <a:ext cx="13541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Road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xmlns="" id="{C629555D-6425-4372-8DFA-7AD89ACA97E1}"/>
              </a:ext>
            </a:extLst>
          </p:cNvPr>
          <p:cNvSpPr txBox="1"/>
          <p:nvPr/>
        </p:nvSpPr>
        <p:spPr>
          <a:xfrm>
            <a:off x="928677" y="2488079"/>
            <a:ext cx="13541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Inland Waterway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xmlns="" id="{375EC9CC-2677-404E-BB5C-A0E8798D3B6D}"/>
              </a:ext>
            </a:extLst>
          </p:cNvPr>
          <p:cNvSpPr txBox="1"/>
          <p:nvPr/>
        </p:nvSpPr>
        <p:spPr>
          <a:xfrm>
            <a:off x="928677" y="2897652"/>
            <a:ext cx="13541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Air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xmlns="" id="{AC71C655-1446-4997-B177-E3BAD67D2BDE}"/>
              </a:ext>
            </a:extLst>
          </p:cNvPr>
          <p:cNvSpPr txBox="1"/>
          <p:nvPr/>
        </p:nvSpPr>
        <p:spPr>
          <a:xfrm>
            <a:off x="928677" y="3298259"/>
            <a:ext cx="13541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Coastal Shipping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xmlns="" id="{0A35A51A-7786-449A-AD50-744AF6FA38CD}"/>
              </a:ext>
            </a:extLst>
          </p:cNvPr>
          <p:cNvSpPr txBox="1"/>
          <p:nvPr/>
        </p:nvSpPr>
        <p:spPr>
          <a:xfrm>
            <a:off x="3040028" y="1261785"/>
            <a:ext cx="1600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>
                <a:solidFill>
                  <a:srgbClr val="F37032"/>
                </a:solidFill>
              </a:rPr>
              <a:t>Facilities</a:t>
            </a:r>
          </a:p>
        </p:txBody>
      </p:sp>
      <p:sp>
        <p:nvSpPr>
          <p:cNvPr id="214" name="Rectangle: Rounded Corners 213">
            <a:extLst>
              <a:ext uri="{FF2B5EF4-FFF2-40B4-BE49-F238E27FC236}">
                <a16:creationId xmlns:a16="http://schemas.microsoft.com/office/drawing/2014/main" xmlns="" id="{1D49659B-ACDD-4916-A304-0EDA86BDAC17}"/>
              </a:ext>
            </a:extLst>
          </p:cNvPr>
          <p:cNvSpPr/>
          <p:nvPr/>
        </p:nvSpPr>
        <p:spPr>
          <a:xfrm>
            <a:off x="3040028" y="1585334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F37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15" name="Rectangle: Rounded Corners 214">
            <a:extLst>
              <a:ext uri="{FF2B5EF4-FFF2-40B4-BE49-F238E27FC236}">
                <a16:creationId xmlns:a16="http://schemas.microsoft.com/office/drawing/2014/main" xmlns="" id="{2AA4C8FE-E20C-4899-A810-25BF482E8D8B}"/>
              </a:ext>
            </a:extLst>
          </p:cNvPr>
          <p:cNvSpPr/>
          <p:nvPr/>
        </p:nvSpPr>
        <p:spPr>
          <a:xfrm>
            <a:off x="3040028" y="1981992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F37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16" name="Rectangle: Rounded Corners 215">
            <a:extLst>
              <a:ext uri="{FF2B5EF4-FFF2-40B4-BE49-F238E27FC236}">
                <a16:creationId xmlns:a16="http://schemas.microsoft.com/office/drawing/2014/main" xmlns="" id="{3D21CC4D-0C4B-4412-991B-63F0B559A5B7}"/>
              </a:ext>
            </a:extLst>
          </p:cNvPr>
          <p:cNvSpPr/>
          <p:nvPr/>
        </p:nvSpPr>
        <p:spPr>
          <a:xfrm>
            <a:off x="3040028" y="2381728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F37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17" name="Rectangle: Rounded Corners 216">
            <a:extLst>
              <a:ext uri="{FF2B5EF4-FFF2-40B4-BE49-F238E27FC236}">
                <a16:creationId xmlns:a16="http://schemas.microsoft.com/office/drawing/2014/main" xmlns="" id="{2B41B9A6-4AC9-49CE-BCF9-2219AB3D602F}"/>
              </a:ext>
            </a:extLst>
          </p:cNvPr>
          <p:cNvSpPr/>
          <p:nvPr/>
        </p:nvSpPr>
        <p:spPr>
          <a:xfrm>
            <a:off x="3040028" y="2786005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F37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18" name="Rectangle: Rounded Corners 217">
            <a:extLst>
              <a:ext uri="{FF2B5EF4-FFF2-40B4-BE49-F238E27FC236}">
                <a16:creationId xmlns:a16="http://schemas.microsoft.com/office/drawing/2014/main" xmlns="" id="{E0702B8C-328A-40BB-A13A-8C3F52AED7F3}"/>
              </a:ext>
            </a:extLst>
          </p:cNvPr>
          <p:cNvSpPr/>
          <p:nvPr/>
        </p:nvSpPr>
        <p:spPr>
          <a:xfrm>
            <a:off x="3040028" y="3185740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F370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xmlns="" id="{E14C11E6-1B11-441F-B4F3-F07BAAB435E3}"/>
              </a:ext>
            </a:extLst>
          </p:cNvPr>
          <p:cNvSpPr txBox="1"/>
          <p:nvPr/>
        </p:nvSpPr>
        <p:spPr>
          <a:xfrm>
            <a:off x="3167281" y="1709340"/>
            <a:ext cx="13541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Logistics Parks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xmlns="" id="{39A8AAB9-9B09-44B8-AF94-5D8E1F966B86}"/>
              </a:ext>
            </a:extLst>
          </p:cNvPr>
          <p:cNvSpPr txBox="1"/>
          <p:nvPr/>
        </p:nvSpPr>
        <p:spPr>
          <a:xfrm>
            <a:off x="3135932" y="2081575"/>
            <a:ext cx="13541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Warehousing 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xmlns="" id="{E4F0196A-2E0C-49E1-957B-9547D68BBC4D}"/>
              </a:ext>
            </a:extLst>
          </p:cNvPr>
          <p:cNvSpPr txBox="1"/>
          <p:nvPr/>
        </p:nvSpPr>
        <p:spPr>
          <a:xfrm>
            <a:off x="3167281" y="2416864"/>
            <a:ext cx="135411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Inland Waterway Terminals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xmlns="" id="{80A6947B-8A7C-4FA6-B476-E6EFF49D53B9}"/>
              </a:ext>
            </a:extLst>
          </p:cNvPr>
          <p:cNvSpPr txBox="1"/>
          <p:nvPr/>
        </p:nvSpPr>
        <p:spPr>
          <a:xfrm>
            <a:off x="3167281" y="2893210"/>
            <a:ext cx="13541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Air Cargo Complex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xmlns="" id="{79BEDD79-2BAE-4CD4-BA06-1F7C3054EFF1}"/>
              </a:ext>
            </a:extLst>
          </p:cNvPr>
          <p:cNvSpPr txBox="1"/>
          <p:nvPr/>
        </p:nvSpPr>
        <p:spPr>
          <a:xfrm>
            <a:off x="3167281" y="3293817"/>
            <a:ext cx="13541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Sea Ports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xmlns="" id="{B6DC4951-E555-45ED-A6DD-98DD2AB2B2C1}"/>
              </a:ext>
            </a:extLst>
          </p:cNvPr>
          <p:cNvSpPr txBox="1"/>
          <p:nvPr/>
        </p:nvSpPr>
        <p:spPr>
          <a:xfrm>
            <a:off x="5256626" y="1261785"/>
            <a:ext cx="16086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>
                <a:solidFill>
                  <a:srgbClr val="80C342"/>
                </a:solidFill>
              </a:rPr>
              <a:t>Other Services</a:t>
            </a:r>
          </a:p>
        </p:txBody>
      </p:sp>
      <p:sp>
        <p:nvSpPr>
          <p:cNvPr id="225" name="Rectangle: Rounded Corners 224">
            <a:extLst>
              <a:ext uri="{FF2B5EF4-FFF2-40B4-BE49-F238E27FC236}">
                <a16:creationId xmlns:a16="http://schemas.microsoft.com/office/drawing/2014/main" xmlns="" id="{041FA433-7913-48CE-84FD-F542D4AE1D59}"/>
              </a:ext>
            </a:extLst>
          </p:cNvPr>
          <p:cNvSpPr/>
          <p:nvPr/>
        </p:nvSpPr>
        <p:spPr>
          <a:xfrm>
            <a:off x="5256626" y="1585334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80C3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26" name="Rectangle: Rounded Corners 225">
            <a:extLst>
              <a:ext uri="{FF2B5EF4-FFF2-40B4-BE49-F238E27FC236}">
                <a16:creationId xmlns:a16="http://schemas.microsoft.com/office/drawing/2014/main" xmlns="" id="{7759CEFD-7C67-4E78-B479-64FA2722A803}"/>
              </a:ext>
            </a:extLst>
          </p:cNvPr>
          <p:cNvSpPr/>
          <p:nvPr/>
        </p:nvSpPr>
        <p:spPr>
          <a:xfrm>
            <a:off x="5256626" y="1981992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80C3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27" name="Rectangle: Rounded Corners 226">
            <a:extLst>
              <a:ext uri="{FF2B5EF4-FFF2-40B4-BE49-F238E27FC236}">
                <a16:creationId xmlns:a16="http://schemas.microsoft.com/office/drawing/2014/main" xmlns="" id="{F065C7FD-43A9-46E4-BB32-6CE050D083F2}"/>
              </a:ext>
            </a:extLst>
          </p:cNvPr>
          <p:cNvSpPr/>
          <p:nvPr/>
        </p:nvSpPr>
        <p:spPr>
          <a:xfrm>
            <a:off x="5256626" y="2381728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80C3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28" name="Rectangle: Rounded Corners 227">
            <a:extLst>
              <a:ext uri="{FF2B5EF4-FFF2-40B4-BE49-F238E27FC236}">
                <a16:creationId xmlns:a16="http://schemas.microsoft.com/office/drawing/2014/main" xmlns="" id="{C396C8EF-1D18-4B30-87AA-7E6EC0BCC03A}"/>
              </a:ext>
            </a:extLst>
          </p:cNvPr>
          <p:cNvSpPr/>
          <p:nvPr/>
        </p:nvSpPr>
        <p:spPr>
          <a:xfrm>
            <a:off x="5256626" y="2786005"/>
            <a:ext cx="1608618" cy="4019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80C3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xmlns="" id="{E51AC978-20E5-4F7C-8732-D8A46FB38505}"/>
              </a:ext>
            </a:extLst>
          </p:cNvPr>
          <p:cNvSpPr txBox="1"/>
          <p:nvPr/>
        </p:nvSpPr>
        <p:spPr>
          <a:xfrm>
            <a:off x="5357209" y="1709340"/>
            <a:ext cx="140745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Stuffing / De-stuffing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xmlns="" id="{9B0682F2-DABD-4976-86D7-8CE4D01071A1}"/>
              </a:ext>
            </a:extLst>
          </p:cNvPr>
          <p:cNvSpPr txBox="1"/>
          <p:nvPr/>
        </p:nvSpPr>
        <p:spPr>
          <a:xfrm>
            <a:off x="5357209" y="2073738"/>
            <a:ext cx="140745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Cargo Aggregation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xmlns="" id="{D2E910A6-C48F-4B97-A718-56A94B5B4303}"/>
              </a:ext>
            </a:extLst>
          </p:cNvPr>
          <p:cNvSpPr txBox="1"/>
          <p:nvPr/>
        </p:nvSpPr>
        <p:spPr>
          <a:xfrm>
            <a:off x="5357209" y="2502121"/>
            <a:ext cx="140745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Customs Clearance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xmlns="" id="{57B00757-AA5B-4E85-8D71-18C95BDF7BCD}"/>
              </a:ext>
            </a:extLst>
          </p:cNvPr>
          <p:cNvSpPr txBox="1"/>
          <p:nvPr/>
        </p:nvSpPr>
        <p:spPr>
          <a:xfrm>
            <a:off x="5383879" y="2816520"/>
            <a:ext cx="135411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Other Value </a:t>
            </a:r>
            <a:b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</a:br>
            <a:r>
              <a:rPr lang="en-IN" sz="1000" dirty="0">
                <a:solidFill>
                  <a:prstClr val="black">
                    <a:lumMod val="65000"/>
                    <a:lumOff val="35000"/>
                  </a:prstClr>
                </a:solidFill>
                <a:latin typeface="Adani Bold"/>
              </a:rPr>
              <a:t>added services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xmlns="" id="{56CBE13E-3B65-454F-A2FF-49353CDBEA3C}"/>
              </a:ext>
            </a:extLst>
          </p:cNvPr>
          <p:cNvSpPr txBox="1"/>
          <p:nvPr/>
        </p:nvSpPr>
        <p:spPr>
          <a:xfrm>
            <a:off x="1983639" y="3737345"/>
            <a:ext cx="3679190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IN" sz="1200" b="1" dirty="0">
                <a:solidFill>
                  <a:srgbClr val="2F81D2"/>
                </a:solidFill>
              </a:rPr>
              <a:t>End-to-end Integrated Logistics Services</a:t>
            </a:r>
          </a:p>
        </p:txBody>
      </p:sp>
      <p:grpSp>
        <p:nvGrpSpPr>
          <p:cNvPr id="234" name="Group 233">
            <a:extLst>
              <a:ext uri="{FF2B5EF4-FFF2-40B4-BE49-F238E27FC236}">
                <a16:creationId xmlns:a16="http://schemas.microsoft.com/office/drawing/2014/main" xmlns="" id="{FA41C89B-73EB-4082-9DAD-09925F2B004C}"/>
              </a:ext>
            </a:extLst>
          </p:cNvPr>
          <p:cNvGrpSpPr/>
          <p:nvPr/>
        </p:nvGrpSpPr>
        <p:grpSpPr>
          <a:xfrm flipV="1">
            <a:off x="692834" y="3514763"/>
            <a:ext cx="6275150" cy="350097"/>
            <a:chOff x="557724" y="4020193"/>
            <a:chExt cx="6690511" cy="350097"/>
          </a:xfrm>
        </p:grpSpPr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xmlns="" id="{3F2CDA2E-1A90-4684-B6E4-4A68B2EAE91C}"/>
                </a:ext>
              </a:extLst>
            </p:cNvPr>
            <p:cNvCxnSpPr>
              <a:cxnSpLocks/>
            </p:cNvCxnSpPr>
            <p:nvPr/>
          </p:nvCxnSpPr>
          <p:spPr>
            <a:xfrm>
              <a:off x="7248235" y="4020193"/>
              <a:ext cx="0" cy="350097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xmlns="" id="{83AE1FAF-1942-4362-993D-8D7AD1B64E7B}"/>
                </a:ext>
              </a:extLst>
            </p:cNvPr>
            <p:cNvCxnSpPr>
              <a:cxnSpLocks/>
            </p:cNvCxnSpPr>
            <p:nvPr/>
          </p:nvCxnSpPr>
          <p:spPr>
            <a:xfrm>
              <a:off x="557724" y="4020193"/>
              <a:ext cx="0" cy="350097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xmlns="" id="{7BAC1A1D-984E-4735-A1C0-342C14E349DD}"/>
                </a:ext>
              </a:extLst>
            </p:cNvPr>
            <p:cNvCxnSpPr>
              <a:cxnSpLocks/>
            </p:cNvCxnSpPr>
            <p:nvPr/>
          </p:nvCxnSpPr>
          <p:spPr>
            <a:xfrm>
              <a:off x="557724" y="4020193"/>
              <a:ext cx="1455525" cy="0"/>
            </a:xfrm>
            <a:prstGeom prst="line">
              <a:avLst/>
            </a:prstGeom>
            <a:ln w="12700">
              <a:solidFill>
                <a:srgbClr val="59595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xmlns="" id="{93A61F33-1532-4AC0-A744-18FBED063FF9}"/>
                </a:ext>
              </a:extLst>
            </p:cNvPr>
            <p:cNvCxnSpPr>
              <a:cxnSpLocks/>
            </p:cNvCxnSpPr>
            <p:nvPr/>
          </p:nvCxnSpPr>
          <p:spPr>
            <a:xfrm>
              <a:off x="5802033" y="4020193"/>
              <a:ext cx="1446202" cy="0"/>
            </a:xfrm>
            <a:prstGeom prst="line">
              <a:avLst/>
            </a:prstGeom>
            <a:ln w="12700">
              <a:solidFill>
                <a:srgbClr val="59595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9" name="Rectangle: Rounded Corners 238">
            <a:extLst>
              <a:ext uri="{FF2B5EF4-FFF2-40B4-BE49-F238E27FC236}">
                <a16:creationId xmlns:a16="http://schemas.microsoft.com/office/drawing/2014/main" xmlns="" id="{87808462-B2B3-4606-B748-B45038416509}"/>
              </a:ext>
            </a:extLst>
          </p:cNvPr>
          <p:cNvSpPr/>
          <p:nvPr/>
        </p:nvSpPr>
        <p:spPr>
          <a:xfrm>
            <a:off x="481304" y="951016"/>
            <a:ext cx="6716169" cy="233586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2F81D2"/>
              </a:solidFill>
            </a:endParaRP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xmlns="" id="{79D1DBEF-8AA4-49C8-8EA0-79A0523F8B4E}"/>
              </a:ext>
            </a:extLst>
          </p:cNvPr>
          <p:cNvSpPr txBox="1"/>
          <p:nvPr/>
        </p:nvSpPr>
        <p:spPr>
          <a:xfrm>
            <a:off x="2726060" y="923073"/>
            <a:ext cx="222665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N" sz="1200" b="1" dirty="0">
                <a:solidFill>
                  <a:prstClr val="white"/>
                </a:solidFill>
              </a:rPr>
              <a:t>Technology Platform</a:t>
            </a:r>
            <a:endParaRPr lang="en-IN" sz="1200" dirty="0">
              <a:solidFill>
                <a:prstClr val="white"/>
              </a:solidFill>
            </a:endParaRPr>
          </a:p>
        </p:txBody>
      </p:sp>
      <p:grpSp>
        <p:nvGrpSpPr>
          <p:cNvPr id="241" name="Group 240">
            <a:extLst>
              <a:ext uri="{FF2B5EF4-FFF2-40B4-BE49-F238E27FC236}">
                <a16:creationId xmlns:a16="http://schemas.microsoft.com/office/drawing/2014/main" xmlns="" id="{D29F5D3E-6D15-4CFA-9D0D-61F8A2D236CD}"/>
              </a:ext>
            </a:extLst>
          </p:cNvPr>
          <p:cNvGrpSpPr/>
          <p:nvPr/>
        </p:nvGrpSpPr>
        <p:grpSpPr>
          <a:xfrm>
            <a:off x="4068060" y="4493908"/>
            <a:ext cx="1668424" cy="368695"/>
            <a:chOff x="4059334" y="4747373"/>
            <a:chExt cx="1728836" cy="382045"/>
          </a:xfrm>
          <a:solidFill>
            <a:schemeClr val="bg1">
              <a:lumMod val="65000"/>
            </a:schemeClr>
          </a:solidFill>
        </p:grpSpPr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xmlns="" id="{22EB3EE7-F997-4099-A3D9-63D448E2921F}"/>
                </a:ext>
              </a:extLst>
            </p:cNvPr>
            <p:cNvSpPr/>
            <p:nvPr/>
          </p:nvSpPr>
          <p:spPr>
            <a:xfrm>
              <a:off x="5223319" y="4747373"/>
              <a:ext cx="564851" cy="376568"/>
            </a:xfrm>
            <a:custGeom>
              <a:avLst/>
              <a:gdLst>
                <a:gd name="connsiteX0" fmla="*/ 134709 w 564851"/>
                <a:gd name="connsiteY0" fmla="*/ 286819 h 376567"/>
                <a:gd name="connsiteX1" fmla="*/ 118448 w 564851"/>
                <a:gd name="connsiteY1" fmla="*/ 326016 h 376567"/>
                <a:gd name="connsiteX2" fmla="*/ 173849 w 564851"/>
                <a:gd name="connsiteY2" fmla="*/ 381418 h 376567"/>
                <a:gd name="connsiteX3" fmla="*/ 229250 w 564851"/>
                <a:gd name="connsiteY3" fmla="*/ 326016 h 376567"/>
                <a:gd name="connsiteX4" fmla="*/ 212989 w 564851"/>
                <a:gd name="connsiteY4" fmla="*/ 286819 h 376567"/>
                <a:gd name="connsiteX5" fmla="*/ 212932 w 564851"/>
                <a:gd name="connsiteY5" fmla="*/ 286876 h 376567"/>
                <a:gd name="connsiteX6" fmla="*/ 294464 w 564851"/>
                <a:gd name="connsiteY6" fmla="*/ 286876 h 376567"/>
                <a:gd name="connsiteX7" fmla="*/ 293266 w 564851"/>
                <a:gd name="connsiteY7" fmla="*/ 286819 h 376567"/>
                <a:gd name="connsiteX8" fmla="*/ 277062 w 564851"/>
                <a:gd name="connsiteY8" fmla="*/ 326016 h 376567"/>
                <a:gd name="connsiteX9" fmla="*/ 332464 w 564851"/>
                <a:gd name="connsiteY9" fmla="*/ 381418 h 376567"/>
                <a:gd name="connsiteX10" fmla="*/ 387865 w 564851"/>
                <a:gd name="connsiteY10" fmla="*/ 326016 h 376567"/>
                <a:gd name="connsiteX11" fmla="*/ 371604 w 564851"/>
                <a:gd name="connsiteY11" fmla="*/ 286819 h 376567"/>
                <a:gd name="connsiteX12" fmla="*/ 371547 w 564851"/>
                <a:gd name="connsiteY12" fmla="*/ 286876 h 376567"/>
                <a:gd name="connsiteX13" fmla="*/ 453079 w 564851"/>
                <a:gd name="connsiteY13" fmla="*/ 286876 h 376567"/>
                <a:gd name="connsiteX14" fmla="*/ 451938 w 564851"/>
                <a:gd name="connsiteY14" fmla="*/ 286819 h 376567"/>
                <a:gd name="connsiteX15" fmla="*/ 435677 w 564851"/>
                <a:gd name="connsiteY15" fmla="*/ 326016 h 376567"/>
                <a:gd name="connsiteX16" fmla="*/ 491078 w 564851"/>
                <a:gd name="connsiteY16" fmla="*/ 381418 h 376567"/>
                <a:gd name="connsiteX17" fmla="*/ 546536 w 564851"/>
                <a:gd name="connsiteY17" fmla="*/ 326016 h 376567"/>
                <a:gd name="connsiteX18" fmla="*/ 530276 w 564851"/>
                <a:gd name="connsiteY18" fmla="*/ 286819 h 376567"/>
                <a:gd name="connsiteX19" fmla="*/ 530219 w 564851"/>
                <a:gd name="connsiteY19" fmla="*/ 286876 h 376567"/>
                <a:gd name="connsiteX20" fmla="*/ 570443 w 564851"/>
                <a:gd name="connsiteY20" fmla="*/ 286876 h 376567"/>
                <a:gd name="connsiteX21" fmla="*/ 570443 w 564851"/>
                <a:gd name="connsiteY21" fmla="*/ 234727 h 376567"/>
                <a:gd name="connsiteX22" fmla="*/ 542200 w 564851"/>
                <a:gd name="connsiteY22" fmla="*/ 234727 h 376567"/>
                <a:gd name="connsiteX23" fmla="*/ 539633 w 564851"/>
                <a:gd name="connsiteY23" fmla="*/ 234271 h 376567"/>
                <a:gd name="connsiteX24" fmla="*/ 562854 w 564851"/>
                <a:gd name="connsiteY24" fmla="*/ 170597 h 376567"/>
                <a:gd name="connsiteX25" fmla="*/ 540146 w 564851"/>
                <a:gd name="connsiteY25" fmla="*/ 107550 h 376567"/>
                <a:gd name="connsiteX26" fmla="*/ 538948 w 564851"/>
                <a:gd name="connsiteY26" fmla="*/ 107550 h 376567"/>
                <a:gd name="connsiteX27" fmla="*/ 503060 w 564851"/>
                <a:gd name="connsiteY27" fmla="*/ 107550 h 376567"/>
                <a:gd name="connsiteX28" fmla="*/ 503060 w 564851"/>
                <a:gd name="connsiteY28" fmla="*/ 51065 h 376567"/>
                <a:gd name="connsiteX29" fmla="*/ 503060 w 564851"/>
                <a:gd name="connsiteY29" fmla="*/ 15234 h 376567"/>
                <a:gd name="connsiteX30" fmla="*/ 519378 w 564851"/>
                <a:gd name="connsiteY30" fmla="*/ 0 h 376567"/>
                <a:gd name="connsiteX31" fmla="*/ 431341 w 564851"/>
                <a:gd name="connsiteY31" fmla="*/ 0 h 376567"/>
                <a:gd name="connsiteX32" fmla="*/ 431341 w 564851"/>
                <a:gd name="connsiteY32" fmla="*/ 57 h 376567"/>
                <a:gd name="connsiteX33" fmla="*/ 432425 w 564851"/>
                <a:gd name="connsiteY33" fmla="*/ 0 h 376567"/>
                <a:gd name="connsiteX34" fmla="*/ 447659 w 564851"/>
                <a:gd name="connsiteY34" fmla="*/ 15234 h 376567"/>
                <a:gd name="connsiteX35" fmla="*/ 447659 w 564851"/>
                <a:gd name="connsiteY35" fmla="*/ 51122 h 376567"/>
                <a:gd name="connsiteX36" fmla="*/ 447659 w 564851"/>
                <a:gd name="connsiteY36" fmla="*/ 107607 h 376567"/>
                <a:gd name="connsiteX37" fmla="*/ 380276 w 564851"/>
                <a:gd name="connsiteY37" fmla="*/ 107607 h 376567"/>
                <a:gd name="connsiteX38" fmla="*/ 372631 w 564851"/>
                <a:gd name="connsiteY38" fmla="*/ 107550 h 376567"/>
                <a:gd name="connsiteX39" fmla="*/ 372688 w 564851"/>
                <a:gd name="connsiteY39" fmla="*/ 106466 h 376567"/>
                <a:gd name="connsiteX40" fmla="*/ 317287 w 564851"/>
                <a:gd name="connsiteY40" fmla="*/ 51065 h 376567"/>
                <a:gd name="connsiteX41" fmla="*/ 261886 w 564851"/>
                <a:gd name="connsiteY41" fmla="*/ 106466 h 376567"/>
                <a:gd name="connsiteX42" fmla="*/ 261886 w 564851"/>
                <a:gd name="connsiteY42" fmla="*/ 107550 h 376567"/>
                <a:gd name="connsiteX43" fmla="*/ 253213 w 564851"/>
                <a:gd name="connsiteY43" fmla="*/ 107607 h 376567"/>
                <a:gd name="connsiteX44" fmla="*/ 158672 w 564851"/>
                <a:gd name="connsiteY44" fmla="*/ 107607 h 376567"/>
                <a:gd name="connsiteX45" fmla="*/ 158672 w 564851"/>
                <a:gd name="connsiteY45" fmla="*/ 0 h 376567"/>
                <a:gd name="connsiteX46" fmla="*/ 46729 w 564851"/>
                <a:gd name="connsiteY46" fmla="*/ 0 h 376567"/>
                <a:gd name="connsiteX47" fmla="*/ 46729 w 564851"/>
                <a:gd name="connsiteY47" fmla="*/ 39140 h 376567"/>
                <a:gd name="connsiteX48" fmla="*/ 110859 w 564851"/>
                <a:gd name="connsiteY48" fmla="*/ 39140 h 376567"/>
                <a:gd name="connsiteX49" fmla="*/ 110859 w 564851"/>
                <a:gd name="connsiteY49" fmla="*/ 242373 h 376567"/>
                <a:gd name="connsiteX50" fmla="*/ 46729 w 564851"/>
                <a:gd name="connsiteY50" fmla="*/ 242373 h 376567"/>
                <a:gd name="connsiteX51" fmla="*/ 46729 w 564851"/>
                <a:gd name="connsiteY51" fmla="*/ 115196 h 376567"/>
                <a:gd name="connsiteX52" fmla="*/ 0 w 564851"/>
                <a:gd name="connsiteY52" fmla="*/ 115196 h 376567"/>
                <a:gd name="connsiteX53" fmla="*/ 0 w 564851"/>
                <a:gd name="connsiteY53" fmla="*/ 326016 h 376567"/>
                <a:gd name="connsiteX54" fmla="*/ 26131 w 564851"/>
                <a:gd name="connsiteY54" fmla="*/ 326016 h 376567"/>
                <a:gd name="connsiteX55" fmla="*/ 26131 w 564851"/>
                <a:gd name="connsiteY55" fmla="*/ 327101 h 376567"/>
                <a:gd name="connsiteX56" fmla="*/ 16318 w 564851"/>
                <a:gd name="connsiteY56" fmla="*/ 349923 h 376567"/>
                <a:gd name="connsiteX57" fmla="*/ 47813 w 564851"/>
                <a:gd name="connsiteY57" fmla="*/ 381475 h 376567"/>
                <a:gd name="connsiteX58" fmla="*/ 79364 w 564851"/>
                <a:gd name="connsiteY58" fmla="*/ 349923 h 376567"/>
                <a:gd name="connsiteX59" fmla="*/ 68410 w 564851"/>
                <a:gd name="connsiteY59" fmla="*/ 326016 h 376567"/>
                <a:gd name="connsiteX60" fmla="*/ 68467 w 564851"/>
                <a:gd name="connsiteY60" fmla="*/ 326016 h 376567"/>
                <a:gd name="connsiteX61" fmla="*/ 94541 w 564851"/>
                <a:gd name="connsiteY61" fmla="*/ 326016 h 376567"/>
                <a:gd name="connsiteX62" fmla="*/ 94541 w 564851"/>
                <a:gd name="connsiteY62" fmla="*/ 286876 h 376567"/>
                <a:gd name="connsiteX63" fmla="*/ 122784 w 564851"/>
                <a:gd name="connsiteY63" fmla="*/ 286876 h 376567"/>
                <a:gd name="connsiteX64" fmla="*/ 134709 w 564851"/>
                <a:gd name="connsiteY64" fmla="*/ 286819 h 376567"/>
                <a:gd name="connsiteX65" fmla="*/ 171566 w 564851"/>
                <a:gd name="connsiteY65" fmla="*/ 304050 h 376567"/>
                <a:gd name="connsiteX66" fmla="*/ 193305 w 564851"/>
                <a:gd name="connsiteY66" fmla="*/ 325788 h 376567"/>
                <a:gd name="connsiteX67" fmla="*/ 171566 w 564851"/>
                <a:gd name="connsiteY67" fmla="*/ 347526 h 376567"/>
                <a:gd name="connsiteX68" fmla="*/ 149828 w 564851"/>
                <a:gd name="connsiteY68" fmla="*/ 325788 h 376567"/>
                <a:gd name="connsiteX69" fmla="*/ 171566 w 564851"/>
                <a:gd name="connsiteY69" fmla="*/ 304050 h 376567"/>
                <a:gd name="connsiteX70" fmla="*/ 171566 w 564851"/>
                <a:gd name="connsiteY70" fmla="*/ 304050 h 376567"/>
                <a:gd name="connsiteX71" fmla="*/ 334689 w 564851"/>
                <a:gd name="connsiteY71" fmla="*/ 304050 h 376567"/>
                <a:gd name="connsiteX72" fmla="*/ 356427 w 564851"/>
                <a:gd name="connsiteY72" fmla="*/ 325788 h 376567"/>
                <a:gd name="connsiteX73" fmla="*/ 334689 w 564851"/>
                <a:gd name="connsiteY73" fmla="*/ 347526 h 376567"/>
                <a:gd name="connsiteX74" fmla="*/ 312950 w 564851"/>
                <a:gd name="connsiteY74" fmla="*/ 325788 h 376567"/>
                <a:gd name="connsiteX75" fmla="*/ 334689 w 564851"/>
                <a:gd name="connsiteY75" fmla="*/ 304050 h 376567"/>
                <a:gd name="connsiteX76" fmla="*/ 334689 w 564851"/>
                <a:gd name="connsiteY76" fmla="*/ 304050 h 376567"/>
                <a:gd name="connsiteX77" fmla="*/ 491763 w 564851"/>
                <a:gd name="connsiteY77" fmla="*/ 304050 h 376567"/>
                <a:gd name="connsiteX78" fmla="*/ 513501 w 564851"/>
                <a:gd name="connsiteY78" fmla="*/ 325788 h 376567"/>
                <a:gd name="connsiteX79" fmla="*/ 491763 w 564851"/>
                <a:gd name="connsiteY79" fmla="*/ 347526 h 376567"/>
                <a:gd name="connsiteX80" fmla="*/ 470025 w 564851"/>
                <a:gd name="connsiteY80" fmla="*/ 325788 h 376567"/>
                <a:gd name="connsiteX81" fmla="*/ 491763 w 564851"/>
                <a:gd name="connsiteY81" fmla="*/ 304050 h 376567"/>
                <a:gd name="connsiteX82" fmla="*/ 491763 w 564851"/>
                <a:gd name="connsiteY82" fmla="*/ 304050 h 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564851" h="376567">
                  <a:moveTo>
                    <a:pt x="134709" y="286819"/>
                  </a:moveTo>
                  <a:cubicBezTo>
                    <a:pt x="124267" y="297203"/>
                    <a:pt x="118448" y="311296"/>
                    <a:pt x="118448" y="326016"/>
                  </a:cubicBezTo>
                  <a:cubicBezTo>
                    <a:pt x="118448" y="356598"/>
                    <a:pt x="143267" y="381418"/>
                    <a:pt x="173849" y="381418"/>
                  </a:cubicBezTo>
                  <a:cubicBezTo>
                    <a:pt x="204431" y="381418"/>
                    <a:pt x="229250" y="356598"/>
                    <a:pt x="229250" y="326016"/>
                  </a:cubicBezTo>
                  <a:cubicBezTo>
                    <a:pt x="229250" y="311296"/>
                    <a:pt x="223373" y="297203"/>
                    <a:pt x="212989" y="286819"/>
                  </a:cubicBezTo>
                  <a:lnTo>
                    <a:pt x="212932" y="286876"/>
                  </a:lnTo>
                  <a:lnTo>
                    <a:pt x="294464" y="286876"/>
                  </a:lnTo>
                  <a:lnTo>
                    <a:pt x="293266" y="286819"/>
                  </a:lnTo>
                  <a:cubicBezTo>
                    <a:pt x="282882" y="297203"/>
                    <a:pt x="277062" y="311296"/>
                    <a:pt x="277062" y="326016"/>
                  </a:cubicBezTo>
                  <a:cubicBezTo>
                    <a:pt x="277062" y="356598"/>
                    <a:pt x="301939" y="381418"/>
                    <a:pt x="332464" y="381418"/>
                  </a:cubicBezTo>
                  <a:cubicBezTo>
                    <a:pt x="363045" y="381418"/>
                    <a:pt x="387865" y="356598"/>
                    <a:pt x="387865" y="326016"/>
                  </a:cubicBezTo>
                  <a:cubicBezTo>
                    <a:pt x="387865" y="311296"/>
                    <a:pt x="381988" y="297203"/>
                    <a:pt x="371604" y="286819"/>
                  </a:cubicBezTo>
                  <a:lnTo>
                    <a:pt x="371547" y="286876"/>
                  </a:lnTo>
                  <a:lnTo>
                    <a:pt x="453079" y="286876"/>
                  </a:lnTo>
                  <a:lnTo>
                    <a:pt x="451938" y="286819"/>
                  </a:lnTo>
                  <a:cubicBezTo>
                    <a:pt x="441554" y="297203"/>
                    <a:pt x="435677" y="311296"/>
                    <a:pt x="435677" y="326016"/>
                  </a:cubicBezTo>
                  <a:cubicBezTo>
                    <a:pt x="435677" y="356598"/>
                    <a:pt x="460496" y="381418"/>
                    <a:pt x="491078" y="381418"/>
                  </a:cubicBezTo>
                  <a:cubicBezTo>
                    <a:pt x="521660" y="381418"/>
                    <a:pt x="546536" y="356598"/>
                    <a:pt x="546536" y="326016"/>
                  </a:cubicBezTo>
                  <a:cubicBezTo>
                    <a:pt x="546536" y="311296"/>
                    <a:pt x="540717" y="297203"/>
                    <a:pt x="530276" y="286819"/>
                  </a:cubicBezTo>
                  <a:lnTo>
                    <a:pt x="530219" y="286876"/>
                  </a:lnTo>
                  <a:lnTo>
                    <a:pt x="570443" y="286876"/>
                  </a:lnTo>
                  <a:lnTo>
                    <a:pt x="570443" y="234727"/>
                  </a:lnTo>
                  <a:lnTo>
                    <a:pt x="542200" y="234727"/>
                  </a:lnTo>
                  <a:lnTo>
                    <a:pt x="539633" y="234271"/>
                  </a:lnTo>
                  <a:cubicBezTo>
                    <a:pt x="554581" y="216469"/>
                    <a:pt x="562854" y="193875"/>
                    <a:pt x="562854" y="170597"/>
                  </a:cubicBezTo>
                  <a:cubicBezTo>
                    <a:pt x="562854" y="147603"/>
                    <a:pt x="554810" y="125294"/>
                    <a:pt x="540146" y="107550"/>
                  </a:cubicBezTo>
                  <a:lnTo>
                    <a:pt x="538948" y="107550"/>
                  </a:lnTo>
                  <a:lnTo>
                    <a:pt x="503060" y="107550"/>
                  </a:lnTo>
                  <a:lnTo>
                    <a:pt x="503060" y="51065"/>
                  </a:lnTo>
                  <a:lnTo>
                    <a:pt x="503060" y="15234"/>
                  </a:lnTo>
                  <a:cubicBezTo>
                    <a:pt x="503060" y="6561"/>
                    <a:pt x="510648" y="0"/>
                    <a:pt x="519378" y="0"/>
                  </a:cubicBezTo>
                  <a:lnTo>
                    <a:pt x="431341" y="0"/>
                  </a:lnTo>
                  <a:lnTo>
                    <a:pt x="431341" y="57"/>
                  </a:lnTo>
                  <a:cubicBezTo>
                    <a:pt x="431683" y="57"/>
                    <a:pt x="432083" y="0"/>
                    <a:pt x="432425" y="0"/>
                  </a:cubicBezTo>
                  <a:cubicBezTo>
                    <a:pt x="440869" y="0"/>
                    <a:pt x="447659" y="6847"/>
                    <a:pt x="447659" y="15234"/>
                  </a:cubicBezTo>
                  <a:lnTo>
                    <a:pt x="447659" y="51122"/>
                  </a:lnTo>
                  <a:lnTo>
                    <a:pt x="447659" y="107607"/>
                  </a:lnTo>
                  <a:lnTo>
                    <a:pt x="380276" y="107607"/>
                  </a:lnTo>
                  <a:lnTo>
                    <a:pt x="372631" y="107550"/>
                  </a:lnTo>
                  <a:cubicBezTo>
                    <a:pt x="372688" y="107151"/>
                    <a:pt x="372688" y="106865"/>
                    <a:pt x="372688" y="106466"/>
                  </a:cubicBezTo>
                  <a:cubicBezTo>
                    <a:pt x="372688" y="75827"/>
                    <a:pt x="347869" y="51065"/>
                    <a:pt x="317287" y="51065"/>
                  </a:cubicBezTo>
                  <a:cubicBezTo>
                    <a:pt x="286648" y="51065"/>
                    <a:pt x="261886" y="75884"/>
                    <a:pt x="261886" y="106466"/>
                  </a:cubicBezTo>
                  <a:cubicBezTo>
                    <a:pt x="261886" y="106865"/>
                    <a:pt x="261886" y="107151"/>
                    <a:pt x="261886" y="107550"/>
                  </a:cubicBezTo>
                  <a:lnTo>
                    <a:pt x="253213" y="107607"/>
                  </a:lnTo>
                  <a:lnTo>
                    <a:pt x="158672" y="107607"/>
                  </a:lnTo>
                  <a:lnTo>
                    <a:pt x="158672" y="0"/>
                  </a:lnTo>
                  <a:lnTo>
                    <a:pt x="46729" y="0"/>
                  </a:lnTo>
                  <a:lnTo>
                    <a:pt x="46729" y="39140"/>
                  </a:lnTo>
                  <a:lnTo>
                    <a:pt x="110859" y="39140"/>
                  </a:lnTo>
                  <a:lnTo>
                    <a:pt x="110859" y="242373"/>
                  </a:lnTo>
                  <a:lnTo>
                    <a:pt x="46729" y="242373"/>
                  </a:lnTo>
                  <a:lnTo>
                    <a:pt x="46729" y="115196"/>
                  </a:lnTo>
                  <a:lnTo>
                    <a:pt x="0" y="115196"/>
                  </a:lnTo>
                  <a:lnTo>
                    <a:pt x="0" y="326016"/>
                  </a:lnTo>
                  <a:lnTo>
                    <a:pt x="26131" y="326016"/>
                  </a:lnTo>
                  <a:lnTo>
                    <a:pt x="26131" y="327101"/>
                  </a:lnTo>
                  <a:cubicBezTo>
                    <a:pt x="19855" y="333034"/>
                    <a:pt x="16318" y="341307"/>
                    <a:pt x="16318" y="349923"/>
                  </a:cubicBezTo>
                  <a:cubicBezTo>
                    <a:pt x="16318" y="367325"/>
                    <a:pt x="30411" y="381475"/>
                    <a:pt x="47813" y="381475"/>
                  </a:cubicBezTo>
                  <a:cubicBezTo>
                    <a:pt x="65215" y="381475"/>
                    <a:pt x="79364" y="367325"/>
                    <a:pt x="79364" y="349923"/>
                  </a:cubicBezTo>
                  <a:cubicBezTo>
                    <a:pt x="79364" y="340794"/>
                    <a:pt x="75371" y="332064"/>
                    <a:pt x="68410" y="326016"/>
                  </a:cubicBezTo>
                  <a:lnTo>
                    <a:pt x="68467" y="326016"/>
                  </a:lnTo>
                  <a:lnTo>
                    <a:pt x="94541" y="326016"/>
                  </a:lnTo>
                  <a:lnTo>
                    <a:pt x="94541" y="286876"/>
                  </a:lnTo>
                  <a:lnTo>
                    <a:pt x="122784" y="286876"/>
                  </a:lnTo>
                  <a:lnTo>
                    <a:pt x="134709" y="286819"/>
                  </a:lnTo>
                  <a:close/>
                  <a:moveTo>
                    <a:pt x="171566" y="304050"/>
                  </a:moveTo>
                  <a:cubicBezTo>
                    <a:pt x="183434" y="304050"/>
                    <a:pt x="193305" y="313807"/>
                    <a:pt x="193305" y="325788"/>
                  </a:cubicBezTo>
                  <a:cubicBezTo>
                    <a:pt x="193305" y="337656"/>
                    <a:pt x="183491" y="347526"/>
                    <a:pt x="171566" y="347526"/>
                  </a:cubicBezTo>
                  <a:cubicBezTo>
                    <a:pt x="159585" y="347526"/>
                    <a:pt x="149828" y="337713"/>
                    <a:pt x="149828" y="325788"/>
                  </a:cubicBezTo>
                  <a:cubicBezTo>
                    <a:pt x="149885" y="313807"/>
                    <a:pt x="159642" y="304050"/>
                    <a:pt x="171566" y="304050"/>
                  </a:cubicBezTo>
                  <a:lnTo>
                    <a:pt x="171566" y="304050"/>
                  </a:lnTo>
                  <a:close/>
                  <a:moveTo>
                    <a:pt x="334689" y="304050"/>
                  </a:moveTo>
                  <a:cubicBezTo>
                    <a:pt x="346556" y="304050"/>
                    <a:pt x="356427" y="313807"/>
                    <a:pt x="356427" y="325788"/>
                  </a:cubicBezTo>
                  <a:cubicBezTo>
                    <a:pt x="356427" y="337656"/>
                    <a:pt x="346613" y="347526"/>
                    <a:pt x="334689" y="347526"/>
                  </a:cubicBezTo>
                  <a:cubicBezTo>
                    <a:pt x="322707" y="347526"/>
                    <a:pt x="312950" y="337713"/>
                    <a:pt x="312950" y="325788"/>
                  </a:cubicBezTo>
                  <a:cubicBezTo>
                    <a:pt x="313008" y="313807"/>
                    <a:pt x="322764" y="304050"/>
                    <a:pt x="334689" y="304050"/>
                  </a:cubicBezTo>
                  <a:lnTo>
                    <a:pt x="334689" y="304050"/>
                  </a:lnTo>
                  <a:close/>
                  <a:moveTo>
                    <a:pt x="491763" y="304050"/>
                  </a:moveTo>
                  <a:cubicBezTo>
                    <a:pt x="503631" y="304050"/>
                    <a:pt x="513501" y="313807"/>
                    <a:pt x="513501" y="325788"/>
                  </a:cubicBezTo>
                  <a:cubicBezTo>
                    <a:pt x="513501" y="337656"/>
                    <a:pt x="503688" y="347526"/>
                    <a:pt x="491763" y="347526"/>
                  </a:cubicBezTo>
                  <a:cubicBezTo>
                    <a:pt x="479781" y="347526"/>
                    <a:pt x="470025" y="337713"/>
                    <a:pt x="470025" y="325788"/>
                  </a:cubicBezTo>
                  <a:cubicBezTo>
                    <a:pt x="470082" y="313807"/>
                    <a:pt x="479838" y="304050"/>
                    <a:pt x="491763" y="304050"/>
                  </a:cubicBezTo>
                  <a:lnTo>
                    <a:pt x="491763" y="304050"/>
                  </a:lnTo>
                  <a:close/>
                </a:path>
              </a:pathLst>
            </a:custGeom>
            <a:grpFill/>
            <a:ln w="5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xmlns="" id="{B8F73B43-2546-4DC1-BB47-27A2E78DAA36}"/>
                </a:ext>
              </a:extLst>
            </p:cNvPr>
            <p:cNvGrpSpPr/>
            <p:nvPr/>
          </p:nvGrpSpPr>
          <p:grpSpPr>
            <a:xfrm>
              <a:off x="4639639" y="4862446"/>
              <a:ext cx="564851" cy="266972"/>
              <a:chOff x="4639639" y="4862446"/>
              <a:chExt cx="564851" cy="266972"/>
            </a:xfrm>
            <a:grpFill/>
          </p:grpSpPr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xmlns="" id="{3D736EA9-5281-4B18-999C-E75981915E05}"/>
                  </a:ext>
                </a:extLst>
              </p:cNvPr>
              <p:cNvSpPr/>
              <p:nvPr/>
            </p:nvSpPr>
            <p:spPr>
              <a:xfrm>
                <a:off x="4727146" y="4862446"/>
                <a:ext cx="387979" cy="148345"/>
              </a:xfrm>
              <a:custGeom>
                <a:avLst/>
                <a:gdLst>
                  <a:gd name="connsiteX0" fmla="*/ 272344 w 387978"/>
                  <a:gd name="connsiteY0" fmla="*/ 126558 h 148344"/>
                  <a:gd name="connsiteX1" fmla="*/ 94444 w 387978"/>
                  <a:gd name="connsiteY1" fmla="*/ 126558 h 148344"/>
                  <a:gd name="connsiteX2" fmla="*/ 21356 w 387978"/>
                  <a:gd name="connsiteY2" fmla="*/ 120796 h 148344"/>
                  <a:gd name="connsiteX3" fmla="*/ 644 w 387978"/>
                  <a:gd name="connsiteY3" fmla="*/ 77605 h 148344"/>
                  <a:gd name="connsiteX4" fmla="*/ 32881 w 387978"/>
                  <a:gd name="connsiteY4" fmla="*/ 22888 h 148344"/>
                  <a:gd name="connsiteX5" fmla="*/ 22497 w 387978"/>
                  <a:gd name="connsiteY5" fmla="*/ 13075 h 148344"/>
                  <a:gd name="connsiteX6" fmla="*/ 144539 w 387978"/>
                  <a:gd name="connsiteY6" fmla="*/ 408 h 148344"/>
                  <a:gd name="connsiteX7" fmla="*/ 280388 w 387978"/>
                  <a:gd name="connsiteY7" fmla="*/ 38407 h 148344"/>
                  <a:gd name="connsiteX8" fmla="*/ 391476 w 387978"/>
                  <a:gd name="connsiteY8" fmla="*/ 76977 h 148344"/>
                  <a:gd name="connsiteX9" fmla="*/ 390335 w 387978"/>
                  <a:gd name="connsiteY9" fmla="*/ 114406 h 148344"/>
                  <a:gd name="connsiteX10" fmla="*/ 346002 w 387978"/>
                  <a:gd name="connsiteY10" fmla="*/ 126501 h 148344"/>
                  <a:gd name="connsiteX11" fmla="*/ 272344 w 387978"/>
                  <a:gd name="connsiteY11" fmla="*/ 126558 h 148344"/>
                  <a:gd name="connsiteX12" fmla="*/ 90393 w 387978"/>
                  <a:gd name="connsiteY12" fmla="*/ 115033 h 148344"/>
                  <a:gd name="connsiteX13" fmla="*/ 58156 w 387978"/>
                  <a:gd name="connsiteY13" fmla="*/ 147840 h 148344"/>
                  <a:gd name="connsiteX14" fmla="*/ 25349 w 387978"/>
                  <a:gd name="connsiteY14" fmla="*/ 115033 h 148344"/>
                  <a:gd name="connsiteX15" fmla="*/ 58156 w 387978"/>
                  <a:gd name="connsiteY15" fmla="*/ 82226 h 148344"/>
                  <a:gd name="connsiteX16" fmla="*/ 90393 w 387978"/>
                  <a:gd name="connsiteY16" fmla="*/ 115033 h 148344"/>
                  <a:gd name="connsiteX17" fmla="*/ 82919 w 387978"/>
                  <a:gd name="connsiteY17" fmla="*/ 115033 h 148344"/>
                  <a:gd name="connsiteX18" fmla="*/ 58156 w 387978"/>
                  <a:gd name="connsiteY18" fmla="*/ 139795 h 148344"/>
                  <a:gd name="connsiteX19" fmla="*/ 32824 w 387978"/>
                  <a:gd name="connsiteY19" fmla="*/ 115033 h 148344"/>
                  <a:gd name="connsiteX20" fmla="*/ 58156 w 387978"/>
                  <a:gd name="connsiteY20" fmla="*/ 90271 h 148344"/>
                  <a:gd name="connsiteX21" fmla="*/ 82919 w 387978"/>
                  <a:gd name="connsiteY21" fmla="*/ 115033 h 148344"/>
                  <a:gd name="connsiteX22" fmla="*/ 342009 w 387978"/>
                  <a:gd name="connsiteY22" fmla="*/ 118457 h 148344"/>
                  <a:gd name="connsiteX23" fmla="*/ 309202 w 387978"/>
                  <a:gd name="connsiteY23" fmla="*/ 151264 h 148344"/>
                  <a:gd name="connsiteX24" fmla="*/ 276395 w 387978"/>
                  <a:gd name="connsiteY24" fmla="*/ 118457 h 148344"/>
                  <a:gd name="connsiteX25" fmla="*/ 309202 w 387978"/>
                  <a:gd name="connsiteY25" fmla="*/ 85650 h 148344"/>
                  <a:gd name="connsiteX26" fmla="*/ 342009 w 387978"/>
                  <a:gd name="connsiteY26" fmla="*/ 118457 h 148344"/>
                  <a:gd name="connsiteX27" fmla="*/ 333907 w 387978"/>
                  <a:gd name="connsiteY27" fmla="*/ 118457 h 148344"/>
                  <a:gd name="connsiteX28" fmla="*/ 309144 w 387978"/>
                  <a:gd name="connsiteY28" fmla="*/ 143219 h 148344"/>
                  <a:gd name="connsiteX29" fmla="*/ 283812 w 387978"/>
                  <a:gd name="connsiteY29" fmla="*/ 118457 h 148344"/>
                  <a:gd name="connsiteX30" fmla="*/ 309144 w 387978"/>
                  <a:gd name="connsiteY30" fmla="*/ 93694 h 148344"/>
                  <a:gd name="connsiteX31" fmla="*/ 333907 w 387978"/>
                  <a:gd name="connsiteY31" fmla="*/ 118457 h 148344"/>
                  <a:gd name="connsiteX32" fmla="*/ 263101 w 387978"/>
                  <a:gd name="connsiteY32" fmla="*/ 40176 h 148344"/>
                  <a:gd name="connsiteX33" fmla="*/ 255626 w 387978"/>
                  <a:gd name="connsiteY33" fmla="*/ 51701 h 148344"/>
                  <a:gd name="connsiteX34" fmla="*/ 160629 w 387978"/>
                  <a:gd name="connsiteY34" fmla="*/ 44798 h 148344"/>
                  <a:gd name="connsiteX35" fmla="*/ 154866 w 387978"/>
                  <a:gd name="connsiteY35" fmla="*/ 6798 h 148344"/>
                  <a:gd name="connsiteX36" fmla="*/ 263101 w 387978"/>
                  <a:gd name="connsiteY36" fmla="*/ 40176 h 148344"/>
                  <a:gd name="connsiteX37" fmla="*/ 69682 w 387978"/>
                  <a:gd name="connsiteY37" fmla="*/ 37894 h 148344"/>
                  <a:gd name="connsiteX38" fmla="*/ 92162 w 387978"/>
                  <a:gd name="connsiteY38" fmla="*/ 9708 h 148344"/>
                  <a:gd name="connsiteX39" fmla="*/ 143968 w 387978"/>
                  <a:gd name="connsiteY39" fmla="*/ 6228 h 148344"/>
                  <a:gd name="connsiteX40" fmla="*/ 143968 w 387978"/>
                  <a:gd name="connsiteY40" fmla="*/ 23516 h 148344"/>
                  <a:gd name="connsiteX41" fmla="*/ 143398 w 387978"/>
                  <a:gd name="connsiteY41" fmla="*/ 43086 h 148344"/>
                  <a:gd name="connsiteX42" fmla="*/ 69682 w 387978"/>
                  <a:gd name="connsiteY42" fmla="*/ 37894 h 148344"/>
                  <a:gd name="connsiteX43" fmla="*/ 51253 w 387978"/>
                  <a:gd name="connsiteY43" fmla="*/ 22318 h 148344"/>
                  <a:gd name="connsiteX44" fmla="*/ 84060 w 387978"/>
                  <a:gd name="connsiteY44" fmla="*/ 11363 h 148344"/>
                  <a:gd name="connsiteX45" fmla="*/ 63349 w 387978"/>
                  <a:gd name="connsiteY45" fmla="*/ 37266 h 148344"/>
                  <a:gd name="connsiteX46" fmla="*/ 51253 w 387978"/>
                  <a:gd name="connsiteY46" fmla="*/ 22318 h 148344"/>
                  <a:gd name="connsiteX47" fmla="*/ 11542 w 387978"/>
                  <a:gd name="connsiteY47" fmla="*/ 59176 h 148344"/>
                  <a:gd name="connsiteX48" fmla="*/ 36304 w 387978"/>
                  <a:gd name="connsiteY48" fmla="*/ 30363 h 148344"/>
                  <a:gd name="connsiteX49" fmla="*/ 11542 w 387978"/>
                  <a:gd name="connsiteY49" fmla="*/ 59176 h 148344"/>
                  <a:gd name="connsiteX50" fmla="*/ 380578 w 387978"/>
                  <a:gd name="connsiteY50" fmla="*/ 76464 h 148344"/>
                  <a:gd name="connsiteX51" fmla="*/ 358726 w 387978"/>
                  <a:gd name="connsiteY51" fmla="*/ 62085 h 148344"/>
                  <a:gd name="connsiteX52" fmla="*/ 380578 w 387978"/>
                  <a:gd name="connsiteY52" fmla="*/ 76464 h 148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387978" h="148344">
                    <a:moveTo>
                      <a:pt x="272344" y="126558"/>
                    </a:moveTo>
                    <a:lnTo>
                      <a:pt x="94444" y="126558"/>
                    </a:lnTo>
                    <a:cubicBezTo>
                      <a:pt x="102489" y="58605"/>
                      <a:pt x="14395" y="68419"/>
                      <a:pt x="21356" y="120796"/>
                    </a:cubicBezTo>
                    <a:cubicBezTo>
                      <a:pt x="-5689" y="123078"/>
                      <a:pt x="644" y="95463"/>
                      <a:pt x="644" y="77605"/>
                    </a:cubicBezTo>
                    <a:cubicBezTo>
                      <a:pt x="19073" y="62085"/>
                      <a:pt x="-5689" y="48792"/>
                      <a:pt x="32881" y="22888"/>
                    </a:cubicBezTo>
                    <a:lnTo>
                      <a:pt x="22497" y="13075"/>
                    </a:lnTo>
                    <a:cubicBezTo>
                      <a:pt x="65117" y="4459"/>
                      <a:pt x="105969" y="408"/>
                      <a:pt x="144539" y="408"/>
                    </a:cubicBezTo>
                    <a:cubicBezTo>
                      <a:pt x="184820" y="-2445"/>
                      <a:pt x="230294" y="9594"/>
                      <a:pt x="280388" y="38407"/>
                    </a:cubicBezTo>
                    <a:cubicBezTo>
                      <a:pt x="351765" y="50503"/>
                      <a:pt x="375957" y="63170"/>
                      <a:pt x="391476" y="76977"/>
                    </a:cubicBezTo>
                    <a:cubicBezTo>
                      <a:pt x="397238" y="86791"/>
                      <a:pt x="387425" y="111496"/>
                      <a:pt x="390335" y="114406"/>
                    </a:cubicBezTo>
                    <a:cubicBezTo>
                      <a:pt x="393188" y="127072"/>
                      <a:pt x="371906" y="128213"/>
                      <a:pt x="346002" y="126501"/>
                    </a:cubicBezTo>
                    <a:cubicBezTo>
                      <a:pt x="352336" y="66650"/>
                      <a:pt x="266010" y="67221"/>
                      <a:pt x="272344" y="126558"/>
                    </a:cubicBezTo>
                    <a:close/>
                    <a:moveTo>
                      <a:pt x="90393" y="115033"/>
                    </a:moveTo>
                    <a:cubicBezTo>
                      <a:pt x="90393" y="132892"/>
                      <a:pt x="76015" y="147840"/>
                      <a:pt x="58156" y="147840"/>
                    </a:cubicBezTo>
                    <a:cubicBezTo>
                      <a:pt x="39727" y="147840"/>
                      <a:pt x="25349" y="132892"/>
                      <a:pt x="25349" y="115033"/>
                    </a:cubicBezTo>
                    <a:cubicBezTo>
                      <a:pt x="25349" y="96604"/>
                      <a:pt x="39727" y="82226"/>
                      <a:pt x="58156" y="82226"/>
                    </a:cubicBezTo>
                    <a:cubicBezTo>
                      <a:pt x="76015" y="82226"/>
                      <a:pt x="90393" y="96604"/>
                      <a:pt x="90393" y="115033"/>
                    </a:cubicBezTo>
                    <a:close/>
                    <a:moveTo>
                      <a:pt x="82919" y="115033"/>
                    </a:moveTo>
                    <a:cubicBezTo>
                      <a:pt x="82919" y="128841"/>
                      <a:pt x="71393" y="139795"/>
                      <a:pt x="58156" y="139795"/>
                    </a:cubicBezTo>
                    <a:cubicBezTo>
                      <a:pt x="44349" y="139795"/>
                      <a:pt x="32824" y="128841"/>
                      <a:pt x="32824" y="115033"/>
                    </a:cubicBezTo>
                    <a:cubicBezTo>
                      <a:pt x="32824" y="101226"/>
                      <a:pt x="44349" y="90271"/>
                      <a:pt x="58156" y="90271"/>
                    </a:cubicBezTo>
                    <a:cubicBezTo>
                      <a:pt x="71393" y="90271"/>
                      <a:pt x="82919" y="101226"/>
                      <a:pt x="82919" y="115033"/>
                    </a:cubicBezTo>
                    <a:close/>
                    <a:moveTo>
                      <a:pt x="342009" y="118457"/>
                    </a:moveTo>
                    <a:cubicBezTo>
                      <a:pt x="342009" y="136315"/>
                      <a:pt x="327060" y="151264"/>
                      <a:pt x="309202" y="151264"/>
                    </a:cubicBezTo>
                    <a:cubicBezTo>
                      <a:pt x="290773" y="151264"/>
                      <a:pt x="276395" y="136315"/>
                      <a:pt x="276395" y="118457"/>
                    </a:cubicBezTo>
                    <a:cubicBezTo>
                      <a:pt x="276395" y="100028"/>
                      <a:pt x="290773" y="85650"/>
                      <a:pt x="309202" y="85650"/>
                    </a:cubicBezTo>
                    <a:cubicBezTo>
                      <a:pt x="327003" y="85650"/>
                      <a:pt x="342009" y="100028"/>
                      <a:pt x="342009" y="118457"/>
                    </a:cubicBezTo>
                    <a:close/>
                    <a:moveTo>
                      <a:pt x="333907" y="118457"/>
                    </a:moveTo>
                    <a:cubicBezTo>
                      <a:pt x="333907" y="132264"/>
                      <a:pt x="322381" y="143219"/>
                      <a:pt x="309144" y="143219"/>
                    </a:cubicBezTo>
                    <a:cubicBezTo>
                      <a:pt x="295337" y="143219"/>
                      <a:pt x="283812" y="132264"/>
                      <a:pt x="283812" y="118457"/>
                    </a:cubicBezTo>
                    <a:cubicBezTo>
                      <a:pt x="283812" y="104649"/>
                      <a:pt x="295337" y="93694"/>
                      <a:pt x="309144" y="93694"/>
                    </a:cubicBezTo>
                    <a:cubicBezTo>
                      <a:pt x="322381" y="93694"/>
                      <a:pt x="333907" y="104649"/>
                      <a:pt x="333907" y="118457"/>
                    </a:cubicBezTo>
                    <a:close/>
                    <a:moveTo>
                      <a:pt x="263101" y="40176"/>
                    </a:moveTo>
                    <a:cubicBezTo>
                      <a:pt x="246954" y="37323"/>
                      <a:pt x="246383" y="41888"/>
                      <a:pt x="255626" y="51701"/>
                    </a:cubicBezTo>
                    <a:lnTo>
                      <a:pt x="160629" y="44798"/>
                    </a:lnTo>
                    <a:lnTo>
                      <a:pt x="154866" y="6798"/>
                    </a:lnTo>
                    <a:cubicBezTo>
                      <a:pt x="193436" y="8510"/>
                      <a:pt x="233774" y="18894"/>
                      <a:pt x="263101" y="40176"/>
                    </a:cubicBezTo>
                    <a:close/>
                    <a:moveTo>
                      <a:pt x="69682" y="37894"/>
                    </a:moveTo>
                    <a:cubicBezTo>
                      <a:pt x="75444" y="30420"/>
                      <a:pt x="88111" y="15414"/>
                      <a:pt x="92162" y="9708"/>
                    </a:cubicBezTo>
                    <a:cubicBezTo>
                      <a:pt x="108308" y="6856"/>
                      <a:pt x="125539" y="5657"/>
                      <a:pt x="143968" y="6228"/>
                    </a:cubicBezTo>
                    <a:lnTo>
                      <a:pt x="143968" y="23516"/>
                    </a:lnTo>
                    <a:lnTo>
                      <a:pt x="143398" y="43086"/>
                    </a:lnTo>
                    <a:lnTo>
                      <a:pt x="69682" y="37894"/>
                    </a:lnTo>
                    <a:close/>
                    <a:moveTo>
                      <a:pt x="51253" y="22318"/>
                    </a:moveTo>
                    <a:cubicBezTo>
                      <a:pt x="60439" y="17696"/>
                      <a:pt x="71393" y="14273"/>
                      <a:pt x="84060" y="11363"/>
                    </a:cubicBezTo>
                    <a:lnTo>
                      <a:pt x="63349" y="37266"/>
                    </a:lnTo>
                    <a:lnTo>
                      <a:pt x="51253" y="22318"/>
                    </a:lnTo>
                    <a:close/>
                    <a:moveTo>
                      <a:pt x="11542" y="59176"/>
                    </a:moveTo>
                    <a:cubicBezTo>
                      <a:pt x="11542" y="41317"/>
                      <a:pt x="19587" y="33843"/>
                      <a:pt x="36304" y="30363"/>
                    </a:cubicBezTo>
                    <a:cubicBezTo>
                      <a:pt x="45490" y="47080"/>
                      <a:pt x="19587" y="49362"/>
                      <a:pt x="11542" y="59176"/>
                    </a:cubicBezTo>
                    <a:close/>
                    <a:moveTo>
                      <a:pt x="380578" y="76464"/>
                    </a:moveTo>
                    <a:cubicBezTo>
                      <a:pt x="367912" y="78746"/>
                      <a:pt x="337958" y="58605"/>
                      <a:pt x="358726" y="62085"/>
                    </a:cubicBezTo>
                    <a:cubicBezTo>
                      <a:pt x="382290" y="71271"/>
                      <a:pt x="379380" y="71842"/>
                      <a:pt x="380578" y="76464"/>
                    </a:cubicBezTo>
                    <a:close/>
                  </a:path>
                </a:pathLst>
              </a:custGeom>
              <a:grpFill/>
              <a:ln w="57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xmlns="" id="{112215C8-CEF6-40F7-B3EA-393C3326DAB3}"/>
                  </a:ext>
                </a:extLst>
              </p:cNvPr>
              <p:cNvSpPr/>
              <p:nvPr/>
            </p:nvSpPr>
            <p:spPr>
              <a:xfrm>
                <a:off x="4639639" y="4986779"/>
                <a:ext cx="564851" cy="142639"/>
              </a:xfrm>
              <a:custGeom>
                <a:avLst/>
                <a:gdLst>
                  <a:gd name="connsiteX0" fmla="*/ 393285 w 564851"/>
                  <a:gd name="connsiteY0" fmla="*/ 72689 h 142639"/>
                  <a:gd name="connsiteX1" fmla="*/ 415023 w 564851"/>
                  <a:gd name="connsiteY1" fmla="*/ 94427 h 142639"/>
                  <a:gd name="connsiteX2" fmla="*/ 393285 w 564851"/>
                  <a:gd name="connsiteY2" fmla="*/ 116165 h 142639"/>
                  <a:gd name="connsiteX3" fmla="*/ 371547 w 564851"/>
                  <a:gd name="connsiteY3" fmla="*/ 94427 h 142639"/>
                  <a:gd name="connsiteX4" fmla="*/ 393285 w 564851"/>
                  <a:gd name="connsiteY4" fmla="*/ 72689 h 142639"/>
                  <a:gd name="connsiteX5" fmla="*/ 393285 w 564851"/>
                  <a:gd name="connsiteY5" fmla="*/ 72689 h 142639"/>
                  <a:gd name="connsiteX6" fmla="*/ 494844 w 564851"/>
                  <a:gd name="connsiteY6" fmla="*/ 72689 h 142639"/>
                  <a:gd name="connsiteX7" fmla="*/ 516582 w 564851"/>
                  <a:gd name="connsiteY7" fmla="*/ 94427 h 142639"/>
                  <a:gd name="connsiteX8" fmla="*/ 494844 w 564851"/>
                  <a:gd name="connsiteY8" fmla="*/ 116165 h 142639"/>
                  <a:gd name="connsiteX9" fmla="*/ 473106 w 564851"/>
                  <a:gd name="connsiteY9" fmla="*/ 94427 h 142639"/>
                  <a:gd name="connsiteX10" fmla="*/ 494844 w 564851"/>
                  <a:gd name="connsiteY10" fmla="*/ 72689 h 142639"/>
                  <a:gd name="connsiteX11" fmla="*/ 494844 w 564851"/>
                  <a:gd name="connsiteY11" fmla="*/ 72689 h 142639"/>
                  <a:gd name="connsiteX12" fmla="*/ 75028 w 564851"/>
                  <a:gd name="connsiteY12" fmla="*/ 72689 h 142639"/>
                  <a:gd name="connsiteX13" fmla="*/ 96766 w 564851"/>
                  <a:gd name="connsiteY13" fmla="*/ 94427 h 142639"/>
                  <a:gd name="connsiteX14" fmla="*/ 75028 w 564851"/>
                  <a:gd name="connsiteY14" fmla="*/ 116165 h 142639"/>
                  <a:gd name="connsiteX15" fmla="*/ 53290 w 564851"/>
                  <a:gd name="connsiteY15" fmla="*/ 94427 h 142639"/>
                  <a:gd name="connsiteX16" fmla="*/ 75028 w 564851"/>
                  <a:gd name="connsiteY16" fmla="*/ 72689 h 142639"/>
                  <a:gd name="connsiteX17" fmla="*/ 75028 w 564851"/>
                  <a:gd name="connsiteY17" fmla="*/ 72689 h 142639"/>
                  <a:gd name="connsiteX18" fmla="*/ 174990 w 564851"/>
                  <a:gd name="connsiteY18" fmla="*/ 72689 h 142639"/>
                  <a:gd name="connsiteX19" fmla="*/ 196728 w 564851"/>
                  <a:gd name="connsiteY19" fmla="*/ 94427 h 142639"/>
                  <a:gd name="connsiteX20" fmla="*/ 174990 w 564851"/>
                  <a:gd name="connsiteY20" fmla="*/ 116165 h 142639"/>
                  <a:gd name="connsiteX21" fmla="*/ 153252 w 564851"/>
                  <a:gd name="connsiteY21" fmla="*/ 94427 h 142639"/>
                  <a:gd name="connsiteX22" fmla="*/ 174990 w 564851"/>
                  <a:gd name="connsiteY22" fmla="*/ 72689 h 142639"/>
                  <a:gd name="connsiteX23" fmla="*/ 174990 w 564851"/>
                  <a:gd name="connsiteY23" fmla="*/ 72689 h 142639"/>
                  <a:gd name="connsiteX24" fmla="*/ 352775 w 564851"/>
                  <a:gd name="connsiteY24" fmla="*/ 62077 h 142639"/>
                  <a:gd name="connsiteX25" fmla="*/ 341364 w 564851"/>
                  <a:gd name="connsiteY25" fmla="*/ 94427 h 142639"/>
                  <a:gd name="connsiteX26" fmla="*/ 393285 w 564851"/>
                  <a:gd name="connsiteY26" fmla="*/ 146348 h 142639"/>
                  <a:gd name="connsiteX27" fmla="*/ 443266 w 564851"/>
                  <a:gd name="connsiteY27" fmla="*/ 108406 h 142639"/>
                  <a:gd name="connsiteX28" fmla="*/ 493246 w 564851"/>
                  <a:gd name="connsiteY28" fmla="*/ 146348 h 142639"/>
                  <a:gd name="connsiteX29" fmla="*/ 545167 w 564851"/>
                  <a:gd name="connsiteY29" fmla="*/ 94427 h 142639"/>
                  <a:gd name="connsiteX30" fmla="*/ 544483 w 564851"/>
                  <a:gd name="connsiteY30" fmla="*/ 85983 h 142639"/>
                  <a:gd name="connsiteX31" fmla="*/ 568332 w 564851"/>
                  <a:gd name="connsiteY31" fmla="*/ 85983 h 142639"/>
                  <a:gd name="connsiteX32" fmla="*/ 568332 w 564851"/>
                  <a:gd name="connsiteY32" fmla="*/ 0 h 142639"/>
                  <a:gd name="connsiteX33" fmla="*/ 524912 w 564851"/>
                  <a:gd name="connsiteY33" fmla="*/ 0 h 142639"/>
                  <a:gd name="connsiteX34" fmla="*/ 524912 w 564851"/>
                  <a:gd name="connsiteY34" fmla="*/ 23906 h 142639"/>
                  <a:gd name="connsiteX35" fmla="*/ 43419 w 564851"/>
                  <a:gd name="connsiteY35" fmla="*/ 23906 h 142639"/>
                  <a:gd name="connsiteX36" fmla="*/ 43419 w 564851"/>
                  <a:gd name="connsiteY36" fmla="*/ 0 h 142639"/>
                  <a:gd name="connsiteX37" fmla="*/ 0 w 564851"/>
                  <a:gd name="connsiteY37" fmla="*/ 0 h 142639"/>
                  <a:gd name="connsiteX38" fmla="*/ 0 w 564851"/>
                  <a:gd name="connsiteY38" fmla="*/ 85983 h 142639"/>
                  <a:gd name="connsiteX39" fmla="*/ 23849 w 564851"/>
                  <a:gd name="connsiteY39" fmla="*/ 85983 h 142639"/>
                  <a:gd name="connsiteX40" fmla="*/ 23165 w 564851"/>
                  <a:gd name="connsiteY40" fmla="*/ 94427 h 142639"/>
                  <a:gd name="connsiteX41" fmla="*/ 75085 w 564851"/>
                  <a:gd name="connsiteY41" fmla="*/ 146348 h 142639"/>
                  <a:gd name="connsiteX42" fmla="*/ 125066 w 564851"/>
                  <a:gd name="connsiteY42" fmla="*/ 108406 h 142639"/>
                  <a:gd name="connsiteX43" fmla="*/ 175047 w 564851"/>
                  <a:gd name="connsiteY43" fmla="*/ 146348 h 142639"/>
                  <a:gd name="connsiteX44" fmla="*/ 226968 w 564851"/>
                  <a:gd name="connsiteY44" fmla="*/ 94427 h 142639"/>
                  <a:gd name="connsiteX45" fmla="*/ 215556 w 564851"/>
                  <a:gd name="connsiteY45" fmla="*/ 62077 h 142639"/>
                  <a:gd name="connsiteX46" fmla="*/ 352775 w 564851"/>
                  <a:gd name="connsiteY46" fmla="*/ 62077 h 142639"/>
                  <a:gd name="connsiteX47" fmla="*/ 352775 w 564851"/>
                  <a:gd name="connsiteY47" fmla="*/ 62077 h 14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64851" h="142639">
                    <a:moveTo>
                      <a:pt x="393285" y="72689"/>
                    </a:moveTo>
                    <a:cubicBezTo>
                      <a:pt x="405153" y="72689"/>
                      <a:pt x="415023" y="82446"/>
                      <a:pt x="415023" y="94427"/>
                    </a:cubicBezTo>
                    <a:cubicBezTo>
                      <a:pt x="415023" y="106295"/>
                      <a:pt x="405210" y="116165"/>
                      <a:pt x="393285" y="116165"/>
                    </a:cubicBezTo>
                    <a:cubicBezTo>
                      <a:pt x="381303" y="116165"/>
                      <a:pt x="371547" y="106352"/>
                      <a:pt x="371547" y="94427"/>
                    </a:cubicBezTo>
                    <a:cubicBezTo>
                      <a:pt x="371604" y="82446"/>
                      <a:pt x="381360" y="72689"/>
                      <a:pt x="393285" y="72689"/>
                    </a:cubicBezTo>
                    <a:lnTo>
                      <a:pt x="393285" y="72689"/>
                    </a:lnTo>
                    <a:close/>
                    <a:moveTo>
                      <a:pt x="494844" y="72689"/>
                    </a:moveTo>
                    <a:cubicBezTo>
                      <a:pt x="506712" y="72689"/>
                      <a:pt x="516582" y="82446"/>
                      <a:pt x="516582" y="94427"/>
                    </a:cubicBezTo>
                    <a:cubicBezTo>
                      <a:pt x="516582" y="106295"/>
                      <a:pt x="506769" y="116165"/>
                      <a:pt x="494844" y="116165"/>
                    </a:cubicBezTo>
                    <a:cubicBezTo>
                      <a:pt x="482862" y="116165"/>
                      <a:pt x="473106" y="106352"/>
                      <a:pt x="473106" y="94427"/>
                    </a:cubicBezTo>
                    <a:cubicBezTo>
                      <a:pt x="473163" y="82446"/>
                      <a:pt x="482919" y="72689"/>
                      <a:pt x="494844" y="72689"/>
                    </a:cubicBezTo>
                    <a:lnTo>
                      <a:pt x="494844" y="72689"/>
                    </a:lnTo>
                    <a:close/>
                    <a:moveTo>
                      <a:pt x="75028" y="72689"/>
                    </a:moveTo>
                    <a:cubicBezTo>
                      <a:pt x="86896" y="72689"/>
                      <a:pt x="96766" y="82446"/>
                      <a:pt x="96766" y="94427"/>
                    </a:cubicBezTo>
                    <a:cubicBezTo>
                      <a:pt x="96766" y="106295"/>
                      <a:pt x="86953" y="116165"/>
                      <a:pt x="75028" y="116165"/>
                    </a:cubicBezTo>
                    <a:cubicBezTo>
                      <a:pt x="63104" y="116165"/>
                      <a:pt x="53290" y="106352"/>
                      <a:pt x="53290" y="94427"/>
                    </a:cubicBezTo>
                    <a:cubicBezTo>
                      <a:pt x="53347" y="82446"/>
                      <a:pt x="63104" y="72689"/>
                      <a:pt x="75028" y="72689"/>
                    </a:cubicBezTo>
                    <a:lnTo>
                      <a:pt x="75028" y="72689"/>
                    </a:lnTo>
                    <a:close/>
                    <a:moveTo>
                      <a:pt x="174990" y="72689"/>
                    </a:moveTo>
                    <a:cubicBezTo>
                      <a:pt x="186857" y="72689"/>
                      <a:pt x="196728" y="82446"/>
                      <a:pt x="196728" y="94427"/>
                    </a:cubicBezTo>
                    <a:cubicBezTo>
                      <a:pt x="196728" y="106295"/>
                      <a:pt x="186914" y="116165"/>
                      <a:pt x="174990" y="116165"/>
                    </a:cubicBezTo>
                    <a:cubicBezTo>
                      <a:pt x="163065" y="116165"/>
                      <a:pt x="153252" y="106352"/>
                      <a:pt x="153252" y="94427"/>
                    </a:cubicBezTo>
                    <a:cubicBezTo>
                      <a:pt x="153252" y="82446"/>
                      <a:pt x="163065" y="72689"/>
                      <a:pt x="174990" y="72689"/>
                    </a:cubicBezTo>
                    <a:lnTo>
                      <a:pt x="174990" y="72689"/>
                    </a:lnTo>
                    <a:close/>
                    <a:moveTo>
                      <a:pt x="352775" y="62077"/>
                    </a:moveTo>
                    <a:cubicBezTo>
                      <a:pt x="345643" y="70977"/>
                      <a:pt x="341364" y="82217"/>
                      <a:pt x="341364" y="94427"/>
                    </a:cubicBezTo>
                    <a:cubicBezTo>
                      <a:pt x="341364" y="122955"/>
                      <a:pt x="364814" y="146348"/>
                      <a:pt x="393285" y="146348"/>
                    </a:cubicBezTo>
                    <a:cubicBezTo>
                      <a:pt x="416963" y="146348"/>
                      <a:pt x="437104" y="130258"/>
                      <a:pt x="443266" y="108406"/>
                    </a:cubicBezTo>
                    <a:cubicBezTo>
                      <a:pt x="449428" y="130201"/>
                      <a:pt x="469625" y="146348"/>
                      <a:pt x="493246" y="146348"/>
                    </a:cubicBezTo>
                    <a:cubicBezTo>
                      <a:pt x="521774" y="146348"/>
                      <a:pt x="545167" y="122955"/>
                      <a:pt x="545167" y="94427"/>
                    </a:cubicBezTo>
                    <a:cubicBezTo>
                      <a:pt x="545167" y="91574"/>
                      <a:pt x="544939" y="88722"/>
                      <a:pt x="544483" y="85983"/>
                    </a:cubicBezTo>
                    <a:lnTo>
                      <a:pt x="568332" y="85983"/>
                    </a:lnTo>
                    <a:lnTo>
                      <a:pt x="568332" y="0"/>
                    </a:lnTo>
                    <a:lnTo>
                      <a:pt x="524912" y="0"/>
                    </a:lnTo>
                    <a:lnTo>
                      <a:pt x="524912" y="23906"/>
                    </a:lnTo>
                    <a:lnTo>
                      <a:pt x="43419" y="23906"/>
                    </a:lnTo>
                    <a:lnTo>
                      <a:pt x="43419" y="0"/>
                    </a:lnTo>
                    <a:lnTo>
                      <a:pt x="0" y="0"/>
                    </a:lnTo>
                    <a:lnTo>
                      <a:pt x="0" y="85983"/>
                    </a:lnTo>
                    <a:lnTo>
                      <a:pt x="23849" y="85983"/>
                    </a:lnTo>
                    <a:cubicBezTo>
                      <a:pt x="23393" y="88722"/>
                      <a:pt x="23165" y="91517"/>
                      <a:pt x="23165" y="94427"/>
                    </a:cubicBezTo>
                    <a:cubicBezTo>
                      <a:pt x="23165" y="122955"/>
                      <a:pt x="46615" y="146348"/>
                      <a:pt x="75085" y="146348"/>
                    </a:cubicBezTo>
                    <a:cubicBezTo>
                      <a:pt x="98763" y="146348"/>
                      <a:pt x="118904" y="130258"/>
                      <a:pt x="125066" y="108406"/>
                    </a:cubicBezTo>
                    <a:cubicBezTo>
                      <a:pt x="131228" y="130201"/>
                      <a:pt x="151426" y="146348"/>
                      <a:pt x="175047" y="146348"/>
                    </a:cubicBezTo>
                    <a:cubicBezTo>
                      <a:pt x="203575" y="146348"/>
                      <a:pt x="226968" y="122955"/>
                      <a:pt x="226968" y="94427"/>
                    </a:cubicBezTo>
                    <a:cubicBezTo>
                      <a:pt x="226968" y="82217"/>
                      <a:pt x="222688" y="70977"/>
                      <a:pt x="215556" y="62077"/>
                    </a:cubicBezTo>
                    <a:lnTo>
                      <a:pt x="352775" y="62077"/>
                    </a:lnTo>
                    <a:lnTo>
                      <a:pt x="352775" y="62077"/>
                    </a:lnTo>
                    <a:close/>
                  </a:path>
                </a:pathLst>
              </a:custGeom>
              <a:grpFill/>
              <a:ln w="57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xmlns="" id="{77A56059-73A5-4761-93A6-253C39BD7FE8}"/>
                </a:ext>
              </a:extLst>
            </p:cNvPr>
            <p:cNvGrpSpPr/>
            <p:nvPr/>
          </p:nvGrpSpPr>
          <p:grpSpPr>
            <a:xfrm>
              <a:off x="4059334" y="4862446"/>
              <a:ext cx="564851" cy="266972"/>
              <a:chOff x="4639639" y="4862446"/>
              <a:chExt cx="564851" cy="266972"/>
            </a:xfrm>
            <a:grpFill/>
          </p:grpSpPr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xmlns="" id="{D8197C60-6C67-480E-9776-FD89AAB0F968}"/>
                  </a:ext>
                </a:extLst>
              </p:cNvPr>
              <p:cNvSpPr/>
              <p:nvPr/>
            </p:nvSpPr>
            <p:spPr>
              <a:xfrm>
                <a:off x="4727146" y="4862446"/>
                <a:ext cx="387979" cy="148345"/>
              </a:xfrm>
              <a:custGeom>
                <a:avLst/>
                <a:gdLst>
                  <a:gd name="connsiteX0" fmla="*/ 272344 w 387978"/>
                  <a:gd name="connsiteY0" fmla="*/ 126558 h 148344"/>
                  <a:gd name="connsiteX1" fmla="*/ 94444 w 387978"/>
                  <a:gd name="connsiteY1" fmla="*/ 126558 h 148344"/>
                  <a:gd name="connsiteX2" fmla="*/ 21356 w 387978"/>
                  <a:gd name="connsiteY2" fmla="*/ 120796 h 148344"/>
                  <a:gd name="connsiteX3" fmla="*/ 644 w 387978"/>
                  <a:gd name="connsiteY3" fmla="*/ 77605 h 148344"/>
                  <a:gd name="connsiteX4" fmla="*/ 32881 w 387978"/>
                  <a:gd name="connsiteY4" fmla="*/ 22888 h 148344"/>
                  <a:gd name="connsiteX5" fmla="*/ 22497 w 387978"/>
                  <a:gd name="connsiteY5" fmla="*/ 13075 h 148344"/>
                  <a:gd name="connsiteX6" fmla="*/ 144539 w 387978"/>
                  <a:gd name="connsiteY6" fmla="*/ 408 h 148344"/>
                  <a:gd name="connsiteX7" fmla="*/ 280388 w 387978"/>
                  <a:gd name="connsiteY7" fmla="*/ 38407 h 148344"/>
                  <a:gd name="connsiteX8" fmla="*/ 391476 w 387978"/>
                  <a:gd name="connsiteY8" fmla="*/ 76977 h 148344"/>
                  <a:gd name="connsiteX9" fmla="*/ 390335 w 387978"/>
                  <a:gd name="connsiteY9" fmla="*/ 114406 h 148344"/>
                  <a:gd name="connsiteX10" fmla="*/ 346002 w 387978"/>
                  <a:gd name="connsiteY10" fmla="*/ 126501 h 148344"/>
                  <a:gd name="connsiteX11" fmla="*/ 272344 w 387978"/>
                  <a:gd name="connsiteY11" fmla="*/ 126558 h 148344"/>
                  <a:gd name="connsiteX12" fmla="*/ 90393 w 387978"/>
                  <a:gd name="connsiteY12" fmla="*/ 115033 h 148344"/>
                  <a:gd name="connsiteX13" fmla="*/ 58156 w 387978"/>
                  <a:gd name="connsiteY13" fmla="*/ 147840 h 148344"/>
                  <a:gd name="connsiteX14" fmla="*/ 25349 w 387978"/>
                  <a:gd name="connsiteY14" fmla="*/ 115033 h 148344"/>
                  <a:gd name="connsiteX15" fmla="*/ 58156 w 387978"/>
                  <a:gd name="connsiteY15" fmla="*/ 82226 h 148344"/>
                  <a:gd name="connsiteX16" fmla="*/ 90393 w 387978"/>
                  <a:gd name="connsiteY16" fmla="*/ 115033 h 148344"/>
                  <a:gd name="connsiteX17" fmla="*/ 82919 w 387978"/>
                  <a:gd name="connsiteY17" fmla="*/ 115033 h 148344"/>
                  <a:gd name="connsiteX18" fmla="*/ 58156 w 387978"/>
                  <a:gd name="connsiteY18" fmla="*/ 139795 h 148344"/>
                  <a:gd name="connsiteX19" fmla="*/ 32824 w 387978"/>
                  <a:gd name="connsiteY19" fmla="*/ 115033 h 148344"/>
                  <a:gd name="connsiteX20" fmla="*/ 58156 w 387978"/>
                  <a:gd name="connsiteY20" fmla="*/ 90271 h 148344"/>
                  <a:gd name="connsiteX21" fmla="*/ 82919 w 387978"/>
                  <a:gd name="connsiteY21" fmla="*/ 115033 h 148344"/>
                  <a:gd name="connsiteX22" fmla="*/ 342009 w 387978"/>
                  <a:gd name="connsiteY22" fmla="*/ 118457 h 148344"/>
                  <a:gd name="connsiteX23" fmla="*/ 309202 w 387978"/>
                  <a:gd name="connsiteY23" fmla="*/ 151264 h 148344"/>
                  <a:gd name="connsiteX24" fmla="*/ 276395 w 387978"/>
                  <a:gd name="connsiteY24" fmla="*/ 118457 h 148344"/>
                  <a:gd name="connsiteX25" fmla="*/ 309202 w 387978"/>
                  <a:gd name="connsiteY25" fmla="*/ 85650 h 148344"/>
                  <a:gd name="connsiteX26" fmla="*/ 342009 w 387978"/>
                  <a:gd name="connsiteY26" fmla="*/ 118457 h 148344"/>
                  <a:gd name="connsiteX27" fmla="*/ 333907 w 387978"/>
                  <a:gd name="connsiteY27" fmla="*/ 118457 h 148344"/>
                  <a:gd name="connsiteX28" fmla="*/ 309144 w 387978"/>
                  <a:gd name="connsiteY28" fmla="*/ 143219 h 148344"/>
                  <a:gd name="connsiteX29" fmla="*/ 283812 w 387978"/>
                  <a:gd name="connsiteY29" fmla="*/ 118457 h 148344"/>
                  <a:gd name="connsiteX30" fmla="*/ 309144 w 387978"/>
                  <a:gd name="connsiteY30" fmla="*/ 93694 h 148344"/>
                  <a:gd name="connsiteX31" fmla="*/ 333907 w 387978"/>
                  <a:gd name="connsiteY31" fmla="*/ 118457 h 148344"/>
                  <a:gd name="connsiteX32" fmla="*/ 263101 w 387978"/>
                  <a:gd name="connsiteY32" fmla="*/ 40176 h 148344"/>
                  <a:gd name="connsiteX33" fmla="*/ 255626 w 387978"/>
                  <a:gd name="connsiteY33" fmla="*/ 51701 h 148344"/>
                  <a:gd name="connsiteX34" fmla="*/ 160629 w 387978"/>
                  <a:gd name="connsiteY34" fmla="*/ 44798 h 148344"/>
                  <a:gd name="connsiteX35" fmla="*/ 154866 w 387978"/>
                  <a:gd name="connsiteY35" fmla="*/ 6798 h 148344"/>
                  <a:gd name="connsiteX36" fmla="*/ 263101 w 387978"/>
                  <a:gd name="connsiteY36" fmla="*/ 40176 h 148344"/>
                  <a:gd name="connsiteX37" fmla="*/ 69682 w 387978"/>
                  <a:gd name="connsiteY37" fmla="*/ 37894 h 148344"/>
                  <a:gd name="connsiteX38" fmla="*/ 92162 w 387978"/>
                  <a:gd name="connsiteY38" fmla="*/ 9708 h 148344"/>
                  <a:gd name="connsiteX39" fmla="*/ 143968 w 387978"/>
                  <a:gd name="connsiteY39" fmla="*/ 6228 h 148344"/>
                  <a:gd name="connsiteX40" fmla="*/ 143968 w 387978"/>
                  <a:gd name="connsiteY40" fmla="*/ 23516 h 148344"/>
                  <a:gd name="connsiteX41" fmla="*/ 143398 w 387978"/>
                  <a:gd name="connsiteY41" fmla="*/ 43086 h 148344"/>
                  <a:gd name="connsiteX42" fmla="*/ 69682 w 387978"/>
                  <a:gd name="connsiteY42" fmla="*/ 37894 h 148344"/>
                  <a:gd name="connsiteX43" fmla="*/ 51253 w 387978"/>
                  <a:gd name="connsiteY43" fmla="*/ 22318 h 148344"/>
                  <a:gd name="connsiteX44" fmla="*/ 84060 w 387978"/>
                  <a:gd name="connsiteY44" fmla="*/ 11363 h 148344"/>
                  <a:gd name="connsiteX45" fmla="*/ 63349 w 387978"/>
                  <a:gd name="connsiteY45" fmla="*/ 37266 h 148344"/>
                  <a:gd name="connsiteX46" fmla="*/ 51253 w 387978"/>
                  <a:gd name="connsiteY46" fmla="*/ 22318 h 148344"/>
                  <a:gd name="connsiteX47" fmla="*/ 11542 w 387978"/>
                  <a:gd name="connsiteY47" fmla="*/ 59176 h 148344"/>
                  <a:gd name="connsiteX48" fmla="*/ 36304 w 387978"/>
                  <a:gd name="connsiteY48" fmla="*/ 30363 h 148344"/>
                  <a:gd name="connsiteX49" fmla="*/ 11542 w 387978"/>
                  <a:gd name="connsiteY49" fmla="*/ 59176 h 148344"/>
                  <a:gd name="connsiteX50" fmla="*/ 380578 w 387978"/>
                  <a:gd name="connsiteY50" fmla="*/ 76464 h 148344"/>
                  <a:gd name="connsiteX51" fmla="*/ 358726 w 387978"/>
                  <a:gd name="connsiteY51" fmla="*/ 62085 h 148344"/>
                  <a:gd name="connsiteX52" fmla="*/ 380578 w 387978"/>
                  <a:gd name="connsiteY52" fmla="*/ 76464 h 148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387978" h="148344">
                    <a:moveTo>
                      <a:pt x="272344" y="126558"/>
                    </a:moveTo>
                    <a:lnTo>
                      <a:pt x="94444" y="126558"/>
                    </a:lnTo>
                    <a:cubicBezTo>
                      <a:pt x="102489" y="58605"/>
                      <a:pt x="14395" y="68419"/>
                      <a:pt x="21356" y="120796"/>
                    </a:cubicBezTo>
                    <a:cubicBezTo>
                      <a:pt x="-5689" y="123078"/>
                      <a:pt x="644" y="95463"/>
                      <a:pt x="644" y="77605"/>
                    </a:cubicBezTo>
                    <a:cubicBezTo>
                      <a:pt x="19073" y="62085"/>
                      <a:pt x="-5689" y="48792"/>
                      <a:pt x="32881" y="22888"/>
                    </a:cubicBezTo>
                    <a:lnTo>
                      <a:pt x="22497" y="13075"/>
                    </a:lnTo>
                    <a:cubicBezTo>
                      <a:pt x="65117" y="4459"/>
                      <a:pt x="105969" y="408"/>
                      <a:pt x="144539" y="408"/>
                    </a:cubicBezTo>
                    <a:cubicBezTo>
                      <a:pt x="184820" y="-2445"/>
                      <a:pt x="230294" y="9594"/>
                      <a:pt x="280388" y="38407"/>
                    </a:cubicBezTo>
                    <a:cubicBezTo>
                      <a:pt x="351765" y="50503"/>
                      <a:pt x="375957" y="63170"/>
                      <a:pt x="391476" y="76977"/>
                    </a:cubicBezTo>
                    <a:cubicBezTo>
                      <a:pt x="397238" y="86791"/>
                      <a:pt x="387425" y="111496"/>
                      <a:pt x="390335" y="114406"/>
                    </a:cubicBezTo>
                    <a:cubicBezTo>
                      <a:pt x="393188" y="127072"/>
                      <a:pt x="371906" y="128213"/>
                      <a:pt x="346002" y="126501"/>
                    </a:cubicBezTo>
                    <a:cubicBezTo>
                      <a:pt x="352336" y="66650"/>
                      <a:pt x="266010" y="67221"/>
                      <a:pt x="272344" y="126558"/>
                    </a:cubicBezTo>
                    <a:close/>
                    <a:moveTo>
                      <a:pt x="90393" y="115033"/>
                    </a:moveTo>
                    <a:cubicBezTo>
                      <a:pt x="90393" y="132892"/>
                      <a:pt x="76015" y="147840"/>
                      <a:pt x="58156" y="147840"/>
                    </a:cubicBezTo>
                    <a:cubicBezTo>
                      <a:pt x="39727" y="147840"/>
                      <a:pt x="25349" y="132892"/>
                      <a:pt x="25349" y="115033"/>
                    </a:cubicBezTo>
                    <a:cubicBezTo>
                      <a:pt x="25349" y="96604"/>
                      <a:pt x="39727" y="82226"/>
                      <a:pt x="58156" y="82226"/>
                    </a:cubicBezTo>
                    <a:cubicBezTo>
                      <a:pt x="76015" y="82226"/>
                      <a:pt x="90393" y="96604"/>
                      <a:pt x="90393" y="115033"/>
                    </a:cubicBezTo>
                    <a:close/>
                    <a:moveTo>
                      <a:pt x="82919" y="115033"/>
                    </a:moveTo>
                    <a:cubicBezTo>
                      <a:pt x="82919" y="128841"/>
                      <a:pt x="71393" y="139795"/>
                      <a:pt x="58156" y="139795"/>
                    </a:cubicBezTo>
                    <a:cubicBezTo>
                      <a:pt x="44349" y="139795"/>
                      <a:pt x="32824" y="128841"/>
                      <a:pt x="32824" y="115033"/>
                    </a:cubicBezTo>
                    <a:cubicBezTo>
                      <a:pt x="32824" y="101226"/>
                      <a:pt x="44349" y="90271"/>
                      <a:pt x="58156" y="90271"/>
                    </a:cubicBezTo>
                    <a:cubicBezTo>
                      <a:pt x="71393" y="90271"/>
                      <a:pt x="82919" y="101226"/>
                      <a:pt x="82919" y="115033"/>
                    </a:cubicBezTo>
                    <a:close/>
                    <a:moveTo>
                      <a:pt x="342009" y="118457"/>
                    </a:moveTo>
                    <a:cubicBezTo>
                      <a:pt x="342009" y="136315"/>
                      <a:pt x="327060" y="151264"/>
                      <a:pt x="309202" y="151264"/>
                    </a:cubicBezTo>
                    <a:cubicBezTo>
                      <a:pt x="290773" y="151264"/>
                      <a:pt x="276395" y="136315"/>
                      <a:pt x="276395" y="118457"/>
                    </a:cubicBezTo>
                    <a:cubicBezTo>
                      <a:pt x="276395" y="100028"/>
                      <a:pt x="290773" y="85650"/>
                      <a:pt x="309202" y="85650"/>
                    </a:cubicBezTo>
                    <a:cubicBezTo>
                      <a:pt x="327003" y="85650"/>
                      <a:pt x="342009" y="100028"/>
                      <a:pt x="342009" y="118457"/>
                    </a:cubicBezTo>
                    <a:close/>
                    <a:moveTo>
                      <a:pt x="333907" y="118457"/>
                    </a:moveTo>
                    <a:cubicBezTo>
                      <a:pt x="333907" y="132264"/>
                      <a:pt x="322381" y="143219"/>
                      <a:pt x="309144" y="143219"/>
                    </a:cubicBezTo>
                    <a:cubicBezTo>
                      <a:pt x="295337" y="143219"/>
                      <a:pt x="283812" y="132264"/>
                      <a:pt x="283812" y="118457"/>
                    </a:cubicBezTo>
                    <a:cubicBezTo>
                      <a:pt x="283812" y="104649"/>
                      <a:pt x="295337" y="93694"/>
                      <a:pt x="309144" y="93694"/>
                    </a:cubicBezTo>
                    <a:cubicBezTo>
                      <a:pt x="322381" y="93694"/>
                      <a:pt x="333907" y="104649"/>
                      <a:pt x="333907" y="118457"/>
                    </a:cubicBezTo>
                    <a:close/>
                    <a:moveTo>
                      <a:pt x="263101" y="40176"/>
                    </a:moveTo>
                    <a:cubicBezTo>
                      <a:pt x="246954" y="37323"/>
                      <a:pt x="246383" y="41888"/>
                      <a:pt x="255626" y="51701"/>
                    </a:cubicBezTo>
                    <a:lnTo>
                      <a:pt x="160629" y="44798"/>
                    </a:lnTo>
                    <a:lnTo>
                      <a:pt x="154866" y="6798"/>
                    </a:lnTo>
                    <a:cubicBezTo>
                      <a:pt x="193436" y="8510"/>
                      <a:pt x="233774" y="18894"/>
                      <a:pt x="263101" y="40176"/>
                    </a:cubicBezTo>
                    <a:close/>
                    <a:moveTo>
                      <a:pt x="69682" y="37894"/>
                    </a:moveTo>
                    <a:cubicBezTo>
                      <a:pt x="75444" y="30420"/>
                      <a:pt x="88111" y="15414"/>
                      <a:pt x="92162" y="9708"/>
                    </a:cubicBezTo>
                    <a:cubicBezTo>
                      <a:pt x="108308" y="6856"/>
                      <a:pt x="125539" y="5657"/>
                      <a:pt x="143968" y="6228"/>
                    </a:cubicBezTo>
                    <a:lnTo>
                      <a:pt x="143968" y="23516"/>
                    </a:lnTo>
                    <a:lnTo>
                      <a:pt x="143398" y="43086"/>
                    </a:lnTo>
                    <a:lnTo>
                      <a:pt x="69682" y="37894"/>
                    </a:lnTo>
                    <a:close/>
                    <a:moveTo>
                      <a:pt x="51253" y="22318"/>
                    </a:moveTo>
                    <a:cubicBezTo>
                      <a:pt x="60439" y="17696"/>
                      <a:pt x="71393" y="14273"/>
                      <a:pt x="84060" y="11363"/>
                    </a:cubicBezTo>
                    <a:lnTo>
                      <a:pt x="63349" y="37266"/>
                    </a:lnTo>
                    <a:lnTo>
                      <a:pt x="51253" y="22318"/>
                    </a:lnTo>
                    <a:close/>
                    <a:moveTo>
                      <a:pt x="11542" y="59176"/>
                    </a:moveTo>
                    <a:cubicBezTo>
                      <a:pt x="11542" y="41317"/>
                      <a:pt x="19587" y="33843"/>
                      <a:pt x="36304" y="30363"/>
                    </a:cubicBezTo>
                    <a:cubicBezTo>
                      <a:pt x="45490" y="47080"/>
                      <a:pt x="19587" y="49362"/>
                      <a:pt x="11542" y="59176"/>
                    </a:cubicBezTo>
                    <a:close/>
                    <a:moveTo>
                      <a:pt x="380578" y="76464"/>
                    </a:moveTo>
                    <a:cubicBezTo>
                      <a:pt x="367912" y="78746"/>
                      <a:pt x="337958" y="58605"/>
                      <a:pt x="358726" y="62085"/>
                    </a:cubicBezTo>
                    <a:cubicBezTo>
                      <a:pt x="382290" y="71271"/>
                      <a:pt x="379380" y="71842"/>
                      <a:pt x="380578" y="76464"/>
                    </a:cubicBezTo>
                    <a:close/>
                  </a:path>
                </a:pathLst>
              </a:custGeom>
              <a:grpFill/>
              <a:ln w="57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xmlns="" id="{5E2D0437-DBBE-4B64-973B-2AD1982B20EA}"/>
                  </a:ext>
                </a:extLst>
              </p:cNvPr>
              <p:cNvSpPr/>
              <p:nvPr/>
            </p:nvSpPr>
            <p:spPr>
              <a:xfrm>
                <a:off x="4639639" y="4986779"/>
                <a:ext cx="564851" cy="142639"/>
              </a:xfrm>
              <a:custGeom>
                <a:avLst/>
                <a:gdLst>
                  <a:gd name="connsiteX0" fmla="*/ 393285 w 564851"/>
                  <a:gd name="connsiteY0" fmla="*/ 72689 h 142639"/>
                  <a:gd name="connsiteX1" fmla="*/ 415023 w 564851"/>
                  <a:gd name="connsiteY1" fmla="*/ 94427 h 142639"/>
                  <a:gd name="connsiteX2" fmla="*/ 393285 w 564851"/>
                  <a:gd name="connsiteY2" fmla="*/ 116165 h 142639"/>
                  <a:gd name="connsiteX3" fmla="*/ 371547 w 564851"/>
                  <a:gd name="connsiteY3" fmla="*/ 94427 h 142639"/>
                  <a:gd name="connsiteX4" fmla="*/ 393285 w 564851"/>
                  <a:gd name="connsiteY4" fmla="*/ 72689 h 142639"/>
                  <a:gd name="connsiteX5" fmla="*/ 393285 w 564851"/>
                  <a:gd name="connsiteY5" fmla="*/ 72689 h 142639"/>
                  <a:gd name="connsiteX6" fmla="*/ 494844 w 564851"/>
                  <a:gd name="connsiteY6" fmla="*/ 72689 h 142639"/>
                  <a:gd name="connsiteX7" fmla="*/ 516582 w 564851"/>
                  <a:gd name="connsiteY7" fmla="*/ 94427 h 142639"/>
                  <a:gd name="connsiteX8" fmla="*/ 494844 w 564851"/>
                  <a:gd name="connsiteY8" fmla="*/ 116165 h 142639"/>
                  <a:gd name="connsiteX9" fmla="*/ 473106 w 564851"/>
                  <a:gd name="connsiteY9" fmla="*/ 94427 h 142639"/>
                  <a:gd name="connsiteX10" fmla="*/ 494844 w 564851"/>
                  <a:gd name="connsiteY10" fmla="*/ 72689 h 142639"/>
                  <a:gd name="connsiteX11" fmla="*/ 494844 w 564851"/>
                  <a:gd name="connsiteY11" fmla="*/ 72689 h 142639"/>
                  <a:gd name="connsiteX12" fmla="*/ 75028 w 564851"/>
                  <a:gd name="connsiteY12" fmla="*/ 72689 h 142639"/>
                  <a:gd name="connsiteX13" fmla="*/ 96766 w 564851"/>
                  <a:gd name="connsiteY13" fmla="*/ 94427 h 142639"/>
                  <a:gd name="connsiteX14" fmla="*/ 75028 w 564851"/>
                  <a:gd name="connsiteY14" fmla="*/ 116165 h 142639"/>
                  <a:gd name="connsiteX15" fmla="*/ 53290 w 564851"/>
                  <a:gd name="connsiteY15" fmla="*/ 94427 h 142639"/>
                  <a:gd name="connsiteX16" fmla="*/ 75028 w 564851"/>
                  <a:gd name="connsiteY16" fmla="*/ 72689 h 142639"/>
                  <a:gd name="connsiteX17" fmla="*/ 75028 w 564851"/>
                  <a:gd name="connsiteY17" fmla="*/ 72689 h 142639"/>
                  <a:gd name="connsiteX18" fmla="*/ 174990 w 564851"/>
                  <a:gd name="connsiteY18" fmla="*/ 72689 h 142639"/>
                  <a:gd name="connsiteX19" fmla="*/ 196728 w 564851"/>
                  <a:gd name="connsiteY19" fmla="*/ 94427 h 142639"/>
                  <a:gd name="connsiteX20" fmla="*/ 174990 w 564851"/>
                  <a:gd name="connsiteY20" fmla="*/ 116165 h 142639"/>
                  <a:gd name="connsiteX21" fmla="*/ 153252 w 564851"/>
                  <a:gd name="connsiteY21" fmla="*/ 94427 h 142639"/>
                  <a:gd name="connsiteX22" fmla="*/ 174990 w 564851"/>
                  <a:gd name="connsiteY22" fmla="*/ 72689 h 142639"/>
                  <a:gd name="connsiteX23" fmla="*/ 174990 w 564851"/>
                  <a:gd name="connsiteY23" fmla="*/ 72689 h 142639"/>
                  <a:gd name="connsiteX24" fmla="*/ 352775 w 564851"/>
                  <a:gd name="connsiteY24" fmla="*/ 62077 h 142639"/>
                  <a:gd name="connsiteX25" fmla="*/ 341364 w 564851"/>
                  <a:gd name="connsiteY25" fmla="*/ 94427 h 142639"/>
                  <a:gd name="connsiteX26" fmla="*/ 393285 w 564851"/>
                  <a:gd name="connsiteY26" fmla="*/ 146348 h 142639"/>
                  <a:gd name="connsiteX27" fmla="*/ 443266 w 564851"/>
                  <a:gd name="connsiteY27" fmla="*/ 108406 h 142639"/>
                  <a:gd name="connsiteX28" fmla="*/ 493246 w 564851"/>
                  <a:gd name="connsiteY28" fmla="*/ 146348 h 142639"/>
                  <a:gd name="connsiteX29" fmla="*/ 545167 w 564851"/>
                  <a:gd name="connsiteY29" fmla="*/ 94427 h 142639"/>
                  <a:gd name="connsiteX30" fmla="*/ 544483 w 564851"/>
                  <a:gd name="connsiteY30" fmla="*/ 85983 h 142639"/>
                  <a:gd name="connsiteX31" fmla="*/ 568332 w 564851"/>
                  <a:gd name="connsiteY31" fmla="*/ 85983 h 142639"/>
                  <a:gd name="connsiteX32" fmla="*/ 568332 w 564851"/>
                  <a:gd name="connsiteY32" fmla="*/ 0 h 142639"/>
                  <a:gd name="connsiteX33" fmla="*/ 524912 w 564851"/>
                  <a:gd name="connsiteY33" fmla="*/ 0 h 142639"/>
                  <a:gd name="connsiteX34" fmla="*/ 524912 w 564851"/>
                  <a:gd name="connsiteY34" fmla="*/ 23906 h 142639"/>
                  <a:gd name="connsiteX35" fmla="*/ 43419 w 564851"/>
                  <a:gd name="connsiteY35" fmla="*/ 23906 h 142639"/>
                  <a:gd name="connsiteX36" fmla="*/ 43419 w 564851"/>
                  <a:gd name="connsiteY36" fmla="*/ 0 h 142639"/>
                  <a:gd name="connsiteX37" fmla="*/ 0 w 564851"/>
                  <a:gd name="connsiteY37" fmla="*/ 0 h 142639"/>
                  <a:gd name="connsiteX38" fmla="*/ 0 w 564851"/>
                  <a:gd name="connsiteY38" fmla="*/ 85983 h 142639"/>
                  <a:gd name="connsiteX39" fmla="*/ 23849 w 564851"/>
                  <a:gd name="connsiteY39" fmla="*/ 85983 h 142639"/>
                  <a:gd name="connsiteX40" fmla="*/ 23165 w 564851"/>
                  <a:gd name="connsiteY40" fmla="*/ 94427 h 142639"/>
                  <a:gd name="connsiteX41" fmla="*/ 75085 w 564851"/>
                  <a:gd name="connsiteY41" fmla="*/ 146348 h 142639"/>
                  <a:gd name="connsiteX42" fmla="*/ 125066 w 564851"/>
                  <a:gd name="connsiteY42" fmla="*/ 108406 h 142639"/>
                  <a:gd name="connsiteX43" fmla="*/ 175047 w 564851"/>
                  <a:gd name="connsiteY43" fmla="*/ 146348 h 142639"/>
                  <a:gd name="connsiteX44" fmla="*/ 226968 w 564851"/>
                  <a:gd name="connsiteY44" fmla="*/ 94427 h 142639"/>
                  <a:gd name="connsiteX45" fmla="*/ 215556 w 564851"/>
                  <a:gd name="connsiteY45" fmla="*/ 62077 h 142639"/>
                  <a:gd name="connsiteX46" fmla="*/ 352775 w 564851"/>
                  <a:gd name="connsiteY46" fmla="*/ 62077 h 142639"/>
                  <a:gd name="connsiteX47" fmla="*/ 352775 w 564851"/>
                  <a:gd name="connsiteY47" fmla="*/ 62077 h 142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564851" h="142639">
                    <a:moveTo>
                      <a:pt x="393285" y="72689"/>
                    </a:moveTo>
                    <a:cubicBezTo>
                      <a:pt x="405153" y="72689"/>
                      <a:pt x="415023" y="82446"/>
                      <a:pt x="415023" y="94427"/>
                    </a:cubicBezTo>
                    <a:cubicBezTo>
                      <a:pt x="415023" y="106295"/>
                      <a:pt x="405210" y="116165"/>
                      <a:pt x="393285" y="116165"/>
                    </a:cubicBezTo>
                    <a:cubicBezTo>
                      <a:pt x="381303" y="116165"/>
                      <a:pt x="371547" y="106352"/>
                      <a:pt x="371547" y="94427"/>
                    </a:cubicBezTo>
                    <a:cubicBezTo>
                      <a:pt x="371604" y="82446"/>
                      <a:pt x="381360" y="72689"/>
                      <a:pt x="393285" y="72689"/>
                    </a:cubicBezTo>
                    <a:lnTo>
                      <a:pt x="393285" y="72689"/>
                    </a:lnTo>
                    <a:close/>
                    <a:moveTo>
                      <a:pt x="494844" y="72689"/>
                    </a:moveTo>
                    <a:cubicBezTo>
                      <a:pt x="506712" y="72689"/>
                      <a:pt x="516582" y="82446"/>
                      <a:pt x="516582" y="94427"/>
                    </a:cubicBezTo>
                    <a:cubicBezTo>
                      <a:pt x="516582" y="106295"/>
                      <a:pt x="506769" y="116165"/>
                      <a:pt x="494844" y="116165"/>
                    </a:cubicBezTo>
                    <a:cubicBezTo>
                      <a:pt x="482862" y="116165"/>
                      <a:pt x="473106" y="106352"/>
                      <a:pt x="473106" y="94427"/>
                    </a:cubicBezTo>
                    <a:cubicBezTo>
                      <a:pt x="473163" y="82446"/>
                      <a:pt x="482919" y="72689"/>
                      <a:pt x="494844" y="72689"/>
                    </a:cubicBezTo>
                    <a:lnTo>
                      <a:pt x="494844" y="72689"/>
                    </a:lnTo>
                    <a:close/>
                    <a:moveTo>
                      <a:pt x="75028" y="72689"/>
                    </a:moveTo>
                    <a:cubicBezTo>
                      <a:pt x="86896" y="72689"/>
                      <a:pt x="96766" y="82446"/>
                      <a:pt x="96766" y="94427"/>
                    </a:cubicBezTo>
                    <a:cubicBezTo>
                      <a:pt x="96766" y="106295"/>
                      <a:pt x="86953" y="116165"/>
                      <a:pt x="75028" y="116165"/>
                    </a:cubicBezTo>
                    <a:cubicBezTo>
                      <a:pt x="63104" y="116165"/>
                      <a:pt x="53290" y="106352"/>
                      <a:pt x="53290" y="94427"/>
                    </a:cubicBezTo>
                    <a:cubicBezTo>
                      <a:pt x="53347" y="82446"/>
                      <a:pt x="63104" y="72689"/>
                      <a:pt x="75028" y="72689"/>
                    </a:cubicBezTo>
                    <a:lnTo>
                      <a:pt x="75028" y="72689"/>
                    </a:lnTo>
                    <a:close/>
                    <a:moveTo>
                      <a:pt x="174990" y="72689"/>
                    </a:moveTo>
                    <a:cubicBezTo>
                      <a:pt x="186857" y="72689"/>
                      <a:pt x="196728" y="82446"/>
                      <a:pt x="196728" y="94427"/>
                    </a:cubicBezTo>
                    <a:cubicBezTo>
                      <a:pt x="196728" y="106295"/>
                      <a:pt x="186914" y="116165"/>
                      <a:pt x="174990" y="116165"/>
                    </a:cubicBezTo>
                    <a:cubicBezTo>
                      <a:pt x="163065" y="116165"/>
                      <a:pt x="153252" y="106352"/>
                      <a:pt x="153252" y="94427"/>
                    </a:cubicBezTo>
                    <a:cubicBezTo>
                      <a:pt x="153252" y="82446"/>
                      <a:pt x="163065" y="72689"/>
                      <a:pt x="174990" y="72689"/>
                    </a:cubicBezTo>
                    <a:lnTo>
                      <a:pt x="174990" y="72689"/>
                    </a:lnTo>
                    <a:close/>
                    <a:moveTo>
                      <a:pt x="352775" y="62077"/>
                    </a:moveTo>
                    <a:cubicBezTo>
                      <a:pt x="345643" y="70977"/>
                      <a:pt x="341364" y="82217"/>
                      <a:pt x="341364" y="94427"/>
                    </a:cubicBezTo>
                    <a:cubicBezTo>
                      <a:pt x="341364" y="122955"/>
                      <a:pt x="364814" y="146348"/>
                      <a:pt x="393285" y="146348"/>
                    </a:cubicBezTo>
                    <a:cubicBezTo>
                      <a:pt x="416963" y="146348"/>
                      <a:pt x="437104" y="130258"/>
                      <a:pt x="443266" y="108406"/>
                    </a:cubicBezTo>
                    <a:cubicBezTo>
                      <a:pt x="449428" y="130201"/>
                      <a:pt x="469625" y="146348"/>
                      <a:pt x="493246" y="146348"/>
                    </a:cubicBezTo>
                    <a:cubicBezTo>
                      <a:pt x="521774" y="146348"/>
                      <a:pt x="545167" y="122955"/>
                      <a:pt x="545167" y="94427"/>
                    </a:cubicBezTo>
                    <a:cubicBezTo>
                      <a:pt x="545167" y="91574"/>
                      <a:pt x="544939" y="88722"/>
                      <a:pt x="544483" y="85983"/>
                    </a:cubicBezTo>
                    <a:lnTo>
                      <a:pt x="568332" y="85983"/>
                    </a:lnTo>
                    <a:lnTo>
                      <a:pt x="568332" y="0"/>
                    </a:lnTo>
                    <a:lnTo>
                      <a:pt x="524912" y="0"/>
                    </a:lnTo>
                    <a:lnTo>
                      <a:pt x="524912" y="23906"/>
                    </a:lnTo>
                    <a:lnTo>
                      <a:pt x="43419" y="23906"/>
                    </a:lnTo>
                    <a:lnTo>
                      <a:pt x="43419" y="0"/>
                    </a:lnTo>
                    <a:lnTo>
                      <a:pt x="0" y="0"/>
                    </a:lnTo>
                    <a:lnTo>
                      <a:pt x="0" y="85983"/>
                    </a:lnTo>
                    <a:lnTo>
                      <a:pt x="23849" y="85983"/>
                    </a:lnTo>
                    <a:cubicBezTo>
                      <a:pt x="23393" y="88722"/>
                      <a:pt x="23165" y="91517"/>
                      <a:pt x="23165" y="94427"/>
                    </a:cubicBezTo>
                    <a:cubicBezTo>
                      <a:pt x="23165" y="122955"/>
                      <a:pt x="46615" y="146348"/>
                      <a:pt x="75085" y="146348"/>
                    </a:cubicBezTo>
                    <a:cubicBezTo>
                      <a:pt x="98763" y="146348"/>
                      <a:pt x="118904" y="130258"/>
                      <a:pt x="125066" y="108406"/>
                    </a:cubicBezTo>
                    <a:cubicBezTo>
                      <a:pt x="131228" y="130201"/>
                      <a:pt x="151426" y="146348"/>
                      <a:pt x="175047" y="146348"/>
                    </a:cubicBezTo>
                    <a:cubicBezTo>
                      <a:pt x="203575" y="146348"/>
                      <a:pt x="226968" y="122955"/>
                      <a:pt x="226968" y="94427"/>
                    </a:cubicBezTo>
                    <a:cubicBezTo>
                      <a:pt x="226968" y="82217"/>
                      <a:pt x="222688" y="70977"/>
                      <a:pt x="215556" y="62077"/>
                    </a:cubicBezTo>
                    <a:lnTo>
                      <a:pt x="352775" y="62077"/>
                    </a:lnTo>
                    <a:lnTo>
                      <a:pt x="352775" y="62077"/>
                    </a:lnTo>
                    <a:close/>
                  </a:path>
                </a:pathLst>
              </a:custGeom>
              <a:grpFill/>
              <a:ln w="57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49" name="Rounded Rectangle 10">
            <a:extLst>
              <a:ext uri="{FF2B5EF4-FFF2-40B4-BE49-F238E27FC236}">
                <a16:creationId xmlns:a16="http://schemas.microsoft.com/office/drawing/2014/main" xmlns="" id="{3EF7A17C-384F-4AFC-A0C8-1D2961C72AB6}"/>
              </a:ext>
            </a:extLst>
          </p:cNvPr>
          <p:cNvSpPr/>
          <p:nvPr/>
        </p:nvSpPr>
        <p:spPr>
          <a:xfrm>
            <a:off x="399655" y="6156432"/>
            <a:ext cx="11256409" cy="249140"/>
          </a:xfrm>
          <a:prstGeom prst="roundRect">
            <a:avLst>
              <a:gd name="adj" fmla="val 9976"/>
            </a:avLst>
          </a:prstGeom>
          <a:gradFill>
            <a:gsLst>
              <a:gs pos="0">
                <a:srgbClr val="BD1E6D"/>
              </a:gs>
              <a:gs pos="62000">
                <a:srgbClr val="7030A0"/>
              </a:gs>
              <a:gs pos="43000">
                <a:srgbClr val="7030A0"/>
              </a:gs>
              <a:gs pos="82000">
                <a:srgbClr val="0070C0"/>
              </a:gs>
            </a:gsLst>
            <a:lin ang="10800000" scaled="0"/>
          </a:gradFill>
        </p:spPr>
        <p:txBody>
          <a:bodyPr vert="horz" wrap="square" lIns="0" tIns="19839" rIns="0" bIns="0" rtlCol="0">
            <a:spAutoFit/>
          </a:bodyPr>
          <a:lstStyle/>
          <a:p>
            <a:pPr marL="7661" algn="ctr" defTabSz="905556">
              <a:spcBef>
                <a:spcPts val="2400"/>
              </a:spcBef>
              <a:spcAft>
                <a:spcPts val="2400"/>
              </a:spcAft>
            </a:pPr>
            <a:r>
              <a:rPr lang="en-US" sz="1400" kern="0" spc="-9" dirty="0">
                <a:solidFill>
                  <a:srgbClr val="FFFFFF"/>
                </a:solidFill>
                <a:latin typeface="Adani Regular" panose="02000503000000020004" pitchFamily="2" charset="0"/>
                <a:cs typeface="Arial"/>
              </a:rPr>
              <a:t>Integrated logistics compliments the network of port to serve customers throughout the vast hinterland of India</a:t>
            </a:r>
          </a:p>
        </p:txBody>
      </p:sp>
      <p:sp>
        <p:nvSpPr>
          <p:cNvPr id="250" name="Pentagon 99">
            <a:extLst>
              <a:ext uri="{FF2B5EF4-FFF2-40B4-BE49-F238E27FC236}">
                <a16:creationId xmlns:a16="http://schemas.microsoft.com/office/drawing/2014/main" xmlns="" id="{94128FA7-69B2-4DFC-A8B6-46B37CB1E3D7}"/>
              </a:ext>
            </a:extLst>
          </p:cNvPr>
          <p:cNvSpPr/>
          <p:nvPr/>
        </p:nvSpPr>
        <p:spPr>
          <a:xfrm>
            <a:off x="927896" y="5599482"/>
            <a:ext cx="1080000" cy="396000"/>
          </a:xfrm>
          <a:prstGeom prst="homePlate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en-US" sz="1200" dirty="0">
                <a:solidFill>
                  <a:schemeClr val="tx1"/>
                </a:solidFill>
              </a:rPr>
              <a:t>Container Train</a:t>
            </a:r>
          </a:p>
        </p:txBody>
      </p:sp>
      <p:sp>
        <p:nvSpPr>
          <p:cNvPr id="251" name="Pentagon 99">
            <a:extLst>
              <a:ext uri="{FF2B5EF4-FFF2-40B4-BE49-F238E27FC236}">
                <a16:creationId xmlns:a16="http://schemas.microsoft.com/office/drawing/2014/main" xmlns="" id="{7DC14696-8E89-44A1-B5B0-9FAAF7C274F5}"/>
              </a:ext>
            </a:extLst>
          </p:cNvPr>
          <p:cNvSpPr/>
          <p:nvPr/>
        </p:nvSpPr>
        <p:spPr>
          <a:xfrm>
            <a:off x="2268582" y="5599482"/>
            <a:ext cx="1080000" cy="396000"/>
          </a:xfrm>
          <a:prstGeom prst="homePlate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en-US" sz="1200" dirty="0">
                <a:solidFill>
                  <a:schemeClr val="tx1"/>
                </a:solidFill>
              </a:rPr>
              <a:t>Logistics Park</a:t>
            </a:r>
          </a:p>
        </p:txBody>
      </p:sp>
      <p:sp>
        <p:nvSpPr>
          <p:cNvPr id="252" name="Pentagon 99">
            <a:extLst>
              <a:ext uri="{FF2B5EF4-FFF2-40B4-BE49-F238E27FC236}">
                <a16:creationId xmlns:a16="http://schemas.microsoft.com/office/drawing/2014/main" xmlns="" id="{80D64E4C-1FF6-4521-B9B4-DCF5A89ED7FF}"/>
              </a:ext>
            </a:extLst>
          </p:cNvPr>
          <p:cNvSpPr/>
          <p:nvPr/>
        </p:nvSpPr>
        <p:spPr>
          <a:xfrm>
            <a:off x="3609268" y="5599482"/>
            <a:ext cx="1116000" cy="396000"/>
          </a:xfrm>
          <a:prstGeom prst="homePlate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Warehousing</a:t>
            </a:r>
          </a:p>
        </p:txBody>
      </p:sp>
      <p:sp>
        <p:nvSpPr>
          <p:cNvPr id="253" name="Pentagon 99">
            <a:extLst>
              <a:ext uri="{FF2B5EF4-FFF2-40B4-BE49-F238E27FC236}">
                <a16:creationId xmlns:a16="http://schemas.microsoft.com/office/drawing/2014/main" xmlns="" id="{A9F7F6AD-0DB9-46DE-8595-E17958990082}"/>
              </a:ext>
            </a:extLst>
          </p:cNvPr>
          <p:cNvSpPr/>
          <p:nvPr/>
        </p:nvSpPr>
        <p:spPr>
          <a:xfrm>
            <a:off x="4949954" y="5599482"/>
            <a:ext cx="1080000" cy="396000"/>
          </a:xfrm>
          <a:prstGeom prst="homePlate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Grain Silos</a:t>
            </a:r>
          </a:p>
        </p:txBody>
      </p:sp>
      <p:sp>
        <p:nvSpPr>
          <p:cNvPr id="254" name="Pentagon 99">
            <a:extLst>
              <a:ext uri="{FF2B5EF4-FFF2-40B4-BE49-F238E27FC236}">
                <a16:creationId xmlns:a16="http://schemas.microsoft.com/office/drawing/2014/main" xmlns="" id="{FE0D0F61-D10E-461D-811D-397A57C50904}"/>
              </a:ext>
            </a:extLst>
          </p:cNvPr>
          <p:cNvSpPr/>
          <p:nvPr/>
        </p:nvSpPr>
        <p:spPr>
          <a:xfrm>
            <a:off x="6290640" y="5599482"/>
            <a:ext cx="1080000" cy="396000"/>
          </a:xfrm>
          <a:prstGeom prst="homePlate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en-US" sz="1200" dirty="0">
                <a:solidFill>
                  <a:schemeClr val="tx1"/>
                </a:solidFill>
              </a:rPr>
              <a:t>Inland Waterways</a:t>
            </a:r>
          </a:p>
        </p:txBody>
      </p:sp>
      <p:sp>
        <p:nvSpPr>
          <p:cNvPr id="255" name="Pentagon 99">
            <a:extLst>
              <a:ext uri="{FF2B5EF4-FFF2-40B4-BE49-F238E27FC236}">
                <a16:creationId xmlns:a16="http://schemas.microsoft.com/office/drawing/2014/main" xmlns="" id="{54A05F5F-BF1F-4B1F-81CF-1F12F68099A2}"/>
              </a:ext>
            </a:extLst>
          </p:cNvPr>
          <p:cNvSpPr/>
          <p:nvPr/>
        </p:nvSpPr>
        <p:spPr>
          <a:xfrm>
            <a:off x="7631326" y="5599482"/>
            <a:ext cx="1080000" cy="396000"/>
          </a:xfrm>
          <a:prstGeom prst="homePlate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en-US" sz="1200" dirty="0">
                <a:solidFill>
                  <a:schemeClr val="tx1"/>
                </a:solidFill>
              </a:rPr>
              <a:t>Automobile Trains</a:t>
            </a:r>
          </a:p>
        </p:txBody>
      </p:sp>
      <p:sp>
        <p:nvSpPr>
          <p:cNvPr id="256" name="Pentagon 99">
            <a:extLst>
              <a:ext uri="{FF2B5EF4-FFF2-40B4-BE49-F238E27FC236}">
                <a16:creationId xmlns:a16="http://schemas.microsoft.com/office/drawing/2014/main" xmlns="" id="{144AF756-6042-4667-B184-3C8AFE7A01F0}"/>
              </a:ext>
            </a:extLst>
          </p:cNvPr>
          <p:cNvSpPr/>
          <p:nvPr/>
        </p:nvSpPr>
        <p:spPr>
          <a:xfrm>
            <a:off x="8972012" y="5599482"/>
            <a:ext cx="1080000" cy="396000"/>
          </a:xfrm>
          <a:prstGeom prst="homePlate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en-US" sz="1200" dirty="0">
                <a:solidFill>
                  <a:schemeClr val="tx1"/>
                </a:solidFill>
              </a:rPr>
              <a:t>GP Trai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22C6ED1-601A-462A-A9D5-8AE096442949}"/>
              </a:ext>
            </a:extLst>
          </p:cNvPr>
          <p:cNvSpPr/>
          <p:nvPr/>
        </p:nvSpPr>
        <p:spPr>
          <a:xfrm>
            <a:off x="425032" y="5109740"/>
            <a:ext cx="11062806" cy="1024540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53031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07E07F9E-9EDF-4317-9D23-18BD4B774A7C}"/>
              </a:ext>
            </a:extLst>
          </p:cNvPr>
          <p:cNvSpPr txBox="1">
            <a:spLocks/>
          </p:cNvSpPr>
          <p:nvPr/>
        </p:nvSpPr>
        <p:spPr>
          <a:xfrm>
            <a:off x="779784" y="3164331"/>
            <a:ext cx="695514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US" sz="2000" b="1" dirty="0">
                <a:solidFill>
                  <a:srgbClr val="0070C0"/>
                </a:solidFill>
              </a:rPr>
              <a:t>Adani Ports - Container Terminals Portfolio – East Coast</a:t>
            </a:r>
          </a:p>
        </p:txBody>
      </p:sp>
    </p:spTree>
    <p:extLst>
      <p:ext uri="{BB962C8B-B14F-4D97-AF65-F5344CB8AC3E}">
        <p14:creationId xmlns:p14="http://schemas.microsoft.com/office/powerpoint/2010/main" xmlns="" val="25523845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4"/>
          <p:cNvSpPr>
            <a:spLocks noGrp="1"/>
          </p:cNvSpPr>
          <p:nvPr>
            <p:ph type="title"/>
          </p:nvPr>
        </p:nvSpPr>
        <p:spPr>
          <a:xfrm>
            <a:off x="424656" y="394101"/>
            <a:ext cx="10296000" cy="399827"/>
          </a:xfrm>
          <a:noFill/>
        </p:spPr>
        <p:txBody>
          <a:bodyPr vert="horz" wrap="square" lIns="91157" tIns="45580" rIns="91157" bIns="45580" rtlCol="0" anchor="b">
            <a:spAutoFit/>
          </a:bodyPr>
          <a:lstStyle/>
          <a:p>
            <a:pPr marL="109195" defTabSz="911400"/>
            <a:r>
              <a:rPr lang="en-US" sz="2000" b="1" dirty="0">
                <a:solidFill>
                  <a:srgbClr val="0070C0"/>
                </a:solidFill>
                <a:ea typeface="+mn-ea"/>
                <a:cs typeface="+mn-cs"/>
              </a:rPr>
              <a:t>Adani’s Strategically Located Container Terminal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B285C1-D8A8-4E98-B28C-1FD972D8EC5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74AECF3E-48BD-48A9-9AF3-79E5CA99285D}"/>
              </a:ext>
            </a:extLst>
          </p:cNvPr>
          <p:cNvSpPr txBox="1"/>
          <p:nvPr/>
        </p:nvSpPr>
        <p:spPr>
          <a:xfrm>
            <a:off x="3702316" y="132539"/>
            <a:ext cx="60983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dirty="0"/>
          </a:p>
        </p:txBody>
      </p:sp>
      <p:sp>
        <p:nvSpPr>
          <p:cNvPr id="97" name="TextBox 96"/>
          <p:cNvSpPr txBox="1"/>
          <p:nvPr/>
        </p:nvSpPr>
        <p:spPr>
          <a:xfrm>
            <a:off x="8350696" y="1427747"/>
            <a:ext cx="3247746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err="1"/>
              <a:t>Kattupalli</a:t>
            </a:r>
            <a:r>
              <a:rPr lang="en-US" dirty="0"/>
              <a:t>, </a:t>
            </a:r>
            <a:r>
              <a:rPr lang="en-US" dirty="0" err="1"/>
              <a:t>Ennore</a:t>
            </a:r>
            <a:r>
              <a:rPr lang="en-US" dirty="0"/>
              <a:t> &amp; Krishnapatnam handles 40% of container traffic in Chennai clust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Container terminal at </a:t>
            </a:r>
            <a:r>
              <a:rPr lang="en-US" dirty="0" err="1"/>
              <a:t>Gangavaram</a:t>
            </a:r>
            <a:r>
              <a:rPr lang="en-US" dirty="0"/>
              <a:t> to be ready in 1H 2022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Container terminal at </a:t>
            </a:r>
            <a:r>
              <a:rPr lang="en-US" dirty="0" err="1"/>
              <a:t>Dhamra</a:t>
            </a:r>
            <a:r>
              <a:rPr lang="en-US" dirty="0"/>
              <a:t> is also in the pipeli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/>
          <a:srcRect t="4597"/>
          <a:stretch/>
        </p:blipFill>
        <p:spPr>
          <a:xfrm>
            <a:off x="714472" y="1155032"/>
            <a:ext cx="7154179" cy="4884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11841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07E07F9E-9EDF-4317-9D23-18BD4B774A7C}"/>
              </a:ext>
            </a:extLst>
          </p:cNvPr>
          <p:cNvSpPr txBox="1">
            <a:spLocks/>
          </p:cNvSpPr>
          <p:nvPr/>
        </p:nvSpPr>
        <p:spPr>
          <a:xfrm>
            <a:off x="779784" y="3164331"/>
            <a:ext cx="695514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US" sz="2000" b="1" dirty="0">
                <a:solidFill>
                  <a:srgbClr val="0070C0"/>
                </a:solidFill>
              </a:rPr>
              <a:t>Chennai Cluster (</a:t>
            </a:r>
            <a:r>
              <a:rPr lang="en-US" sz="2000" b="1" dirty="0" err="1">
                <a:solidFill>
                  <a:srgbClr val="0070C0"/>
                </a:solidFill>
              </a:rPr>
              <a:t>Kattupalli</a:t>
            </a:r>
            <a:r>
              <a:rPr lang="en-US" sz="2000" b="1" dirty="0">
                <a:solidFill>
                  <a:srgbClr val="0070C0"/>
                </a:solidFill>
              </a:rPr>
              <a:t> &amp; </a:t>
            </a:r>
            <a:r>
              <a:rPr lang="en-US" sz="2000" b="1" dirty="0" err="1">
                <a:solidFill>
                  <a:srgbClr val="0070C0"/>
                </a:solidFill>
              </a:rPr>
              <a:t>Ennore</a:t>
            </a:r>
            <a:r>
              <a:rPr lang="en-US" sz="2000" b="1" dirty="0">
                <a:solidFill>
                  <a:srgbClr val="0070C0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xmlns="" val="3628763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30012672\Desktop\Latest PPT\PPT for shanghai\India Map\India map with states name - Copy.gif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778" b="2668"/>
          <a:stretch/>
        </p:blipFill>
        <p:spPr bwMode="auto">
          <a:xfrm>
            <a:off x="4716379" y="1256849"/>
            <a:ext cx="6693222" cy="496748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61025" y="288561"/>
            <a:ext cx="11283951" cy="399827"/>
          </a:xfrm>
          <a:noFill/>
        </p:spPr>
        <p:txBody>
          <a:bodyPr vert="horz" wrap="square" lIns="91157" tIns="45580" rIns="91157" bIns="45580" rtlCol="0" anchor="b">
            <a:spAutoFit/>
          </a:bodyPr>
          <a:lstStyle/>
          <a:p>
            <a:pPr marL="109195" defTabSz="911400" eaLnBrk="1" hangingPunct="1"/>
            <a:r>
              <a:rPr lang="en-IN" sz="2000" dirty="0" err="1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Kattupalli</a:t>
            </a:r>
            <a:r>
              <a:rPr lang="en-IN" sz="2000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/</a:t>
            </a:r>
            <a:r>
              <a:rPr lang="en-IN" sz="2000" dirty="0" err="1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Ennore</a:t>
            </a:r>
            <a:r>
              <a:rPr lang="en-IN" sz="2000" dirty="0">
                <a:solidFill>
                  <a:srgbClr val="0070C0"/>
                </a:solidFill>
                <a:latin typeface="Adani Regular" panose="02000503000000020004" pitchFamily="2" charset="0"/>
                <a:ea typeface="+mn-ea"/>
                <a:cs typeface="+mn-cs"/>
              </a:rPr>
              <a:t> Port Location and Hinterland </a:t>
            </a:r>
          </a:p>
        </p:txBody>
      </p:sp>
      <p:sp>
        <p:nvSpPr>
          <p:cNvPr id="8" name="Oval 7"/>
          <p:cNvSpPr/>
          <p:nvPr/>
        </p:nvSpPr>
        <p:spPr>
          <a:xfrm rot="1541758">
            <a:off x="7206030" y="3882525"/>
            <a:ext cx="856082" cy="13386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IN" sz="2400">
              <a:solidFill>
                <a:prstClr val="white"/>
              </a:solidFill>
              <a:latin typeface="Adani Regular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1025" y="1430648"/>
            <a:ext cx="4046240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 defTabSz="121917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prstClr val="black"/>
                </a:solidFill>
                <a:latin typeface="Adani Regular"/>
              </a:rPr>
              <a:t>Located 30 km north of Chennai Port</a:t>
            </a:r>
          </a:p>
          <a:p>
            <a:pPr defTabSz="1219170"/>
            <a:endParaRPr lang="en-IN" sz="1600" dirty="0">
              <a:solidFill>
                <a:prstClr val="black"/>
              </a:solidFill>
              <a:latin typeface="Adani Regular"/>
            </a:endParaRPr>
          </a:p>
          <a:p>
            <a:pPr marL="380990" indent="-380990" defTabSz="121917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prstClr val="black"/>
                </a:solidFill>
                <a:latin typeface="Adani Regular"/>
              </a:rPr>
              <a:t>Shares common hinterland with Chennai port i.e. Tamil Nadu, South East Karnataka, and South Andhra</a:t>
            </a:r>
          </a:p>
          <a:p>
            <a:pPr defTabSz="1219170"/>
            <a:endParaRPr lang="en-IN" sz="1600" dirty="0">
              <a:solidFill>
                <a:prstClr val="black"/>
              </a:solidFill>
              <a:latin typeface="Adani Regular"/>
            </a:endParaRPr>
          </a:p>
          <a:p>
            <a:pPr marL="380990" indent="-380990" defTabSz="121917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prstClr val="black"/>
                </a:solidFill>
                <a:latin typeface="Adani Regular"/>
              </a:rPr>
              <a:t>Ideal location serving as alternative to Chennai Port which operates with the city &amp; grapples with congestion</a:t>
            </a:r>
          </a:p>
          <a:p>
            <a:pPr marL="380990" indent="-380990" defTabSz="1219170">
              <a:buFont typeface="Arial" panose="020B0604020202020204" pitchFamily="34" charset="0"/>
              <a:buChar char="•"/>
            </a:pPr>
            <a:endParaRPr lang="en-IN" sz="1600" dirty="0">
              <a:solidFill>
                <a:prstClr val="black"/>
              </a:solidFill>
              <a:latin typeface="Adani Regular"/>
            </a:endParaRPr>
          </a:p>
          <a:p>
            <a:pPr marL="380990" indent="-380990" defTabSz="121917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prstClr val="black"/>
                </a:solidFill>
                <a:latin typeface="Adani Regular"/>
              </a:rPr>
              <a:t>Maersk &amp; MSC has completely moved out of Chennai terminals</a:t>
            </a:r>
          </a:p>
          <a:p>
            <a:pPr marL="380990" indent="-380990" defTabSz="1219170">
              <a:buFont typeface="Arial" panose="020B0604020202020204" pitchFamily="34" charset="0"/>
              <a:buChar char="•"/>
            </a:pPr>
            <a:endParaRPr lang="en-IN" sz="1600" dirty="0">
              <a:solidFill>
                <a:prstClr val="black"/>
              </a:solidFill>
              <a:latin typeface="Adani Regular"/>
            </a:endParaRPr>
          </a:p>
          <a:p>
            <a:pPr marL="380990" indent="-380990" defTabSz="1219170">
              <a:buFont typeface="Arial" panose="020B0604020202020204" pitchFamily="34" charset="0"/>
              <a:buChar char="•"/>
            </a:pPr>
            <a:r>
              <a:rPr lang="en-IN" sz="1600" dirty="0" err="1">
                <a:solidFill>
                  <a:prstClr val="black"/>
                </a:solidFill>
                <a:latin typeface="Adani Regular"/>
              </a:rPr>
              <a:t>Kattupalli</a:t>
            </a:r>
            <a:r>
              <a:rPr lang="en-IN" sz="1600" dirty="0">
                <a:solidFill>
                  <a:prstClr val="black"/>
                </a:solidFill>
                <a:latin typeface="Adani Regular"/>
              </a:rPr>
              <a:t>/</a:t>
            </a:r>
            <a:r>
              <a:rPr lang="en-IN" sz="1600" dirty="0" err="1">
                <a:solidFill>
                  <a:prstClr val="black"/>
                </a:solidFill>
                <a:latin typeface="Adani Regular"/>
              </a:rPr>
              <a:t>Ennore</a:t>
            </a:r>
            <a:r>
              <a:rPr lang="en-IN" sz="1600" dirty="0">
                <a:solidFill>
                  <a:prstClr val="black"/>
                </a:solidFill>
                <a:latin typeface="Adani Regular"/>
              </a:rPr>
              <a:t> is the first port of choice for auto customers as the terminal adds value to JIT operations</a:t>
            </a:r>
          </a:p>
          <a:p>
            <a:pPr marL="380990" indent="-380990" defTabSz="1219170">
              <a:buFont typeface="Arial" panose="020B0604020202020204" pitchFamily="34" charset="0"/>
              <a:buChar char="•"/>
            </a:pPr>
            <a:endParaRPr lang="en-IN" sz="1600" dirty="0">
              <a:solidFill>
                <a:prstClr val="black"/>
              </a:solidFill>
              <a:latin typeface="Adani Regular"/>
            </a:endParaRPr>
          </a:p>
          <a:p>
            <a:pPr defTabSz="1219170"/>
            <a:endParaRPr lang="en-IN" sz="1600" dirty="0">
              <a:solidFill>
                <a:prstClr val="black"/>
              </a:solidFill>
              <a:latin typeface="Adani Regular"/>
            </a:endParaRPr>
          </a:p>
          <a:p>
            <a:pPr defTabSz="1219170"/>
            <a:endParaRPr lang="en-IN" sz="2000" dirty="0">
              <a:solidFill>
                <a:prstClr val="black"/>
              </a:solidFill>
              <a:latin typeface="Adani Regular"/>
            </a:endParaRPr>
          </a:p>
        </p:txBody>
      </p:sp>
      <p:sp>
        <p:nvSpPr>
          <p:cNvPr id="5" name="Oval 4"/>
          <p:cNvSpPr/>
          <p:nvPr/>
        </p:nvSpPr>
        <p:spPr>
          <a:xfrm>
            <a:off x="8122654" y="4295273"/>
            <a:ext cx="101600" cy="6095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IN" sz="2400">
              <a:solidFill>
                <a:prstClr val="white"/>
              </a:solidFill>
              <a:latin typeface="Adani Regular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12811" y="4095629"/>
            <a:ext cx="1930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n-IN" sz="1200" b="1" dirty="0" err="1">
                <a:solidFill>
                  <a:srgbClr val="FF0000"/>
                </a:solidFill>
                <a:latin typeface="Adani Regular"/>
              </a:rPr>
              <a:t>Kattupalli</a:t>
            </a:r>
            <a:endParaRPr lang="en-IN" sz="1200" b="1" dirty="0">
              <a:solidFill>
                <a:srgbClr val="FF0000"/>
              </a:solidFill>
              <a:latin typeface="Adani Regular"/>
            </a:endParaRPr>
          </a:p>
          <a:p>
            <a:pPr defTabSz="1219170"/>
            <a:r>
              <a:rPr lang="en-IN" sz="1200" b="1" dirty="0" err="1">
                <a:solidFill>
                  <a:srgbClr val="FFC000"/>
                </a:solidFill>
                <a:latin typeface="Adani Regular"/>
              </a:rPr>
              <a:t>Ennore</a:t>
            </a:r>
            <a:endParaRPr lang="en-IN" sz="1200" b="1" dirty="0">
              <a:solidFill>
                <a:srgbClr val="FFC000"/>
              </a:solidFill>
              <a:latin typeface="Adani Regular"/>
            </a:endParaRPr>
          </a:p>
          <a:p>
            <a:pPr defTabSz="1219170"/>
            <a:r>
              <a:rPr lang="en-IN" sz="1200" b="1" dirty="0">
                <a:solidFill>
                  <a:prstClr val="black"/>
                </a:solidFill>
                <a:latin typeface="Adani Regular"/>
              </a:rPr>
              <a:t>Chennai</a:t>
            </a:r>
          </a:p>
        </p:txBody>
      </p:sp>
      <p:sp>
        <p:nvSpPr>
          <p:cNvPr id="11" name="Oval 10"/>
          <p:cNvSpPr/>
          <p:nvPr/>
        </p:nvSpPr>
        <p:spPr>
          <a:xfrm>
            <a:off x="8095917" y="4388316"/>
            <a:ext cx="101600" cy="6095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IN" sz="2400">
              <a:solidFill>
                <a:prstClr val="white"/>
              </a:solidFill>
              <a:latin typeface="Adani Regular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09600" y="793275"/>
            <a:ext cx="10800000" cy="62864"/>
            <a:chOff x="521460" y="771510"/>
            <a:chExt cx="7386262" cy="47148"/>
          </a:xfrm>
        </p:grpSpPr>
        <p:pic>
          <p:nvPicPr>
            <p:cNvPr id="12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" name="Straight Connector 12"/>
            <p:cNvCxnSpPr/>
            <p:nvPr/>
          </p:nvCxnSpPr>
          <p:spPr>
            <a:xfrm>
              <a:off x="521460" y="818658"/>
              <a:ext cx="738626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2E0908D-DDDD-489F-BEE8-89FBE2A5980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11263748" y="-11400"/>
            <a:ext cx="916675" cy="82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15" name="Oval 14"/>
          <p:cNvSpPr/>
          <p:nvPr/>
        </p:nvSpPr>
        <p:spPr>
          <a:xfrm>
            <a:off x="8055813" y="4492590"/>
            <a:ext cx="101600" cy="6095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IN" sz="2400">
              <a:solidFill>
                <a:prstClr val="white"/>
              </a:solidFill>
              <a:latin typeface="Adani Regular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223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02748" y="293382"/>
            <a:ext cx="11283949" cy="399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157" tIns="45580" rIns="91157" bIns="45580" numCol="1" rtlCol="0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109195" defTabSz="911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C0"/>
                </a:solidFill>
                <a:latin typeface="Adani Regular" panose="02000503000000020004" pitchFamily="2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5pPr>
            <a:lvl6pPr marL="609585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6pPr>
            <a:lvl7pPr marL="121917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7pPr>
            <a:lvl8pPr marL="1828754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8pPr>
            <a:lvl9pPr marL="2438339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dani Regular" pitchFamily="2" charset="0"/>
              </a:defRPr>
            </a:lvl9pPr>
          </a:lstStyle>
          <a:p>
            <a:r>
              <a:rPr lang="en-US" dirty="0" err="1"/>
              <a:t>Kattupalli</a:t>
            </a:r>
            <a:r>
              <a:rPr lang="en-US" dirty="0"/>
              <a:t> Container Terminal Infrastructure</a:t>
            </a:r>
            <a:endParaRPr lang="en-IN" dirty="0"/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>
          <a:xfrm>
            <a:off x="11334814" y="6263506"/>
            <a:ext cx="403204" cy="17440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endParaRPr lang="en-GB" sz="2400" dirty="0">
              <a:solidFill>
                <a:prstClr val="black"/>
              </a:solidFill>
              <a:latin typeface="Adani Regular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45414416"/>
              </p:ext>
            </p:extLst>
          </p:nvPr>
        </p:nvGraphicFramePr>
        <p:xfrm>
          <a:off x="609599" y="1123189"/>
          <a:ext cx="6830549" cy="4898099"/>
        </p:xfrm>
        <a:graphic>
          <a:graphicData uri="http://schemas.openxmlformats.org/drawingml/2006/table">
            <a:tbl>
              <a:tblPr/>
              <a:tblGrid>
                <a:gridCol w="26244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2061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129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latin typeface="Adani Regular" pitchFamily="2" charset="0"/>
                          <a:cs typeface="Arial" pitchFamily="34" charset="0"/>
                        </a:rPr>
                        <a:t>Particulars 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latin typeface="Adani Regular" pitchFamily="2" charset="0"/>
                          <a:cs typeface="Arial" pitchFamily="34" charset="0"/>
                        </a:rPr>
                        <a:t>Detail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9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Quay Length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latin typeface="Adani Regular" pitchFamily="2" charset="0"/>
                          <a:cs typeface="Arial" pitchFamily="34" charset="0"/>
                        </a:rPr>
                        <a:t>2 Berths, 710 M 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79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baseline="0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Capacit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Adani Regular" pitchFamily="2" charset="0"/>
                        <a:cs typeface="Arial" pitchFamily="34" charset="0"/>
                      </a:endParaRP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1.2</a:t>
                      </a: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 Million </a:t>
                      </a:r>
                      <a:r>
                        <a:rPr lang="en-US" sz="1400" b="0" i="0" u="none" strike="noStrike" kern="1200" baseline="0" dirty="0" err="1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Teus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latin typeface="Adani Regular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684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Ground Slot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5120 Teu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989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Reefer Plug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marR="0" indent="-2603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v"/>
                        <a:tabLst/>
                        <a:defRPr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360 plugs, expandable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037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Quay Crane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marR="0" indent="-2603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v"/>
                        <a:tabLst/>
                        <a:defRPr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7 Post Panamax cranes</a:t>
                      </a:r>
                    </a:p>
                    <a:p>
                      <a:pPr marL="9525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0" i="0" u="none" strike="noStrike" kern="1200" baseline="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9222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Rubber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Tyre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dani Regular" pitchFamily="2" charset="0"/>
                          <a:cs typeface="Arial" pitchFamily="34" charset="0"/>
                        </a:rPr>
                        <a:t> Gantry Cranes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dani Regular"/>
                        </a:defRPr>
                      </a:lvl9pPr>
                    </a:lstStyle>
                    <a:p>
                      <a:pPr marL="355600" indent="-260350" algn="l" fontAlgn="b">
                        <a:buFont typeface="Wingdings" pitchFamily="2" charset="2"/>
                        <a:buChar char="v"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18 </a:t>
                      </a:r>
                      <a:r>
                        <a:rPr lang="en-US" sz="1400" b="0" i="0" u="none" strike="noStrike" kern="1200" dirty="0" err="1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nos</a:t>
                      </a: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latin typeface="Adani Regular" pitchFamily="2" charset="0"/>
                          <a:ea typeface="+mn-ea"/>
                          <a:cs typeface="Arial" pitchFamily="34" charset="0"/>
                        </a:rPr>
                        <a:t> of electric RTGCs for yard operations. </a:t>
                      </a:r>
                    </a:p>
                  </a:txBody>
                  <a:tcPr marL="10109" marR="10109" marT="10109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F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pic>
        <p:nvPicPr>
          <p:cNvPr id="8" name="Picture 2" descr="C:\Users\30012672\Desktop\Desktop\Ennore Marketing\kattupalli ads and images\Ads\New folder\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728182" y="1039573"/>
            <a:ext cx="3974801" cy="2389427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1" name="Content Placeholder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728182" y="3632201"/>
            <a:ext cx="3974801" cy="2438400"/>
          </a:xfrm>
          <a:prstGeom prst="rect">
            <a:avLst/>
          </a:prstGeom>
          <a:solidFill>
            <a:schemeClr val="accent2"/>
          </a:solidFill>
        </p:spPr>
      </p:pic>
      <p:grpSp>
        <p:nvGrpSpPr>
          <p:cNvPr id="9" name="Group 8"/>
          <p:cNvGrpSpPr/>
          <p:nvPr/>
        </p:nvGrpSpPr>
        <p:grpSpPr>
          <a:xfrm>
            <a:off x="609600" y="793275"/>
            <a:ext cx="10800000" cy="62864"/>
            <a:chOff x="521460" y="771510"/>
            <a:chExt cx="7386262" cy="47148"/>
          </a:xfrm>
        </p:grpSpPr>
        <p:pic>
          <p:nvPicPr>
            <p:cNvPr id="10" name="Picture 2" descr="D:\Corp Comm Department Work 2015\Brand Adani 2012\adani_gradient_master.jp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460" y="771510"/>
              <a:ext cx="5022060" cy="45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" name="Straight Connector 12"/>
            <p:cNvCxnSpPr/>
            <p:nvPr/>
          </p:nvCxnSpPr>
          <p:spPr>
            <a:xfrm>
              <a:off x="521460" y="818658"/>
              <a:ext cx="7386262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2E0908D-DDDD-489F-BEE8-89FBE2A5980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11263748" y="-11400"/>
            <a:ext cx="916675" cy="828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</p:spTree>
    <p:extLst>
      <p:ext uri="{BB962C8B-B14F-4D97-AF65-F5344CB8AC3E}">
        <p14:creationId xmlns:p14="http://schemas.microsoft.com/office/powerpoint/2010/main" xmlns="" val="857313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EsuDlFXky3pdi8yhrMEg"/>
</p:tagLst>
</file>

<file path=ppt/theme/theme1.xml><?xml version="1.0" encoding="utf-8"?>
<a:theme xmlns:a="http://schemas.openxmlformats.org/drawingml/2006/main" name="2_Office Theme">
  <a:themeElements>
    <a:clrScheme name="Adani -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558A"/>
      </a:accent1>
      <a:accent2>
        <a:srgbClr val="6AC6FF"/>
      </a:accent2>
      <a:accent3>
        <a:srgbClr val="7030A0"/>
      </a:accent3>
      <a:accent4>
        <a:srgbClr val="70AD47"/>
      </a:accent4>
      <a:accent5>
        <a:srgbClr val="F7941E"/>
      </a:accent5>
      <a:accent6>
        <a:srgbClr val="BD1E6D"/>
      </a:accent6>
      <a:hlink>
        <a:srgbClr val="0000FF"/>
      </a:hlink>
      <a:folHlink>
        <a:srgbClr val="800080"/>
      </a:folHlink>
    </a:clrScheme>
    <a:fontScheme name="Custom 2">
      <a:majorFont>
        <a:latin typeface="Adani Regular"/>
        <a:ea typeface=""/>
        <a:cs typeface=""/>
      </a:majorFont>
      <a:minorFont>
        <a:latin typeface="Adani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4_Adani_Template 1">
  <a:themeElements>
    <a:clrScheme name="Perspective">
      <a:dk1>
        <a:sysClr val="windowText" lastClr="000000"/>
      </a:dk1>
      <a:lt1>
        <a:sysClr val="window" lastClr="FFFFFF"/>
      </a:lt1>
      <a:dk2>
        <a:srgbClr val="283138"/>
      </a:dk2>
      <a:lt2>
        <a:srgbClr val="FF8600"/>
      </a:lt2>
      <a:accent1>
        <a:srgbClr val="838D9B"/>
      </a:accent1>
      <a:accent2>
        <a:srgbClr val="D2610C"/>
      </a:accent2>
      <a:accent3>
        <a:srgbClr val="80716A"/>
      </a:accent3>
      <a:accent4>
        <a:srgbClr val="94147C"/>
      </a:accent4>
      <a:accent5>
        <a:srgbClr val="5D5AD2"/>
      </a:accent5>
      <a:accent6>
        <a:srgbClr val="6F6C7D"/>
      </a:accent6>
      <a:hlink>
        <a:srgbClr val="6187E3"/>
      </a:hlink>
      <a:folHlink>
        <a:srgbClr val="7B8EB8"/>
      </a:folHlink>
    </a:clrScheme>
    <a:fontScheme name="Adani">
      <a:majorFont>
        <a:latin typeface="Adani Medium"/>
        <a:ea typeface=""/>
        <a:cs typeface=""/>
      </a:majorFont>
      <a:minorFont>
        <a:latin typeface="Adani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New_Color_1">
      <a:dk1>
        <a:sysClr val="windowText" lastClr="000000"/>
      </a:dk1>
      <a:lt1>
        <a:sysClr val="window" lastClr="FFFFFF"/>
      </a:lt1>
      <a:dk2>
        <a:srgbClr val="2D3847"/>
      </a:dk2>
      <a:lt2>
        <a:srgbClr val="E7E6E6"/>
      </a:lt2>
      <a:accent1>
        <a:srgbClr val="2F3790"/>
      </a:accent1>
      <a:accent2>
        <a:srgbClr val="27BFBB"/>
      </a:accent2>
      <a:accent3>
        <a:srgbClr val="00B0D3"/>
      </a:accent3>
      <a:accent4>
        <a:srgbClr val="3ABFC4"/>
      </a:accent4>
      <a:accent5>
        <a:srgbClr val="21C0D7"/>
      </a:accent5>
      <a:accent6>
        <a:srgbClr val="55D4FA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18</TotalTime>
  <Words>1131</Words>
  <Application>Microsoft Office PowerPoint</Application>
  <PresentationFormat>Custom</PresentationFormat>
  <Paragraphs>270</Paragraphs>
  <Slides>23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2_Office Theme</vt:lpstr>
      <vt:lpstr>14_Adani_Template 1</vt:lpstr>
      <vt:lpstr>Office Theme</vt:lpstr>
      <vt:lpstr>1_Office Theme</vt:lpstr>
      <vt:lpstr>Slide 1</vt:lpstr>
      <vt:lpstr>Adani : Leadership across infrastructure sector</vt:lpstr>
      <vt:lpstr>Slide 3</vt:lpstr>
      <vt:lpstr>Slide 4</vt:lpstr>
      <vt:lpstr>Slide 5</vt:lpstr>
      <vt:lpstr>Adani’s Strategically Located Container Terminals</vt:lpstr>
      <vt:lpstr>Slide 7</vt:lpstr>
      <vt:lpstr>Kattupalli/Ennore Port Location and Hinterland </vt:lpstr>
      <vt:lpstr>Slide 9</vt:lpstr>
      <vt:lpstr>Slide 10</vt:lpstr>
      <vt:lpstr>Slide 11</vt:lpstr>
      <vt:lpstr>Slide 12</vt:lpstr>
      <vt:lpstr>Krishnapatnam Port Location and Hinterland </vt:lpstr>
      <vt:lpstr>Slide 14</vt:lpstr>
      <vt:lpstr>Expanding Container Traffic at APSEZ on East Coast</vt:lpstr>
      <vt:lpstr>Slide 16</vt:lpstr>
      <vt:lpstr>Gangavaram Port Location and Hinterland </vt:lpstr>
      <vt:lpstr>Slide 18</vt:lpstr>
      <vt:lpstr>Connectivity &amp; Support Infrastructure </vt:lpstr>
      <vt:lpstr>Slide 20</vt:lpstr>
      <vt:lpstr>Dhamra Port Location and Hinterland </vt:lpstr>
      <vt:lpstr>Dhamra to be a Bay of Bengal Hub</vt:lpstr>
      <vt:lpstr>Slide 23</vt:lpstr>
    </vt:vector>
  </TitlesOfParts>
  <Company>Adani Enterpris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veesh</dc:creator>
  <cp:lastModifiedBy>Amrita</cp:lastModifiedBy>
  <cp:revision>221</cp:revision>
  <cp:lastPrinted>2021-10-22T12:44:18Z</cp:lastPrinted>
  <dcterms:created xsi:type="dcterms:W3CDTF">2021-02-17T11:36:23Z</dcterms:created>
  <dcterms:modified xsi:type="dcterms:W3CDTF">2022-02-25T06:25:27Z</dcterms:modified>
</cp:coreProperties>
</file>